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1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6CB-477E-831A-0AB8BFECF1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United States</cx:pt>
          <cx:pt idx="1">Mexico</cx:pt>
          <cx:pt idx="2">Brazil</cx:pt>
          <cx:pt idx="3">Argentina</cx:pt>
          <cx:pt idx="4">Australia</cx:pt>
          <cx:pt idx="5">China</cx:pt>
          <cx:pt idx="6">Russia</cx:pt>
          <cx:pt idx="7">India</cx:pt>
          <cx:pt idx="8">Sweden</cx:pt>
          <cx:pt idx="9">France</cx:pt>
          <cx:pt idx="10">United Arab Emirates</cx:pt>
          <cx:pt idx="11">Namibia</cx:pt>
        </cx:lvl>
      </cx:strDim>
      <cx:numDim type="colorVal">
        <cx:f>Sheet1!$B$2:$B$13</cx:f>
        <cx:lvl ptCount="12" formatCode="General">
          <cx:pt idx="0">8</cx:pt>
          <cx:pt idx="1">10</cx:pt>
          <cx:pt idx="2">7</cx:pt>
          <cx:pt idx="3">9</cx:pt>
          <cx:pt idx="4">12</cx:pt>
          <cx:pt idx="5">11</cx:pt>
          <cx:pt idx="6">8</cx:pt>
          <cx:pt idx="7">9</cx:pt>
          <cx:pt idx="8">6</cx:pt>
          <cx:pt idx="9">7</cx:pt>
          <cx:pt idx="10">9</cx:pt>
          <cx:pt idx="11">11</cx:pt>
        </cx:lvl>
      </cx:numDim>
    </cx:data>
  </cx:chartData>
  <cx:chart>
    <cx:plotArea>
      <cx:plotAreaRegion>
        <cx:series layoutId="regionMap" uniqueId="{0097C05C-2B89-4D4A-AC8A-5F88E4CBD133}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PH" attribution="Powered by Bing">
              <cx:geoCache provider="{E9337A44-BEBE-4D9F-B70C-5C5E7DAFC167}">
                <cx:binary>zFxpk9vWsf0rKn1+kO++pOJXZYDkYLSvtuQvqLEkY993/Pp3IFnOEMM3iBJXJXJsx+RwGrfX06f7
8u8fp799zD7fNA+mPCvav32cfnwYdV31tx9+aD9Gn/Ob9lEef2zKtvy9e/SxzH8of/89/vj5h0/N
zRgX4Q+MUPHDx+im6T5PD//37/ht4efyafnxpovL4lX/uZlff277rGvvee/iWw8+ln3RrR8P8Zt+
fHhdfIpvHj74XHRxN7+dq88/Pjz7iYcPftj+njsyH2R4rK7/hM8y9ohLJgkzjHz5wx4+yMoi/ONt
bR9xxZUmXH59W38T/fwmx8d3n+bLs9x8+tR8btsHf/z7z4+dPfifr8Zt6X09s1euj3j9/MuZfjjX
6f/+ffMCTrl55ZbatyrZe2ur9dd92/6ValfikTKKE2uI/fIHer2ldqsfaSE50fYfVvlq8a9q33+c
y3r/9rmN4r+9vNX863f/ec2fmpvi4+dvXvfvO7xQjxQTUDs7Vzl7JKThWhn91SDWfpP5VeX7z3FZ
5d8+t1H5t5e3Kj+9/s+r/F0Rd58/PXjT3XSf229a+Pc1z+0jiTyiBddfcwk/83nH2keEGqQbK76a
QHyT/dUC//RjXTbE5uMbe2ze3Zrl3Zv/vFnc5maJs286+fft4VDyiH/5Q86TviP5o695R6s/i8Lt
9LP/JJdN8O1zG91/e3mrdPe/IBaefZ7ij+Vfp3TGH1nOpeVanns/JQzhYdX61zdxX/1+/xEua/vb
5zba/vbyVtvP3v/nXdyL4uIvBDdcPZKrqum3jIKcfqvKUsIfacm5sMhEt/179zEuK/yPj230/cer
W3V7/wWo5qcmXI/9V6rc4eKRtUpYQy8iGwfIxyrNjKR/5JaN7v+pZ7qs/1sf3djg1jtbO/z0X5Bk
furbrrnJ/kqA6TD5CFomwnD6B6A5933YSVhCNdz/S46n5yHwTz3S/2OGf5xma4Z/vHPHDP8FUPPN
+PnT5+KbHv79AivtI6WF1UyyryYw5yYQjyQjRhot/7TQ7Sy0/ziX9f/tcxvlf3t5q/k3x/983v8D
ff3U3Pz24JjHzV8LPJl4BBdnQtt/KPpWGQDagf6Fod8CBWa6bYfvfbjLVrn8WzY2uvxDW4v99F9g
MUCT+Le/NmEBdAIZCfunHc6jRT/ijFNKpLmISf+JB7psmD8/uLHFn69v1f/8p78iYP5/ruJPuuZw
090cv/A8t+iK+9/9ckQwT5uP3kcXfXX1608/PhQAnn+SR+tvOAsD4Jjs87fI+Pbjn2/a7seHjlKP
BDUWlAVl8uGD8fOXV4EAHgkgASG4QuNHJX5/UTZdhE9QjfKDfhvJjyvF8KMPH7Rl/+U9CdhGlUR1
okYQEFP8T0btZZnNYVn8qYQ//vtB0ecvy7jo2h8fQkj19afWh1RoKQ18RiklmFbwILT91ceb1yDt
8MP0f7jOeOLQaXlCI9kWjWtKlb3qGpMF71iRl/RdFCblb7c0c0EmRfU8E8qIoJoqJTXYNcCh9aFu
CY0nGeZBmJnH2n0Ruq9/efr8zavUvV8INHSvjM3B7DyISsnUPE7d97++Dd2ngfv4fgkUWOxeEciM
t48xqyqvFwsR7fHV+2dvXyaHl4v3gbh7R6FkR9B61lv6qkWTzXKGoCfWpYe30QGHyQ+Ft3Oe9Xlv
+8LGLHJ9jFtiAhZRkpQwSxqMh6q80nnvFkt0UqxyNWu8gOcHa3yr39Ay9Ug+uM4kvaDNvC5dXC4e
p7l1+6o/3P9cO5aUqzfdeiwxf1PzcnrxwnpXzxvX/psi2LmIeiZyCDKcPHd/jby3nfucuXvqRaTf
1i48nhnOtGbaAtyjpJ7LqMJgmXKru6tSi/HopEF0UDHnbh06+uX9Glt9+5Yhv4hSVKF106CMwJVu
RDkBmzJbd1eODMq3oTSPi2VK/NEJ08ejHTu3S2uyE2+bRCIYo2BkDQJaG4l0sgbLLSuls0iWVMnc
r1vanhYyKlcOfXPIGSse50zHV/efkW/1uQqkjBN4rZBSrJn1tsDASWrWMAaBeR+5rBHqKIpGeaVM
9aGvxvqQpnVw1SWRPUZdrZ9I2VR+S0fjpTasT2HajTdVRZrK6yjtvaAqzCGL4yl2+3haDs4UJK8d
lRu3lbl9poNQuX0el37YVOaqmobuGLeDvkbJzp84SVofBbrtA+/r+iRZa7xZk+ioUk7x//LsWA25
PN2vg9VlbtuZCSWENhhQrCMKYjc5ruxynee9DU+8isjJZll2Kstx+F4pUivKuZJg5LlQfJvmQIgF
KVnq06xy5o0yGE6N0zc7Uu6Y01IitLagnwWIHrKJ8qVxUibnXJy6zjY/V6ZwHme1HN/0SlP/frVd
EEUNWG6FqowyKzdqY2mQ6ygNxGkOdXFIIfndnHf90Syif/39oixGGQBuEuVfbqKizGdTxpyI00JD
edT1uBxoHNNTxCK7k77vOIPlCAhNQSArSiXbKDBhxVIFcaROVit5XEw1HrrMiXbCfJtaOLeWcMQe
XAHwxGyjru3jthtt7+uAst+Lii6R12Qi/j0LLNLa0urqjW0Hm+1k6E1tEgI4B624BEFuieB8czrC
IlJ3YgiuwjAshauGrHmfyXRMTwWJ4186qZsPMbBW7Wa0ZXv1YZvckN0AxYQiRnBGDdl4TJ6zqBpE
m/k0JXXoLWFJpT+1pR493aTkNRtsSL9T02KdPCLkgAAtKFGxObHJpybvCkddDXUZ+8i64ftKjbnX
Npo/WcxSHjES7XZCY+tEQgqKooE/SCzM0o15ZR4sOZem9PNiDt2IyPJZXUbxs++Lii9SLFAsZ0oQ
HPI8dVNFwxkBWPp11+ZPaB6Urspkd0rbyfnOqIAokPVwHgQEKvAWPISDpPNkcCDV2OUwauq4elmG
43cfiFFUW6Bxg3Gw2dgqKetJL1FR+WPBSoCkdsniU2hFxA51jTz04nvFoaZLlD3KBfoGs1rxVq3t
TRlMKesmfyQic0vJoyeG57FX9GP2lVj9Oi1++bWY3O4P7jqEFsDpmLZKVHW9zSpL73RlJNXskyBo
nssga65IZacdKH1JijWao6ERkoDsPz+QYywJdd7OPs1n59SNceM7dfHb/Vq7IEQSjXJhuRJodtYg
v6W1toOzWScZ/aqkyzEZy7lwkzjqf79fzJ1cAW0R4CC7whP0dhtfKM001YJmo+/AJ1/ovg6eMtLU
z6rZLF47T/PH++Vt4DG8QEsN6xCGOm3QNZ4fi8qsCvu5nHxViPCVSjvnSHnauEme14fajumhqzp2
NEmgrjselzum2xZTiNeUaI7BMEH/SDYZI0W+1BEbRr+VsXMMqtiJ3TEik5vVanh3/1EvWFDD5RFi
SImEiG0fNBNspwx09MMiTjN3zizzbEhivpN6L52JA4OAACbwfr5xx6BqeZJwO/vTLIobaFS3vina
mF6VEFZe33+qbTssgOKgPcPtWlWp2maPNu67WPPM8Ydw5OYUZao2L4kTlj8XoeM8X5Yibz8kuTVv
x8CY10VTcnOsIzKGbtlnNtnJzvSOByvJuAT7qiwWXzhdzXArUMJJJSIZCfFD6GFwWTwN9srRhc5O
bIlEc6i7WbbHmAH0HpDeCT2lkRoqTySs0ldpMHXFKZPamdzcWZLsECWd8zMN4/klmwqeHO7X350A
wONqFGipKKr0HfVNSid9zpfZTzTVn4rAIaMXsb7zoobJJyMLk5PNTfus16M+MjKPO9l4C4ngIai+
hsJjYD21bex011dS5PXsz7wOXFZY4dFxiK94njfvg0HETwucfcdp7rgohIK5wfgCq0cGyebcRku/
dBMrnNmP42T4NbVD1nth2paBO9CiXXaq6EVp1BIF+KdABK/v3/KIakynZlBy9oshHq51otvYDdta
eyxiZMf9LqkTew5InQyhZ7a4B2EfjH2H4Ms6p3R7tFxI03Pc+7aMx2Op2XSctA7FTsx/gTa3m6nV
jMgsFPUbAwnKNxgvojxadDvN/lJ2jVsvUdZfsY4HL3lsRuElpPCzeThVlU5/IeFYvRCTOoYFTz0e
NdzNpiF+RtG2ZJ6ThR3bAWaXYhIw0BglCYizrVacWDvZSBLiz6KTXlS089usD53RdbquecJJtte5
XDKDBSkoDSDUylucmzzQSWzImBNfZirz0rywz2relu8qUYfHvuHiqhyV8+T+UL4oFIkQ5KYgYD43
QknGB0dGbPHrbMyUWySiOcqB1W9Y3ESvI06iyE2qkusd41/wb5AXnLMV44Ok3TBfU83QVHUx8ePR
VsJLI9s6xywYzCcF4/7y3YfkwKRCYg4MvMg3BduZbJClWs9+lBIHXtRlmStj1T8fo7Y44jl6N6j6
9nuB3FrHgBgZECPFGsWmdqqBlxlv1OIT8KKV21BR1x4ZEx0e7z/enSL9RRCy8apIgxJ67jgmijjP
wCj7eUL6Axqq1M8m0u9Y7JIUhTjFoRhK5pZCJnWgJ9qV1O+WphwOMhgLcqBa5vmOoC3Li+osuWag
0zAtxvRlG3mFyqwTpA7164aQ6bg0c18fKivCxePhqj4KHvht24XCHMYFC69u1bA29Jyo0ZHXjRnR
LqlkGvuxiWWz83iX9ACErjVSMwgxteaNW5k5sEFRxXlF/SQzlT2USSrbkxLRskcvXAqR24I2ZkWv
mgUzhyBZTEXoLkXtELea6uw1bWq+7BzrTruPFCdQrhXKOUDYNiDruuvLMS2QfRxHe2HEnV9U0rHr
dpryN7ls9Yu4Yc3B5pzHO6IvwAkhGUbTjANkYj/mXKNzMKZzppEL5twWb6VZOuI1tZ1eoy6I0M06
S56GTjA/5lZW3jxkVbLzBBdsivYOZ1cU/2TbRkWzsq+taomv8iQr3YK07fg47tvKPv3uUIVno/9E
Ly6M3PLExZwtaZF22iehFIcsq6ZDO3f595cudChASKitZJ36nCu05f3Y2SnQfiAdBe4+Hyd7GMY4
/4hEFKVeuwTi/f0Hu+CseqWJgN7hs2rLDbO0jKo6yrRfOqM+NKFuj3yeyWO0gMFO/3OhMGNZFu4P
pIyefFsngYwMzToqQEN33a95GhYvuQ2c4WDrvCrcptRNv4P9tvOgNSVZNA0Mq+cWtOyW95VlU82U
hsLP2VLrUzsvbHajOk9fNjSqnyxjUb0O67D/XXR8zF21xPRVOWSqPNyvZqouuCq6adCNwAkUmt7A
UJDwMidLovyh623ipRPQyKmjXf3KIaFQzylpeHFlZNUlV3Fvm8ZNJyY/diG35MTSTiWIoGKQRxWb
9OckjOry0KKClNdxwubG7bImMsch4d3PRRE3vRfHAYsP4SCSzCPFErwpGc1+oU6cPyfR1Nbv+ZI2
3LcpnV7kSo+VZ1ou1WEAsaWuorAKqpOTJZx7M3PE+CRK6854i2jE6Nlh1oknTU4/Nc3Q/Q4AWpdP
Iyad1stGlv5cO1HuwIE7rY9x1pavZT8I7SatQxa3als9HEvWiY+DNePsxSTocrcuKFQyzo5939tc
T54UU9ocUjk45jQhMkbPGZKp8fKUBy8wHxrK1wk3MjhoPtjFdcDByRNP6jZzBZpA6ua1YcFxKcT0
K+0ip3uRxH3zbBglT10VyebXpAJA9zJwXTdtUBJzPefxOB8aK+efu6Hq31ZdUSQubxf6lseJ83lu
mPho2k7UV+3Ax1fKZhWDMZOKu0vA7HwIUnR2gOGT5K8yqprwMMwseNXExJndeensy66tKHVpEQYf
o6KbtDskQfW8I8GgfZxpeFf2vQxeqD5E9ZAqIfUxK5v8eV/QqvVy8FmT1/DRaY6jLPJfR4KRxBVv
TfZuGiVNj0E99p8EGebQ7/E7UjenbUQ9GRD50YR0xHnqqiieRHlHCk8vUx25YZliJKJEz2I36PFA
pzYPTX2KC3Slr8gylr2bFzVl4JOntvdMxklw7eTJPHgdIyNzIz6krRfmEfPTpirJ1cRsGXgly1t+
COuRpO40pPxjKUNp3ZTSUXupbob8sXGq7GbK++kjIORyPevUJG5BWVO6ktUNPzVmCn4LDSl/E7zL
6als+ox4OiBOcSxn47x3QqLaQ9pmzasKMAIooid4DPhZeDSkG4krHT628JAJc7Yxm3JxDFEkf/+f
IZ3GqU1qjvLZrr96BvvphnNcZTuN4YU6bVHnJDblKBgMsb5/C34kvLK1E7TCFyNvIrchWZ0e02mK
3jfhNPZuKJvCbxweAtMOXbDX+l9KPxIFEnt8eASAwXPxOXeCYiQV8zukyecNJhaHPMuinTS3VvxN
Z4iudz0f2kOMcTaHnOa+4yXPmc9aZyhnF/gAld+QPl9cggqaeT3P9G+RnnE/6v4Me6m6oDxjLsYx
yEUVPT+g6MtwhQrMn7Okzt0ilvNVy8nyWlZGX02t+nC/vLtHVesK0cr7oNtk28oSVEHh0GiU/hLk
XepGg0Niz9Zj1T9x0kUq12nlMp2ixQH8vV/0XVfSAhwKw2qsxLxsW7MxdKJx7UzJdTWHiT2Wnea/
hXFKEq8mo6ndvNRFf+wZcqvLosju9Z4XaDgQtxjVrU0LerNt49LNkRKzSvJrFaso9Adlotor4qKs
XR4CZx87tHTUbZy45T7mAJVzGkTDc+R/0r0TpCjSHZXchTEY5YHTwrYAIDDc4Nz6qRPXfMri9Lpu
WsyhbdvYJ3NL5eOhic3N/eq/62mQhVi2GLNp7Ptt+sMqlHVRkiy9LgzvjxGP06OhrH8WidGepBmi
nbPd9TT0LFgZgMrBXAu9Cd1hiIWJs8X4Jk7SK2wEGVfJJX/Gk5lexW1K3ZnwdieSLyh0JQg1rtjg
8tid1puTCbsZklsfmTt7jkLeususlmPYE7JzvrupSWuNhAGfUOTu4KQJI6U72Vq/lBU7OaJPH3fJ
vDc1v2A1jeGMZaBrMcne4i8aLGgWqh5LOSRxUEIC500bjcMxHsmIKKXRDovA2J1cCCSPeRpmgwgV
sPHnLplMCx8ndG3ghlmZgfoySH/gM3j9ZBpr/qqsi1Fdj13a5t5IgyC4SiIavWjHRr+MHVFy14wT
RotJ0Dhvg1m34YG2PM+eJUwU0g14vPRXbSW7VwnphuC5LmbxoQtm+24JAYVO9zv9BX/AIgC6PYzu
sHO/nWbHMwO0lF3gT4RNFHsgQR0duYUDuXMop/T73c9g/Qe8BUSuVN658pzW2GrB5o9f1b2ZXVMU
uXMEa9y8FVleOt/dRmIdZx1IUkbZmlfPpdUzbRwd0cDv8hbwMhzUh17lzc6u0QU/hxSBUkHBnqJW
nUuxDSRk2Rz4pXIigJGUJ/07MilqdgRdqA+GQ33EoE6sCfFcUKrFUCtRBf6iY70cAJcZ0J9pvabt
c+k2gRqPlZmip/G85HukwCVHWekAtK9we7LuY97GORn4YmdoWeATp4vfAhF17H2a8OIdcxpRvf1+
rwQ1iCYPPSwWxjZsZNiacLTT4PhO0znuUCc2ccu6JtcDtfFOBFxIIHB88LtYrADKuLN2My1FKujs
+GFm80M2dN2BhGw84c71bzPCYycrXsj6GFZg7xNMGga+23GyJF032Zw6Pkbj0QtG6uagFpU9bdOs
cItqcK4bmqsdz1mNc47fsKcCSh/lHXQO2Za2boi6CbXb8VmVK+KGOYkCL61pK4+9aifs4eWjsi6P
i/HGYYG5Ym07i++mtjWIFmz/4dTglrY0YlpMKpeqd3wQlzn1ozLAYtgQynE88WyYyWGxYdh6Jpib
N/e706UI1dgz/somYXfm3HcRitHQt7njZ/WinuTJ4ngh2tmd812SYhCbmH8BroIyPZfSOtUiG1PC
sukcaXfEHI4fit62ekfQJY81XwAaRt8YUGyOowYrUhlEOI4Gm5TYrvJsPHwSITjXJsz3lm8vRT7C
Qq6oCLPnrbjOxklWcWOxEdOKg+Bli/FTp9w5Gf6F4MAMfZ29Yi0NrrJJ2EZiD5X1WeD3aYf1sN4k
/SsS5QKbjHmfYyNVVDheUlv7/UkA+RT3P4B9NXYwNoKXEq7fLThjH3SdD1o2cxe6qHfZAH4GZGtx
vN8jL+gUukS91ZgRsDu4VmYg1ddm0s+onFwW0OQwR4aDfGzb7y+C67cECHDImHvcgbUY5RecZrX1
q0TGzzNWRI97NSRX338gQDAQc1hdhO9vnD/EasBYAsn7YZpNT0ybdMewpuFnG8ricL8oegGBoTZY
XChASjPwlPNAY1nV0DFLrJ/YtrwW4FdO08yStflWoUcCkR2yLii8LOyxpdcOg1spa35p+BJeBZlj
dvjPC2XZoldEQluj/07bloHYyJtprf9tlWJQaMrqquyb4XEIHs2LnTA7xo0C4kNBq3d0ccmPcEMP
QbnGy51RcYz1Md3nkI1ZS5M8HdWEdShTCGzlKmeahh1fuigOPSrSDhL4nWY85nHVF1wCLTq2uo7U
xM0BLjG+HKtZhjvCLqQ5Kw1QPf4pECjrw9xiVsZgsaMZYOZFY5WaTpPjAvFwN8DyhdtmxO7Iu0Aq
A5liMoglZYa/tlhYOcOYFbKzfpst3eLmHeO517NILMc5II1zUmUQJk9A87fpVR62Q3mMCh7X4EOn
OdsJqC/N9qZm41HARXB4FYrKJqKSUbQiMSLw22TMhWdBwtSPmzIvoxdN2YBujbLEBMdgcYbp4GRp
+mTIk+mzmlX/PqpM2bl1n6nQNVOcUNQFmudXpOv14xm0+uj2wVgHx/sj85LFVnTxhZpfJ5PnFiuC
OJzIEgW+TZrmc2V5/IGkafkB+3LZfCiSQbId/78be2jFMClfmwq0tNtUoBHnMqK5wVLAMtZXoh3o
h0AGNTlguyLrjm0VN+kBSznizdK2lu24zN2SbwjHiAylg6x97qZs9LJN7RKkBriKN9abQpXoUzph
wW+nPl0WJLDsiDUbJJuNoAibv30XGu3XYWiunCgrrvtOTDvHuRveOA6qBBbWQLbA587t12Zho9Ky
hZQ0yk50GcQhb4rohL3Eace9Lx4ILRAuP2EdEYuP56Kiuewj7ClrPwuwRGNxP8Cv2NB79zvkxQMB
RoA4BKsDVHYuBUu2ZGlnpf1IN8WhtbT2moHwa+0034+SoDu00iAj6bqQtLEQ46GMp2oE1Y9U4ZmC
zMfKRpO3zCX9V06Fe8GYNxmUv63TFzkAtsBGor9E0y8Uy0JYxB7bK5NW405puxvQ64aVJrjMgvUP
MILn+osltgwXNWksdpXddUwLcyJ5OnqTLRjuOnH53QkEZ0JzhAVYjnWyLbcSRJwV2C4yflEq8rgk
QerW2dIeC94OHlXjXsq/cD54O0dQGYb/be9BFGkRATh0SB86IS97jLpfoW+r26dBPsiPJCgTttOJ
XfBI3IHA8iYW9tZbSpsQC8euSXunMn7k9LMbl2PpYoKvD3M1Vzu58ZIoGA7gAFCT3lnn0l3ZYX+M
G38pFvM4kl17wAhoOhSiGHZEXYhmsIYI5BUCrRDw3E9SW3PVoej4fABL2zVtepgaZ9zx+0vWuiXl
S/2+BQg4TbDHO7fGR2hg+dKyGTO/eXg7m7jzp1ypf8Eb4fRgxDVSO0DP+alGwLcZ01zYqlwKVxSl
fTWraXbDqSxOQiTk+zkWA3oF9zvwnQD4e+v+jhk0OL7S+HoIwqNubX9SWMjDlGvau02yWuQcXYAE
xt3XdYwOFnj9hpPb4KqXSQtAUECXDWFeV2EwlQp4ZJovqbeMnPiVwfS5xk2Fg0wa9un+xHwBw0M+
1hPAgmC5DvOWc/lduaQRV9DtqBNR+TEN08+2XnpxSGOjMy9nqi1fznXajFemYboGAOLtm1yx9nEF
igzT5jFK8h0/vgAnkAuw4Yl7Ltip2mKuopmTvpm4Bu8k58rFvgB9ljSBvun7uh09jJ1t6xo+9L/T
WmIEfL9SLkURply46AKKDTcJN/6Wr6vRtQXgVY3THqZMxR6uETvX90u5lBbgXBx7Y7gaiV9wrvko
1GKKHYwddFrPz5u+SI7JMJuDmaqP90u6AKjXy9moVF9uLKFfOBfVIaQWEDzGx8rD8GIssKzhUcw5
lDcVmfogijYp3diG4zUhaLYtHTHt7Zy9IdIFveKKpDHrTA8NxR2UxmOOCzaz9Qsbpc/7tBrcYS6+
ezVf4bAoJphW4Qtu0BGeH7ZRImVjQ60fFEkcfGFHsIU9my7bQWmr1jahuy6m44oFpgwr3XQuKMrD
da8iDHxcMiiDQ9Y6vD40WZP+nGWBih+PSVY/47Qje+T9hfzL1m+gwn31lcHcpqe5weS9KDP4Z5bS
px20/XjSUfhMhE3nFbNROxjxov+s+4ZY7YNWMXc+P6kuGTBiSsGSCD58SE1QPVNtZDAjwewgGoPp
KGNgVFx3tVdtmuSnkXZ7znPp0BgfwH/w9QCCbanTSXTL0saYYvWNTD9MSdnaK6XzxLpVwQU/4oUl
3Sk8F0IUEBxfl4CBO+rqtvCA9hh5blHoTKd7r1mi2OWlrU5JM5f/gijIAnWzpmGg5HMVczn3RS8j
1DgsMrzLYivw3Q3lIt0ol2G947kX0it2Vf8hbA3UWwWckHEq5IwuRvUREZ4DFP6hX7L2esL6WOFG
S0hfYtnDaLfEhvDk35+OLqUBtBvrYF/AoNtsxDB7FHZ2jO+wsXwei3R8ipsCbAcyX7Ideqg10bCV
lFnfv33GFHii6mek11k2R8Hj0JtmJY5RXQU76rx0IDClGCFjUfTurRkRhctCMqCuoE/q6zRY4oMp
ePkvSMEK5tpdr4PcO0sBXYI7dkWq/CjLo6slzcvDEtfVjh9euHJj2DoWBCwm69L9xhFBYE/VonLl
l3VW4a4dbV/P3LEuAhycnkiVVwVzdFWxKT60VUBcB1fdnmJ5DENL0TsH4ozU1bpunudJWLrBksgd
y17Ku+AJMfdF54XvHtk8YTCsUDHCtVebsN4jZZ7hqyiOpIjIcaLS7Kj9YvK7LW4TLLhLmcckDJVf
DQO9CTrBPyFUh/zUl82ovLwRqZ9UUfkWFwVE9RjLM4M42mCp99ZCLnk0bhchma1DYqCic48uBcP3
fKhB+c6YdO9tRGMP+1vhi1QW0Y4XXPJoA1C6ftHhSvxtVAzLR6ows8a1Tod72CpZDmGEncf7E8Gl
lA6i34KoAgF/p45hjXqMDdKMH0Wzvo5aww4cy1qgOcriZS2GaGdec8FxOBxA47saNBj47V4PLr1V
XWUDBVi/9E+CAV/H0Cy58xwamLxJygL7q+2/kNgx+uaA1qB0wJFtRqgstUFoHAjlXRa4aVGxwzg6
0me9jHeWqC/oE3cQsDizzk4QvFtPjZYBX6cRwWpxZT1FRXwYqjK8ikyberjE1x3ut98FhzyTt75/
K8VmpF+SIUm0H6o49pqYsee6bCd0CHWyUzMuisI0g4M7gi63vl9NOuuxb6v8vEpyN8TK64uxdsZ3
pQp2DnVJiSj26+1cbIkDnZ8fCl8K2tZY7AqvxzIe3CAe62PTmu7JMprES7B+vQOu1qjdoEh8m9Z6
6xJf/7BeJz2XN8S5wxfehde80Tq77oKheJcU9P84O68eu5EjCv8iAszhlTdyNBqlVXwhdlda5tDM
5K/313qa4aUvMYLXNmAZ6svuruoK55zSqkNWGeMP1568/CT1IyKfNr/+psuGNLh/jhvWTmkDdAa9
KQLadXWuiyeV99eNgr5utZNVk/zxBokda98IOnBdsJF/a5jfQE4sPU9yIYyIIKOrH9EJGd7a7uK8
dRrbfozCrvKO7FAX+U7nRR/vf6G2ubgk4ANBsSjJyVN/dlU78vlCmco4iJ3KE0QC4K7pBhWu+di3
IxBjTVTUB6eabBK1mDYOH6x8oNM5KEVdHfWwNy/NZJvLWeo9LL5wU6e/jIrrZkfLrRuUGDSJVHZG
U+xRCLZ+O+qnUnRN/nvdz+5BkRu15QGMoIwbo3+kOOewj+P3ebJ0D54KWMnNWvXkzIW78w5smR2P
AJ0mCey66SaGThXmbjcpV7VQx6PXL/olLKzpmFXTuHMJt+wA+I5UYiCKus0xMDq1KJckKPs48y4C
xMdyAOmcdz/s0NB/uIOhfZ8UEwRKEpvuY6aRAe3wZ7c+FxUyXeZzNHvWnS4j97rGTPo4cLUpOXlu
E55mJ/q3neNlx8tsPEUmVWOKj7LJjczMy/uYZmmkmnMCsMare9uPkwiaVNIrzXKIC8CR/mB73XhK
gJqnO3a44eCo95BAUd2QELDV0vpIXdQYWuVqUL/u3xaDmwq/GSpy/oo/+9iacS92XqaNjTVxqhLS
KtkZ61rHFCd67aWZcgUj/TkXXflZzYvPRecOOye4ta/sJgEgWCKkAOSfP7Pz3LF6RdOr8JrnzRT7
qlKQzcDlfBCjMzT+ALSgBDVRFXs5+dYXwmYkDeA46Tysno1Z1bq+y0eaz3kXu8esVkrVh8uXGr4z
NctOCLzhEsAKcnoGzwZuYVU7cnol5ymh3dxMtR5dvM6BjurOg9tdq9RqKpS9XPtX7OTRp1KJ2nnn
Cm0uT0WbsQj0Bm6K55kyxJirGwLQ0JXPmlfA54mcds79ljBjeuxh8lZX002rJhDLOChf7rvzDV8h
FXCo3tNzx4ZWn4/MUaXNTRoHaTE4w0/4FF38UHH/huOijxAfatdJS+gPGXpcPcj/2te8tv6Dwr6E
+8PsslUadWsjBggn5qwGzqRMbfQmd/vUd/MeqpATFTsGtMEJd02XhrCkOHCz1+lsVbp5tiiOcm2E
rURvvdqI1DPyJXFJDc0wg8qpagiIvdKijRDbatF+9YoonQ6qHuXOWQxFk14c+JIP1qQo/ZtRUean
qae/s3M1twyBk8G1UVW8zVKsYqxVr4kU0NRjbyHCl0U/lGFozEOYNegl3b8JW86MS0jrGWfKYazM
rshCNLQyAIpxaZMYWaKyfNONFyOIjDr6O8F+5vP9JTeiJV5EwOKMkqFmvi5fEOOgd4DUR2DOWnFu
a6c6L6Otn+6vostfvooLCVRsT/UAfMky+EtPlrlLMlWuRcSCUGfxU0SZlrxpLW1O/EZfsslPDD3y
HubOK6dLrzqLElT9aMFuAbyVBpFu5OlXYZpx6s+N0YxvwnLon+IxsbtDZwy1dZiX1Jkhctj9/KCn
Tt18TMjW7V8KUVjnj0U9EdVAgdjTadmgN8DwxGhA6dINvjHf0dSmDIBrEihebniBZi/ORBkBqIsv
5tmL3vapWjcHPURR5dAvLTtcWGarnw1DyZ9qL4P6dn+3t86UWhG2jDQqaZq81M+eDVtTWnU07CTQ
nLAOEmHXhzgHznd/lQ3TIK4BnwxmnV7WunAhhO4Oje0mQeFY6YNKOPw+65b64iSl9v3+UpsfBLyB
f2wcxvo5Woq0SZqFLdajaLpMAC8OGvTDnW3beG3l342ZQ5chQlzd0VwVmUrVMgm6Hly34jQi98cG
MEFVwxerTb17G2lxffmTb2MT0dEi/1zngvkyGKXoMEA90qLC92ZTSY+VcPOdPdx45SDfSG4BqhNQ
GuSfP7sU4ei2lR3laZBFMSkR30iRMnF0o/aLrAynixe6Sf1E1X/4jOpK+npANPkOH2jBqUd2au1o
IrHUk5mh12LODWmZp5sHUYj6qWzU8Fp2XXy9v68bvpRPlWr/tD6lFvrL70XzIaqppMZBYXXpeQEW
fDWX2jgmczx/Vad0TzhhYz3qmUgOAzKgsbv2cKC6HEgIIgqKrK1PeZxa/pgm5QXlpumqivIPXiZ0
haHzuuBLb9t6jjEi9BvWUTAPDXiQLq/PM678DH10j5yyYeksxQvIyAqpXbd6lnDd6RiLLApaO/EA
ytn6G6HWWlCjJxbcP7XNpSjXclUlEGUdhKCmquWVTnY4jLBNl7TN34Qich+Uoh93KDcb5o7mJjVB
qTtIU3YVXC+VVoxDn8XBggZw+WZoQ6PxaxJC41iLBYbxHKdp+M0quiX+ev8rN1B4dNnAldGUJea7
uZyalQndojsdVAtaTxdAJBA5J9erfrZxp7/JJgLPc7+I0DjSNJ8RAgb7Zp8dO4nzg532/XxQjNr8
OrSSgy363nnsbf6Hk22lyVOkWmb85f5P3joYIPYaBC9a+1QAX5pTBjcJVMvgXUdhRYcI4t6VKlD+
QOazJy24VaMGPYBOlmzh37KHFBM4BE1dT8KY9aekESaBcDWeBj2qDoWI49NYtNNJhElyFE2sHkSX
7Ikjb7hL1E/omhP68SKs3VXbumOTqo3su9bDf1U1DQ9oZJjHEDHTw2wm40fXKn6FqRh27sbGW0e2
R30CzCgp37qtvMRWhVYuDd9sCLsr0iD2e2ca91RHtpASRCwedobc+S1laprr3phUGHuE21kJyV4x
w+PMfL74rBdG8x0YTPq1K5Thq9UN/B/MNC7JNeOqqs7KEmf2xekWL96JRjecKEU7KOgaejrs/8pp
51rexnTuwco2TfY2caLlP9uLFiSR5tiv57D+dv9Wb5wyMDQ2mhNGz/kGLzg6EdIv9LrGhr6LZ//n
aMm7uLHfisj+2mjG31UJXOX+mht+RxJPHd5hMME32W47QgposgkAcmRU39uwmA+qi5BgNDmUaZf6
p5rZ5o6v27BeTJfEAsOVlLzVvtpGEXeEvpAtvPQ7labu0CI8haDO0hzvf538m1aBPqGgBHPT3KZV
sAqi7MayEYo2aWwn5pAclE5Hdqm103ryhcDa/MrurOFYxZr4J2qWNjx4RaO8Hg5HHM7ucqS0z9bO
qmpyZUgEBQWtVvTCdzLVfmodK4QYZHeien0gTPOZzIY14XqtA2GrnYC0mhRLxqTPQaJU0ZfGitND
YgziTz7s2VLSeTwL4oZEGaKpGMJr0qblRfTKd6NOx/OsZeMfWCIFHchyiB/BcVy9jgXaEHoa9nBm
ikkJaj1WH5cG5+DOVXdwp9a83L83WzcUMiW+yJMw13W4VhsGxbRchFdDzRDBQ+BZ7U962xW/DG3R
9xCaWzZIbiRlXuhx3/TOklIVatvZcD1sq438bkqK9MkDK5Id9XmuKbCkuhb7iE8key3prQ8lDAec
jJOX7ciXR+gZkz3GqJZcFzcdTnKOxFNZFerBqExxev2eUsGjrcwkVcxxZYvKlNizG8N7ElW0nHv6
rIfWjNSr1rt7FeCtrwIfTIUEXChopdVSXTyoNQB155pVY/6+ULUI25udw7DUYo/BseViCJxoC8p2
602kPTpemS0qjcHa7J33AsWEoA9N9QPQfEQDtG5s35JmtQHE0vH7SGtmL7/eejXAUlpS+FgGcatY
KDIzZRkLi8QwDkM10EVY9ueFsskvNY/C/wSa1u0xGnPjK9FCvofn29pq77duBYV9fsH6AtHDo+3g
OVenmIt3XWFP59ptmQoAhvzr6y8Q5UdgPHAcQeDKn/LM3TiViBOLhu+16ofw3KTGchRDkj2orf4H
GG24lNTvWYgzXbtsQ5/JrRSWaj13eaxtA6UYQG6HWKSTP2TN3oXduERsngTTgAO7bY5EVlr2yeK6
V4n+bcF+WctnAYqxoRJVRd9nK+P1ako0lUgiqodZb5Nf9zd3I9ADlMCTjJeVzKeVycxR1yxGBXBI
ry3n0LRdfhzQzz/dX2XjtsD4o08JwgK607rdZrjIIOoxcO1+cp3zKMwYFoE+XdIms3cCm9+h6ert
J2xHGwz6wIb0RFy4fWX1nncdejUbrtaYZEbpd/Q2/kE0bPS+anUeMgui7/PmV6R01uMymcmTVodG
/WUxEeM5mUPtjE8jekXTeezEnH9RxsFpgqybHQ1Bpyoq3hZaXHyqavouPoSg5cke2l45zGOTLY9D
ramfaAB3zUlBOry/LHM4//TSGp2NJGx146yPszj2YELLwzh3cRJUOSMEZNlZQ8oJinH8MI+h33i5
901zxnn6gDCf1x50IzG1a5m0+SdtaZlZ0UIaH45661X/tWafA3Ku27o7pEWpo3FnJ93fSiX0EJW0
nqvkijb+aGfuPPm1nZllkHeDGOgzmHUC5s9jWobapx0AJJU22Ukramvx3do1n1JvTrOvaOQZ6s7d
2Ii24faRbGMFXMC1ec/NsKS9tDmqWsphHNM6UIwUIazSWoJBL+3XB0qsJ4FOiBrdqoQwWTwKrRF6
qjWqzoeK+R4PXQ3walC9HdvauvX4QChUDPJA3UD++TPH1Q0ovKA0GwWxZWbV2enLKDpoWeS2Zz1J
yz0E4kY4wcsnxzdA26LZujZlAdiB3Fm59gCDzjyP0V/WPLV+inzzMTVN80jleNwxt81v5G+VYrJg
m9aWLeyGiTAq7PtyGNuAwwuf0NCy30F07k73nciWs4R/jkAumlA06lYPXutM5jy2DX0JACsDHSE9
omhhNYmNak+TukcjnyvzkOSq+QDdCjG2NHYMcb3/K7Y+GNyRbLlCOb5596GmFxAlqBbW8Rh9Bi1b
Hsylcb8Uit7u3NTfj+jalXFLqZ2DmAWbvPpihgU6Roe69rUhEJw/9V5Z/aAf6tR+nSdmfM7zZZzP
vR6W+ZslUdLHqKOB5qd9Zn/L0ON/KvLa6wIjt5TyiGiaTffWAtEEBUkx0w9JZHvlgXldTuIrcd98
FnmZuYex7VTUx7pMKQ4lvZG/wW6kXwhVS+UMGVt7YM5RHvsjAidvmihM/oBtJsXmPTmqAljm+h5P
1OQUzdYVVG+Kz1lmeJd6tpFgVidj5yw3Hj+pwcE6SG3zBEuLemGgqe4h2IDFZF2Oun2B763qZOcY
typJlJppNdKYwRusU7Oqrk2vKUyOMTGnR1EZyGJYUsvb09jitDTNf2q4+KfJzr6NQ5wgWKT9un9r
N5wsP4EqEqDdDbUYraeQWXoKZooawFUxs3z0q6ReTgCFtLOWldEOaGDDTHB7FPh57E2Jvn65te1i
Z2PeojySAW/3y3DID6anJJde4e29/22bp0gMjNv7XSdbWYlYJiO1ekO5Wgz8uaLuNV9Hr7F2gI5b
q5BYS0CXVFVdF4WSUjAlZgyVaxuZM2NaAMbrHRje+9+yeVckSA4hVUrqNzlh5SqJO80U8NWwcQIP
Suy1nAzz3WBT+ba8afmPnrVq++bg2Y9GYS3xEQSY/eH+z9h4ShBUcRHDw6NTw1g9JZM3FkwXSijr
Z1N8nWGZHoa+SU+Epig/e1N/oW24J/e3tajEKgE/AFsOG+PllRF0pgozGulyxxHa66oSPhhaW77N
UfFkeEIpPuq96HYqDBuPCqoxXFAcgRzqsXIBTSsSe5oQNonipP6iIU56ijoBSHExkuOkNMWbCaL6
IZ54ObXyTxgYEm/CUCwSnNuqjYpGldRmwy5pcr4tu7o8al79K3SpNErS7atNhboG4A5w6DDxbtpf
qdZpta634TVeHP0vx5hjSXedd2z/JjOVLAigWKYEOvOPNKVnbnXWRSc6uhpXr27dD83Q1O96T2+P
fd47T6IwHEh4NaBE8EuvTjRYGlKJ1HKknExM/3JpxqWFKfMc+us0xL3qL3YsfrThssy+U1rhHkX+
1lqldDjJNy0p2rW0JV4uF82uuUCyZRrMQByNKEGl5Chxpkv0bnAmYR+1mkLoYSnrbIZvWOe6n+tj
SUxtWWm6g2fZ2HYSZI+eJdYjhXpe/pg07Ww1SsuBby+Rls0A7heniN34more/eaqojfPUWs4I00l
i2Tivs/YWJ6KsnxgCI94TVduuF9iYxjp8F8JW4xD1VFY8rvFbv0yS4bHtgTVWee586D3xdfXrwzR
WWaWvOU3zQqPiUkUWZqRByBs0Cip8zdqaYrJN4tyvGhL5L5pGtEfgVaHwf2lf09LeRGiofcEtpGA
mxYR4crqBqBQxgwQzxqv6eIMD1nTmdlxLkP9qA/xcpm0Vnms09747s39QNcoac+paoS+sNtF9jAb
HzW8+N8+LPdUf268qRSi4sHnP0AO2YaMCJ4ZYWVAjI5Tfbj2o2J/cUsksMp6cS5wEJa/Gi82Pvdm
Pn6+vx03YQbFN4tiBoxzEh8e5JeL1oBrIqvV+2ud16p6Qt4yv7ZOnLwbvUppzpAVzb2RdTfvsqz3
mQicycnIvFbrW4+eu55G9XD1SvJeS0/mk0oZ/HT/wzZXATuEGAaPxQ1UrGsbswzDdrg2TW/9g95/
/Y7ygvEHq5Cj8QqBF5A9kpfbJ8zcLZuEokUzuhZizVPFSB5vr1Ow9S007B0VlCzyEWvYWztbZj0P
43A1O2U+1M0cMzkt3tV4ka52ZRn0sxldBaBLI5ZfRYC1oFJhozVwNUfHvfR6FTXHMrS192kkrORY
A473fAog1tOSVNV75nxW7hH1K8YqzHXu7j19N1cT9gY4ElTMCWjoKEj39dweHDj8jiYWKU6Q6b5R
UnVBgFytYt/2Kl2h8T3NP195a+SalNeYHAfN86bJ1tVVPLQAwK4K4en73uzap6IOx51bs/llkGVh
wvCu8yC9/DJGUFoWeqsLIQyyvZXJ+Ma0T8RH2rf6RUtib4/Kf+Pp6YdjavTVCNKImlZWHk1ocHPq
83XJzfTkAWd7dMom/TQZce1PWuRcdK0S16hLotd2EOXK9BL4F28MteSXn2onNINAgahXRRH12SyM
5IM500uwPaXbcyzy73pxf+VavGecngTFrpND14Cr2dXKcgXabJ6a0Jsfu8aOP42NWeyxHW8DCRZD
9Q6eEcEvEczKW090CJGdYzTOmCviqzHq8RviUTc5F2MzeP5gokHmd63V/TtGnvnkDt70Lk2pCO7E
EDe+gTaNVPvCN0DnomXzcoPdqKsHxp4sV13o5XvIGt0ZJBha0a81DA1ZIzJ8Xec/UTF9ucxQdJWV
OlxZLliY+pFA+eLgadG0l3tvfc/zhVavQ6bphSJyY7lqhWK+SZtBnIosfzXqil17tspv3Okz38J8
UeLDdF6ukI1bPy6H5UNtpv+G+jIc0Z+fdiKtm6ddLsf8LNi+oB7Bl73cvWZB6jFGJuKKHtZyqhiY
EiSmOV3GdBF+KTWAxoKi8B8c2bNFVztZlrNmLeawXF1r0i4oDxUPkRj1nft3a3QaBRLsThaEuYQr
15IxWse0F+yAGdfz+1ifxalzUqYyQ3XYWer2ahCwI9EBFRMZmRsxdEVJ4641B+NaKll8NGMQPGbf
7lHfbj9IriJNmoozHOOVx5IVSzCHaPUzqVoc9DkfD6Mx1Z+Snur7/RO6fQcArHAxYBAAHb1JZVNT
z8MsUY3rDHXad5nqfJqX1j11RZEcR9C4X++vd3sN5QhMAm/JmYDRpL+8hh23O4fszpwSLx8uDBMT
P6oqRbs3qqPklOaM4faBsqo7hZitHZV9AhQBOT3qSy+XraAIO+hEmFeAnPERpN5wyDWa5ZViqDt3
fmtHqcVIOAXbCgTr5VIlmZxQGVN2FXkmgrjrs8+RsJfHheklv7yZku2OX5RG9PLNAWtG0MRrwMtz
I7dsIZ6b1DHsz5GRaH+jDe+IB8jeEBKMuqhQRGZGgXXJm4LZfFT6g9LUq3/vn+rG9sp+LlES4QSR
7uolCvWxzeukRIArZJpu7zkMfsxC7eS66at10uiJYB1cWqLD28buPMd0qSJo8UiUxhdIcfZxYW9O
9z9o4xChxmAUAFSppa9xo1BArWLAjRKtCIfWnIWURm31R4ij9YW5Gkw0vb/gyrHQieVhQ7uEGBPk
DwWQl7fGAQVQ0mHKAyor7qMVIlfdmfFefrexChRoXhYQJACM19l+3vSMMG3zHL5OVj4xgrI5LpW7
R/Jc2bj8Fp3ReZRxdHieN805xxRZVgP9DEyt7P28z7QTohb/OIO21L45oz3jRyAhdnZwZQa/VwUQ
Q1JHDZk+7iqi7btOg2XR5MFoJeVfzKVpH4aQoa3oDqeV51eZkDTiPgE1juSO8T5z6af9yW+AFc3d
lByGNfRSMcx54lHNA9Sb3Y+WQcDFlCvHF1GYHuxkad4qiid8e06Lb7nZ1J/vX6KtjSfXoZ1HMk2+
Kf/8WUhR57R+h6qpAtrMKFzOo/E9dGzhE591B13Ry7eQw/B6r17VgFKPfAB9elR4Vld3GZup9WZR
BQtksw9Rp+oXYU/tl1ad3Ldpnf1KwGB8u7/mxkXmftGxd2hy3VZvtKrMu6UZysCrhPFOVIrwY0XN
r/dX2bhSwA94gHVqNSDuV3UalJoAyAmlDFDedX+4Ik2z0yjGrL4S2aB2VehRWTHVKEptP6s85E3q
NmySD/d/hdy/Z/5dXmxwbJT2ifRpY61bW2Pnej0jnatAFhO+hebw71zOlq8kvf7X/ZW2dvU36JAI
EUe+fiVjrV6YVlhUgQjD7uzlkXVejCm73F9l83vwcb+fCkrLctef3dK4TeLGbJYyaFNST1qQjV8Z
oUOmorwS7vR765jsQUkBoo+chv1yqdayqrRkClrgOJP+ZTRyGKG9gu2+RQxYRsB6NdhBlMZpfaQQ
aRWvNw1KM1QywOc6lOtXPgmdGJC0SVcHS58px7Yf5oCZjP1prMziiH43Ec/UGTuxzsYpAkJyDJUq
utTxX+3vmFYRs7yGKhgj1TgbYV/53jTujWPcOEVYMfRAZB8f/Nzq0wyE+cn1wzKItdz0s6SuL7Wh
o0KnKMPp/oVZ89TkMbIWBRGTpFoe58tjzHJq96qCtbcibqaL0YSi9RmEU7zPR0bQnWuA54+R3Qzz
cUAPJ3vUYewpp2Z2xMiUXq/cEwvc2mK0eRgaDz1Ov5F3nIo46hdt5uOHqfxX6GMHGZ55oTs52+Yy
vJ8grCi83eia9lObCeKdKshE23yIxswJGECrHO9v76oy83t3+etBJMo+yA3ZXiS53kyeKANr8DLD
Lylm2kej6FPt3EXx+GDOMUrT6aCkl0pHAnLndDc+0jNJB6iHQ0Hiwr48XI/5bpHSLk1A68P4S7Gq
8UHzen1nK7fuEPrLBORSfIIy6WoZOg0jeUnRBJFiqp89pQnf1Y3qXJRGaw91ZiqHmsl5h2FYujPD
G72Dnk3iL0spsp0UcsNw6NFCmKZnqZGOrHxSMvWN3sVRE4ACKZ8G2yq/UiYSqChGw46n3dpaMCdk
qyAJ+Ef+lGeeNq2TZdJSWwQ9Pa3TUEKe4w69sgUrwUoE41IHCtIJkd/KE0B3DhUy5SxQnRL11pyb
xteM3oCN8nyqZ0rx7ftID8dXzhX+vTKRjsQmQAK+AcvnJaFQKiAGUq+MPhodvG/oqf0OkfpmF/k+
wEM8IBRjiStXBxZ6TVe6WpbCIXN6v4T26Jez2LP12wsql6FbAPvVIEFdX9AijxIi1DAJokFg43MB
CcG3msKrn4asGMPPetwt6sM46q1xHtQhAcxeWKVyogOwZK6PIEeqB/ddw1qu5fcOy7aoJOSSoKxj
u7AuW92J2zQo69mYeLdUwsfZjAp6oxMX7qQW4RzUTbU4fuym3r8G0W/oww9T0zdhnMhGVpdlvtow
j9OfbKP9rs2Qk84Mk4v/aps6KxFEypI9psqNkbGZqECAQYcwSoixOjOzH8qYOU5ZgArM9Ca1yySY
qpzplHnh7Ty3m0sRXICmRkLkxn8pHk3iwluyADZSdl3aWPenKnOuyZJ/vn8aWyvJUfQkvwBVb/i2
UVEBYYu6FEMrbL8zmi7Iw8lAWCFXTveXWg/1+n3w0F1J42QhCq/50nUMKBZHDBDLAmJN/Wdl0ieD
umZ4nxUYXTMjj/Pih+AMfqSpmqUPNqxb19eiXv0Oya3JD6LpTYPedqb0b616sD50eWcpJydPnOow
6W75jxqGpuYP7WR8qVxmsfp6XoA2HSNj3vuazY37XZkHXXTr+3UBkp+Gexo4IwPKwBCnvlAbcRho
rOxEfFvOghQesW4I39jyKlRhwmVcgltOAzNhAPDSz8kj0K3ofP94tlbhyQbnJmeUUTJ6eToAcjsv
d5w0sFPPPaYxskdVMtvH16+C5fM2A3S5nV7A7NqFYn6fBFYxW0fGzRlneIevHMcibxoeHOyHBLtK
1s7Lb0ngq8QVsyyDMdOj95OLKrdl98XrnTirEEcCKAelv24yz4o9lkYfsYo6Nyd4SNkZnXhjJ8rY
uGj0QaiASdF2ItaV22kUr6L6l+ELSjE7JyfKWpQXJ9ctfbtmeM/ONbiJ3Ng6ySaRxFZiqPX7nhUx
EozdkgbAQ+ZrP7glJJIcVp7HmOCvkxYjCq6mxt9qnu5lVvKGvUhK5dIk3tZvt3ejltbGji0LKmlQ
eY1xbIxIKDCftMW4TsyvfavF0/ilBOr2H+rFzk+hWj/v382t9aVks0ViDsN7bQF2aGVl2XhZMJRF
NZ+J+twG9nDeu4HtZVnE8EDRfGiB3/UnPBbDDozFzaqdAEue53oXEJ8FtICg4G3onCMRajB9JQti
dSguxtTiiE2gWx87LS0/xVma6A/CbPdKzBvXzKBUS/pBJMktW10zBNFH1G8txpKOljEfQrcUlp9Q
/QZ7C43h9Q8cSSSORpaUyNvX8Z3hgMawyjKoxKjqvsZk7I/CFdHPyZjtvZBuY0dfLKa/9AaZGQrL
akIy9j4r3ihuGh3R6Vf9Nv2spOq3KrSqHSNalXql/0EegFYLSri41LUR9Uk3Cq82s8BCMXrwszwd
/2pL1IaZQJ2orlRSKqa392/vmsP8e1Ga+5Zs9FMcWCNdqxY5z4FJ90HhiuUDOu8R0mPTfEXrjiHS
djmeB8YmH6fU1hirWQ0H8A/Nifix+aedyz36y9am8zCCS2eKGpCoVZ2L25NMre4SWFgpH6wO/cPk
ufVjH8XpMSRvAi6eMeX4/iZsPGLSURJWU7JF5Xb1iKHjlJW2UmUBM9GXD10FAEyoivvP/VW2jpdO
DBRCKZBir6N3JHqYqN4RyCyxq5xLJlOfUSQQnxrQBx8zxqTvPJpbtomNYJbYC6a+es7sjvC89RT2
0qDePCxTdbKinhE1drEnzr+9FHE5dVAenXWTQp3sicEZRRbYjW75lpj+qU1tOcyetTdgZfOooL0A
EqTDeuMC0jZRlBzQfhD3afmoOsr4EFJb2ym3bjxnUlGUKFqyym6ElT21aXtnJNFiqP0yvCvDNpr8
yUsWcUpQ5W+YwhwZ+tELJ+E8lHEV/3f/qqy1vaRVotuBJ0AQidhqnTUsZus47UIon5UuYo4gx9Vr
pKA1EChLk43fDC1x8q+lqBjr7FJUH/1EmVGf9zvPqT7PSWqbx7ROm/awWKlZnkomadpnr/a0vblj
GwfCL/UgB/AG3PKfwBmXRtxgO21LVpPlSfGG4saO6Wwtwj2mLUwvk2VWV3kITaq/oKuDhPb9hcQm
861lrnfqIRsGKnNLLjH4dWqlq8cMBaFykLKggTU2zkctnJN3rTUlf8+1m38WxOp74wK2FpRaSdQL
fncsV++ZA6JRiYshCpSqEscuQUuzm6L5rass3w2a36f7t+p3aLkKEojU6Y2CdJUZ/qryVIeM6xir
IQ66QlQfDHuJTR8qX2wd6XmXn7QxHKq3bqjacAXpeF7Hfhko75vj/GDPi26djT5z02MpW25/p2lh
FOAC0ng+2l0xGL46Z1F46NJyMg/9pGtgiTUjjk62lxgZVW3XoA4Dx0fxyyLVlEPVRBkCulKC55yr
RXX2nFRpHkToGp3fTHlqHIvUaehag790zo02VcnrfSQFcQIK3j/yy/WOVHpputBY0ZCZzfk0ugxQ
gmxjHMOunXeW2jpsuqrE4pi1LFC9jCdy/mikvAo/YPLmICz18q+uq/IfcBfVQ5Ip+p/cLmqZCIGg
GcXDvrrOIbwKs4gY6jpqvXOMKuMp0kzyTSaxPSyLsid9uGWjNDyp9eO85FSql9+3FJnaA95hhqyq
tsfEsKJjzXCeHc+88dKAk0aKSnaob7vTKjrkkfBs5arpnQq1S2hv2qJpPyIIkn26by5bH/R8KXmg
z2qWEMRQZ3aRUWoZV3cwlay4OBViVH+wCkwDigJAJhBRermKbS9TPEjGTJQ3jZ9RF7/QxdubAbrx
oNE0BHSI9JtkMq8caJ7EU84chygIHYOBIJmmnKCDJ2dotfpDYTfxJXJz9Rjl+Lz737d17b3fqDwT
zgbaoC+/r1c7Hd4RFtZPc3JoMflLNeSa72V87jgU1uH+ehsRJKVLhkVKLRGC6dWt96CFkYc6SJaZ
s/LBbDX3nFH+O88RE+bQUMkhzs57gMDNReWwB7pC/Ne6RtXRbM1Ty42DUdPDUzYuw6FvYitAksY5
DpXVXT1qqjtR64YpIO/EMEz04OCoevL+PrufTmuLUFFa9G7cUnuqM7sj2XX6L8rgGef7m7q5FDwq
0Lk885j4y6UY2GgPbs77WyaJe+7tMPcLpYieXDH8/IOVyPGAkPMAW2tCU1p6hVXUKLK5lhD9QUsY
oECDrSq+F4zF3MMer4GrMs6C4EOAh+3xBt/oB0xRXHdZHAdt1/ePpqtkZ4dx94bvupH9qR1R8ztZ
xbIUBzNszR9mZYhHsRTFXnv2//wQ2fzCWGgtrq5tVAtHVDlq5IkmjGOsiezC4K/+POo1o0wHTyEH
FANboVXuAdUsvFLYN6f7m79hq9I78EbBniMJ018eM6yecrQm9NjbrEdKLXV+FobeIumUWRRWbOcP
LrBB04/KLkB+Knsvl8ur0dTDSo6Sl/W9YzX1CfTELv6nAx+9J0y54c25TfS5qCJTsF43NaZqYcpL
VSvXpBjHA8y85mHOVDW4v4NbhiLBi1KdFVzw+hGcC2H3Vg75d6qTdjha4LWucwatyx+6xPh+f7HN
4yIPQn9Hip2t213xqNpVpcM4jKFvWYeyqzi5UKMLklbacVzIC3ZObGtFKAgIblHoMm8GadX/o+xK
muPE/fYnoop9uQq62/sWb/GFcuxYArSAQEji079Pz3v5j+OKay45TKZCA+K3PktaOOQWcNjBRIBO
fpkKAxhDT9srHuR+aTIuivCbgP7Vi8NgBCv8Iyj0DwjqNAZo1Lihp33X4zMUaQWSQP7dVb6K4CjL
UFdg8vDnHLsFtwirPZTiWgYGQIwc5sEHDcLaHirzy/mCLQR8xxOWHf7+Dr84MMdVM/Q1wfgD2elT
VVhZDJeYDHEssz46Y0x1uyGxBWkBG/jm5X328TkGu/wIXDiuosBqzo9v938SBlS/N1/1a3e6MirC
QyzaZWqE5O1WGxvr4LG12ZTvExGL7kTmWTDVrZyBjIm3FtCYsA/LH2HJsEelQ6JOBiPWBy7mPt/3
WZuF3xQOXz2Z//21nyKiDnzPl1lAWwTAkSb1K8Tr7BITWGr+R2/7/38wwIvFUGuHW9Pnxo/PPfZ3
2FFj/rOt96HbVK0kVsdJME/XyoxpMy+L+ebNH9/sp2bsSJJCBQlsNbr9T80fpJf1pDRqhkJW/e1i
I0/yIGK1gZN2XeY8aKCBkf7E6wmb1VTi9u8H74tPGaicozADZo3HNPjvw7Aqli+2p+w0j2UiG6o5
Fqdltoj4QB2MOYgPC/NdD/RFGYr2ACAoFLroSj738QKCZABiwk2hCuLuPDJq3mfWDmQLeIRDhBFr
BAtAQAXZf6Te/POKUZyhSsLOBUPyT7fr6NgPMTCYp8HY5teqCEcs/FhUx70uvnmxXz1ZkG6geXgE
42Et8u8nW/gcWD1x3IX07bGkn5LoIPIhPuQjJpc0nLZvvpSvniq4FOiKAD8AKeXTBXsj+gQIwf6U
0ZU+2XkYAbia+p3OIl+cdbOpFEHIrPbo3gPxzcX/+dc/nWO4laLQRs8HsOvnUVVmohZb7QlP1rDe
gDgapFPDweNgZwlET/SO9mrFvnOlrEkWtLzYgrAwJjop5XXAZvtAdQBY7EDjWV6DcqqzeqRRe1Yk
Zhlu27Zbbitd6kto8sIPdRzLcdvrMlPymy/ii0QDuiloTIiQsFH8fDidZlMKKVJ2Oo29u4bJaESJ
gQXV/u8f3leXqbAzQX+ChdEfUybQngYoEHJ2KtfAX5QGokoyLb4TAf0iekI6FpIZOILQUv5cT+Zz
tpnc5uJ0zMB6aRIwUKCLHYxAyKUYC7/8/Z7iL45gCQ0uAHywPAWC6lMaW2HyNA7HZUmbzCXdt/Po
VgKEVvyjE6k1dc5GSQmO6RIffOzHnkCfswLDenaev4g467c97qPjje+9eU+g+bbVqYs1PylUgX/A
iQAK9KYq2/mgNupuLagZ9joNGbU/ljynQ51K+HnUZmppcAZF2wkZazX8PKVG3oLZtE3fvMgvHjGY
fBDRAfQOQ5bP5wVCKMIUJhGolqXY6nZa7SGhKRtPTY8/vymDPlO1jxEMHqkA/4DxAz7q58ttXC4r
3P3wiLs1KmvoXPGoNiLUgsiMU1OzeBEvC8wTx4sQ1PHwMNKgtySnBQZMwJXOJQlWHRnM5xPoMtpN
jFPz93Pw1SMBIw64ftT0EML4FGVlGInNrcDby77E+w9Hsw+cn0nG+X/UuvzncYA0Ctjn0Tr2j+3G
kirG4OjCTyGUGu0hhra8taKVtYk3+fHf7wrq0eB6HLer2A/9O6DT43Z7hATMabiocu+HJG8W6JzU
+SDv/36lrz4j5CcA5DCehaTup2GJbQczbLPgp5jGvHDRlbsK6pMkhGjKbVrZtYaVy9DYaOy/aSW+
CEr/uP8cHWQBgvtcjLRLRkOR4WkqtYy7xPvi0gP89d/3t0dVGExlIPQF1ZBPUYLPKZeznnE8YNd2
sg3BuGMOfl+Bib5Tdj9Wh5+yEi6FeSQyEyBKn0u6bglbEYU9bqik7IwJK2udoyPrjI+QgAJWg+Kv
Hv7++r44/hUQEDghgCP8iXdul6MBygrqTOf1DDDU3J73EQzbVNF9AyL54qAceYYwUEKN8afOztLF
lUY0Hk6tC9bttIoh13vGEEzHekoc2B1br5y7WgE1zX9QWsbtd+HoiyrnuI1BUEaC+RP2sHgtQqpC
EHjCtHtrA8zs4SXN+vso53wic5GLe4h1YVIL6b8+vwv8CKKNRsWbE5Ol3XW8wMP7sEKR4RwYLxjL
jpbSlPAW9Nrd39/LF4cBTQ8Wk8iIYAZ/Hip1RbqafsA2bURJdhCxy4kKh+1EZclWc4H6vu3c+g3Z
+8tXBJAmuknMl7Bl+HfUKEdlw7ZYh1NT8ORnVCn+4JW06MtTdujnZbgQeL5Ib2F2+vfb/WqYhAoD
XzHSMTrmz5fG9MhLmEEOp3HhGWy8BajYBEyVra85pNinBpmGcwiKqFHW6zpECWzuygQU7XUK7v7+
Y776JkABOELHURxiUfnvx7DIBL1zkXGoT+ZTSdDfx88dTaejdUu4uG/e9BdxDCwZkGQwiz2WP8df
8z8tLrpswdSIBAToXwGawwwhRujLNf/9nlDvYhpxpK/9oUNEUa9gcGhwFR4VtwDRJoSFXu4o8uI3
N/TVZ4ZiFANt0LCPI9F/3xDcB4cpWHIw2LJ2OMxCFF2dOFY8ucGyBPsCIx/+682BhQscEfBUKOZQ
2fz7ihAFBmm/6sVpzCHeTsoU7oaQXhyXjKgNVvB/v9oXQwlUwth+YrCcI5x9JqbIFGPAoEUcKdcS
quJG9dCSliIbHmEqjk4mFXM51QsIguNtpSyjpG0rwMe9zgJ/yJGIPebDdG130uY92+VTauVukvHS
EthQTOl/fiFQLIY007HqALntc3cXz9A1kZD5PAWdXO+6ymVnkFOBLXIZD9dLtWzfXC/D4/53IgNL
GNtJYHRAHfrDzAN4uhFzF9WftpAOrlF26LovYesgk7U4+eZdHPPv52uh+sCAFMMo0Dw+5Wcoh8Ev
LVr4KYKKnxtmVgiy50dZagIVifBeoW3/2fJ5Uoet0J2pPegajoCj2lNwpadxINMiWH4OVLo7445W
7wAxaQMhWBeCx0CtpQ2orrlt1t4iG3/z++M/fz8WIv/oawImimXqv49usUEDt5gAoOqKSN+0GLf9
si3qOlA94y2vdZulv9E4VmBBiQoRaCjS/ocYBuEvcsmhkczAp+m+KXr+/IIhU4PzDWAMBm9/aJXj
eRo4zR1TdaTG+6gLcpLYqtqtYo0eRuOe/v4QvrjccXKPgIsa60/N+S4IreVrx8GcQz/CoFp+ZfoN
gKYqx1An3frvWDN/Jld8uqiKAQgov8DK9ClCfDBkwP50S3dnGTDZLgw9yPtpCWtQb04gd95/U//8
GeeBaYYgO2yJULBip/7vNw02gAKHbVhPxyGcdls586POdPFNIj1+Yn8eKaxM0dSiygF/7vPmKxdd
G64Dr05nqhO2z8FioVfSF9muinzAiLAwN68tc8XPaLFq3rHMzUUD2YTVE1EG6ztMWGR8pKXlz4vL
6PXYciausmmGl5qOxDpdgFWyzLWVziusmTWjgPTEdD60voXY2UQXt97MVvKcdBt8xms3tBzuwyYU
Gor3RfWqQx48p1MmbgSyLMUYL26fS0rZRnKOsqoB7DD42KBs5hu5reoqEnR59d5xcVFtzr1l0br2
oEZkq6yTAbyOGrfCOIHiHjQDARibH4+fMCMOY9FsPy0Z8/VWFX64gVIZvw+lGJ6LPlbPkdt6fWAx
nx9Zibn2Luq2bSNcWws3INMOw29IxDB1ajAbCkhZcWbJmMHT9Ydt5QIDEXAjh/RgbY7VSRUYP77S
LsGM0PspuwtCVf7qbDVluw51uD3EcGYbIKMwLPpiCLAqvRCgS9HGZI4P50YEPjwHaDxJfq286gIC
cSW7vSGiDVDbmngMuHq0ybbuKs8vRZwHyHhaj9ENl+30Q2RBS1ewRVwVvm9uquRJEE82uewThd0s
rIBdGCM0F4Hk+hSe2gCmvsclM3kNHJZ0qHeT7B2bBZmfo4H3h8Fv01ybo1fOicPEaT3h5crfWRub
ZyyMUakIwBkeTAgJ7hPH8T8QoCytbPrFx45AYbGAcRAw9yO88JidagCI6EcpxyStwXfsN2Kk4C/K
Uwtyt6AWS4upLO8gbBxxIMIEe5qydpxAMdP85wJFV17H5Yya3CPZVcC4Abi3g/mImAjQPNFGxMYB
1eFaVsBcgTH/3lLIr9VRBLAH4PjU0wY4tYo3GPe6x9az6AplzPITIKJF7tg4D3q3cmo10fC6MySH
3D+vywpSv7XOtvkD33jWrIBX3Pq5kh3p/JJfBNKUgNoVWDwKFQ1RjU5kqPt2zE29Vqy7DWYN2d8M
esqGgOZvzoe+5Apmm0o/0mng532WyEMgxfjLJ7moDvHgo7GZ4ZvB6woixLfdovKeBDJeXY3jP/Sw
SYSiC9FbVvyO1qR93uCUd6Z617kdWDXwBpMhT3izhMgzF2yaYpBLhjE9Y5hXKxKOdj43Xe+B3C1o
exttYfdcIYVyyKp39Ica2v4+zKbthQX9vNVZxyJf93FL3+CExALSxSvv6gEsS0oC2JD5ph0KWZ6M
0eIek3hKbqqRJ4Z0ig6Pbtiyh4qmxtbb5PMrI4AsbVhX2jeVBj4mZlWYX+qyVAwMLpOA+j+PPQS8
C9GFDVOrN6RS2xrgv5tq15dGt3CaUP01BFpphDvriqlvzKyyqUn83Pk30PbwKc9Vl7FGYf/HT4Jl
Si8EVmbXW8uqRoChDiUTmE56AthhutXLCvpvo7DcE0RAu68WfLZ3QZLrufGLja9TmnD8kUndiHEr
Re02m7FaVEY+d4PmH7DNTUAblmOEt+tpseAUSnkzebja15nvzBOjfKb15KjYCPxP8IGs2i1Qhs7k
9GvIYHpFWgQz0cxwqG33C8vzxzzs7cecl/wxkWZwuyVfl6yu5pzdZGOQ0wPw5CACeTkZ2jCuMwOI
FgaBDQr+KkKVQ9uZWBrEh3QeBN0nCkskstJZX7ohDgdEOmEf2jjG8EumqJuJKvrkrQs7ynZeQzBq
Pwy+xGgH25efySZ71pQYlcGuFSJwD3PAWlOLLs+eMN/Ty64PqFYEvMztI8Ce90hjc+VGtijwTzDe
lrquaCBOdIqmurbTEEFsArqsQ5PjzFQkCkZ5A45b/wyABTBg67ysjlRVuLxQ2k4wT5IqfIVfxPLE
gbWAhMEcDy888/m0o5D1y0llF+g+Fh2uVfddd+RYgG2Wkb7txg/bAULU6CzvxW5dXVHUUxny6xh0
gNsIrARXL46xBaZrLHkEkxszyLAz5fjQLmG+AJG2ytftCDDB5xgFerdRCevEuIDTYBqJJWzg9Lbo
uiyYexzB0kFpCsvaDG5PEhbVA7Q1oYcCF4OIbDqGcCaGttD4zeW2FbsysAUwOEUA+AJwqhBRTaEf
eKrCNmsPsxqPjL8i7fBQYoeJf50NQxzUcowjsettED9iPKAmiL1aAPSMUsn7LKrqEuwj0A0LD44L
mYQyEt6W3N8mbh0vsoHNBUmpBrgJKXK49rH2D6katgfFJ5xVCIXlH2WLOm6nNpTTiB1DfOb6AZqv
XNNy2qcOtnWkGs3iAauEHCgJepHyi2Ra09OOGvZKFcIC3BEZG2rfr9PDnCZs2PcrSC4rxvzqDFI8
24T1TzqfunGOXmE+2MMeY8S/YKD23iHMm5DupC7sx7huCSS1QezBNFnMCIPhrKpLkBxa2njji0MU
y3mqkzbLZQ3Nz+V3JluekW0MGdv3fikEvjJafYDErWEhi2gSkE0hW9YCMEAGM9cOVqDYQYsP0+Xr
htqCKcyiFU89iQArWOqIaspJZGV1zSiDaEroM1d7DnMrkiZT/7xyw36rMbZr0xai9JhqB/ktTUKF
7z8LUomNE89QYEDVFAAlJNZhwnsmqZHz9VbGZq49Sua7NgAdbj8j9p+a3LVV40SL4nhEJooxK/Sm
BJy6g/ItqHrIunne6qc4VfEGEA4d7rXfKr6TCgBYAjep8nqE3sDaFK7FmVTx4uaTAWy134kM5M0Q
SBjqZCIVtqZlOQ617avVNX44Ri1sMfyto6rLT/q47y4hVQX7ihl2fcBzZHq9GeAg4Q9egeS/R5QI
b0o4wjsUBZHfKSPG6gotfH8Lewv0vjqdCtHIzAPq5oMjXAL5xiMib5SPu7AL+UJGGiLtwLGNFRDE
4WF3EQR0VGTRio+1BdkC+XF1Iz5RRPvfclv6G8ilofuPUgbPWLiSbPHJtkj3XkWGHuZcZhW+l8Xd
q9yrc+aT5T4MBdIgJPexf5DTPLVExYiwNfwkhCUiDZH8g2GATEpZAHeQa5v/5GWPLyzcdHLW9qJc
cAcYfZJWIyjXEbcj/PMCtipCY5VfopfrHCkgYDs2aZ+YcLcNKo5rxybERZ24LGsA0gGMiEOdIcYn
UpXXAAHBmaNoWTuQwPpW4vix4GKGKIUg4zSv+Mtura4Vx94OeaaAq3BrK2sP64KdIfZnHIVXD9eA
32OcmQ7MfBSxgFMKGJXyOcZZab0Z3uF/61pIJbPohxAjfQgyUz0Xc4gkTzliuulh83SwjLV6r+GS
CWmiPI40JtRjoOBi4/IAB14GWKHkUj2vVbiOmNwN5gS+r0yecNcl90IbnqD/iLqEjDoGprEyOpL7
cApSALozYDQabDUgfhha2V6n5dFSmaXYFAOLlEHqEh0Wh1mnj5ndM6xqFmiQBZCBdqCXGRLk2fDL
xHLTJzJlwZ0QIUSKZgDVH6IjQKTONATUSJ8DPk6AjohPpAgc9ndQgIX1mLPmR9WNU1gPS7m+zGFE
Lxi8ZHw96IRPJ+iTo74GpQKZJECzM6A8FOmVTluJ3WDJojPrg8geBGB3M+GlNfeQScnwq8OMw+jL
5+HLMPb9mc1bO9SygFhpvUyje5oA2lsIi+bcwgg4ca5mRq8LgQxMO8Jx3A5sFxkU4nUl0dk0OKqR
rLFK0m9sSFeoFVVd0RNkmSC8jAIAQc7RHBScxJBNQyu1xuJu6jo1E0j/xG+gnWcoQSoJsepiGsXO
9hKHLIVRiyUQ/JhuKCCNikB5oP2VmGh53EahXeNQfEg8p2MnoIUTuln9sGBwXrpBkxZLS6Bvpqn7
MfdbdQ3CAvL/lntt9zPKpJT0U0XflilpX7H2jESdlVO41nmbjrgsZISvFPZI7zrNUGGzML8TEAzU
RAZ6uKJjiAWsl5l7haEQlOGrCDzoOlXjbBuPyutXmkX66agwFuwt6pHnYIvMB1T7xAAOqSmPQVr4
hQyoXl4FX3F78exXTJfBA7hqsY+x+zjg3RtaNPfBR85mLAQ4jmgqRj2gm1gnS3qWIgi3LsMPtjaC
aAtHjyFmjJjaZLkEoiFL60GO/A3mUfotpRWyBk8h8EYmNm9ds/RB+pwa9GZ16gr7jIYWgQwBCzjJ
EuH5YqAi7WofdStrUOaNx+cjICmybNy/ZC6fRgL7HvSWWbwlLyCKovIJunVxzZBVXIO/tKrnru3s
e2YEoBy9QOtEAE4JrlGxZ2hfzcTbwzqJyBJjFofXzLOp28FofgZ5ATjLBVnR+Z+igwgdWQodBjUS
fH/WwgwF0UYP/ldgaXeuYjf3tzICFEgFIn9kIIoP+9H6CmQENVbJOQTQu7EpZ0EPZauXoUHdOQLA
Evl1PIgV8gzEaZ9Q1NmtkoCdxAads0hjfNbC8Tps8+PAWFCkcTiz6N8wzS0HYv3WoQfE7I/vjkn7
ZQtSt5Ac0KChQYxur9yUdB95vqR9k80Bv1vjsJPN8VCfK3ipoHCf8nCqwSuIYenQFxi0zQvQcxbV
44/S50bXs7UurAEJCZD+gsG8D+0GTloVbCojaHLdieyrKSIorfQDLX3p6qKHAgUJtA5eOZLGr9bl
6mVI6AbVZV4ZxP5MZeiIc1RdUeqiEuFvDKq65+P85HmRdbDVcbrYI+/7H32oulfAZKZb6C+JF51v
UXFwazQtdQUxeErm3I/IGEIaVbNNFAj/AnBgItDhoDkeWPpqjF6ukg7XJR0cQd7dOAiOrnuzLXQE
+gSpBrk6q8PJ2RuOv7vjXVAFh1xE/mcrRHXXrktfNW0A4BW+hEkjM6cY4JN/KEKEAdZwuvbtxuqA
mwRwsHLL4sZa2T0MqH0PlSirF7vlKeJ4JfsM8Q4y9WQc2+o3NH+mgaAY1HpX6Tble+gilH2dlAwB
1bdWPKFqjC4s9NMNSccsght7Ec3zXoVT+era3r+kNl7OsuioUQfrVv+OcI2zUi4ZLlgJIxElgRik
JMII4H3xWXltim3aaojHdr9QH1Up8WUgz0DKWApMKQwQB5gHTO0pGzfMkeYp3Oyhr2yPkX3YI3vk
my4qNLSJOPTozN2JhsdYAFJ8FkQ7NvP5ErgV7+tuKTuFxDRhBCUDirffT0ZzMseSI50l3pbnwWjD
B8O0uQblG8XQlgp2gaIZ7ZpnnEqgJOYVhtRrjIFdtwUJ6kIg/ThhI/T3dyKL6W0I35ATGcfqzm7z
HMDMArYzpI1KpxrbsmIkW7laCYGIsuxqxjy+DgNKBcZla+x3Zcr4r22NqpcwWHQP370qwkJ22ipD
1tLHlIwlhuS1MWNyn4SreumXysHkVJfWYvg8j+Ep+kZjUbFa3dVwtwujmmGwTElWQnaVpiP6jXyd
2FUYVHyqUdGxYA9iIrYd4EFmdz3LI9nw2EBLN8GAy5M0yiF40hdOved8hU0fXYsNub4q58ehd+2d
dUnbNlgyxL9n3M3VUMXgExYRL29dtzj8RtEf2chx8dICkiXI0KMpI3OLoTZJdUVfF8g50lqoaUSG
oaycdiO69t9xYkvWQEZcIa0sa7KRbExAC1UAFl+1iUBOnTCgmffRkWF3tmzTeh3wXjDgAZfqZsy1
QYAOwg2DjUInSxNg2ip3W6YCHAZsvCMSii0+U0blKX5wmz9DywVstpKv4jZII3YJexCXY6Ln1FPh
zZzWYd65e9vHFM+L+vws0CoozgA/LiMslgx1ELmlRX4GH3P3MUKbDbYPwM99jKnHWIamIeSsBeAo
qFcWbt7HzBpN/DLEF6jMvDmII9WPVB1mPLWTo7vWKGNfZJUb6NRgGf9QwS6OoSGfewU9SFO+wLeO
36/wVkCqcJBJBQ6yRC82bGq9qSrVM3TaKo52qdhEDkpVEf7AQjDQp3JBb02qNs6veNYmZxAarmJS
rtS8OJqJX6jg4o9EeOwCGHyEYU43JhDyGdtiYKjYtkgfWtmF5+CQjhrA6la5prR0fO0S40us0Co6
Q8ShyufdslH9uGLWFqN4p8O4Qy2A0WJhtg6C0YJNHzycwhk7oFa8rZoifHLMbMvGlirAl7c5cTMP
EfsAQgc9djyZ9X6LZnftU2Z/4nwkdzlM6H4xTDkH4magQyGN2U4vAnoRl5QqGh+2YaWvHhVjWeve
Yw9YFWjGyDbE6onaVf7chih8XmU0/tDQCnoOxKzzgwV+8Bp8/eK162g7QhbRD30zYQInmy2I3AG4
NKAKUWTGvzegwH/OEDF65tIJV0PqCI0rKtX4XXjM+RsoSeU4cwYfiSmTAcJ5YTTc52kL+bwhbgEq
SZH/Q1JBmrkiXvBK11nonDtUGhMWlC1qecTiOr7ti0r9MBlT59HUFcPJIsKQNQO0QdLaIpk4srAk
hAtKDJ9E4m1K79tg8hR7uLh/shULEDadhYWDUjr7LYPCY5yKlc/z1hkobjLejSlG20M47rDzsWdj
bl0B1EOxPEY0ZhOCGk2Kg4SEdElwLgF5xt1BasCb8AKBCOGta1WLzesYrR+AEiKqhJ7BPxLLJRXs
8byO2z4c83s/Fg79woIu5zQZnc2IV9gjkrEaXElQeqwvE1gDkoD2UmIW16OWJRxbAUmmsUthbLIg
whABAHaHlYnBwUpozH/PGDBgnh2FAGPqOZH7FNjCqE4XmK43nmnQcUETQWicAo6WeBuhqkIyDAp9
ozA9pYCScH5jhgmW1cyKXCHnqqqqaT/pMxtD3g0/sV/7RsDA/JJPosprmDWFj63T+ceM9cUPSVfU
GMuA82mA9NWYE2YqRXiagwp+fVw+xQvEyonriu5hNcmaPMDIJb2bACUb5b4csfR+ws56/m2mOECM
n0sDZ9TDjFyXHeAHMF4OcWXQz0xCX0Qd8BwnEOBbxc6vqn0xiB2nqAyd2PcjMBQ1zxf1nnZtD930
lpca+q05Rs+wuqvQOqvVPEyzZZiyImazw1os5rJaFnDB4QK/frDJHjs2NIi3mR/GG99FhYTSgU4s
iv9eXNoxim+G1YXdbgJBqyOlmv1HL/LkXLHC32djNDwJnNIMSseTvfEu0a+qn/JHiUU7JmhdjnZT
Jr154IBbq4sCvjkaHRG3aCunGMXzKqIeI6F1zdBLIJB209WI6aqOTrgqk3XAECbzWYLRfujVEgLN
VMQix7BAz3SHrYAsUOX0HpV7CGDwsGM6atFzRUl3NsL/D/9ZwkaNBKWLwkYjvj70wZDclJicotwA
FOe3hQjQkxnm4Fnjt0REQsPfYy80R6Anolt/L5YkxXoFLXJSA3HQny2YaY0Nm8fjHBBR5grCslyB
hRXbade3+DnYarj8DNQIme5DBoLQO4/AViYplt8LVOfaFZVMhYISilzo6BEcAENboOHW5l17lbk0
dPXqRfVD2slNJzGkev1hFVB5PQ4XwvEktmjidlks3LrjiaRPMgBOFuMLjZEObBRZXoeQfe0b5tm2
nIc57dudS7aiaqTMy4V081jYRgGKUaIsWeQdGBu+x2LeT4BiFxYPYqi0/YFBhJrrvuJh+c5CnmEr
WDIdns0m2jJSIHuyeh4TlGdL2fIBHxPK9AMWQzBDmA0ahykfJ9FMQkwe81NQN3ZJJEM0gB0NocZV
eQA89rCLddEN3HBWQDeR455i35YY/svsqOo4pokId7no3eNamKVqbFIsYDDnWGWRFOCL7Rqvb4rr
JcfGrVnWcjxH0hbPq7bJSdXz6W1ABmMnK5C5w760XvT7fJqqa7HOYmjwsWCE0MfFxNBm5EO1UxHY
oqQzGQrEDgP2cX9Mj9EptZ0qLns0Cm8tT2FeN63JT7Uwr5qeR1ISB3UWVVccXBWozm3RRyZTVDYE
47AlP0TFGC83PuvM9oyhh5svN4zA812KMoaRllv6Gyw+6g8RVnfiXMDyCC2BYYV4VNAgjffRBCmM
BkPBdDoFtLin+7XQTF2lfmwdoXYr5KnFOF2jE03hFI7vAkUwptGdPxNJOkfPCFvoaKoRLISOdFab
nPAOOfjKhbzLboIKwicJCSrvlh3Io/weVVWbn4ZOKH2t4iNAbCgzHzciVNu76jAKfDVH8uZhwUFb
8MmHWNyxLox2CUJev+so+H71usAyHVFXimg/ldSgN8X5wSo1shBx6yAdvOD/VG16BjWqfDmvjkX3
A3xDSvfW88DM+IIRfMiA9hHPa+5mdwXtVYPQpsJeQ6uXJ8ll4VzenaHbFUMNekSPQbq1DMqhLTJ+
/qbybKwOGOULWvNyxn6EZbRad9hNVI/MVwGwgNMWvyU+nd0db/PZ7JQdhgoeyStK1HnCJrcWkeri
gx39ZC8hMBtEh6DvsNQL4Kai9ohz04dLAh3CF7qFbMOCXeieb5F9H2mPOcjQemdRvFTRx4p/fL3A
CG4a9gmGmMtDwRCDDn6TaB7xfKJrFf4fR2ey5CiyRNEvwgwIxq0ASamch8ppg9XQCcEUQATj17+j
t+lNW1erJIhwv37uddxnSY9DgQqXGB6ROMSLmDvX6uR56mcW7BHXM905bFUc/3GxREvC5Klznqx8
iERSRn1sPXkUcD1hDfs0P8T5EjGi5P1fnh01jcs9WnXofToEgoSZXrXHpEVt7nKptmgx97wDjkno
MntyOg0vROopXPKHeda+/ddhzj2mkUSavxFL0/Q3yLqkC8Dfc4kY/Aiac4vL4jz6pi9TP5CLPrkT
ONEB58rmvjXIQ/rQ1ouNuGMjpSfDptbuvgs1d0FDH6vTZewA1Feya9pDQxJ0cwCUsG9tZ64QnaQY
t8TtvdjQGhGQeokR3v7t/caMGTZdm4zGNRfHYshJAiw4L+a7Lh54jhhx72tqKH3Ua3U1T3BXSWJx
1mmdrFSxUrrmY055FWcwAcGa5MrM3269z14SY4zeDzxwJjgXTViZo673gC4iZl995nZzZ5LRY3dt
qtlQuGU5CXNuWhpv2D7qqHVthpXeFLz5unfCS8xslSaRXMNEWB0fnM135tc4rDkOF9ZUq2TGZLom
mt3OeyqbeWb5rdmMWS/XXO8tXXdPVhmuGpe/VrDjpymtcVEP8dL5L/zhXJCKv9y7Not20t1MMfEW
zPX/0UnpB0KQiu3MkK/88PLrdcRm8ci+s8vVXo59vFBZ+Av1JhM7izKvDIq2v1SF4V6sS2sPUgiQ
nem3CUW/Jciog7iww8h79Whvoe8qQ8DdAbGy7mgb8ml/V5s9tAcWL0Y544WOya+Kpzw/2rPt9b8Y
RGh+mLlqi1uEDCgALY1BY2a+FWTNWgIiwp1pRtlF48zvyPBlcdzXnLRRnBLBkPbs/oHz9iOzPnRT
aN374BXRDXJC0B+s3pbOrY/28Wuacx+xtAQIY4aqLU6wMe6Q5rzaY0NSCHmYNJsgGl+7bY9C57R5
eTRhEbSHStJNXvrdJxOYrYDOC8osLUbbjGTrmbhDSW3HXH+XnqP2VC27zJM22HvNqjzlybTq4He+
+ral8hWMp6pDKJquOY9KavsxrvFQHtu5jex7m7w7TvAZyYCZJnMSqh6sAcLPKCEI9WnyJTAnHsad
NeyjxtpTVg0irwP5az2IHPz82b8mcnzUpixLhsEz09qsr3L6Xg/y2n/tA2nP6TQTMPyvMnk0MCzg
HG2oz9FvEGdtHvTBpgk7eSOS5cPuOpVMLcBXkRl/ic25Kzw9HWP4wPJ1GteRcgJXXHdcLZLE+2be
1HlhG/NbSx717ciK6zF1pdmZKsJ5pKJ0/O4uFJXqb7jlWkjDVSKRSKMZFI5SzGyvF7L9RO/Kg0QO
UV6yFsafftrdBJKAgGbybvpiJJRpxgryr+8d/bgw/PrE277+XzexGQQYs4kjUrHlsmYIeeCNxW3R
xuo2LxxSt6+snCwhSuKVEGSGXtAF4th1RAe+kV0Dsh6yi/C/atLrfuk4BJfMWmQEBcKRRw5+z9hm
4XVzX+AvlLKTtkb+/k81S1OdcJzWbTIyxw5TtwuD+Th4jOmxla3WNKhDuFc1679te577+4JY8Zm4
YiSaO5hXOR+DSg3fZoSNQqOaJMpibHfEZxDtmXMiFqxj1+6OQb+Z9/GDbqKdH0c/Lu9wFY/FqRy3
WRwVIjEqwVwzt9Xx7nRgNp3IWWBX12weX0wE3ROMiIJ6sL3w4ONKaw+rJZZ7ycw+PsmFwyRxNCPD
xG9Xd2O51kg3N1laTseuHvqTAbYqEsGiqvLOZWjWpvmEY/gcEZAFhbt19ZayannqE+Vuzp6awldT
woyBG5trXgrm2t5kJZsfFvcr64YIUu+WCGUvrssHA8IJSVROPn8x6exZIB0jTlvcjV9VNxYPM65l
WBjJ53YIBG6PO33Ue1kOwcPG5+6SOI8muu9Cqo9lbdzfhCDUL57f9N9F7rSQF/Pu7U9X8ia6d8SM
6Aq7pAmxQfTuWecXqf2wkCD7LWu/Lw/CRI1GArFYTVfoIN5P+2p1/zmSF/vYrLnpjuxB9P0TL6OJ
MrcM5+ZIcgSQlFHb1p9cK6jXUwBRoBMti9A/YgjS+ds80Syno+ddL4TO2B/8Yc54ZyhYnd/snI39
k1KW46aqXPby2EeBjo9bxTKTlymf5S+v8nh1pRrzrzqKNQrG6olvxj1wXBWxYa9mQzDM1mLxv8cC
C8lhoMFjVkzRwivPwfSu0dzKJC/H4Wdh7W+bSmZDDyiCNVhNYMInogFG4IbIn6sj0/WVN8ktc/tg
CyXhjdRkd4QFFgHKeGt3v0q1xr+qLeh/oIa95t7bbAm83OJ8cGfVtEmoSjQ235Y9nraBT/Zq/EGV
Z9AtdhuuM8r12xRehxZU2tNzsAzbHwcWpyVsMqJnjSw1/GNAV8k7liJy4edBoL1bsRmtPxd4yfCY
s5fLO40l58vFtZB4T8WuxZQOWswwM+7SYkHNaWwqJKX1ZpKheSWal0fUsoL+u8XL9meBvH62YpKc
k64gZIY3km3S52olLiAth5ktI/2e296VzhJsLYWJ7U55P88vu5lb+umxJxTGMKGPUzfamB0VVmOQ
60rJroC+p70F5lg2fQZkmpbUmgf7CYsRapkqh5FcUfrd8tjSDv6n5mhlOLWFDKPHgkfvb92tY3EQ
7rq7qJjzOtwA/fElUEj0B82KkPYoSuOUabAa74v+AmQAEW1r3ydlFm7waeZOYhEtU+0D3hBFPnLv
6jKbEGGr+1pV8r1c6qZOBxU7dlaH06g+wyHvAn40wRRFsCXXnG3HeAvJQq39x+QL4A4wvr+DVC3z
H22snTSFQU7mDCnEyoTQ99mmHi1s40lDt/Yfberh5V/DHmLvMAnGc8liaxzETWeVCsJrDOSx9Cqy
ZWMy90jnE33/vrgkXR/HZWSDLmdSLTL+2TA3oYXrmOs4PM96aM2CH1Xun05Z5d2JhF+yz8D2PJPl
PKjIvpD2v6qmsMP7IcgLWIXCOEW2lgYN3Y6t4LJZU49YVIZDwwxnvFaohGL6CavgAEYKjOeIq4Wd
QyQxgOluuoaVMOncRcWawr6VJZhJj4w194Vhe24foQ46KrTet66lk+Lr+rKtiMW6U4+NjMk+4990
nUvGRLCWNhAEJzSLPgt+5XSfmnA8S4brv3ctkc9CtOOZOq6oKTRkObzNs4znm7Vcnf8CXQZ5NqJ/
P1e7BjLiqixxVvRhcB1PtlOGLTvAUrKWXso80X8bwGmCDEtD/h9ZhLA51xCdpz1w2+oU560dXjg+
5zql3BYuV0Q/0BH7uw1DRD9fHgvKxujk88P/2HxfA/WtCeWpAVRufuuRpPwDJQcz6YMMO/fMWKC4
4Iy3phtMpXF95WD2Pgnalf7eRYIcXlSAmn5wuwiRT1eRs95yblZL4sd9lEVX79jBMFFwzj7Bre2J
xqjE7VfUZXOBXK5XoExfY0wPUdqOPOFdfe8AmLa8gagcGYb9/NKN23hfGn7+4x5M9ivDs/kljkT8
7XYuU+9Sczva6NM2Dw+gov0jx9iqD4bBZpkyCHLEsY5Xhhuo8A1E2IoQPg1yfAkXz15StuasWDqn
ro8OBnBuAVzWi5uhutcM/Rzpwo+j0cvbmp0mI3Y5xxQM8tG1PsNOKOtOCgqBNB4YAyeeXRNX55au
tT/DbKC8mSGPg3RpbP++gQErXzZFtlHFHutWTwlUirxvzOp0j2JfRoZ8eivjk7CkvCbpa+fFxodJ
OJ8l3fV5iFWBedjuzX+rMtVyu6IBq0dKku2aaRDl1MOdrewTo1fKES8wg/uEMqVMZtFJ95yuUfWh
9FJ7B5G7/vi2o/9STtUF2jBF+Gp9OMNgzXdb4zCd2zGX+A/IX818ZJuA7/2yVLOLFKxrRToOpIiu
XcqCdwNoqUw1ha081EtlLL6mPn6qaNCQrxmM2meA5vhLQH9XRzN5PDdx3KygjEJsf6c53rgD64HR
cwFJw0OVm+LH6sd4fgEdZ/DqMVYdn7wy2qBIEYuWp11M8zdAbT2CtELuHYZ5D9qTZ4ChssLElibV
edM6UWs4P+1T5c4Usrn6MhRCBf4TZX1tvUWx2PgurqZYtPPyFuEDMX8DRGFQcm8xmGPU3q+vO4tD
7CeDYAQy4U6eN5zlMnNBFRBxz264eR46iB9/dE5j/x7iMXwXkPrTtc8bvtqiqeJXN6+Ax929reK7
xe6L5mndxVWximQ0nFywWxhfwW2V9C7D3uddoizdjeMwxHdOHzJf8Mxcv/r4TIMHy0xudaICyt3M
rRmksKkoni10Lisf6WyDQq53lY8elS1TMP+NuWrnRJd9z1Gtld2xCHag1c8dR6P9k//2WMEktodA
9hP4RUcn/LQhIKmUrK8uP1BptOxu7fdmPoDFjqRjspIO7X69phnQd81ULf3O3uORYuy6oW7PTRKO
m0IKU+4kkoLvneiqaVgU1UUQ9YnNgXstYfENpmpj9o2wD0N5yXkF42STaJhJPbSRon7phy4hBplP
GMW9Pf7sayXc8spHT1s2xq7vJg6y+Jesl2Y54AEVbjaFZejd61HxO3qa8OZ7ci1AqPvY7fVbg0a7
Hzd2lFyfxhhRDmdG1SR7oLvm6IGqbKCYdDcVSR4wUdzXXIJz4H86PUJTQqXrtKfa0v14u8y1fHPG
vtXJrKvNSqcVSpeJrIBZ9tCvH3c2cFhHlp23Iuv6ougvizNU5a0X9TOVqphhNPlqqD87uWwPHaEJ
RHwNjSJdda1URdOpO03pHW8X/CBV84njOTyTGDq9DKIEH1qHvv+9+GHzwywyemM7DZL45Obg9yxA
vXdtv35scD4/LZ0yY7YyqYDwnDb3paEQZubNuPvFm7mEmGkSgURttIwmyRsX/Nme9HxcOi3iO2RK
J0ynqNTfvA0DVykSAKNxZ2Grg6IK/WqjecYssY3gcFvhRz/FGrtFVkldrwlgnO7PcTmIn9YCb82C
BqiCRpKde0TnDlUfMI+u1z8TFoCPVXNHXGfagT56+1Dbj87GOZ8wxnDHGyGnfD/VIOtfUFKYINyt
jd4cNh+Pjz2QnkGyCp0FnSXK1eMUbRzSOpqJsZvXyP9dyroKT0gdTMtUoeVFhFuMqYEE++bMpW5A
T8PCzkI/HNsMphV4TuPBvN2pLDdIOwIGL60TO8/KaHXOOwXQ5A45f6lNLjmFjLK9SxS2nLJiVPpr
bi3XPoZlxflO384hy4ekSaplEwy/HS6UX2sZ6DEpiccRme2XIjq3kgI/ww3l9VQ5nU82VF6oEN9L
D1lWBUv7d22i6WPbrGG6WKG93NSmmL2XyOzR5jFYlvs/u1+w9XidyyhgIUvsa4TO9293Dq4UwLzq
cOX2Q3zcJ5/+C+12LdujY62OxMKwTE+lZXX/SPygH95se/xWsqnUEVQLXrmaZ6R91fXKpz7v7A9W
p+nyDR/O8osOBU/dGm1xuu3cm1ATwsZdM3IPb5Tqf1h1uKyppSYOMhZkg2fZIgJ/bmkxHyqYy1+E
CjBu84Zy+BvCqplDVMf9bSgUW7SjfELM0Xstb5E+eH5IvF11EpWu/83i8Op9k5EMD5qBSXkYNzAP
vNdynw9eU0o4rOvw8C5i98yaObmmrgyNAymO6RqUYxGWi4KiN9K/DEkab97eFswt4CT+hhNu55tw
XnZ81PYejMfQBRRPcnsVw0lQpuXXuX4sk5lBRjZYJdUXCfbqr+RFLC+mw7aGmOi6TWotggN2spQ3
cjFT0t61LSMNSP4BtgSiEIC+c2kIskZHls76uFgfSE5agj873yQ5K1SM9m0fei0uqWpy52Mp40lk
wSK2+tyEqzfwffmcEc3eGBw/c7nKlLaG/PrDSiGp2XnCLASRvlffZG9h+uKnEDJlNnoFjno7/mP3
kFcHyPFGPuy2bobMCiLYLioSz+PL9TrO5m6Y8+k4YpbR58hCdGeUu0PNjsZBY9awrzplo4iKIW42
EF9J+Y1xr2CNWEaitwvaUpqHOlz6+zA0ukjD0hThXSA2549YyS5msjov3glhad1OWsZL/7vWoXYT
OcPIX660WJ+yFgMNBIkvmtPAKnB5UVpE0Vk7S1Xd74Oj/tIcby+cZ7U84aSR95YOpv60rIX0b4HE
4zfiqeTfzkwbIWdQzh5YcDey/kt1sqSlJML70IYzVzNUVSfpSsBOE8wG2JEY3xaITIo28UhiGuv8
Bim4mgHx/J2l2rPxnjBWOfKYu6a6I4Z5N5mm1K0fNB3GsZsEuVuxNYyclqxA/GGJj1ddAA/nz9jL
5YNHp7Gm4IjmvyKww89eYLt6iOJlVOd9tM1z2Kyi/rJRIPZfezEv7TkyW2F4RnGRpF04zDElQh3q
m6oIuVs4/Jxfq0PqbdJ4DaccxT7HLjfgRK4oXZMmjdbpvJO1TJ6V4lXoXhCw5Y+yZutvD8ZHXzcx
TQQdnNrfVttRIYYOuwvOzIwCmfllU1M+VWuZsVn1OvKKhARQopq9G1EUunSwwXTxtovay2ontHxU
+z38060lwztnxilE9TLUe7p2uEyzJpTwhDMxbOIcWBAkp2ra3a9wgqhKHcDs5mQHYf4nWPio45RP
JB4xj3vENQJqNa1gMdc0HFge03abufHRvo91sK0DxAPPUoshrhs/ymq2XMY81wTCUfjLehrQPgcO
hTb6jYdYPINXuH841efgylLVxRGxcShfndKeeth+7mjzXNaLYoIDZZpnVbtuC9ePL+uz4xYudXaw
0VyCuXcqtZDHP9VQetNJbLRazLQK1d6XLktU8PblanqyS7/X6Txs81091x28KXAkrZNgEniP8ULZ
YLFyZ/jfip7Nkp6R03q2HOTtAwqrc3b7JrDhvFbcPZg2dJUSCNTd+lU3eI/snCjHY2BdZRg9x/KJ
D9R9wxnz/Rx25mTUa5tTIimwabl/FfnK0GPaZwPmS6Q9rphFbfpShSpus9iGUKvx28HiE1YenTjj
7PlslQCswBGx5nRELH8DUN+on/3BLe6LcerMwxLv+4QPMtyhF2zsEIwuDJ4XPWG1P6Hp5+ELH6pD
v8W6kydLbotfuWKwm/SOpN0NyzLOgfE6DuO4BBnc7Anb+Qw+cJe7lh8eO0wPt3XNQ/8c2iQnnenT
AfTpsYDogsGx8s+mXif00E4tPz4gwn5D2zWuJ4sxr7iAy1NoBl0tjqDuDQ9SJev7STkLdCqM/Bvu
KegvnlPVvFB8xn9BHmt8w2ExDQmWLpeOlYDQ8i0YyuI3nFG4HXuiPH06CXbz4djyQvc4tP9vO0nK
E7x3aO5/3aUflwM8bXWPRjTKC5se2pk8rlr/rG6Jyo0YBPc/EBrIAzR0/NqSwn0/2v7U7xfFq1yk
jSflkyzaCodGyKv8zu3c4QWADCjuS2jp6AJYLkU61dhRgSUZ46b5ZobbthFVnqDgRR8DoVP1Ce8g
lczU1lV/E45OXV4cVyq2a7IYAoMOIybSM1l9jjabM/dOxsbT/ceiat4y160ItSQujTUIfmcbk6F2
R80joC5p+8G64U7Z3L54ZHWc4tadmzVjCODlWVstSNy9JaJf7FVXECnDtuT3vGQgFtdm7tUuPGc6
N3tE5ZKHEUdE4GNUCjD7Rql2NFd/LHoV3E1riO0gRAbg8HWW8H6pg/1Tjj68nEaUj5NW5Ezd4tqm
p3GreXtq+f/wreBUkLzAPZ1I7YadTGzwAT8TbN5YslbgC8w6x0OhUAW63mEaIa2SoHC9+gSOU0dH
V0atd1othqVkcnXjyY4keO2gNyHPXpBL7zjLUlz5Mb96NGbJFYxbHfSPezvK7pn3VwU3uWMt6w1G
CuTixpseyxAnbaL6cgYY5UukFie+yrV7Z7onIWiNLnE/dg/FhqH9Jt5IHQF/qXd6CLlF0C959bPj
dB1vGG/SPiFJxdJ+ai0/6g9ErNUeT1u1N2lrSl+lI2PUP7pllJ+F2lJjMoRoSJRYe/Gs8QWsvwcj
mJFJKrY6y4FDglM/M+069/MYUjmyHuFHcEXi8QjZz5TagVt1p3ny5uXJOKoOMPc123u4kOPP/yJo
IwwLYryN1FrYJ9vAvR6mvWA8QeQDB3tX4FdEhxq4edoaFOaw1oHDB80r5h6Icw24sm0F/+IyLMak
cNdSJtG4DU7WEml9s8Ycnwm0JTGn/u4GI/fXOupfei72gDkV25UURROl9VhM2y9d59FzwYjHoXQA
6U9tz7DT2wFMgndWJbbnjvhmXB2Nr5eDn4fDb0YhjO3jLhb0sF4JasiXI9EsqAvrMzC5U2euCHek
mmDyJFMwTMUZ8TlFeHRGxP+bDZQG0aoDP6UEq22NGAhelw7hIq2kqjV3W07yo3ez7gDlZ39to3/M
HDBjIQdVRSbWYRXZrtrtF28x40TMmNshcjblnERHFi2BCrP3NsAfqjsVL5u5FIM/v/OCXzf0zVOR
tbFS/4QR2w+4rsRBNlgbTFhE8RxMEJ9cGhH+p75Cb7djZZh4Y6qLT9aq9zFZizzfs1EI+ice9ycF
I/XDED1OYQCvXiSU6fFz3+a94sMF1MIL7QbWkrkYHhlSDZSHK8zLDZX7ElGXj2N0UPnOqSdiIh4S
rDedylji4cO/DJxG6VoSC3+gqN0+5tg3r2Jw9Nfahtu5IaZIXgZ06tuQpLSriXXBfNOwSAWONyT/
H00rr+4GGLhPtxyjjtJSOT0YNgc3j3w4rBmZVjmKJutWwnO0WFGdbqLEGhQvJG+UEbDDqQf0I9LB
GiKIhKjonlgUNnwRd1u+yK22vpypY7DThtwmd2RjNSJDqJz9BPA9ugurFSMJG3c8QCibpX6iDgEk
2txdztchKKM9oHt0dQi7e+2t/R+b9cdLNq0eQQQEKuAZDyNVBKeV/R0xiiDI0YvZgpgGj7vnQLMU
v2tYPIlvJp8CYoZy/82HZq4Y0bjrW9juw0fg1aydEo4qfxtOvTVr0J//DBbE1wHIuFhPpNLbv3kk
SA6lTbHpi8JlfSRgwrsm5u2+xx6Rsa4zHU9aP7HnZQSqFrvzNxj2jm6EOVyXqpA07bTYw/5Vkv4j
sqGfiidJhNQ/LvMwSK2p2VwaaUdA1nZN86djUreCoA8hfc2+eFB2omakNc4KnGgXFPN7j2cVNjaq
/XPo0pwlJdw94pFLBvMhGMmnSFynZKLhrUVMRoUkzsgwoJlOdaHmnGt+CT7ZxL7gbxGt/1iEBb2Q
U8Xic85D1z1NKlyfK9kUzW0AuPIThLP81FbPu9zybv1fIt2nlMS7NkyIRirfQ6Wq+TzIHb9GWITx
2YqFuzzgD2PP1xyvEzylK8V2iQKoU4rHGTVE1ewwPdRmDb62ZQUTWKfY5KeasfStg2lPHnu2p9iU
RvoqG2OI9E67tW9302CW6cbFghenQU3TiuNwicNbpqS65SUc+BTWpBCi8WlWNTNQMiVS3zFV/9AV
OREXPL32r5rTojuBbLHryRL1pl/qYKqear3tfx3cDjerg6vyOidnIb2Z1VCwNX7zd8xJEYJ1nAex
m3g9VcBNFwyeDYpikTnnybIuTj7ZDAzlfU8V6epRX55Q5Evne9Xr8qa82dJHTI3B/W6KdjwFREJ8
yYnOAnm1b18AOrvlsPh8cTwGJBUk3JikbSx5sL+oZvK3A0LCBr07WuSwFU4AzTJZGy0P3f5WnAs0
ysy1Vyb8lWwdj8JlHv4ZN6JJMKAF5mCWYPXodvb8uZ1aYR0FBoK/dtOI4MZbXPHftPd+i7QS2E/5
Xrcg9yqaPq8rpIFFMP5TKnhd7F92QEtWvZMa8tiRXQXKzDBpumz97O9HzObdU4QAzq1BAunvBQM9
onnk699x0JbWzYS89jrgT6gOWKLlg4EirpgB9d6TgxTOU7YJZgHupmR+j/9Q4vOsx/hRO02znvBl
soTXvU5kIGiGV8sxCFN258Zl5ptm4PWxRjM9xkuxFtm2NKwS0yS/qzPHExVX3Dos9OVxbFgdtEZ1
w/MUkiUiO9iRsmA6xklkInHqXc+H3/m/QtRenaFoG1xTyYa/+9ZX68wT10IxUTiVTGLIcJlAAx1m
Vn/qsYwfK6430mG4SL4D7F3jRZZ54WbWGqI/IEgsIgvJGJEp1tvwxc13B+Rd9GXLuooxfDLlwCmv
J4o8qx1wxxKJA7eHcMFA7sA8oRDpXuc9+prbh0ebuRSMU1cKP5mYvaA/2rZ6oUijkFuU7WB10xxT
p90X22PjcIYe5o0x2uJX8lpCj+jN+xxUKGNKlolc4YAPc84ypVvR242+2lEoJf/Q04QhiSC++8j3
zF3i+zYbw/DTb88eeVwfuRo04QulgMPfJSfIkdQuM15sOpiXYglrbPh+L0GEMFTNB1WBo98jOyCE
FUp773lU50+m2PN7m0lNfuupYA8TMjesJYvjxWkP++YE221feOSnrcZuf9g+2H9Z5ZS/b8Cj+01N
ItcPww/JQrMOBOKAqjiTCj6UaGNOHrd3xENz6ApvLv+QZ1SGJ0LlWJa4bc0W0P4Qi3Bjhf3wmJeD
gwIf0Hhl/sioj5+h7PAx+UEuzqEFRI8fP9ihGcdhZAahIif1unZIapYN+mfGYowqoGOqPPX2MAJe
g3Rm90bdTN0Lnofpaaum+Vm0SnNMA7RraPxy/Ri9a3+Cf2S+kMUANhbVbbjccsbl9itPI0aKYBPd
DLLm+05W5IglGEHh1w40ptfgfdsst3m0wkr6lk9aJsO7NgmiwrGLQ82Kpf8GJuxXZA2n8QHRfv6a
nAgCnD5lfClND7JPGs6tgpLys3xjBEduU4EfLReF/FcMk7OmIONEv1wzM9zDDvKRH310F0NggIg/
/Nwt34lqV6/1KnlxpNeZ8xYo22YMU3q3GHQK91Dx0BD9T71TZX4tSJXYpB2fVFyJO6aypmMbNzL3
Yzc1MDkI1f6biaNZH/pJjLwI4D85ckLBjelRPuqHPZdDfCgIq/IT7XRXF3dBXZNZhVN9Broa9uPA
oGV64qOuLyOXE8H81hCjoAa+MNmO3QCekrsr4OvymXC23q7fiXxi+tM0Uf9Xx3M4HpwiiLgqmgnn
BhAHzIg3GkjA4rocIalE3srTaK+QPoTisLoDNUjoB3eP5RtSf+A/8CA2ZIa6wZRnzuBzpyH+Mzov
JmhrREt/KDK7XkiE4T+dh4z4Y3ILqnAnCg8/IyH/fLd4rpCPEF6JdgirdJwXUx01kbYlDVY5P7ju
bF9DBKLyft+FFb0Wube9tdeXEXmiosvtVRy82RAgxBv4fX1bjFEjSNiJ9efM0HM9tXjsH1ouBNap
dayFLRg7Ka6Gafk2REP/R2KCd+dZrUe0URjlUVJ4QNQXnGw2Cc69Wm9IJ/Iv48jKxQPGFqiIncqK
55U+3/92EEQ/HAhNyiaYIwRN7Jvha+A2os/mcQ5IuuFCTjQmoxuCKObhxL8r64NeVsw3jRv0dipw
FrXHyJu27yZcULb3uYyL1KUDbr8RZaMMi+9V0hEjdTPtnSXOAIXTZRYzOpIVDT51SejHv5meuQ0m
fKe83g+kQ+OXaBbxRhKb/bpqt/lr8Zx86XZV96VXbFfbSM4J6udb9xejvn11KDvIZTEhdv+VrcUy
O+YvwXrYuL9uY5707bbx2ubJqqvaT3a44Orgh6AGnyRjFLjd2EOMO414ZnT7nU6Re4Zhc2rWfnlZ
q2o3L4pxHb6peDTvLZokaChB9J8QFkt0Ah8TAxRQx0nJUsjQPwwDjed5sZWlvxmM213iLnLo79A1
1EVRX+2nESzGzUq7sLA0gHAR0tOu5TN1iPvtFDnVZ7eDjcBsGxi43a4GQ5wOmx8OA3Mlhaws+uq0
7/GGo6xrKJ77wI555srOo0zmAFyPLS0cp4DSTv8I5lo/YKYZq7ulb3xQILsFuqoL0UELV16R+WjJ
PSXkfJ2DDqQwPpOChnXdd2TU3UDJBCKBy8p/k8BVVE/99D/SzqxHTqRLw39okCCAAG5zp8pVLm9l
t2+Qlzb7vvPr58EjzThJlMjfqC+6pZYqEojlxDnveV6zik5YYYjsWAmnR5Rpi/IZA+ey3Gmhyq+m
0UaIB2Ej/0albSfnREuT4IEEaU7chj1RhyqrHtUvjV0oP7mNZ7zdPrfejTI1kF6OUSV3YCPb8EOJ
9Ouk+8PYHhMxcOOfRFcjgNW9/ISqLnrRIB2BisrzYnoOy1LHdpZWGwzgUN/66fN/oQyUShM2vSvt
LngAz1lYT50IPWc3WeOgHf5LeHplIIpN3cnrcMrS0qzIQO4YWXLsoQIPJ1Toas6fmhAl5FExXopq
zKxj0nJijS0fjsaJuN+ge66ARCUBDnhN6K7cUeb//wcal+LnSKGnaF2A0epeM3MdXQj6XcE9cwsO
PYM2FyBRICHkWCUoSv5ZgESjmRZKR0/rtmASDh7Qo2Mohf08AofZkyGyvirexH3CIQ6kpo32LCca
pxEw0jfom2ugSEvHOp6ykIUt0wIJqjClSZeprVtbU3Nq4WGCyQ67833o5goDU1rA4Wyhz64O+gJH
qfikcUeuIW7rVR/4gP5nHYX5XFtUXPIHXKLKhIbs+4Nqq28ZAL6GnhnzoKWnSUYLZO+RdHT7rtNe
kDHYZ0Noyt6gIHMi6oJchL7mmNZyOhR9XO4wN3X2RZ9vmfKuTS2wXf/7Q2Ym6R9TC9pSZVWSl9yl
KfQ9ZFa2rYWPtIt2Gxatq58TuQaGUDPY/YbwKgeZWEbVupL68Vm3dfNZgo3bYFavjmIZFm9L1xG2
LT5nhz6l1VCIugJ3VrJThnnJ+8o83v9+q5Pmj1EWZGy98SUqrKF1C5qiXRwq/KNNdegzJK7sIaoQ
UhLzdRvrYeVTYfmjYmKqqRa+wotHw0DeIdFotK4FD/FoFmPz3Ma9B7yNtr/7z7fyFtGCoqqRyJWg
1S8A6C2wJfQgUetiVCfon22kfUIqSfH8b8cRzAZVx/1GA0W73GyCjO0cEQuzL6r153wSSEWnwd+Y
E7dcXUYhjNQNix7JG+IssEZ04SYzzwO3eLLzUnzynEEZHqYwEi55QE9sWLPP3/96E8WPCktJ9i4L
gPxyrgusTix4RLVLiNC+BibXDCVK4uOQSR+k8sz6j2UO/c0TYgN8+9uoYzG2hWmCI2GO47dqzd/2
zxVN1YVGsHBym06Rmhsj9AW9ZCgOF+AiE7nbWegO3aolHrtQFZAl1xTNfGhbuhNOseqU3Ks8eoqp
0cNtMRNrTPe0RHjmJaOdFhFBCgeUSqvt+A+pZVKFL5B37xJa8tMjdlAoZFOYJygFk8n4aFWTXmxs
n7fTE8o1B4OBYsbAu2bhPqg5SR6GoRjdwI7lR0BR6BimQH13f3Lerrd5lHm+sENjjrRYb1WsxAY1
jZFSFZiBQOkbmgsD4fbFVJ/vD7X6QI50bMcAoQiW6fqbqbSqTrZvMRR+2cfYIDM7Swc3VvXaA2Fy
gYOcLg1Jov16FABSTlU5BiaDiIn2Y22CPpi41NGzsOU2uLIAyGyq5Fa59VhU5a6HQtuc0bdoD67P
BSnfJWkPH6rtZ6QRAEMRvAGzGnzrnRbZrUiUMdjYWOa/v1gENsNrhkXLKnWBxQZGNjVKW6McXNIl
CinElHpt3iPTI+PwWJZqdJB6vmVCvvJ+bTKAJk5lbDM4N18/dOEVYWQ11ehGSoilh+yTo1W1/VEH
e/P3n5KhZp8EAwcPjCSvh/JlBEQ+Zm5GxvDFEENLdxe1Xqkb6cZIq2/yj5EWk6YpFRAybTq6DUHo
e7Rb8jlz8pHWGNG5JZQTarK2PN1fD6uDOlQTdYx0VCKO68ejH44LtE1DR4144zsrxv+RFlxe7Exo
T6nWim8jldfv9wdd+3wGZ57BSzVsdckLp23Np6gT965Pj8tDmdJjpRh0PJCirjZe6tpQthQGWjxH
ExAJr58P9jRX1L4Y3N4ACt4bJc1HYfdvO/TOxkm08iYRT6gmZQ/OAjyorkcqRyPPOk32blR3zQsU
Uf00Yh7yidJu+cb2fOSLofrj/otcHROrIHrOOANRZl6PGY5kFLW5PNohC06p+tbJYwJi/hAOgJNg
BKjgf0bU5Mbl/sC3B72uaZwH+NGqcjb4uB4YLVwWw0UqOfTMgPZpiu0JHhg/87TN/9WBlPgb3/F2
32ZAQzU5ZzH6kEvTrIqF1weiLmHZKzV3RlhyaRzWG99wfRRCWoJnwd69mC1anUF3HJrSTfMB+YiD
bP+dE0mx8TC3k5KHwYvW5mgVt59NI3VqdF5TuVUPzwz1Tj2dJfnE/hBAL/51/1OtDCbn0xtXLpC+
pr34VFS3RqsMg8YFuKM8NtgPnoLBS59HtdgyXJqn+PVZoIPgJBqS2myqsHTmcnrTpKDg1W5R1GXz
E14ztyjRjskzgEJU0x3Fx+6BJh/vBQejhJuuxlF//3FXPiEQJJYfZztmcMtrCQTIyYtJqbqmF7Rv
1KZF7kK/0ev9UdZeKtGKw20O/yBzeerZ4ZRjL5W3bpCK4ORN6Tc6d9OjZaA2vj/Sykqb1zZm3xaX
V7F8HooLfaANVuXKaFLP7WD7ETlsYNDUnLv2DHK1+XvLae6EGPmqXIE4+pZnQpFjpqCDJnDVShle
OA2gCsnJeRQ05p7uP93vAHIxZTjAOXdY0rN+dd7h/oih6fQL0MEARTLo/UwfZsO6ioo57Tk7uiqM
h9qs8n9pje2/YUYgjuyD6kcB5ntjP1v5nkwYIbAg0YnblicSyuZBlGLWLaDp/Qi7ljKlHdbKZUyR
199/5pUv6ugAh9nOcEXiGLx+ZMtKE9mGYeuGqLselb4wP3llm9LwV5MoAgOJR8zhb4c0EJCzdRoI
VDASWuwBKHWyLAmj2sViApKDKY/UXuuDCvZ8n/V0rN8f7nYNMhwmjJirqJQRrUUkM/Wku4LGrtxA
C1oX4EV+VnjWjVFuvxmjEPbOhmUqubrFe0zQFRte71Vu2DjTM7gd+5z4DuLqGfVy/4GWQ/GlVEuS
q+PkkbhmLc4FpTQg97cKBfSqKx/qXK9Rqlr5yTfDvw1Yfg/FYtdtmIPOjWUjBRhUZFWiujiJZBeC
li80DvZzV5a/8f6WX2k50jxP/1h6GgCHOG5yDCqCoj/1rScPhgK+4/6rW54J8yi00Khc0zVuXcv7
SReNGidFq7ka0QjEVVO+6rpjucTs1rFrtOgIFdJ5wjOlPg4wDjcW28pD4tSls7Y14hSuYtcPGWOV
jHcRyEiB6OIhU+z2Es7NBvcfcrmkeUjCIQvBC42ONomc61GAeUkjZGdxs9ikNz2lDzUE44mPTIiq
GzuYv3T2mcf7nxhFMCdpw7ker50UoiFPUV0Kg2q3T6c4+lJVFjy6+8+1Mu95c8RBNioZ9eYk6FD7
jEomBd0reLjSNR1NMJYaErn02MA32Bhu5WOhPOUFkg5zaAdbHAZmXqIbp/+Aa7NJE1IZRW/4uJZ7
/6H0+e38eebw9tjouXYI1cIIb7lxiEZGXGZR4bHia+c1zLOABIeR1x/LQkEDZuPuFpJT8YNTZtQj
7helEBy3E5RM9Kud2Ct+qAE8sVsrPPmOWl2Y21q9r2wHhXM5BSMuCGyrtKVTz3uXV1mjHADqyJcJ
rQ6pm0TRjZPs49D5BzDzCA2lEB36a/oJBEUxjE4eBk+N2z0EmSzY49Kjoh1H8TlunL9rH9jGqU1T
qXlYJCyuJ9LgC7gzUEvdQLUjd6LfcBcpSU4ygWaz+699ZY2QNuW1Y+W+kkqKIkAW8OQnsFlB99nC
wcalHa0/tEZb/DuM3Ybb8nzGLD6yTulAZ6HM+ZHlhcGu+jabVIbDpg+u0OSnvzCatD/5OFXsgd+K
t7A9cH5O8Su5/6C/g7+boU2uKtxYSIMuT9s08aO6LJFbkdv1zcciM8Iv6CGc951im7PXqg3TLmj9
t1OrlF9E2pYndP3yY+nl4nMPCeFtR8rweP9XrXzp3/lfFOq8lJt0fTpomh/GBjaoNGhf/KqpH+B+
5J9Q0EUbL2B9KEpbVF/lnNe7nlSOMYEyUCRfulFhRuYVah0zzJ5yBYHJf/BUc5ZekARif18czGkn
SnzVOS0BmdC7BCS7OSRKELyn47x5uT/WygTW5/uTJMVtYDS9eKxyJASJanty0QdM8atPbPdpQEzw
1CZAgX4IMSobh9fqiHQyzpknnX8tRgyUNPS1OJtcrS8seuxBSqJ6w+ml9cnDJv6WM/UyncDGyDmp
m1QJiNpu7m91pxRWGTejGwe+OAyCrseuQEmFPCNFKer/UB1d/mXk/XtM5iQbMREP5cfFZAnQcaa+
yQacWfl7xCH0cyIBPud9Ev4/h5qPnz8Cnianfu139uhOwo7CY4b5wLs0Rhu0UxJVjBtTc/VlmljL
WlLH03AZE4AKlnaADMR16l577AH8n1sjSX7N4vmLPxXFK1zcYmOOri09QReXQQ2bstLyaJtFeUXf
kq00aTp6HgAMnpuiCsEh0cN9fzmsbbCk7W0GM2xpLVd5VFf0eWfOQJu+oEjh5+WFNkWNdskY8ldP
9IMtFi6lCHA3sjRbI8/L5s/vCPw0UsaMh0SZuC9TC/WTMwIVHTLnYgxa+7MLajQFlcyzjaG1tbHn
Gi6LDWtbe3mslGbRUYCP+apdVeWc5I3XoWgcw+4AJjiy91iNBMMh41rU7yUSY3ekrzUCwe85D3C0
bG2n0gAQ7O3M8EFc0x0NXW0cPHtXmWWNWdEkevqie7g/x/sfbG1ukAUi+KEuYdxE4mmQetoI7swt
Ezs59Y5iHUAHJESPqr0x99c2LgIKVRDHsW8t70tqB+LZ6KfJ7apyPPl5UF+wy8kPqj9Ob4IgH8/3
H21trYEKpAxIkG+S6r2eEciBdd8H/up2jueIk9Hq7RPaFs9/6fRc2G7qzVQJLa6b9/cH/l0vWp71
KEZoP+CoJ1JejCx9zjkVwIWbK4MoYEuExrfKwQXGbazSrs4GOgj7hFNXHB77Kg6gG5S0v6CzHMwv
PdiE7C1dJ7EALR/SzuTlRm8fijEEFW+DF4hPNb3f6iUvu+hTCgltZuV4RUsDR1D5D2jwp09R2alo
lEZTIiFFvWZ8bXzasff0JDU/pmaa4EXYSIQOdM+UH8c+slA02+WAKr+FePcINUfHN+j+i1mZAWRr
YYQ5nCZE2YttfYiyWtKzOxDKtzPGrNAS5TGKg/4rctsoOdVtG5anvx9Ts0iRkecn5b+Muwo8JYKu
UcjA5/TWH8oiG5l27AxHBK+eRrNqR9LjPxmTCrRhOjop3UUAUvlkh4eKMUfD8vgIGoLmhr3hZCrD
8KFTnY0JN59Ri/mG4IKjUtVJv1PXuJ7pAAr1zgNC7/op3g07r8HGZm8C7t4SzqwsKYPctMkVSUri
gsUHdCDE0niWDq4B7SGAMKFqCmyfFLdSWK0xmP9gmt5E9Rh9u/9GV7YpwwCxTPzMvygKXz/h1Ee1
VE1qewLMOPYQMhydI5Y9enfshCk2ypdr85Q5qpmGBu6GfNz1aEY6wKylkcotm6mFbdQAAjVCRQwH
q5nglUgA5hv78MoRQgnDZIpyeSXJs5gydh74jR6UE4okqJpPTTy3B8sglkge029SUZ6szNKHfWY3
3saZPc+O5eyhXDqH/5qJJ/BiaGhomVpzPXXZU8oLm39yTBsEepVtRC6OssZFYlt1yKpImXZFV1Yb
b3vt20qHyzVGBTq5u8XsJQWcEpxr7ApN9s7GSsjF8OD7hAvL+f4k0tZGsmCIz7kfh/hr/v9/xAix
BlUr80u+K2GSeBtEJklVGg+U7AClh4rIzpnS4km3WnqD8XzJvpZ1mV0QadmvaprpqBDpbPzOKijl
Q4hupXFBK5NHuv87V5YzxxWuIYYgiiI9dv0z0ag0lpMOk2sE9G6KtoEEXtOFvDHKvFgX351+Gbrr
ySuS5V5GLYrQcBAEC+lqnPrJ2evStnhEdu0/tPgD0ajc9ZVOX40WPVoYcUJ78rPpH/K4Oe6kQ0xr
CwL67KxaIaJ/i4bin7WKshuSstAxOZmE1ewhikHzg9dDiwlXTKy+vHSk3SNynMj6LpUaqC1IaFU8
cj9Mxotdl5guS8OKe0CmqQUluGhGPlIYFwD4GzbrN904Rt8HIyjeGaHv/xKFTJuD12s+3bseBmx7
zEoxqoGUXz3oUOn8Q6rIMcMhpxcPulqn2T/33+SNnJDriiR7r803QWqRy0tgAjAWWIJvco1uQ/GD
qKDo/22B/XymvzqoX1SjNrjzhp3sH8t2gBia8WGCPYm08ZeFSDzdOIBWJjoZfZYS+TmC0mU1wdYA
XCalZrh6jup955vaJ275xgveg8OH+w+/sldyJ6TeZXMf5dHnje2PNaU6VdbnhYm3psLeAsqtKUHp
RBYew35D3+h7ygzB319oSKOQg0RGw5DLzdKfQhGC/tehQaRSXggbnPDUCzxovoyGZm1V2+b1tlgo
NqogE4DefNNfhhBBPVJcnDTdTXV6uHW6Fs6VxAIA8nr6Gfl2f0rV4t3917pyHjCfSB5Lg1qGthQL
cXW0uiYLDKraFvpTQEcCa3E77V+q0iF6LjvSVP4UP9IC7W8Jnlc2IAzpETsi3WFLdhbftE8neu7x
W0SVCqGbVifwWSDV/36b4yBHGUillEaSpVKuD/FOicdMunFr9nhTWthsB9qW3/3KUrBnRdAs2aSE
v8yKR43peAYBmTuAvz84sLywWmuUo55TObz/zW7qluwD3AFNUFWOo/H25vf6x1pAh0/nLhbNbtVZ
dJfL1Hxj2E14DBVzulijNZIpTpsvRtvph0Cxo8OE78nGW11Zj7PihC9H4pZfsvgNkh4EmFKR5Zq0
HX1OIrMBaq55p9zuzc/4hPtbheG1p0ZUbMx5PYE41p5/0R9PbdeJLGj2kXO0m2Fob9IuM2W0aDpm
caCWhG/fiD1O3A9QWP2wx5xxsjY2vNWntonyCRH5McvlEo/qOASJaoHmdIxTTFfuHrcceFVICg65
bkVbV/6VJeKoJK0Fe/6s315oIGl8T2TktZZLz1NkAwhxYki1RnZobKxNrMKYba/t8D3CB8BRtlpj
a0++fzSjateR8j3An7fPIQya1/uTcO2Hkfc08JESUGLURfCg5SDoe1UxWbu28d4ixN2ZbedvPP/K
lsib/r9RFjuECSAJM/QQu4sY1CvH3ld86cXnoTe+dQCAH+q+0TfC1N+FnsU2zEFDxZrKLo00zmJm
g6YnZLc5ZYsqbZVdYSltdcqzocAOBUfgXYONC306CdCAtxk8C3qVCgBDTyKCKfwmVpvuH2Ct4wWX
G6/7J0wUA78HkQHgGSGlAAlBqQVikXZdf1/1ffzekz1uRrHo5J786NwtryTDKzUcBQdE369N3PnM
2jqEKFbOQdzAYNOx/qXjEIw/ljFVpHkHnElM773tDeiScn3OK/pI8f1D3cN2ALJrGlsl3NUFqZPq
ox+VBgfVENcL0gKOBUe6lqTC8tE5RRHB27kqLTW4aDGer7u6Mhxlp42hddFkOwJgEKhfacgKPHm+
Px1Xtt+5tMNspIUEMfZinThhq82uL9KdqDQcI+ljjxYJzL2cVN3YA1aOTIYiMz5LzeeK4fVjx2ZM
m5EtOLX8MPgZ0+MEt7jAn9Cvxica34ZLC4fggZK+uRVK85eXM3NWNZA+Y1Og+LoYOQX9GY2TdOsJ
+Ftmim5vDOFWrWztVVID5ZZIlIXt12L+g18c49C2TLefBswSfS1lZ4v0z4BqP/39R2Nno6XBRi5F
BHn9PLhl4BGjp5zMDn7PcRzm35Dc6k9hg5zi/lBrGwm5Ygyl52CVQuD1UEoGYbAomB/pYOkPvqmU
H2Waijchl+43YgC3bslqI7Zae5EOtyvyMywOtsDrMf0I6FqEG6lr6X5rHRWCsHQfml1xhK8SbVwO
1gfjXoAam6BVLBajUTllin2P6Ya4mbMz5DO/XIsuIJ6MjQVwOxTXVpWAkYY8wmN9MQ3HMDRjo2NT
dkQyPZbVCK7aM6cPxRRs5XLnV3Q94+cbso4pBQldQo3FUPAeYjZVYbomffZ0R3PIp0APT/cnh7xd
0tq8jaHRnYVnN8k7pwu8QLSR7va+WTrngaqFeGe2eR88YvycJdjyOe3jPK9+ZthUQC/mWAUWVscf
sTBUPzoGusJ9lUYl2CotEpTNwbVZYF/xUsNroW606hB5jf06WJLecy0Q2a+J3oYPXYE+/+Tl0iBD
OXjeD5nQy7hTzMD/RKdYnr6xoaHZu6gl97ijyULR9nbnyR9JG5v6OQQS+MMyYS1AyVbMf3Hq1X9U
GPe9xVfV/t5A1833XGG7kb50UWB8WFr1OXCK1vpIrxkprniayu59PSRR9hjj0PBuysw+PnldMf3E
QbFKL14OvP8w9kiCwGmW4mNPdzwapBKV7x5lV6adyMnh/GIkWa/vfDABP5LYC7pjPkYNpBAC5qe4
UCQmemnZqA/4MMIE1NRU3bXWjFNPpN7KjWN85bJM4Z0j3JovjGQ4FgsibFQV14RYd4mCcWgEc+X4
39Uy4DTEoFoznrpC79FRxBGGloF0EnicwupfOLK0z5NdONVGxPQ7JF5MZoQzXCM1JrNmLa+TXdP1
0CJVChNp8MHGjRnMRwSQDJ71UD3Zo9Uc8XcGfRFRusoVwzkERhCBHNJ1akwK8CCyyh/vT31tfg3L
H0WinM4s7hIUYBd78JTmYCWTXLhGMrYx2BBbyd6EGTwOZpvjf7YmNCyXIQshstSAz6N96qiT8kBv
TpM8pEU6RCcjTPGo3Phh8468/GEUlQn0EXmTqlz8MMpf6EzHHFxVkOcdVDKviI7J2JfO0+io7bdJ
ceJx19Wxne/BOar4AVDIwmvFwEfsVaTNoF4UWE/6QccptwAL0TTfKM+Pb4tQ637e/7Ur+5RA12PP
qmqij+VtyMTcE0vUSqdYnqofYhxLh/2oA3LceCvO7UshAY+yGOkvo8nFMda1NGLZgaq7ap85/ySd
j4EDIs63OqEqbBvsalIQzz0AoqFOgB6VWCloG8KA26OU0wXVP/AR0odoBfmNf9zDFHq/wQSV7Mn8
xwc+qQ0tNhXgRiDG+6BtR+eSIIvcuAqsvWIOAqo6iOM19M/Xw4YFFKe6mUh+TZ3AgjeNHrg4iI1F
unK2CUNHDoDBlk4de/GCvYROfnpSDJcqADbxUFOcH61T+O8MFNLR6a9nDRcNQkkS0vSeLbcoovpu
yIBiu3mRmu6IIci7qYn8jbz3yovj8miR46X2ithh8Uhlb2cRBF3dJaz0HzwVxA3NXOXz/WeZ/8pi
uaLcQK0nHFK93AiuP082NZan92XvZqHnOb+cXsj4QF+BAf2yZgE+ZdSsN8ZcmYkGvQw0GhMc3NbD
s0kOtpXT/qWVev21V2d1CriRnQVm51DADnwz5jj53X9QfX6SxZNiVGCS/KD/hITdvEb/mP+1jm11
OOid28VYmjylokQrB5qf2glypuqF14OTFVajzQyQ9alxQ/wyj75ZB8UMiac3py8CnEPCNI20gw9R
0X870F38qQ8n6lyzUOPJSsoM34I4KLSPgU/Is0OMP3sux2y433TMVeJ/Co6qb0oTaPklZsOoEXKJ
0Dr1SQwoNiW69t8ndpfKXZBvN2euvXvmFLpM0j8qX/76LViBo1tG2TRuFOnjBw9DF4xCAAsiZ2nE
aSB/jTWKVvbv77/9lWk2l+ZQ61Ofo+92Xr9/vPwgKwG4GejXNZqoXhIf+jlcIGtPy6v9js2q2dhw
511l+bHJUVKL5II7N4lej0cKrCWARkiOrar5rs+0+gfgrmAPNQHwaNVMPxDalHvoT9nGPFtZttwt
2YNMrg686cU0MwtRF15FDbQ1ajBoQMbOpm8O5/vvU1t5oYzAKpp3B5hhiwi7nOyoLwtJj1rYgixp
TE+tLzLShCuLXvpM2DyedpgVKcohAUM0PZo1c+JDiwlpvMNR2Wt+Vj4GASc2ug64magEup9c6T8J
7KiNjd+7Mu3YLamrzb1Ltw1F2IvgXVxFFPHAPVAelsXLmCTA97tGj9tdWHmJmw9N4hzuv6e1cdmi
0RMgeRZiKSopIh1wDJB/V8mt4pK0TfjOqHI8gbtYe8sxWQNkrcLX+4OufJvfuXEyf3N75LK+33UD
RPW5f1C3pwJCooq7k93Zx6HNXz08ptz7w63MOHz+KM5yvqpUpRdLuspi1eiwrnTrugX9YXUONgxG
kWzJM9ZCc2qwc7RJk4HDRnG9qCazpByIiaVrooWeDr2vh98yMkwz2jcbsUUOKsPV4Pd2SDXi8IMK
b12cO6M0MT4Xxvjt/nOvfFuLkEbnMxG8IT68/jmDlynwZNXaDbHYxM47Ca13BfP43LQif4zBjImj
lgT53yda5kiRZaHP3/am3jPFsRpSkqCjsAME7nm4JyaxX186woLj/UdciRtBL5P/4G5LomV59Rid
kbtqWNRuPgXa3vSltisr1dmrUdicBr3wzpqnNqeQtXQKMNP7eH/4lVShxqSimsReSo5iKeiIJrTt
oSgaF3TG5B2E1YIkyrApeAmBVdOlbgHCQqnEbD/qYWKQZY00/7MaQP7d2NFXIjyLGJIIln5B1AiL
fXXglg3qkc6dIW7Hg0SjI3eGMrTVoe7yaqvGvrKE2cHpYGBdIUVbHpPcd5FuNTW9XX2OYq8J2gvX
rHbn4KFzAJGfbVx7157OYoMkmcHXJlK+nssBzmyF7kSNC6iZpu2y0vESGrLR/wdPjlq8vf9dV05H
irJczziomFrL0SjoF1AUq4ZusrbZt4oGlN/UcreNNOVkDRCCB80y35XQoDb2Y1PwINcHM+mWOWzm
Meca7eIzIm+JvDyhgYgOv5il2hGqY/TQptOONIZKCYzWkecpsfsPThRgpJgb9vgZ+LfSH9DweWTZ
bduTR3+abBsSdKFiGWV7PQC9vqkxeZjKIdyNeChoB2hQRXWs+wR4Xe0jljnbcT7MFPUJIqive9qv
1MF7BqajP1o7yyusD1pRK8lugmX27LWa+Su2NCU4mQNVA1cnZ/Ix9z1IwF2VtQg96vaD0wOgODk0
aoABbExF5+ONmFN2Vu90UP9kjJgXM7KDSVcidJ3A63/lAYA7l6a9xtrj+2JmhwrWpLfXZIhT3M5M
gS7v/TKQ5sY0u/3wLGW0nKTLNO5kS4WLjEYa/UCxubCzC+PDDGJwfmGv1QZn+OioSYK0otckYr/1
doRsYkv6tv4DiItIW6jajcSv9AMs3SyF81gaTfR+qtHWQCmuyyefaO5MzSh6RtxRvx3pKP1yf9bf
rmnipbnkQfzBprasyYU1tbYp1ieYy5wJqgVnVMVIbtcDUTmNPWHR/fFu1zQBB0Egr5rrDrSZ6zWd
xFZQ4vZDn4FRZ8cQgvnRrNR/m67t9/dHuj0Jr0eaF90f0fUgRBbiWqG6DUbox2ZwWgyYOiD4nIkn
EWABZA5jeb4/6G3YwaCsYlsjnicVtYhAm2ikHz3g8YRHErUPdfuhG+JqI7ihRHy7YxBF/85ZU7+9
2fizdOwb8idz1TzK+le9A3f71SnzWP9WWDRVPKpGIPoz3WaYqTdhBV/cg3MNJj6BsXg0auGULqFK
TEoK8Vq0K+TYTAfMeAWWv3k6mTtda4pyl2AMNgP0iiJ6jJyEpLgv46KFv4O29sBG05ZuXRhJ90Js
MQn4/3b3szA8OmODsGxgTwfepID/17DHLOPB6g5lULO3arXWQP5OPDyGfdzsOrpoRr19UQKLKBRR
dzB8RBKkfJJhBBvTT/zWfzQ7G1M5TOb9X560YutgFNBqD2UbUnk0ZFDvph7y4H7C/Do6k/cvnqlo
h8lxzi5NYFtC+dagVhKAHWmyHzlB4skwPe2djfj9peLHP4rewbnUD3wVt0pMwurDNJGKgMcdReUb
GppNEs8w31+1RrPjfYAH2cDjNeK5b7Qp+lJP2NPtyIw3ZNo9YgGOx7QqvtpRa1ffmyQnKQryywke
TciB4/OkKtFrM46BdyjLus9PIE+dcycyvfmBKU74AXBoGp+lhA59sTHuyl/UnCXzIyMnUPG8SuFj
yyhrlFzNJD7A8oflVfdtlByLoWjzl6ikNW2vDqYdfhM16dGH2q44WhRejL7X0kpANTSzzrkA/vdC
l8ULPWTCboMu8qIBPh9X2viARaxt77OAFry3SYMsC110homEjeeH948sIvnQNAIfL5LjpPd10r1f
FLOqO1LiWjx8TKZCOAeb7hf9rRdGRnGk6yGN9xb8Zvu19xEQvplKVISvEgZ3/s2PY0XbCatqLnoF
f410v2oNOyOCEvpGaTy/3w1DS3Q1UbI2HqspNKKLn+YV96kaJfkOKLCi4YQ9yhDP7amsTwATOfUS
u6IGoEamXnzu6tDqP9emUotdUgrxzS/1oH7MwwzvD78OABoN7L/qZcQtdMBNZA7nnEbP35qmZJuk
+dJST1hSqAAdJYDeIUXke+BDZNWhIRMfAqCVmhEdmwqfdNR4U/Kg5ngf76fCFF+x1vOg6mKgh1o2
acZ32GjhrWf7mFI5YJt1/lMOT3kajyVozSxo9zECi++eV0lyQ3EaFY+Z7Qw/ndoKOaP6gs9OomrA
Ej2wTMW1GloVdgkerSEuo8Q4xwRfCLnjBoEdH0ezSPZ1Zzcahtq2/r0y0UEcqfxQ4cc/FOZSGjR1
evBFpYaHbFDC9KKlrZYiV/PA9YeFE73mmBc/SvzcKIrbXvJONRtpHu0IrfoDfT3d+FA4WlifrMny
XPbguH/LTSJ8wmtEzc9JL5tqj203C8sKRoqLQzCm/htVa3r9kiRq/yGBvPSD5ndcdY0EAOl+MmUb
HPq+8zHPKZQI6qOs2njv1UBCz/gNTE9jZZePvDVeOhVsSlklJah0N9pqph2nyMHkETGKbF8Htams
n7R7tFjQ1i12X5wLHmbVleDsHc1sNs1DEkIbF0fWzwx3D+3HINTudQib7EVLhPbJpE3GP4dBErr9
UKfaYcyxNkO3WFbVmT+hu53NzWuXVyYlG0BBW8HrSj2GXOVcwZzv185N+tWOCzOMktB2vSb0S6K5
wD4ZqTC+GQDkPsTGqH8tTDN5qgq9egpD3z7VvpD9zqrM4KvfZYN3xBEURj02A9rGnXQlxgAZBGCA
pn9xW+pXZCjsoVVoVfe8cs+0L06D4wyPmVqNj2qXmX9/8gMAZOGR/UYjLebf88fJ3/gY2jUF7yLi
Xviuwkdj2HGKJRePuRzsslA6H8fca1//+uxHP6pxITXJJd6U5fEYApEbj5brAKU4cEnt3njU7U73
R7m9/fIKSd6heyfPpS1LBy3i5MbxNMtVEt1JdlwKPeyko15/zvCZf63KIHs0zKJ7g6dg/36qpvLH
/R+wEsEBuJIkPAS9IfoyBQ/DLxJNxdvFPKY51Do6xMJHIjvgjnW5P9TaxNHRIBIaz/fbpehApSVV
HVrBs5Ic23kYdnMl41AAM+88a7RAbV3EbqOqOQEvSR4CILiJ3kRU19gW6JarieCb4cvyYUoc+T7x
JnXjyVbiRIelSikXdQrZqflK8McUpUQuYrYTtHd+wOUo6bVns+vH9/ff320IDC6C+gVenbRVQYa5
HsUbpSg7bbBds1bUxyjyFXxGA4uX2BQXKgL5vhfMnvuD3s4P2sVnjfzcGDG3ZlwPKieMz+OOhJ7A
NQkgI6YOFJBNROmddvxPhqJmywyhhrdcC5h2lJ7aV6S5RtzqYUHqu8Awx3MaecHGsrv9YKSckCpR
E2Vt3whvMfUKAwI72y0DBPazIP2JqLfcyEHcTnhGoRQAngaxHlmW63c3JYhrot6wXHZyTz0i2vST
ne6bFnZQCobrwCyhdf/9S3RQ4JMtJRvNKXI9phrVrAYs3ACaijmm+m/OzqxHTmPt458IiX25hV6m
e8ZjezyOlxtkOzb7DlXAp39/+OJVhkaD5uQoOlESpRqoeupZ/gunQAu4iJXA7hu5U2vfRi9gyzb6
osgDIRu5Hkl2XRf3uOhYl2GxLPCRg4niO4lBO9BXCZz5MI6Gi784mR3uuqAAD0z8xnbnnP9tqKwa
Ln8RMtyX7FPGbS+fuXCcCjEv177Ixo2UACsn65E5rWUGzCa8ZwgJ6R8ogRbujCDHa38hbbRB18rS
xukDqKLPOMGpT2jAKtXZDoXUDqKO0uwk3AGTBwydW/cQeXbdfpBFrw8UFFNUfooUKBzvpnlGngV+
4WK+RUcVtwNUcWQAPMG9iLmdGAGlmfELMMug70Tv231MnwO1LUKOB4NlDbtrKjFP6GA5l74p07sY
N8/7WS2HnRd8+5lRHoFeR18F0uLN+/W8RNSeQiCt0H9+GqY2+4YtZ1X7ht5rBnaaTnwtCzwRfL1t
qjM+cc2X13f1Xzmvl5/YAJ9CMGcCTkNhDblQuyRtQ1T9LoZ0Sv0A7sQuP8msbod7t6RFGgCt9oog
p0R6FtiZdthGqdhDw9xP+m8xmrLy0CtYUt1BaMMvTEW/tblvUukYx0mRmBRp+Enu0aJvPw/fhMEz
fchlDrw+H/nsKDWbxqRpoc3HJNUKnMQw0Hj95WyE6GU3I/pE34tjv/yK/9w+EsdPr00861Iujst9
xpDArxN2+Nzk+p5u0XKWVh/CQKOPqEnbeKEVvFwsxX+lj1SIEQo1cTB44/RVzNJJMVuJpw8mSWoT
DLGjPiRGvytrsfE+DZ6QwYxKt4RX+nJxQxWRkdng7BuHtl002VnQT9be5bBBXgbbiWQafFkEH0C3
v1wGTZTOaZvBvaBW27+Dj8fjTRimf+x0BU066pJJobGm9npDlc6hgP2SURVkpWJIiP5qpGFub88/
IHEBbKPzGnFKqlSrfAQW+gIfnbnEPoSefn50s7S91j3Q7gDT1ORdwywdIHI2tN9sQcaBt1TsDuLg
cPurR8h43i9X61HbwhvXePQKqnzKP12pAvR7cOI25hKlW0wjvDfHmkUKf2loAkCnJbaOsqII+Zup
e3GHLj9iXm3cGcBw3n5/If7IDISLhe6pvkpyKk8N7Wikukjg5Qdj72Q4DZT4KjXT3u21tZtgNCEq
pv7V91g1L4Wec4viakl+2KkHeuDWISZZ3+nubZ3O/66yeiAaemljmhmvTU9mUDt1cYrGUDynGArt
LLWRIJKFIquxwLDJPFZfKJRJXmdR7F4GVZNYL08YTBK7cbmkN/TgNQzroco7OxniRpYDg4njuEDc
XX1NYgrnHvsxjealGWNCY+WzPKkSr0gGCuOxxUnpw+vhbuuzMdZxsBFjf93AAgu1HYUppXPJeJeP
M+7aAeAzdye12XqXywiOyErqxj5+GQO8HMRQIhBkowPpfasw+Paw7KSvgufZte6kcsFASuzpim9s
Fih25kK1Iym9uTBcWnx5SyZxyUesPpJaiS6YvOEV58XuTra98dmI3gziKHKhn62rCaI7OL1S9VCb
iktqzszSfymGMj4y5cnfQaksdsB5G5NWQHJIAIPb5+Zg6PvylY6YO0T4EIYXur/RO/S1nH8BShpf
6E95zyP4x0OZ9QTEOfMOmV7YH5u0CsedzP82lwH8gyQ3Sh82oIn1/UUyW6EIV0XXyqa1jud7Ku/n
dBrRKUGj4J+YhMrDsyrO4sDTy4gkXSvrZCfIbbz7Rf0GHymyN9QuV2/CiQuo1ICwL72mzpPvqUox
gQJVpj/lHBJSYzuudqL3xr1Ny0ZH9wtAAbJfq/1sWgiIxqOn4KEzJ5cR/MaHCq+8QCRTe5fEzeiX
Xjz7gori/ObzCq99QWVCfzFuPruMCqv2ZpqXltM7H6SNj5pXevnOef0b3FaJCUJtCCZRrS5Z4urS
TiGSRrPXKDgejKqG0zqKVELD7dPPJBgDHzi3+ltVnOxDCi8aUytvSt6rmI3+0LXZmp+LOEtD3yY5
jKmarHl8rJKiKnwg5kjL1lpja4GniB5nlkhJtFPfa06IX1Oq4h80RB6NTszl56OAzPrQwa1Er2TI
NQnBKccfLLYnFzP1KZHZg8iZM/gC3Lp1V0eR9gyTwZN3GuhqZhuRMJ462YVf0OlJnvq2zPVDhjV3
d2SUEvfnCR7sxxn9KwyW5OIA3lO7g1SfGhPb2WxxGBaJOX6yM/j7QYYE34ht+qC9x3HCxq7MKvIn
UcaFfcA1tXwWZGs4PLo1mUYfKjhWWQmw0qAdixY4ZtM73aEQXl0EPTZ0tt9HGm5zFvOhJ64ZAbof
yZXBj4exYZZTjeVHq4pxbMKLAfNwt8xH/UOZIjkEZNzAMDXN3OlaUoz+Kaxe/zNEALzriXd8lNFQ
fEeUMvP8kXZ2F6gMrn/CNTae2yIpfjLSDL8NbdT+cnO8F67pkM6f4VZhiufyqC3SG4P7AJUWIlfq
KPkJuzBqvpD+ELaYiErlUNtS1/xcKI4d79y9G5F7yb4BYDF4XmjgL4PbNLidoQ2DAt88+TKNus10
oNXco2mWyc4FuLUUOtKIZJCHkyWtMooGg2N+BomKWpbjR+RXqg8lLlvXBH/XnUti465dII06zR/I
ATd3LQO+NMREzr30TEzuMkw+H6cUw6zXI8RGOHQXNoS1oPyoZFfvzsZYCuN6x73gWKJ85QM293Hi
qQlMFcOlZKrcShxeX3LrwcChgPwBVaWSvKw+V9pFKQM+CvQJ2Q3FEeJdrsNdfX2VrS9F7sd7oz24
dLVeruLGUmsS8OIX2WnzIRPFeDAH+Qs4Wbaz/TafhwgLZ33h5BrLtfefGtC0ldy2Y57HwY76Dv9J
DE7rcG8evv08/7+KuXoeBSJomZcA0Wh25kGG+sWZwVES9HBg715/dVsPxH1F238Ru0Hm4OUD4W/v
Zpj50cfScKnvaHf92ylO+vPNq3D/LnZ4Czntpn+C/7GbK23sXaJOFEdjqKaTVlXl208RHEKVSwlM
HSnl6rWlyD8UmNx5uAIkrkaFJkPvDldp2e+8tI3vQ8VEk2mRLF3kKF6+tF6dw6LoWmYW9TA8ZzIF
KKAbqKcxRW+inSRmazGTnQa+CkzXDR9BDwXtl57CBjJGeIBlDwq3E6OPq9ieJ9xG8uIBBcYfjRGF
Q6X78rkiuyRz0ZnF5LQ/lAB/T+bjYeamhj9VSt0DCBDuzzLGDU+j7v74+ibZCE8oJPPpKHFIndax
IjZQsCpm+u6YVxe+Mik4gsq4NmHZ1tMzuibRzmfcelzQiNBwGQnxv9Xen3N6rSngjAuCENkvcL8Y
3oounA+M+/JHJQeDCSNDfexEiz7e6w+79VWhSTAgRWiKjv96bdTJkmGproD3ztfeFhapjtU674B/
mPpOfNw45NC7DLxOqAjQ1Fot1hFAwtmpHFB5kX1sDa94dAs931nl9pFQpWBqwgBj6ZGuX6cwBswV
uy68eMAd7kA2dP7QxdX70dn1/9jgrKFojP6YBUvHozG+eiIAphpT6ji8lA2NngNV+hQflrZRQhvD
cD9TUrQywDjWloeuL7oxqApcz32zNktscU2T/PDojJ29B7O93VPLD6NJDBcDztpaBERFYcjuymTJ
T+YoOtH3zH4iMGqecCDWamT2ut4M9ClqEz+vsEU9vr6tNpdfgFRMJgi26zM0uhWGG6oWXpJhsIoA
w+xJIG8E+tNXoq66F1I1voCLzJNjL1E2e3OGYaqkeTRG0OwmXK0CSNViionXRogwOKwfU/G8Q6nW
4liGnvFURNneqG6j1uVCoa52UY+h3l2XW23bNExWq/CiGvinC7OHUYragX2eBrxOB61Xj5aW4gJS
u/ID/sXYS5qyfnr9pW9tfAouECQ0TJ2b+RNOC6LrvFa5xKM0gskbIc/mfXnUS8faOWO3J3m5QGmZ
EjMWKvvqBTtZZ0eVrJSLPmJRYabU045eGP/DLmJGjU4aF88iVf7yHnDmfqjL0l3eajqdVC3HxrEv
0+OYISU1YJ1yyDNpHBIHEcfXX+XyX35ZXXJ/4xKxiGmCmFo3ueIBYl44m+EF3V87aGzDfBcNTRm4
qlK+V5hA7N2uG2rZJszv5ayy5u20F+c3E6Ov3rvMwEOWuq3I9O8ohEXNkyVmuziVxVB+cfre+NyJ
0swDB0d7JyhDN6nwp67aPwLq3kej6ujuvP4ytqIceEhA1YuuBUju5bT/J9u0MnfO1bYGkpFbWXES
Mss+qXaqI9aKOt8XOalafYI+Xn5XFS8yfaTxy49G4ujtQQ5OOgeNUmvZzha87ewAQSUd4dRZS59p
9aO6bFFDaR3nkibq0zQUDxUy5OfE66zrFGn5kfTgXzy250OUN/nX19/IbbeQ98Af1DAIRtz4Adql
Hht2Qbcw0ux3Q5kdsrgNACLlj3kVA3tDbfPu9RU3zjboIHxvuTZdpiHGy08QRSJTjKbxLl4YAwD3
VHGMc039t9amt6Mb6OySVHKdoWrMDfJyqaGe4HsxOb0kTqEHhtIOByhf/c7n23wgmCbLpBHdrXXi
kSUGSSotmAswPcxMKfyoMKAafpqlQbHx9rdnQXPnP8OkkLT85SOhQaWb4UgJHdmACsGelgckcSx8
nsO9GnDZdqvIARibgMW9xwBzPTZRK1jrrjJ4l8KyhuSuF1DI/HDEGsPHdGqsAtVOQKLrwo0+qVg+
7h3WjcjF+qRZ1AT83xrgQ+/DJcUijqiuMh9ciAHH2eibQ+WIPIC0tqfvvXETAATngR0GttBZVjEa
/qmuTUsxP3SWfEcxZKKqn+zNPLeeimYLJC0Sci641X0zCYU5AIXJJZo8O7lakVZ9KhKDMKzWTjgc
ERt6O9adKOwyzEWSYANZIbGU7PSIKs6Rxm9d7dqHupjDd3Ti8j1q59ZZQF8WRRgaLxiarN7hpBSD
J9mjl7FWJfKu6B239CQDFXHjne7sxlJMB1HtZry/6IKullJnEDDGZBuX2AFFf5wlkw9aZpbyp467
rDi+fu62bg5as9CslsCFusZquazRZjmjXHQB2dn8kYWBGBi4YzXz05wa+TzNVTU+Ga2cUduPWgRi
hAd7+pBleksXtoPNehzVWs137veNXesCjKEFxV6iW7OKcQigNFkRQeHPTaX9MqvRl9EqlafXn35j
EW8p6yjfEKe6mZSpcWho+DXbF63Wo0CjU3hRJtD9r69yezSWhhZoHHDs3M/r1LMLG20wF+Di4Fb1
R8UevAnPrsQG/DKnP5IpMneC6W2EY8FFQ5VGioX2xeosZihdOp2G3h48vvBjb5vFaUy8+lMFNMif
p1h8hWtUBl5qdTtN/81HXS58enhAs9dhvNPC3khV4QByH6czqLGaYZJhBzqEWyaRxttVEVBvtxhy
cm8wCL+JOplnM+FvgOWGYjxXY6jdtUI6b77akftZmlE6gsTkgKu9OOgIbdIjci6Ql+F5qUb0ULbz
T08X1dvfH6qlNIqWXc/EfXUNms4gMl2CyEQ1W3/UBw9YdN+hO9sq2mlWE2unS3mbJjFphEiDbh4T
YxR3X167rSPS2IZ5BYQA8fPUTtrjiNJEIJRwvCqpOQUI97zVtdwEN7Swsm1uI67h9cQPYIanz13N
TLX17ENSYQ/ChqqPiwL859eP3u0BB7UIfGGZsHnUKasuLGCfgfXH8G60k/ij6GR7cWtN7tlq3cbs
ZRmuWBTXeIlrVvBk9Ghcwu27q1xTqQNF06oDlEQ8eFU92xsBbC5G3wsI7XLC1xrJSCSbhMYivJtU
Oz93Q40fk92Ed7HW7CG9/849X+RKyFYy1icnoVlu3dDXNMzO3MJu46syueAyY+Q5nKM6ZMggtZPZ
/5qKWo6HCuV121fbHC2iwerLH+XspeUxcqwSBf9xbL6UVlX8liVNp9MwD1NFpyGvfsasC1eskU0Y
mNbg5EE6N+CdR8NVnPdGxDfT/SjCr9bP59R0EDpKhjyoygqF3UJHHe0wD1kUHrhMpy9GEza/5ZSl
4AkBdg0oSAHoILJPaBsvjNaAWO9gl5hNbLZycHoR1DJs3lvKTIurmKMYr8rZKL7MpUQka25L8WdO
o/YOXJGlHeLS03Bql0MO4UOds6dxdqHBvHHDLi98MdFhMkuncV0zwUAsyhAHpGs4dtGBUU95KXUA
Dq+vcrOFANlyAjmDVFyARVdhRo0VJAr6Ubl0YMI+m2ptHPJZGx7jkDv99aVuTuDfpf6qRbDSDVzZ
jZGBsCzQGU7bJUdDtPr9XBZ7IILNVbgH6CctbYF1Tj/nw2Cj70EzTebeGRVJ5VjCX9t5lpvbDbkW
5EsWnU+IFjdd73r22lS4VnhhuKgfQ6fPA03Rk6+hN6RXsx2TPW+Dje9Elxvd3AX4xoW+ungYhXX2
jEfxFWNvJGs71TmHYPH8OBZ7VdEtoJOHw2qeKQVTzEX7/uVVUGmT3gDLVC5zHDafqSyN/rA00x60
Pp2FT3NDiEOSD7mE6jhLjkps91csA6OnVE/HJ70c1U+jZfQxjnSjMvhVpafukYNb/mT03O6NvjY+
OVEJnZUl3vI5Vu9Gm+107KGyXZyiTD+q7ZB8h1yp7sgGGVufgCWYdjAGBZ6zuiG1KFPyxvYgVrlK
whA+jqTHnWxQYkwtXLm7TIzu7HdhgkTrhOuVchcxtMcjXOvdH0XiGfFHo4wUgeK7sL7iBARjKkYq
yrjLyqydfOaPvXOUKsHzXqDYkwVWbLXxRy0cMwuxmMJOkZHVe+usJInSBbAOsh/laIop6IQFXhFl
zJIIh8KgcbScoWlOsWGFFa1uFawFOKP5D13gBu5bGOp7DtFbX4FUU+dP6iKUpl/uGsVKNQv3Avq4
qRkTbJvpaoQNhNLXo8jWV1hg1agHIXZ+E0VEp0urHMrw0phK+WuwjPhdreWj6dsI2L8Z88VJAGC2
XK1ocXrrkkgTiHzQng8veSoyaIez7lt6XjyApBPH15/rJlNfloIKQ6eKnuHN1Bsh9SE0QqYTUzKa
gbTRfSiy3D1O6iweOhpbZ6XESqcZbfv36yvfNOdYeRGgI7jQwL3pD4sYsUrFld6l8YAo+vWUWXdJ
QVsA7cYmUFwkGXU7B15XWPMRFH61k3lubRzQEhTuiEIRclYbR2qzynXaeRerDOOrjO05QA2gOL3+
lFvvFwSDStMW6QEYci+3J3qZs7BCxbuYTovEHX404pxbcf5t4fLdKYr80UqnCwDlvbljwPtl4rRc
R0w5yA1frqxUgLdw2g4vlpyNc90a6nkE5QS6uC7f2jEgf+csczKYpdF7WV71f5q/nSlQ+Fv2a+i2
2UOpq+V92QzOqa3FXmW58dXYqiBCFjHj2zbdtLTo0FyJriiKd/80RrQwPguxI9+38dWgVS11CeNl
aoXVu7Mr2ByjiQCdIdzsT6QLeS4FDNtj3Urv+6wVBnHNKuNzkdXhzo7ZesKFqPMXrrtMil6+TCdT
XLdnCnatq8E6w7835EE1YVwdXt+ZyzO8zKwBOtMLoEBnJkWv+uU6Xj9nJWOD6DrD7juCM7+bC3H0
kn68w9Nkz1d7440uVDVoorQ62M2rNzoZU2LqcZRcY6NujnnueKd6mGxMdez0s9HozUV3i/ZrD0do
Z3PeVJgLDwmGCsePMMfQ7+VzjlnlIULZJtfcBuM3asI693mePcOYNe7zuf0DPz7cabj8jdCrlwuY
EwEuTCoYTK0j+FTYwAydPL9CTajDI71lBQkht4o635HuMB77rirSU5+klXEXjlonrgWINmBrIo6+
5Pj5jv6EStwvmPy65QszKesjbX+cQ3RvsPy8q7reNwTb1O9MJTprymgbfuu1lksYs9T3Y2xo+bUV
dl9fu7gNe79yekzTE9Qv/3WLCS6B4iUXUQ+t7teVlzyCrY2+2vjufg0jVf5JIhWbrqgB6+XHvaf/
Am+RfysxK4iONmJA8aNl4cfbZ5b5xIB2fnTYsJD1Z9WeArSWm+fX9+vmd+TcU9+CWL3p7zZeqQ0y
R7OAHjlzr2LWes0vdE9afldEtX2WE+ZtwQgn2Ng5khtXFUU1C+ObSo/iLzvkP/ENvZYEKfMivqbO
kPfnXGQROMYuMq2nKuvad2x4+VMBL/2etHjQH9B2Za71+uPf9knZx3/31JKPE5xW91WiGfkgjSS5
TmnWZx9zi2sbPCMTe4gkhCV/QFF1DhTck3/CUB8/jPgVqQc4vl0caI0jPs3CSJWdiuR2rM3PQt0Q
3D3Sf1BkVuHKHmUYdT2hsiq7ThxZqKsD0dQwW0aGkJrvFVpinTVN1H3QTY2V+1Znm6Xv5qa2U1Vu
fScgxQhKGUxybpAq5gBggnZAdNVh4R2WMecxrafwMc/BWIWFjT+rUpaHZIRwmDE0/vX6J1oedX3o
ASwy90Pv8baACSdRydYromtpto3vKpP1EJJU75yDjUwUgXGMTECpsSnXc/XJpQKEaMUqEZUmsCc0
UVjlJJt5L3RuL7UMTxntgtZeJS+UoZ0TehlXRKZ7x34YzY9GqskDGhbNTh66vRTNdh4LDu66fq6j
gSwmjaJrWsgeZyvVPBTlPPuDGPamwptblnIWxy0sMBew0csboZV5XFbYH17yMrPv0Z0pj0poWM+G
UnaPY1KhEKaWeaCiEHrqRw2mlxHm/7y+VzaPM4j/hUK5MALX1W6Ds1gSayQygzY53xhzJuTATVu/
79Q8RckEy9jiPGZmDKY7I7y9w0+jmg9VZMhvlakpnq/bpbFnSL0VZNnBizEFTks38FQ1K2aHKBJd
udvET6TYR6DseaR+dsK+u0dSE0atLjGCe/1t/O1Pro4OolFUIuTjeJGbxstPguekYIKoJFemLmjQ
Nxin/KzApf+oxkn9VupD8yQmJy+f9FRUKJc06qD6sP1S9HXylqLU63vnCQWc9POMjG7uF86s/MAb
UJRBOQ/as1F7U+wnZdMIXzWkYgao2GjDwbXjia6CUrcnUZk6nG+Pi7WRdQcbb0idT3gi5NbVgPuH
1VTc4lsbz3H3nfFFmd8XmB7+i+WvoPLPnfqII9xfqDoyNwEKQDGw9SlPn9Kpaf5V0qSSQQUPAIA8
eidoIxVxahyzsgo7IuNU/ehcrdJ8BOwbdNlSo/hAaahUXzvXqu4BiHbGp2ges2NhdnN333Rj+quJ
c+t3EsXy350PchvKXnyP1RGpo8mdMoPdKa3shy4S5zi1ThOUZjbfvXklSPdA1mFxMuBcx5hhonCS
5EHXyQT0Zgl8u0opnEOZjNaH15dafvRqky1zjcUrk/GQsy5Tyq5BgFnpk6uovOq+n1FGsKu2Ory+
ykYkQ/2TWoi5FwLW6wvRAQSL5cCYXmmJD1/MMEseSy9MTiXuOTtp5q02KUBJkkyQLYAJ+KtVgKY7
i56vFaVXqXjNj06q8/cJZuE/Ktovn4a6l+9lWxc/tEYk9V2ixhKfJWkM9VGabvj99efeCB3cu7xZ
ynqkNdaTo9gCYSwa8hOwb+2j289oEGHNcmLi6xytKtW/elZu73zSjSLGdWnHEDVAqN4IerRerpRN
pcXXBq2tI2QEyB0IID9GQ9sHeJhEn/+Hh1wGcbQpN7hiCHMNc8RTXtMkoce0qJV/irTS4S/zJPzG
9H+cfZMulLETIbf2rot8JTMQQCM3iBtiIdJOzGyvMeVu4hulO2NHHbtPrz/fLcaMHUW9suDSLcxn
1vfwhC957+hTfG3jEIoyAEHxrJo5ot19aCJ7Vkf5BwUO5q+mDMdLJ+ocqbUOd9ajLGQT9L2aaqdm
Fs3Oh946VQs3ESIDm/1mThjpUCXaISb717XsUSqOPMvQ9R6yOdubpW286kVwj2KRPGTpTr28i/JY
2GVVN/FVj4X63Wl149TPsCBff9Mbx8VDYBYeA8ECz7DV0cXEuvFmz4yujc6FMxrzIRnCYFLTKQgz
KFcDChZvj0zAObhmafnRYl+HWjmWqG72WJmWVp4fTDtSz7bGQN5GyGUnqm+cS7C1CM/jucCK6+YC
YmKpouYyudZTp9yL1B0e5yRVpiAn6+9PpVLpw84J2egwUBQuAsUL+oeh8svPVoPo1SKNE6Iaefuu
IfP+1DnudI+sqHqNk3i4t+zOVZjwpcpwfP1jbuzO5dAwz1qOzs18Xuiz7RSqTRuxNoqz6STfRKNU
H/Sm+f36Qlt7E1cJuCmg14ECrPbmlIEyEsvxrNAafg9c6IcK3GCnjNpahKQftDLiHnQRV28yxBXR
mGlEXLUOn50RBdH4GBtmu0cD3ToCXAYLAAYU2s0mUSytTOKehxl68amhDX1mdu2czD5PWoiMah0k
LdzqnX2y9a2oVUGKMXe8xWHbJUosOPURSRQz/NDWsghcDV8Yu5r2TJz/RstVxrHw32nlQcMisK5q
dhgbRhfZdX6FxDuGJ33omvQ9MvnDn9a0UH6EPoJC29hH5sGg3+j4zDD6DzVqE4Bn5/hbmgrUJJ0k
rH90QIV+qVE0fCrzHs3ForTqxpde7ewl47ef32Ius2QTyBUDy9BfHiSOkNlNxZRfa8PFimgItSNa
w/VO42BrlWVupi4dstu5jesNJLtORIdMlskhRRflODVZ/eaDyTY26NrwqSFy3wSFIR7jvm+QZJzt
/MSGz89tq9WXrIVt8dajybAGOskyBGZoc1PQtW6qd1KmV0cBS1/nXX1sq2JPQOr2zMCdogPEcdFo
tq+ngcXUD0XUp+lV7dF/9fW+mfsAfQznfdgzmfX1etTaowBysgfF+FuDvdzMTKRIC5Y5ESTJ9SzY
pphCWTIpruCDjCUR6XQ3EPrQjocaW5DYT7XZ9CRFVlR1Z/qxtu0r6qj+qHN9+FwiDyoOMh2gVHKb
2gybRFf8aopew0SqidA0jMEERA9elcSAX4GJ/6YNOb630E+1A0gR5nvTi5OnRrPRS2l0rwVJURXG
eJh7Lcf2r+9d+4hWqQGkPI706cz3KqcgyWeU261QuDkM5s5sYWhrRR+47SLNkneFmQRVrZr/zEYF
XVp4FiEnrSYKQDNvXcSELP7263vlNgbxKi3ydnpnKBmu5wvA4sFTGjrXY9mn5xyb76Ne1VlQOZm3
E8y3NszCtYf/C1bnRiCnDqdYKsaYXEcETn0Qq/ZPM2vB+Tqi/QQnBYe2sXszFpdLkHksMZYuHErQ
qxAihl4zmow0GeSIdtdNEF7UysMSbtSVA3DOZufs3Tb+gKtQ0NkUd2Cabzo6XdujdFSmV82trPyQ
ZLH5K23tUFvIgBlKsdxAJ2fySnkE8eL80qMGmfLXv+lt/rGYbZDuYJi2JbyVxpnShYL8o07LMBDh
FD3Ti87vu0kWD3avNhdTbwdkZfj9O2tv7SfKTcYcvPZbRHkLEGvSJWuXee4FC/5x0VA2UcXN9xq+
W3F7cTqzqUPoxK9fdaY0lDgF+ylERPg4umV9V3lFvxO3b/NH5LVJplA9oSOEstPLOyifjJlza2dX
XSmCKi+Kc0j/3VcbpF2AXezk4trG+8NzaClaeaRbKYwozTPFqsDQRPqgowwwRfZdCvrt2Y3LLjwu
0WA8WFEH79gVdHP8tsmUB1GAKmqTJA9KBevCO1siGxaEENXvUzXaE0v5C6tbxV86y8sECwgoF+fq
nYwREQ9dM+6yCGeA8wz8BSQMEwFsmXrkwR801AXVYzPUw/soHM0+AOclqmMy1PmzigXjH6yAi/ne
VpPqYulqv8hatyYmxUnqHG0odulBFYkLATFX6+qS0/9Srvjk5CJw3cUPKkSIZTwWod1lYDNT0e1s
4429BdAIRRBnKT3Rp3z51W06Gck08Bk01ECezcL0fAMd6R0NRmdRcVq/SMarmHXCdAAxuXqRs5HU
3OMAjTy3Hadrgl685lc28zGgeUrZ3gPoRHN7SBpL+2jVlakERsb4wu+shcqmA8srUPOaZBikjlp+
CqPZRNQDRvroj4Pa09LtzAFhQ+FWvo7tQXHyBsCJQRqVeRtE4+S+ox4BwjjZtToHg5olv7LeHBhF
zvbPYpiNJ6uapOFrQOQSX+3iJD1m+ujah2hQrO7Q5VC6jtrQ2PpBCsa7dFmc8Z+qNQozEHKK7qrK
kr1fJJr6vamT8HdRh/ajZk+4ODiAYp8TmRs/odAjkdiXXu3dhyXizX5N4zM8TdksvrVzXCg+QRyl
hTxSUnksBgi1D05Ed9CvpFTag4eV8mcyLCU7zRiNXaYsV/91w9KRvmK2/c+iERPnF+xmhBYKqug+
nY1Ee5eazfiP1uK8fnIhwFvkBZOxV+5udMeoYoBo8RQ02W9u2cmOcSJCC/zSdiPSzPRKD6nZRkGk
FuP7pU/46HVpxcSsL98VSj8cemYogeMM+k40+1tZr3ccaKeloALHdQvAj3SjyOTkXhAtMcyjF4m4
PjRp17SPszc2nCw9TqL7zPNkei56sgMU7pUsuevSsbX8vvekdwamFU4nw5Bo0BcO0ioZOsiWb9Ga
dx8Ym0zDb1Vrkz5AKIm2d8F2+awOVpfjADvHSMZHLfyeURFq9VQPrqhPVZ/Jn0XuYA+A7rlWvXPd
2Xtnz5NtHtrYbj+klpJ+dWsMXiFjmFnBvzZ2/PK+mKZA6RyZ+gpqAt+SalazU+GoPXDxKaEwmWOz
kE+QyjkwE8Lo5VVMQ3WVXTJgK0yAGQ+5N2nvVWPGLs7x2Gc7wWQj8aG4WKA9HHMSg+WK+c/QVjSI
58xj5V10FZfcRi8az++psQ5SYw8oWdccYjLdnVW3Nh3LIlABt5wB03o8F1YLYLdV3EuMPIGf2qA3
ZFZUh6QemGYNVR64RRcGfUc6quq1vEd1qz0b3bQHsd3IR7ieKUf4LTB9b3AkaKynjD74IVDLDrLJ
5kdFH/sjsyjrsR/UEVX7wjlZ1l4jeOMy1RdtC8Qg1UWFdBXFHXADnlEvm131ylPYpWqQNp55WqQa
z6/nXBvtSi4qZoZ0QvjUN62KsWTUauIDcHGzsf+IsA62v6kLBtvvjJkZsF1k88c0EUjuO43KJBNC
2JA8D1KZvxs64gkN4oywnfwoCdXyzQgzcP9kMQtDkkr6plkzYrkiFykRV2nzY5YU89UYZbGzytY+
XyZnxDdIIjc4L/5BUUyQ7PE2TBWGWwBnn6fMa5fbY/Cu45A5ODJbcbKXCWobWffCbGDWboF+vUHQ
gcyXTt/EyiUK8248Gm20iCYWngV2hX9kgtDva3ShLTH9HK1k/E0s6p/YNwxXy2zSMO2Njd472lpo
NXdkm5l+CJ1afJkAmjHMc1Ll5I4t8/uUmvRpZ+ts/vqlmiXdBlK9ntPQTpaaHsFPr2ciFThSZtpW
mneABLTCfJgMbCwgf0anutLU+zGM9NanLrYC+GDmo8QrJegUobz3jFE5ze6gfoqmTt6BRVG+GmY3
nuNc2dP02UiLEczjRqN2Boa6rv4Hb3Y6LwZyTBzJL+lcxGdZm8XvdByz56RQtJ2XtHGUIcgsSkx0
T27bjXH2f5ydx5KdVtu2j4gqcpgCOzQdlG3JE8qS/JIzLMLRfxf6B7+aTW2qNXAo2+W1WfEJd2jg
lPSMB30q/5HDMGm8Sgzt+4hH/4h5sDsYBXELH2wUGbbl6R7xfozrTOlhnobUpwSFSws6zVek2Izz
/cXfCTThqnM1rgitWynHCv03RGL4LhrJk6cs6DdXs6EdZKV7q7VinNnRfA7r9voF4gsJp+KSHCEH
elI3S37SKRFdIgIhP67UI4zd3gTy2lEFh5K2U0+FitJiDxI+TIU5+AaR1UnCR91FTePtRVRu9lUE
jG6MghX3prCph6E15dH6acncP8FMlZFetjH9ykVycL/tfhVAXcp3K0/sBhrQj7RZh0x60GuRPA+S
Mz1Qtez+KZTYcu9vi6OhNguG2YwST1HK8UKU5WzJNqU1uMRfojB5s7I9lXWeBZM/6JaCbXi9Nyww
gCM03/AhxZIndodZaz3MXsbrZHGJ3P+snReCsghKCGtCTf9svQl/i4SktldTMCXwzbMhOnX6kr7E
hUh9y1j+aYb4P71TxoOHeWcmfx/S3sQAY7kY2WQszoNiJtDDcLebPlVopwqC0+4IQrD3fZQLwKz8
QjtvQ65mhdjI+H081LZZvkg41DxmTac/lmaH+uwYjTyCi3VQV9v7wtUeY626UFfbAlr5h0vfDaGN
x6qcBWY8UHutFvUcGWN1sC137hG8MFdhLZpb6NxutuWMf6vS9YSUlZB6f0GW0R+1HuM8PUk8UnXz
dH+/7I23irKuGDaMA7Y9YNjB4SBK1B2yQaTnpB+Xn2NnfNP7Xg0SUzgH+fjOTJKdUemhDUq4uuWb
J0pSSnm7Yk3iGE1iA9eKAuOdC9KSR34ju0OxVr/ez1se7VQl8BZhGwRcvuOTVhrzC1Uf8/1gwzW6
P4k7AC8DHTQEu1DioKW+7QcYZo7rmRmu6qOOcp7mQvLqqdT9CVzGRVKsmURkgVgLQe2l1er+r2LM
Sk9Vaukxiqh43/85e19O29cEt8BeuulEaQ3jV44KuQrV09MMAe5KTCedIiq1B6iUneOI/gw7Z332
eP7U19eNaEU4WgJuH15o81PdVdFVSST53C5Rfmo74/0kVekB+GQ9ApsEG1QA7xDteuqnv0o+v11x
clfkCNvP0kPaldHJmcvsA72I9kCveHcSfxtl82W1XFQm/g/SgzDThHwcW0s3dZrERRca8NL9FdvL
JMHnw31ltVY3780TMYT5ovfYvz1A87D+xRTdeBiRovBFCEOAUNTR3jc4tj324eT8pTSZbnnJogEl
a8I3s9zJLiBcrN0K0oybXFprSd5TjdCsnuU86E0rD5zIOTKV2J1eJO5W+Rqo+9uMVZJTK0qLOgo6
zZgCOwdEYxtx/+I4xR8065hTKAGESStfejO3I4jCtGkA0dpTDARTdcprLopP91dw9yCsqm+UHyjM
b58IhAic1g6BRoe4cLizNeMGYmY4DabI4Io86bwhiw+suPbm8NfFDXyH52mrEwI4SZksBHIDfY46
aoNqhTkss5mFkIbvf97uUKuoBPcbf9kmIxXXZ45+GfrRMPC8ec4w2+jk4iFEvu0gXl+XY3u8AXUg
0g2B5BbYTQetreSGXA2B1vwyDLaM5MqQnRFRTf1iGNNvJGDGlz6a/qAkDTjRJPgEybKyOV5fZuOE
gA5i0dzice1cKiS3fCsZ5oMGxN71RYJFuYRweu2dvR4FhX5lNGyOOsBjtEBaSX7IVDU7eAOUvQ1J
4rgqEeC2Bevv9TDWoNBudZAsk1pjiVwkqhpQtL2YFdfEoqq9htai/UeDjEZquyhT7bfdLNpLkS/G
WreaRO3SCegd33Is4LTr3ojdKl+Kn3K5tN2J8qZ61Ara22ariDJ5DZUUQtjXP1pVl3jCkE16KIU8
B4vd5j+cUtVOpjUpf3BgLaD7dPEQJbxBE6KT1Y5ynVPQqArbX2FUbmLKw6XuS3HOsrl0i6pKD7hm
e4vyy9kP7Taq9PZmh4FsdOJWBm4mhaNA+1HBAhMjiFNmSB9Me4auACXrD47uSoY3SU8p0m0rU44K
j0bFszywlEj/lFVt4qHE3f6YreXb/Uti5+Q6v4rejEJWut3ZRboodZcCc5NKlJJoJ+jto5ZEygve
dw72kkZUfDJ7vV4uQEuPEp+dY0VuygVPJZJKz/aGslL8rXCAjQJjAnzrKq0MZhMFXPlgOnfHoQZG
JWzFmWwrF3oVmnHTGbDk26weXWGM1nnEtv372+dydYAEuycTX23nMi5Qklh0QRETpaSAZjOiVjNg
UPq9YYDsfO85ETRBLD+O0v29D6S0SDzrgHO7Kc2oNLvMLqTM2g6F+EhDq4Fu0h49ynsRD/kw+uUI
0Ficwc01GOKLYs0NlNU4XiVZl6TpbB+ywqqxW88LZcyxrK1TkTpF6EJNGSeqt/FIs2TRBsvT2lKr
D4LZvS9fibRgGEBr3hSzK3uKjLSCfV/o8vzSUX2AETAdRee7X06CR7KwgkH5/teXnJEjkFhDVnmA
HaFcJyrTAbZolR+ZUDy0XFLBgxbRC+ibyXXiQTzIvdP4w2g3B9WW3V+y9t6xTQBieEOzG41BEhxa
+yGXUDLxixgIA7xwI2n80pwt84oE0YCIo9zgOK2SqJxqRFraswbUwHYzyRzTg5+08wA4oOmBrqy5
6I0iiQG0sp2NLHzI5iQ/t6B0nrR0Us4rePAPVhtM2qp2AYD/Rhe4WKoQcbGEfW7J8cnom/QkTc0R
AWknv0Y6ET1lwgmEDbcv2jSXodY1+FKYGQiquKmjq5CVDAhQG/r1kv64f23szR/IN6ZOpVp/w9Bz
SKarvFqdeU0o/nKLNERdChxkRJa//S1brRpXmNFKLt5WDqhPNGhTRRIiZkl46bQulVzdbOsn0S2G
RiQaK5qbGfHy1/1P3HlDCbO5FQlNUFra4iwrxNR7DHJJlfBhuLSD1Aa2NUePYWpjfYEEQTB12lFg
ou3gCBwIJVwMXPmkW5uXO66ht2MkSnxfS6V+SmrEl7wkRouF/kdJOgaRcwgGPL01N9Xi9sfQ2lh1
WQ0gOaiYIQ+9nOmSDwnFmq89VI3MHWBBV17TtvNwsuN8/DAvjgT2pM1AiirJMKUuVhzpv5QXJzrr
xVIk5x75o6+4b2aRB9+3/Sb3ME/ed44QuMwBgrqmdWtbnuAKiw5Cyr3nnSsL3VnELEEgbe4tS4rr
pKlrSs5SXCEqP1nZUzPXzrmxUirPRdxVD7GTOfR/6uRyf9H3rmYg9Db8fK7nG4XV3IBEXioNIt6q
mpyGRusvRRIeoQj2DqujUQsBW7UOtW693yoLVUF/XR55+qQmza+G3MrgVDF9DmsDi5NKyw7qir/Q
1Ztch0f2/w+42VVtjWsixANUT63KpL7eFd4q0P0umgAI8neOq88YI+UA3lw1ROfLSuiU3J/a3Y+m
BMgtRb2R5PX1R+Msjo4KvDSujLp5N0lOe06WSPWkRjPcyKmOOqW3VxT8HZoJxKM2koG/Oo2/TbLU
dKmI0YzBv0RgIC10lH9gJZzMMD9Kgm6vildDqZtPq1IARk66yjbbVvl9KZbRc1BT8ujdaS8dfWrm
uDiSClor7K/XlI9apZtp2a0WFps1bYiw6W6yplOqMp+hAx4SEMrJTsJcuLnZVR+yiOqfI3UYUOXm
m32PV8YwiFKFIwp5fJv4ZZ1hL5M6xIGmFfG7eFrKJ3to6uUhBdwaHuzgvcXknCB/gL7srRRWJ7pR
lXCyD7Ioyl+0sOtxUwmn93nVpwfv9d5QZIUo9v4iX2xLjZMezXra5oBbTaf2+9TGZAipglOXoX59
/0jsDUX9C6syG8bZDb1NbstajnqYscmcSI+zIuU/O030vjVr0+f7Q92ePmpg1BoIwVbhu23dKB8K
aebZAWJN7il1vBaGNkbnLBwznyLJcro/3E7Ix3ir/dpqgkbst/6e305f26VzEo1o5iKVaH8WbRm6
0xKCRpYK5SSGYQaBZmpnHBlmH6Or7KnGxsqbMkU7KIPcviaUWmAeUAkBYI47yusfYuZjLGrBDwnH
Pn3vVIbjaSa5KbIFlqdPs+EmjQT2uxTGgaHHTrX+9dDrY/PbHCBylBtimLOgWWS5A6nT1b1xko0s
e15sNPrcul0S4VJ6hkBcKK0WDJgK1MGQh/K542Humb1GO7o4dl4DrGjQvED8kCN8I2kwDTSxBPl5
oJbYRpRlZ156aUnOqZhI94q8ftREl/q9EDaL1saXtBrlP9j6q/oiDnnkuDc5fKcr2FWwR4KsNywv
LFv5mzIMvWfibnawDntbn1rP6o5NWfYGUiLkqKGEBJEqq5e/kVIoZc9GjcaXutr6VFJJOLhAdueX
AIZgFdlpPF43z4EW62hVGFIchOmQn9VYocKVzIXmDkpo+pUW6iej5d6qVCV+ZzTUbLEgag/qB3tf
TSSzYnqJX8mxX28+dOrtsotgyylNav8jt735TsxZeUZWo3vUieCOBMZ2B2R+MegEH3RD5bCUNA1z
h3tTsdlaRiHnH2cpLR6tUYo/5GhDH4Rqe48uiQ5yCyg8cINubpgqHjKtxug2KAaUKqxxxGWwnDCq
K4d0JrUVod+muvbx/sW2+5WgO1b8568y/+tpjSMi/1SgOdQ6Yvo21XHvllKcvoxGSLM2So6q1Huv
PK2aX9wYqE3bV1Zt2kLuSzsOrMbEfW9EKkYpxLfZDA00+YsF48A482ayZbfM55/3P3ZvJ6PihKQ8
zBLu821NzxAVZXoHG8uQPhXugpGCyKWioDZ0kXpzORfYZgVqq1pnjALGZ8pl2sdSLLF1kK6vN+Um
1lGox8KuQxQM8efNWpuNMcX5NERBTj/bzRFY+FSPknwQZOyOQpYJjFvj0GzRWzYzbOc2vaI5abSf
VOa+NEgS/n0wpzsPEnk6zlm0+akjbvetRt2jGVaLHLmUFsOlTEQZMVmS/nmQa3ycZyoEgWzH1ldO
bp6BfUU01S0F6FI3H8D8ulIcLq07O2xGF9vQIfIWE89x3CAao/eHUqzeklWWSUeP+vpWbpdhLdVx
ie4Zf+XE2U5SKKTipt44njTGy1M6xZ19SYZEl68pMU5F6Kn2X6NCFoZv2ZP8qIRZ/W/UD+GTWeV2
4RMLVG+2H1jtz4miEHwHWHZTxhzhYeSlIQEqk6LxPDW9do7B0v9U80r+MJXLkRDe3lYhcqGgiE7C
yut+fQ2wVSxJIPIcqPDSA0MNER8a4NC+v79ZdvhxaPMTQIFSIlu86Yeh9yPFVMGioMjT3HYhycX/
xqGpf+kWtWEnFCFqhlCTon/VwVKmZ2nWiiuaRa3wFtiv3Ys2V5l1Uos1J4HeOX2LLROEQG2rkn21
jNxuERUS81dQ/tb3VqS9fFEmTrxv2mmD8MFSFJ8qO8RQ1KWnY/fXEUUx51QNFX5vBjRU210wnxjP
44REw3Xu7XlxZ72qHkH3OZE7CiX7VM61aj7LcTrUlGGHqL2oYCX+sfifZP/rY/jpQGvbyDp1NSHS
Cb5ME306mMmdrUv8q+LFCGzu5iaz1CWrlrmHoSvPWgB623wZu6683h9l502ib8iFyW1FcWx7Twkn
qRAAoO9Sp5X82NZj82iWSRfkS1a8wD784lSh8vX+mDtJBGkRVwm4ENqJ2w53L+pOLSq2PjoLtTcV
evHQ0AP2YZAkBxfAzuMHdADSMb10JIO3VxePfpo3C6Chual+1I4tWNNs/oTZh/MujJxyOAgSd8aD
t0PNYH0AaXqvV+lvAfQc2hGgkgKIQKjNEChXyMC5ySUKVpGktZMH3VJOv9yfz71BaUqsIRMJ501v
EJfevJkHET70iaScllH9bsVL55pzjTRjvRxZQuwsH/wN5hLmKBfrtkrfWEkHQYn+xNBWI/F2tN7e
/NeG7lWJlh6s4M69BZiTyi3v5K/Y8PWMRrpWR3Kz4j+qBoUIGVM8MIPawUO6M4VIdoKDRV1kBXNv
A2AdEnZt0l5tZZoo50alOvHJHJ0YCLTTLtWpbqvI9O+v285E/kIIkWtSrgUb8frTMIw1OtQEpYdm
1Bs0DxfpnNUp7UGS3YNZ3BmKvgpQiJULQYNl8315N6cxomUAVhpRnS3S12dRa3HhNfnhxaXuLNka
5pK8rOJiN/VvKKCmpC5aHljoLpcnESrQMc1FNoRrGKI13YQ08kc7WMk/SVEMhasrYsqgaeX6f1mW
Ns/cuPXiay3M5VOdqWg8T1Fsn/XZVv6Cy2ObXuzUqgPxaoAjJI19910RqvxTsyMTw5QqHT/ZuGkd
uZPvfRdBlkpln5LOTalVnwYqBJOUBXXitIjdz7UfYiVycCPvjfKrtkLVA+vV7fHSeYmMKSIHN/Ql
v9YjEjeONh/VwvZGAdUIK4wAlfBjfRd+v6giJUpsTeQBSMD+KYGX5XVVf2SueDTK5jocGoYZ1S4P
EgMogTaZ8Vk1G/kPNvd6Ha28A0Kc7XsCPB8mO+SSoC5kyRs16kX036qzDjj14J5Yf/DreBKsAJcE
Yrj/T9zq9bSBGpm6bkmzQAmjpPXIJtpTaBb2R6GYReRro2GdUf69alYWHyTpt0eYKJ+y6a/KJXYr
myPsEBea8qRnwVLqJcZOiexqupiDWBrmg+Rl7ytBLdLAslag7RYXFiM+V5J154EWQ3K7xF3aDefW
muzIy0sI9D9US6BXoBdaGPTTDAH3/sW4Oz59ZkjPRJKQ117PctJmI51oZrmvjfJRX8bohfqp7Nqd
EV+LeEpfoLHJZxhl3cHIu5OMqBWYfpKGG153r1p9Ak6ckRdZWTw84u3vBozPyLXV+mjf3p4OVIE4
fhjMMORNHFSOdT50KPkHCWRsPObn+Alm3nC5P5m3ER6MASBI3Fvw+2+8Q1KtHOnzlhCmkdQrUe+b
jMJHh6CrXBE23K1N3IfPJoWXo6bRTkl1JSugB4J6HcHldh+1clQOnZYVQYUExZewaqfnPE9N+VSg
FvYj7g3xoe9Ky0dhf3jMNCnKvKzMq9w1bVzF/mBpKdvBqgZDc0umj0BUp2hq5NQ2689NXFgPsRGr
Pqzj+PPbZxywxIoSXePArewTKGO1H8y4CECm52gLO/KHGcq66+R197l1hvJsgYI8aDrvVD4Q2EH5
aW0EICO4vR860VC7LaIiKEVVn2czQmNCMab3I5Vmf7DUn3MzOJes7RFlzLvyRM3jqBe8t6FZaXYa
dZM1b9mcW2kM0SuwsqClQH4ZGlvzUnC9B9f97peCSgBKChLltuMs6XakyKGRBZPT5h8wOhWOK6uT
k7q5Uscrynycn6o+ik+2mRSVW9bm+GXBwfAInHwbNa6A1tXGHsC1fXNbhOoIXR2buwBPlWxxa80a
v9cZtE+kM6foVCrZnxxmumdcygpQ6BsaUDugJTwQF6wUYtxzbB7Xx7Gj6e9lY2g27pAlIvNaVbTG
wfHZW9vfR17//W8BA+VvfI26NA/sSlpe9LExA8yL24PK9+4oZLuUKOjTgX5+PcpEgTQqmpCl7Ryj
DCABhuicJtHg+PfP6O7SATpB5Anw342obyyPZBsOT1yoq83Z0H6iRPUdoy/VKx2km+8PtnMFcxtw
D1KDXVND9fVXDb08RVampUE2qmr6mT5J9reKY4b6LjOt8IIRQvUgy8N0vT/szjdC7aOlxb0AL3hb
8un1WadLbaD53g0goMVCduCFKSWwRM26R7UcxEH157b2i3gpwpAo2KIdeCP4DqxT1ElLrdksR6rr
7tiMavNkS70EKtauxMdFVoV2bsokj//XoUjVn4sx6vXPb/9wwLKrcCHl/ZvFRVFJzRg6CWwA0c9Q
Wiu/VlsBTK6KnmJrOBKF2umb8d0A6dGjhu9+wxUSXIi0RlCesbUBk6w4rH2RzPpTay/9pbVMrEPi
DMmlWe08vHJaDyvcx0yKlG+EdeJg2fd22/rugq5awVvbVxeR9kHXKewEVZxR0cwHXSrORufMfzWt
nfhi0LsHp1ait0sPgneGLwV+YQVabWsfESpuYVbQtYqisPD1pcz91j4rBXD/RDyJ3nmvpVZ58Ozt
XBgEqRjSrLWB24Y0QCEQDMKhVSaHyLfUvfXiLNURF2wnLGQUVABXCYVVNe/1AY4dtXBIlBA8NaTE
g5zRnhdlDv25wLP2/t7dGwqi3rqLVmzytqRfAmiprAURJ2cZ4T81fYvrU9Y7IWrOAgfJ+6PtXRFQ
lCDYUOBfEe2vP6yRYBl3sZQGhTzh1JaAbukBEFydJfm+gKt6+61LfkZ5DDAS1YFtjBKlS6UnrZoG
alc0D7S5bb8cte6BFDE7paHRHcS+e5NJEW4tR5Ox3yDiSkREBlViPDF2cRCP4XLqUdXxK+SFTvdn
cneoFZlJx36HcpIr0ywlyKQHUkFQUi+lesqmTvm7x4fpYBZv9zyEMnWtraPyyS232Y1dFzlOWk9Z
gCo98SWZ50ntoUPe/6CdMIthdOxleEF2akZA8E02vsowCAx72MxmlzWdOdVOZEPr1+z3yIc1FwtJ
U1dSJt039bY9eDlvH5T1N1g4fpHZo7q3iSintEdKaCaiNIyBDcMtfp2END+lrLc31s5kuNznlYvr
F9o6c3rEhV7//6/zfcZHaxB1WnbsTXlc7iMThUGbeETt2tQ1zfYxs7v2FNHf8waQP66ol/lDb2XJ
wcncXWQOJiU0vNvZj69PZq90AzLrBbNfxP1pQTb90pW69uZd+6swTrd0BZrA9ng9CnDSMmkyhKym
WAq9iv/KG1vF8qOulQ4utr2pVJC4pB9K5HoD7l559JLT1wwV9tV1tKz+3BtT7Vry4sCbmuQzKMrx
bPSdccTR2hFI4TPJs1WyMhg/24ysa/RekShjBI0orQ9Tpac/CmGA/l07EeJCaRJzjjyWkmc6b3Vz
dXorOfEQDL45dcnnbonBmiDu+OaSDj+LtguAI0LrG5xHpAlRSppBXBiZzQxyKw0/LshCdr7UtoCG
7x/ovR0FqwD4ODoMEAw3O2qK6tzCLjoNQsSzNRd9LPtzY/fd2yUA+SoOK4DYlWS13VOJReN9SaqU
rH9oxTlF0vGLjTiwQK/Dnh6rviC3h5ycRygSauFBBqEqO0cW5SH0ZoFs3krpW7rI694p0mBZlib7
qBb9hGaZFi2Rr6zKg38XUy2QciqVBG2xMR3V2ddAsmmuqiD+5ia2Xsf4IqRl5UoJyEB/Mjq7u+bL
0n3tJ7WGkjHUAj3HOTTPdTFPyVWWhRa6y6zH2sEFePusoMy2ci5Ih9i729qmgeptUZVZGrSyWgRF
Nk1+bxv5tV+0o/2xe+GDHeeYoKRDCWxz2aqhozSdEGkQA6Z6VwldQ6kMlarTjD7bKWmS6dk2RuSc
ILj9Z/cxiDwF26S371I0jJCkg6NHn2lzI6V9MkSGgYAsOMP+ZVqE5FlFYR3ce3tngRgVLzq68MSN
m2IqksRx2dvAFoqsEQ+G1UpXNMPsowLB3uoxBkKYLB56HJsZXYQtKuTm6K62iunHcmJ6XQ9j08kj
64CVfRvJUYAAGYfOFzD0G8UtLu0RYspIlLPU/bOCQDyW7ZQsJ6EIf9Hs2b+/Tru7BawkXTPqXFRx
NlM4ZBPai6sTU75o8nfUgGZx6q1S6I+5YpWK31IMb9wcdcHcdcqsst4nQ2m/k7MeCtP937I3zWjy
rmVOAqKbzIOabSTZM5LuMSQh39bbMIhTxzqnONQdfPbuUOTw9Hg5JzeqiTooEsigwHorsILCV3K5
U55HdL48zFvo+97/sL1FJa+kdMqC3oJEYqxRZEvKSKl6o/QmIE2PUQr2wElC/QcgzCN47+6igg+B
aUS+gyT15o1QaxTVKbnhfBOOau6icZg/ar2u11d0jpfMGyuqB6hTRZ/nMk6bUx220TWbau2oPrMz
z4grr8V/9Mx04q/XgUnHrIwael2UTJbJK5QFRxngVulVlGNz8GTsjsXlSn5AKxaGw+ux1HxgqfGi
CYA3q1fTSduTY8GnyxRIKPcXdOfeodVLvYlRaKFv5zcaWz2GRsz2QSvwUhRdfQ7l8IiPsvcGEutg
LEo1hqfw1zL/VqzT5gnaLgSKwEStVXcRpJx+4Cul/AOwyX7RlLLCqmMM1fJxqETNY4j34PQvWuup
c0Ktvf7SO7M8nHTk+69V20eyP9bpmCmupszYoio6qtVeSubdupibZCuAx7ZO+lznztuPNhAYkmFy
b3RRtpEbnuN0mFEvDiRTw5K3sRU3L6Lsmpm5cXC0dw4bQ3F18uyAQd3mGoVINKGOSR5U6Is/K9LQ
214LHelbMkjTWdPDWTk43nsbD4oLpCFCYjDf6275bZnifkGtoyD6xqVifh463b40UtQjmjg4B+nE
TvSNiwegU+JfMJnbj6vnahHQ+ugC2VHyXiqd9GFpM7O6MPn6M5Q5K6Cv2WBHCc/wYA33Nj1JDHEM
KCNi/3Xif/tMtKSAbhSMnaDjcZoBY556I+kPvnBvMldlLJ50rkve29ejVJpQwn7tpjlN0ZgusCYD
jXYp/Z+56OlBXWFvq4AjBdtOznRLukJTM0Xmvs/xaTPTU6LG9eMkRR9rVVR+adnjgTbQ3nDAKNbQ
HVIAO+b1p42ID9UjcLqgrArd73ht/ooG6M2SLrJLoRlHDay9qaRkTAyGZhSN9U3YYiSZ1ep6kQcL
uvR+po6hz5Ys/VKT3t4ywieAchClQzj+NxgY8hW0VEBpBXIowkelFs0pjYqjhvLuByH2QNMEkNSN
yiHw6mHQbcpc/RxZ3kRt9qWqHd1d0Of9cv+Gv62+8kFQcSBwU3O/KRVmogIdVedZYLf9cpa4F+mB
xfY7oLPFpeu67CFvQvnNVVAGRc6CeJl78gahW4Lga5oo4yJpCJWNSBG8ZfXP+1+2twshpVCXJNKi
7bV++e/HuMAyXYUyG2igeKGgt27lNPM5mkXjS0p5MI9Ho232oN6UHc8CKtiiSoynOi/+TZsse99z
9Ly6m7PT/Y/b2yGA2YjVKfOgtb4ZzlFneBVllAWzgGcwADnwpBj2aVRxAu4PtftlgJKB6qEQexNC
4sO7IGjMZtQlyTknmppf1S7qvSRN5FMbT+J8f7y965d9D5sdlPEt7U5TF8cqbQovTqbkZ0L5OghX
VeX7o+xNILET4hY807c9rlrHytcZKkTgbOGcDGi4p5lK5TUa1PYP1ooOAxkq7RaCxM1a2ZSM89Hk
OoxSNTlXYRJrvjQt0wnxZ1EcDLa3WhaSujR2qJLdFFuraLHaSOMulGIZkqISj15iIeQsL/TrrKo7
QqDs3R+gbkCmQhoEQLf+nt9OGagTmCclz9jsFOWXtug7FwHd5JzUnfwFfZnlpCbSEWx1Z1CCRF4Y
MmFWbxtlsQ+LNlvr5ExAF1Q5qslu3pu9N5t95JlSgZnx0HZf72+Z3VG5I1dlKB7urUqTZKlwTK0l
DboSq8OEDPqS0yI6521sPSLTU56XpVLevk9XwU56k4ay1uo3GU4tnEXUacugc5e9DOUSf0yVJPML
ddIPwGI7R4K8n2IY/CJyi+1SqlasOyLEl3CyYsU+h2bevIsykJMPlUlqc5Ba7GxU7pMV+wErclXR
eL1xJtw8ci0Oycez3PqniZvwIoamuxjJKHUuvdbx4NHZWz6aEKRoq7z2DeyYSVxKIbB4hBYneUmC
l4iqx9FVi1VxLoHHe7qMFfb9PbOe7U1Bfk0H1rbur4Bos3xqYw/CxKY9aEqlfm8p0wtprHlOLHw5
rbhJLnNUTpcJs67P9wfeW0zGJD1A+u62LqWU7ZABPKEQh7BX6uHXg/RvMcJiEqYZ/sFarqB1yv7c
2zflqVklZEAdPgk0s4p7D438uvNqrY4phlVQqt7bJQ/9wbu0807wAPKuo9gOWmEb9eE5W6wRL3S4
tddiOmX+bOPBdbCAe6OgI0aCRcTHHb5ZwNRsoEX11Lybwqj9bF7LjbUoD27tHegZ542WnwXxh8Rq
+zFplI810tkA+RSCCE+Q9311mlp633IMUy9DtaJ0u7Ipa1eBCeRHkW7E/pIANJEtrT+oMOz/nBWc
upKmVyu014cTckJVgGAkvNDAekSiKrwS/4wnZSnNv3EJr7+W6JTjHSUV15y+mz9kTf8cTahG3t/G
+7+Eyuqq5rZDGYudKefkKiTUeWa03jzpyZORSglb2sydoAuj/qVVWv08V8b8DuVm+Tlu8ZTHRad/
O88VkIbssB3oP6N5tJkVrIHNpayo9bZZ/CNHc4asLe1cRFfVy5hKzR9sPaIubn6u/VuccJR3QFAM
k5BSSZePhtVk72KgCgdnd+ei0Ij8FVwdVrG8bQEb8Q1zjtBNDwCfjadOs3/MXdyfCZXrg/dl5y6E
8c8lwTFaedvrUfs9VBChPVmlDBm/rep/9bhKp4fC7vIXGfZC7XZxUYJ5aTC9GOzJlC73d9Le6BR+
kXdFqwnA+iZQiRa77nLKFYFE7ZUGMHCbtOmqs9JO8TVrdPPS4jtwUrnIDtZxb4YpQ9LT5yLmbV1/
2W/fPUSRMs95QalbzuZTakm2H1thdqFSVR3cIzv9Z8ADwCOg4nMlbncoSi7cwt0YBdnS9YEs9y02
IkXhFV00fbbQ8HdL7NIuVoxXpEuT9e0sQRLw9RHgxeFi3rb6sY0YMe9miWeRnWCoLOelX+DZ9F3i
s7IHE7vzonNj8jOhHlDm3aJB8Dyv0GBsw4cydVBjkgzxZFvx7LVyO/sZfdtTPMrR5/v7aIcxuDIg
0XQGPUBauS1WdkTeVZTzIsi4hkynJbLoCpuLWRSnpalweBGgxVCv1rJKgTc8mh9To4+h4BtmKLzJ
qpW/FSXCtsC2x//JY5w3vpphxeC1TSE9ZXUY5fCsVQRqW9yvrItYpuhDoky9jptQXz+GVbbILrIc
UXru2676qreVMl/IpbLcpQnf/0u7qInPNLvav7CoTXQWHcVUf86dxL6WhjknfqFE1fsSeuDgD0hD
5j8oj5PcoeWwnJZ+0KPr1FSR8req9vNn/Ge7I6TEznFEMRZqCu1dJnPbdc2QTITgmMSBkYfNpcCp
4SwGdPByqU7/S2saMnNYxpBxEvl6fwF3dg10BAo4KNYReW7bhnGoNG050uRS67gK8JWEvTnFwweq
HuhjiKhFEDU7ws7vHEzid3j02IqAdt7G1k2OZc7gwI4shqg+OUsu+xly2X83qpaj0pPXlykqhddZ
4M/EVA3f7n/zThRDtWA1LQTGtIInXl9BlSXSDFooARpC5A9dYiVnOV/aAyWQvVGotADiI47BqWFz
wdcFHlnOnK0tNlFFLj6+wq/ycjooL+4PQztiLUfAON2GZN3C8xCDXjTGpSzcYo6Kf8u4OnK22ElQ
0DbiwuZC+xVhvp6zaNWpYedj9xg7xnNt40eUdJrqdggm+NW4HPWzdz+LYBb9GEg7bJLX42kjTlFO
SRBd9lIdpHaff5pycdRr2R/FoQ/q8Bbzp9ejIOxvDBFPPfU+VP79aJYNL8ryRH17WIHfMbBO3jui
8C16w0qhsYNEQrxo1PvIFUpFvlVZHbTlUQLk/vb9zUhUi6BVyYBTXn9VXClqWjRg5vIS+7O2BpEd
t4dCg3t3FiwbWMCEZaBSNqOY/TDUDQikQI806YXjZPkp4m5Pi511KFtOls+NUnqKMr1dZPuXNRW8
GxUljpsS0iI5cMUyYKPKQgNzrmRs6RZp+ABr8Ov9mdwJVuiQr6hgOBm0Mje7cIxtbWqLIgkisxbf
KqNs+LKk+zwBlD5YtL0DtirtQwWmqXTjbJ46QrOTHk9n/D/pQ7RO0Kt57pnl8lcf93/f/67dwVgz
6sHrtt/GChDubUnLdMy+h+j/ODuPJjmRbg3/IiKwCWyhTFd1t7rlzYaQ+YT3LuHX3wfdjbogmtDM
RMxGMcoCMk8e85ru0bXiyMt71TlVuHMfJe9iZ1a2cc6Wx0JcgBY+Te6bvRLPpp6NRolETZ5MJxKJ
6TLDJT28/lQbX4tVyGfJ3aDb3aaWcZeNctIkZtx6PD/JFjccwTTwoW/HPRTnxuYXYGzILDlh62RL
qHgHYYASXRm0uOY1UdMsOYi5b+5KR3EtvAVFcm7YpJ/cehY7IX/rOYGOQtpgpkRdenN/FUaJbww+
Q1c5Zk16CMZcex8kY1Id1EifTq+/1K2aEzwByBSmnDQ1b8+AkoVBIWpRXDM0DI/aZASHVJWZl9id
chpsPbiLNfcDhSIeyFbhQkrWooPTpztHcWPLLm5s+D9w/TAqXP78r7oBrfk6aJIhv2Z6GV4KlHB8
CVb9ZOUuSdqQ7OUoG194IREuAW7BGN0+tq6WilnHdnEdDak2SIvE0RdVKnp7sLVgInOJxVObRvFh
gpD46/V3vnFcAPkBHQGrwnjt9rqonZHLPDDza5sD8eMDB9ZzqNrdnobSRvIHOI28D+A/xiW3HHY9
nztLgaV5zcYhRJl4gBrLfXwsWkB+NZLeftu0+d1/eDg6jmB+EDpdFb5hUqGH1mjF1QzU9j43m/zS
jEm9U15vPRo1CSxY2nDgfZbP+9d2AYdqVqkyFVcmQ9bPdpj1u0Cz069uVRqwaUKknNAeTvcw61tf
bhkp0xixAB/f6uICUwG+GEQFXfG0P6aNHSO6qY87cLGNAMCkB5oBEyEkHG77YwGNb6hHWXlVjapU
PWA8xtcmacsBW8pw19Rs4yTQkObk0ZvWMF65Cd51R4Y2KAEnIRBuf+fYY/vItGX40rpaVBxsA+ik
j89ur4G/nGRpnV/fMFsAYH4ARChGlxQMtzWKGWgpu8ZhijNLyClzb6aqB06s+d5GboIRX21V891A
2Ig8Ow3zXwau9Z/mqJU/6k53EnrLXah5ClzrYOfW3vgS3NgcIQ2Q1wbkCv94NAQFPy1ES1UNnelk
G5l5R+Wj7ryGjQBICsIE/E9UWhHCFCD8gh5YRi5XVwdrLocHzBF7rNEW63Uo1ztBaPO1E2kJQkA/
1o7kipWFsItBfvRu0L1pE2E9k/vXzgm31ck5xVJVZvwDZaoeWiSfxdXIRPMetVVU3O1eSdTLnKfG
HRh85Cxf3xJbr51qZ2kHQkvDYPvl6VaqaCw1yY4oEyv/qcQT3HYFiY9gtMx/h3nzxpcLYLERXDV/
Fd3JJPkG+gRG/NsKTPfBafrhZNB8+PjvD8VsCxoKLcjFuurlQ0kYQ0GsW9k1ndLyMKlxTHWFwFyu
T/ZOPfKnxL2ZxDApX8CmFOHrFBqXTWuK4jq/dlmQfBuLZn7bjdkceGPqphdtdM2zoAMjPDPJ0d5x
Sus4drRv/vn4uAQWRmwOBfIaq5JoheImpZFfa0MbTR9mYZ8ewLotoLZJb/ZkQtfbxqVZTwaxlHsL
2e/lGy7TfnDUCHS5vYTNMp2yT5MQ3xF6Nf75kmMlJpTkoxBhV83xgVu9CBCfv+o4aHmWGsyXusz2
8DfrS45V0GFC1RKH3FVgpE0+GoMTM5hAf/cj+0S9I4lLfxrg7WxPjUR/HFQ05ne+2joSAQfD1YnA
B65v1TNKubOTOpGIEs4ie48SsA6juWzfiMmsw/NgxJp+ev1orK9VVqSYpScPL2AFV7bLhgLNMuPr
GIc4bY9dflAqW9uJsFuvk10By2LBQazSLqMk2LWM669tnYV3TVlqxynvnTcx3monSoHu/SLn+e9H
kbE9Qrl/Cj/+c5OpRDGFijZTzcZJoXtpwNGb3T7yaRRO7xuUbX+PTEsvWt9kJ0QIQ6+CM17sfNKt
F0yUA4i0THNICl+ejMoxR94Jwxw66fk5iNzgnuRlrw2y7vsxNIQXSadKgFC+DdvgOyYN64fkWinK
1J+n2HTvFC7vD6GOlt9J7wZVhf8eZe8A4Ma9zyS1ef73nQTCkE6rzk4i7rx8UGT7wi7XI7gDwRBe
DEPRDiNiuTu9v60TwtEEs0n/yiI/erlKz0vuOwxqrroTzv6Uy/45bXT00MPwR5IBdnn9obbiGsFc
0MMCOLxCyBWouODMA31A1QhuSmMYuNJEzqVDdmxno2ydEVwctQUht5RjNxtlyHWD7WcD7Y6y6tC7
FhBztEhhmNgiWlSWu/BuLqb+0+tPuEHSpisCeXfhKHPt39a8/aRUo1pScIdWLQPfAWjjSxmoDyGQ
199W3jadD2deO1thOrketaIZHOt5dp7w3FIY7xSh8/P137R1ZpaPuzBwyYpvK9IcBUSnmYbo2o6x
8SMNneLZHP6DoetyTdOFAmIJhPq2FlQcBaZGw2jAsbrgao/IsLj6MD2KRt2TzP8zEHuZFfBhkcAj
ADKuWuE5qYWRnHIJ7EkaZ5i5oubwUOdjPnmzUbdgNNIQm7TQRtbrlHCFfsBNMA9/NGEZwR7R28+D
qPontevy5tCJejDOjs2Wp0XXzcKbo9LUPCQcDWYwElTsyelc64hjTtWelV6tjlXrmBnthDr+0hnu
OPlGOzAH0OQMesvV4tL2Z/C6hic1pR12ov/G51wku+iXokS1FkpFdJpcTwFBIUv3g9Zn4jFDmH2n
LN04qSzCHsbng1h4GwFDI9O7tDPiK+Si7oBfODMBfa7vrWFUd+7MjRgEOBdMyPIp11WTHqXVVC+Y
F3NUNTTl5/Fp7PTo0Z5n/XuhymEnMmyut8w62acbQl6DXSCZb3NHKxkiiXEsvqDDmd0NdC+fUPB1
du7Nrc+FLgd1IbXUmiWhVO6AOkaETl2j9sznNHmEod7trLL1vXgetIjptK2b3HU4a20J8/Iqpyy5
13pRHUpF13yoYdVOUb9EzpvDt0iGkwAs0uHcUC/vjBI9RlxIADhEjTX9TNGa9Hvm93eyz3q/Upzk
wcYp6rlLdk2rNh4S1UTqqWUqTztff7my1mkMFw3EyVzaQNYJXc/0TZwnzdcsUbpvrwfNjV0CSIk+
AowvXumtypBojAlp5YVOoE7xCRuHsvN7k5lxkbZK4zWFqe8UcBsbBWNeqirmLhDsbgNoahhzIeMq
v86RUvpiKIzz4jlzfP25tt4hdALaE0vneeVQJBQLTuIc59emNelwh1F8xahX+IDS9qQ6tpYihwLG
TX5Br/xmo6B71bsYjeZXdLjm7zgKhoHPQE58ieHo/Xr9sTauewRhAN1YTEu58G/WGgjOZmJhmFrq
Y/aoyXFq/CBv9fdxoMeFJ3WtRC21zHZi8fayNNGwitOY8Szf9K/uXb+wk6sJHG3jyKL3esJK5Q1R
Zh0jaSqW36Badp3U0d2z29t6t0xhQH2CIydLvXneiVPy/zSiUfbiEOMv+KEwcD7Npaq/e/3Vbi21
NF3pqy9sxNtMSkktXaa5zVXQFRaKMwjMe3ZlZsd8NIA7vL7YVnDhvgGFC/ZmrToxYpE85QI/DnW0
xOc2kxr6tkZrX0TWWJdkrow7DfbQY1Ik5h4peOtBaTFDz+KlmrZuvPyYJsjZyezIKiwH2ktZm/NR
reP6FMdOuHPWt6LL30vd7JusH7OwkhpTYydPTkXitKeR2+P3bMR4DtVR8O+jVhDQuAr+af4t5IqX
z2YobV3FBS4EvTb+js0heMjaeA+sxT3DX3NzNywXHduF1hC9uJsIjRBKzJgB0FRQRZb5Iae8mUsP
trwCL7fX1VM2x63tBYGedj5iOlbvRyj4Uy5DLMF6pShy39Z6ZTqL2hGVP4WW+haXG+Oz3eah7cGs
SRr8BHJpHVQza8XzNKfN7xSKUuI5TuN+CFOrKO5cgdzE2XBqLTy2UVG2noJA9zXTNFzd3TwNVD8q
5PhbqIWDA0vpqF80Ubj6IQQl+XYYxuBdOoi5PY65XlQHoUsE3N0kHB4U6bbdqXYT44tTKHI4mGkf
1n6RGXN+yBjTuIfWqofew0RXUTAanec3UjcqcanGHqz7qAC5911orj+tlsLyXUCnjZgRiFQ761XT
Qn+cZvq0A5Jz/hSXaeZ3gWJLb7I6RvIzsEU8Eae8aN9AOMJpuM6crCK7KOWPHMFBFK7pLYFMKUL5
SYYy/UiUsuen1rWZS3lg/TPrF2KTEimIVou+tkkdj5e8Mt1zPsAZuSj62IZHsnkt8Y1UdbJjoGap
OKp5aOIiYYa6QVyLDcUvjSR+M4MXyA54PbX/I3pIca9nMtaPoaI04KLGpBg+JhNFzmF2zLx4nsu6
fV8ltXhEXi/MvVmMsnmeRBVVXtaI+Ytjpe7PUczTyZV4WHl9jNDPnaKJxj4Xap2jcDgOw5s+LfT0
cWzHYfTgn4bOgbpyJL3PrTQ8zPkAdzR1R3O+U/HGC71Q5dY7ItNvZwdt6s3Gr0aBs2FFb6q9S9VB
y70wq2rz0HRufF9MY9tj/J26X9AgGx2/k4X1sXattvBswDrOo66M49WqtDFDWRjOr69y0ci7ISqn
GtkHJzdj7E3aXPM6F+YURJ9q7A4Z+Kj6oqWRwHuLy6L2nCHsftUmMn9ekCmixq6OibPf4iKv3lfd
bH3qlSACAGYlhZ/1BaKKImVG7U2g3MLngWKy9XJH1MqnQja68EPo1Velauf3RoLI/XOBze7skbMl
A5vSnYaLjOvm4zC1VueZVWd8rmp91k4IrYryN5aUeu7rmGnsNZA27krqQvp/TPLIO24r4yqVIYw/
iBhWnxvPAHGDD27tOj9zavP3dav9amQ17Vwnq5C+EDCQgOKCJNlZKaW3qTPaNQwC7HSm2G8XrF0V
K8lxUqwfr19cq5YRHX7UmilJ0cZkrZsLWdLWV63Rzq+i1bOvjnTzt6HRCTBHbtJ9qdDnPPdpW3Ly
JvkJvG5SHV//AatHZeREHUX7kXSVUeJNhJeJbOdsrNGNrt3yrYzkhENjMFK2NenpvyyFdgbQbq6U
W5REMhRF6KoQAYMRvmZehDP0hMo66UqwZ1O1/OrbC4VsjtEhCjZrjkIczYAdnYJ5bz3Wvxa3rp9a
z6Ts3x9o0cblhlw0g267imGMthtgfqonY+DYNrNMXN9xEuv7Ih8772zKrUuSghfjUyB3C7j45V1s
dpUxuQUFVApT/8GNjfE8MCCWZ2FI0tbajeXFHArtWKqa3DuFW9sE52vaYkybAaHcdPyKGvAdLSJO
YYt1ZN6ZjerprHsplK77dzVcQDTgAtDlBbq2gtMUIla7aKaPqmtw/lOdEOV08txiRrLzTv8gT19s
lAW6yFXJG8W3dlXX6EIRJZKsDLSTLBkPS8P0fmrc9sdsFs7/RGRyX6m5k+pe3jTFYyqayHmczMpQ
Dl2kONkpkFn8VQ0KlZHtSGH7+g5bffPl52G3BhOB2ehqh2HZOZnYlebXKGgKH0917pF2Ho1DVrnf
h9A2jo4jMz8Iij0C1SrVZGUqBdDlC4QUmc6Xu63U4mgM6z6nDAnkUTGK/JhV1XC2Unt+0GNr2uuv
rHbYsiAV30LfpWq4jYRID9dBHbFggavxtZxUybGq3kFJyXaaVH8Cze1Hh0VLYcIgkpbg8tb/Kr9w
vZlA6NpMIvU5GDx9DEFsS320woNpdA33YlA7pUfGsrAq66JG0nZKmm96mpRvVUycPuhWbE6HeYIR
fzf0iGV7RWy10Z3h1vbHvG3FiBFElX4DLpB9zfQA7NIkebzjoJfafBxrY/5ZSAWxz2oIADcguKpl
WOc1jf6JPd93XtLOcnjbRHTqjnYLqZQpGwx7j7RH0FQDpfe1DkNLepQDduzjMJq4Hlfh0HlhifvL
G8JW+r5BBirwtMkZP7++MVcBlq8Fb5CeNQp48CP1l6+wKCIhowJZ+5hnPYo56D5asZL+K65uWYUu
GONMGDirQKDaCe5XapZf1azTiXOx8tjk9Z6q5RoCxjLMp4hfFCHr6VCcJJnIwJReZzuIz1kWjEfy
HfUg46Tn+2uBH2W6+RTFXYzLnDV/ixrbeBqZWx9ef6urXGf5IYwByfwgEcKCevlWxRiodLKY+8ep
OR0xIyLYKy2zadWQh9RR2JMEx53jsBVjWI6jYOI/uqLWcdLceQGe0AMJi/+FVj5cEiV0bI/60j4F
Zml+gx+WPAaIcu8R7rYOPXo+C7Ib/AEZ8MsHZmtVHLKquIp+Gu8bNRvAmwVYow3unvzv5lKIHNNS
ZbWVuk2iVJR7C3QJMWqHBqcSwlRBLECms7OT6Gx8RkdlwIoqK005+v0vn4oqIjQm9HquU+uW58lM
q2uV2uKoMWrwqzoq71U7KHYW3Xg+Gkqow4CbZIJ0m4w0Ri3IzOf8itR2983AkfIcN33Xe7E+23vI
Om3jeqBfhlQQ7fAN00saZ1QQA5umoWz0msHSLqJpcq9sM8QJ40n1gOsnxybtnd8jo8JDFYO5S4Xa
3iWQaM5KMVsXumDdolY5e0Gt7qkZbWTWjHvpBiHUpII1vLnAFuUgTUruk9iygU8h8JgTLBGpO2Ht
UH7ADKj9MoMfPskUjSjUNrLp7vXTvPmOljEpR3aZON3EyNoB7tJQal9nPRX3am89Y1CBMueYw5TC
4WQnl9lajrkOzWDGlmtpw0rUxczEKb9WjqZ8dMoW4QErR3m0GrLjbE+d3FlwjbKhDQm9BbNJMErr
oWU7VIWb5R2Y1UBUb8ARhce8qyJ0l6w0+Yo30XjK6q6yfaNwpw9BlwwXuE7lTo60tfFpuUPRp4pa
+4PqUsma3ARkk4s2vs9hP6HbO9Rep+TxTnzefMU4Z1GnkYsBHnt5sPNMnWsnHfOrk4nuaIexe0Yv
Jbtzq9C+7+bG/vr6Dtp6NHr7JsA4ECk848v19EhW4yh6+LBh1H5jJWv2UV42P1rD0Jg7n3Pr4dg+
HDomTuit3hyYHrPpEAurFK0l3LVTLZ3PWq3X5xJhEr+3ZfQfHo4qG0dMWprs2uXh/8rCMq1I7WDG
KaHipJznoHg3uFIeYyxRP/37a/x7peXJ/1oJVIkWzqRD144h8wFYWErfi74b/rF7DdOtL0Y9gTXS
Qoi0bs+83uIC42qUhFNblV4Jju8xaztcpWC/ffwPT7VgRumGwm+7TRYmeK+Y8YKOStSiu8Y2h/1Q
OsS3ERs2ZafUXXbaTcq8QLYNpgZ/9M5uXmFKq0ylS5Rc+yjs/dExpvuocuadVGTr7S3CmqTm1kbh
N7YiNjvgsOhUz8bHZI7So+ys+VTN7V6LZ+uBKHAoN6isltngyz0xZC79pJpBXRtmqBLRTr4C3tlD
sG3kVmwEkleuAabdt0MQDLhFImvcxiBsoouqtpFnOlN7sQYRHSOH9mxcD+2ZhHAvVG29SjJ0KBzg
ANd88lxkoAq41JDlSmL4Gup0Rxcq9TOZlqfXN+Lmq+SGAyXCwHZFXWiFxGQqEtmV9Bq289ShqTnY
e+DGzduGbArGFzUx88Gb6xR97Ui29lJyBG5/TNpkplGqRu8nY05OJJdZ4qGP1B2NdKZTN/YthsV2
ucNNWaOGufMWVgr0BS6+VcYa9Oh5UvxkeIl3enhM9EBIeumJeRoSpAgAlTg5rGAFor1XFm7Tn8sy
R9E4TXFspdrOcw8oQX8h595rem1tNmIOv4yeyRqs3QxhUgQ6Q4ACuPT9KGqGGMJWnvO4/DEGUv3u
Itb2bWDksHNzbG0AQgPFA3Xamt6rB45QDLfKrlIdxKPdjfFnpEr2pKm2smpuecA78NUw8rj5/phR
6EVa5fnVju3wZ97L8IurdJOnSUjuQIik58p0z9196xjxSIsmzwIIvQ2ynYmFjtMh52TllvqYa1Ne
eYFrd6YHJEv/8fpB2vqAiwIcziAO/e5bhLRoWmdWcxbjx0CpNeKxOqMXEZAfN5F5RhMoeiNrdTzQ
nW53Su0lgN8E+AWrTH0JyZ2Oz6Jc/dcdGVVZiCgn8ZCBkvmu1pRfqczc31hxRdTA/dDsjDI39syL
9W6+ZhMF+uAuI/Au04bMK/Ru+uHOenJ4/ZVuLgMXGh4JKc0qByf8Q2+MjBT+fqk8KjV8ZYa4O5nM
VmhCgGFhUgL9MFda6XxNlbklNmZDpA/DHUJDtJKwaxcHEWdCOyhCxJpnFb3QvajpmsLDZSfODjl+
Y/88jkawCvlWAL6UnxyUm5tatdOG4EfOWJf5N8NKcRF2euGDOi3//bbG2gQLBGIyriC3owM1MBsj
6RCa7Pu8/NSVDl2rooQdmE3iP2QGy0dE0HIZVKwAvAPDfaPPaMQ56Ey8r+zUeoqSKjjYcrB3yrat
dtDSFCTU0JTg5N+kBtiAFIpoUVWzWrOHezLp/e88rcofjVpXDzLRgpOWtTUkfjzUjlAoh4tuFL3m
4WVn7OzfjfjDjsKtF+QZKhSu+/JYTm1TOYpGkqyLKPzcN5PmW2PZXLMsnI6vH5XXlwIo9XKpEpvj
YXaBSUVTEPtl39cHRKvyN4pB4fz6UhuhHN4ASob0YdwFf/NyqdbADLhdEvIo1cAs2fATZJTEF1d2
6blGGf1uivawE+tIAHIJuCD7lQKOG/zlmlKP6y4pGlrpMsCBLQitD9SN6p4m8DqOsgybkQbQkpff
lmxGFNrW7NJLHAZnOsZhbDy2o1IcAqUQD3Hb7gkJbK2nI20IJZhNS0f25WPpaV0as0bbJ44qzWsr
LXjUxyh9oxuDAL+Ecc7rn27rNcL4BKjBUHbpAb9crxDS7doanmobDPb7XtHSN52q1TurrPciJlEY
TzCSNMhobsuo2KSWF4giXEdS/59o5gantI/ko6GmO0Jx6zuXlShAF/Y21c1tHZCazLOmCPgclJLq
5+zimuTbnWqdnUAyFEC39GJZzF5jB8PInWOw9S5Zc6F+UPHgS/HyXYLjgG1sAKorsVW6tFJqD7Gs
9pCkWzvkr1X0my9mBlGUT3rBjrQ69TnUp/RURdN0Elr/VQH4fH59g2wth7/iYl5ARrhCQCY9iTks
eaSOp6rzi1GxEw8Di/A+Fn17bvl/dvTLtr4gc1EyXg242WqCLVpDC0ZYiddGq6UnIhuIDRoKSP3J
4L0Cdpum5JB8xdjd3Ytjfyz/XmZN9JzARbF/lqJ/Vd+B5+8pqPLrmEwd2BCbDMrrcAPX/IH5yIeq
TjWiqAoSxQj6ayp75QHUPkZWmEF+Jp8T35FYTRvPkXmSI1QVDDv7e80sgJTLMJUTS0q5WBC83GSO
nlojwwYIfmBB3oVpmZ7GZgg+oGE0POAZPd8B8cLEOsNSpM4d1UOz2fDDoXUes9KOdg72nz19+8YA
9PCLKIqJxjc/x1JBQ8XdANsWQn/h9SIPGj9JDfM65qPTeH1kFfEB88N8OiljWZUHR6IA6sWakTk+
sCYz95ygEY4PmBfn6VDrovg5SZrW9rshwY/MzmewV3Hk0OGXXaOrO4+wnMrbJ+BOJgchJAAbXQ7A
35ly7URl7Ir86lL7HU2aSKcehSE4oU7zqAeo+7gZQnFTNRZosDZ7WrYb58vCYBN9/gUgu6pIMOF1
8UvXi6szNMrTqA7dSbMy69yUk+vTE9qTe9xIbjnMBuqLFCZ00m8jJIdLKcIQg5c6cdXLhE+fX1vG
Z1O6Ze1b0zxjk1SVIBAgaw9v6trKP8GDkv/61kHocsoWkR4UMFb3alkIfOKZZl5wkv1SN2b+DP1d
LGNX666pmvzJmBtQYOqcLXgs6/J6UFslLMynFoowlNxFI/52uMKDCaxCpLi4ClyQEtzYE7Oj4ZHR
gzzlOhanNE/3yNd/oseLnYZg9gKg5YKyoSJaNzWZdNzZSdTEvbgmsoMPhi4gqbRjaqb3piXdT8hN
O4g8ZX3sicapn4e+UoWHa30SHVJkvZ7o5anKXeBOTA7nIA3fF2zeN6pAF3U22/me7EHfqz9W+5Mf
jSgBYst0dhHdWsL1X8eDRrWUWak4l6GOPicYzJ1NO0xPLVR/v2vNeidr3ViOvFhAOAX8vub0YArY
Both6gW1RvkusNvWZ0KM//cUKj+cuvnwrxsBMirgBJpqi3Dn7UZw7FAdTPxfL6VRGAy00qB/MAb9
i5IF5nOOaOUdSNBu50pdZUM4cuA7i+crnVuTnuXLVyrzqh6ojdwLYKPp4pi145sT6oLjiLjh68+3
SklYijYdLDuGiQCNboLb0JcyDFrJlhPo+B0c1OXCOxMMyK/X11l/NqgK0IQWMggv9FYRbrA4TfSq
7Es9Zs4hMTPlYvfAe4I5jk9dVWs722QVtNGn4rMhqMRMmXbqza7s9NGpc711LlYfNm/dtOzuagAV
d6FVlVdNuoOn2GX5xpFonU9Gvtc+X8cPZDoodtCio6+9ArfUZuaqc6fZl9xQgyekHbKvjC17VrUK
6xvChlzKrl2Hh9ff8nrjsCxyXFwWJEirZL1vOlTj4VhcIluZzyn4Yh95UfeElniys3E2PigETZIw
mkeMPm43TpiHqA4ag8KxVz8C0NYvY6zaJ+y4i8NQyezT60+2sdxi/oFcD3BxTv5NGoFaYV4uuuiX
RDRj7kH3ar+OThq/kWWOEP84/TMeCnQEzDk+ImP9ZaL78gxOLQQ6OgHuxRkL571SV6qXoPn4Bdg5
0x2t+f36821smEVwcin9CWvsm5fL9fj9Uatq7iVYKroRru2bKe21J0Oxa69xtf4yq0Z/en3RVSa9
PCNCBUx6Frb2baoIDQV4yty4ly433fAc4nRWeW6+wD5mUEbpBRFH5ZuVFdr3Mm+6PafidexheeAZ
i6rbEoZuvilarP0oBKG84aFPk2OkdwEPudO12lqFvx15Vu5xDuOys/66n5zEMPqgc9xL3dTm5xoN
0WsZh//cd7TYLAx8LEAtcPtv26l52MrQVSDP2nFBG15p9WNfpXvZ9Mb5frHKzRtzGtMM6fMjqja5
7bF2K3DDgaF6dB32rvWN1wZOmD3JncDXuQ3YYcm2N0MUde1urg9aP+kXo3eCnYC1uQqfBqi3Tv/7
lvslo8odFTJ65rP5fNFkClY+nP/Zt5CPw7TKZo4DsYIL4eUW0EJNy+sGsUcjKT7NXZCd80aL/doW
407WSgXK3/UyhyNPXzAZaN8RF28hA3pej7qMsUxuR8d+sss6/DKgX/GkzWqUeL2RIjEUF7EpvbHM
EVkDF6Jnn4rBglIfDL0ACRlF4HrNMb5D0APHBZOm5FOkZMnvVA/hgHCkgfsuTLL0MRaohx2ipFd/
qmUkeg+qhv7O7mxAogVtPZwlk8F8jJw8m7zcpP/spaS0mDgr+HvYoG5j3+3iQT9lWlfrH0jKc9Wz
0OAZjsiP2ySaWa4mh7LGJdDH+JVZ12SX4lnMaaFS8yh2dlRGk5vN7TXnl+mkagV7IeS+SRtpPjtT
T23UhrM7e9FYz9Mbklzr3mobFCMH6ajfS+kmv6PIsN9C8Q2Dw6igN+8JnE/+ZzZZ8S7LkJw7F0T/
JzSSgvIwChv8pdorqeEPuL58TpSi/NYOfe76o2XlziEbqmDEAdOOPqQOzJpDB/3uaATO2N8FvRSP
9aDI7lr2cZMdlDYwviQdHAxa9caC2YlS5Tj2hgw9gQ6jckq1uH7I5djG/pgq6bcYwar4rkD2S3p2
qzXuCV/sqPAdV6nBj8aIPcB/kciN9bpVP+FvptWHQHZ65ZtZXpuXuUXUCT2n5HOJLnyNA2MExUWJ
5772rLZzhCfSaFAOMMrs3k9K/vEcxaqeEC1W0kMdQBY+CNI2lY8kFDoQHRfwm6kBA8WsaDLu7dyW
zaOi51P7tg0N9X9FOWuGn9aoLnhDXc/1sx6k6TkRJe4aIT0rxQPr0vys+M6DP85pkPh1W8AZMR1Z
vp1tOdqelbh1c6foev0bJYIsujQsyafQIdN4Vuwk7rNIKl19GgZBa4bCpH0g1iKhABKuAo1lZ/Z3
zFGiFJLUkCfvAnil5Y5WxTqkLFP+hYRIRF4rYgQOmCgTEeULF7v1dQiD7hO3yvCvgQveIaArvJVI
nddInSqaFYbguKXhDJS+SRCQ+mbHlruTxa6eZVmF2EUmx4gHcP/LwJUPqRLYikivA6EXpEzTX0Hz
ZHevpwGrVQiPtBaYtQMEYup5k+qIuNZU6HjxderC8V4z2uBoiaLZKam37i6Hi5gqkdR0xeuZuLck
vi7owvRjfIAPNTO575NDE4x7JkNbS9ExoFWziLwxIH/52jA1RHk0zlCDnxX8k6jVgJXE6Zm6sd1h
uW8sRVIK/Zve1sZkQ9XbcrSSWrkESWf4Sd3kp6oW4YPRDe4e1mj52jdXCzwl3AK4jfE6vb1aOkvg
IwcIHE8Msz+KSU2PVmll35U8zB5GfBCbnRx/Y2Nw+ZOjITi/zKRuktIMqrBeDkVwme1WHnIcKg41
gWmvY7m5zDIVWhT81+JdHejqDLtYMjRyz0NW967vNri3O4iDeGLUzZ/W0KR3YsqNQy7C8n6opx8c
zuwQzqK4Gyu997umHHaOxUZKTt8ahTqqDUAIt4kjMyUsbObQubSiwrogdCOQ/bV67Gyn/GZOwjqT
we5hazb2E4uCCV9sc9fM2IAQPmcAsS89XeZDgHbIaZhDYAG9Yu8EyvV2oom9DEJIYhbx8uWz/JUY
T7ODrKBV6RctDLPei0IZxJ8aFer0WERt/L0cgz1NiPXTsZ2YyjMrYNxKb+/lkmEBF1e2g3aJ5egc
GnQzj4EO3j0p6r0ADaD99riwCMUU/y4PucKPVMg5T07NTCkxB6c+4hgtTroaBsLvIkQbvElW9u+0
wIz9lGZd4niqmdvOySiDKvFR87c/6ozzwgPNvzg4yDGEUwpWSHLPlnbppYbe1oeox8YcJ9pSf4qh
10t8lUsyPOSBzfSktKP17DYYDp+zYuq+ZUC2/6claf7JcqdQP7t0592LGuIm8GAQskw/ZxjNhepK
/ZfoGqs94aAxfrERB5zuKlSB7GNAJ/BrgflPDG85a+dTZ2TZadbGgWlgU1r2ZWGNVyfNTSbnIAbE
QO6VviVVCRHbMQ+WmcWurypjj1AFLjDBMSolUGGN7PBbDmm4xCUjrxNPhzxgHWJH6XSvMd3mfdtC
eCbVcIAzIO5na34Z9DQXkIU3bNS/hybySKvKwFNcMememYWp9lXmpSgBwbcZRJXUSH5YcRMHPllA
+jNkGmaeith1vyiVA4fFDYvsvtXcoDk3ZDqln5mijU49fPsfaa4F2am3ZPdOS6s+wfcgLqVXQErL
vNLojYdxnsf53qjcKHx0U8UZ/AA81xdrjMX/cXZeu3Eja7u+IgLM4ZRkR0mW5TjjE8Jetplz5tX/
T3kDGxabaEKDBQwWJri6ihW+8Abi2MhCfjp30uUhkucx823kXDpvkBu8y/U+KH92+NFi51ciEegr
cZBK8LS16tF2snTwEJiZdTeZQu3XkuX5t7TrtAe8VcrxoGbh1LqWlYT1OUlb+Yzppty5vZODARkL
6adqIn1oK43xbR4d6ZwOavajb9r6n6bAnQHuwwe0c8o+iPVzFmjOxznV5uTQhsSnB3Ebwlw286Rw
oyUZfvHR66dE6xflPSL/pnmw1aHPXnC/wsR0gP3Y+LUqzZ+GeIJtlGfDcJKSOdYOepB36DJUsfOM
zJNUwz8fY3oo5tIdcltNokvRa0HpEfJU37IMUrSrx43RHVtnkdOzZQb6r3KqnNona5RAtUVEPn7W
LzBYp9QIjrUcVoWndnof+0Xbh2wBWZqa2R2Vqf0QQOMX3t+lVj/KIYmD2xWtYfmjHGipi90gpPNp
kbqzOWSLc6Y1gXDjhAHscy1FOqfBHD8sZeA8taUuf5wjepvnKuyy2M0HM/tMDy6b+Zp62BzqzrbD
U2tp7TdoLRC7KuiMw/dQXUbFz51aIfNIZ6M+RTHEgDxum9RdurqMvEixq9G3qyE/T7FSNT6XsPqh
UyJjeedIU/tvU5rODws/AukBN3i5e4iikPRCCuPyYYzMyD6EXTIC95m0THEhQ3TPTaplcBmhkUun
WUJRC35x4HzGdG0aPyInxVKqCTuc88kl/1wSQnQfEQON25dFLdrQ6zNy2ytfRQVSv3RfA5TKjJNe
LNWnqmzqxb8fDd48e8ScAk1Eqw74zU00aOcodcMwo+Ffx94E3REx1l4/ZHEDN39pzcNQvpk/I4bk
NgFpLGS61uQyq6Q3CIYBmH0+jscuxiajapvIpz7RXKzFiv1BT+adVP0m6hCDgi4Ugp009tZBYlGV
f0SpIQVObfClV1P9heRuT4Ps5sX7M4qw5wWqQXlv9eINihZjbRxCmZjq3KMZqnhQ8OsPvV7uCX6J
qPZVePhnKAqsQvMLhafVe066Qx0cGeUrz8oQu2NfYXbSpEAXEVkI3A5fILBNZXZMtTj85z9smj8t
K/riVD9WY5cxZby2B0KFeZbltVVnUV/Xp0NmdYgqTHEqeTwE8rf7o24sLthFOpS0S6i3rIFbeR6h
tzEKFYwqth8zTLLd2pKSbwig7hX0t4aiR8IHxI6Ij7mqvEH97YpJLO6y6Kk3zChtK1pe+D2WFG8t
WFIGRgUV/QNiztuWk2YHrT5lmFyohfIcE/k+NAgv7ATdN8EfwRFwHnHoHKQ+b3M+MMmFEG5Dbw2i
Vignw8E26MXEdaG7Dqn8Ti5xu4AUmGUhfUAnnWrsKpcY5Qin+Q6GfpiwIzpJ1h4QXl28EKbzzgJu
zE3kyiweoe2tmrI1BBKMWPzt8rDOz3VapIcm67pTXcqVhzjJbt/2puYniudcXGTQJJvAlV+HtaAr
DLOLx/Sqd3E2+zXajhJO1Vr2kkvJ0vxSlZTYKNLUkbZsGs3viwnXpyGaFcWd5wTpG4PNde4t4dJ8
/4jc3nJc4ZC1OJtCGHl9KQR6lA+RjpWwlNktRlZK8NIGff/hv4wCQp4PTONtrefjaA3lkNSm6Nmr
lS+hs/2OiGX4eX+U2y3EwRC4LSEVRutpdckYHUQ3Xg9EHtoowDUxCF00vaNPXT81O7D/raHwR+Qi
paSPbNdqqCDFryCFOnENOjV5mqfMeAnyZZzcLp3GeOdo3H4jYZNKjYcOMwDUNcAEFqzmhCNKp6qZ
yt6oRfFRU5o9asrGlHh/hOoZLxG6w6uiyGymS0kVP8FRV/qWtkXuT1KuXtAgHXd2w+1IOJMKRCTt
V5QW1kX9oa+NvipQjNONcnkM6vlnZs0Ytsfam42yxY6D4Sveb9pX6+68noxLi0RpilQ7JOKhoEIL
l01y1ajag8XcNJTFUEyGYhyI5Bs8SgemS0YOmte1RJ8x7BvrXwfG6TFDZfNrWZrmZ6Y8XKo4hHwr
AUPbydZviSjiBwBYpFZHQxsL39eXzDBYRllWvEBzZ9XTKS9i03G1Wnaqg1UFReBq9Omslwa3xV92
Vymp3zl0G7D2DJAoyFIbTZsuMi03VCTjzbxufhy9FfA6XAC3JhiIXTlaa1Co1MNEuVaLqZ8oyEun
EoPPnRttKz6lPKLSlEWEjQ39eh1QdpoJ6/gQOO/C7c2V7J1ZmKk7jkBA3CigC1C2yx4kY+vzAxgF
eSL6pTfs4g63AOTWkc3HJ904ILPATT7W5kkjHz91dOU+o3m9eOkYnZRoz7bp9kEjpMNhhBIZMOOb
S9zSRjz/KuKcWjLKz3imSW6IlKUb5FqaurjnyDtVza01Bs0Mtwv4CfU/sRp/lYbwLZQDqYPfMBlG
8GWIQsnDMSdw027Mn/oqWUTdo9oJyG+vDWb5/wcloHs9KOR8rsgkJsRCqvxkoA/+MNaCSV7vKqNv
3LhAHoBHiosXDvFqD4EBrnsbZu91mFSKIdR2n+Ug3XtExJ+yDsiFl4YQ6xQ6muKz/rWKWtTDkw6Y
EA0y9QNGt/mxHYzCQztLV9xyys1TEo3/SEq71zfY2K3oFIGz4ZUEInuTUNUgKet5Dq91qg4/QpSv
FsZrFPr6KnhdF80wp36pCsv6nzYXcvOAhGmyBwzeWGQVZgq1cWE+eyNuoQxaDXW6CPEAN2dwm1F4
1KVyj/e4MQpUFAEs4gJSbuLKbiknIl1q/QkKBQ/OOEWGZyWVvbc7N8ehjIhukCO8AlZbBkTG1Jlo
28GWjhXsdLPwOYMRuHMGNrYMgEdMiajxm6In83rLKHZqqmMuSRe1zwuPHq2DrbeyUDOq1Xd2lahe
hKb8+xDk2NsjHrJD8w/jBijG+tFWjUgeYsSNr3EYIFVnSMEBZXbb78Ml2rldNpaSkiyHHfERnF3X
sJNQG0aVyxvLXIQL3jejpXyHHJfsjLJxh1HF4Ccy1B9y9uulXOI67qU+CK+ljZ/kQalD9ZeRmg5q
P1PW2EcIK9V0KUNynZ3cauMi+39sLPpcQKTW2LOsGJrSVkFpdCPVMidKGz+el8qfCim6vDkkJg62
uVzQlQU/tLpiRqWNM3BsyMhXMXan5A8FGMUwPuJvpP6HafEgiKYasK+beno6pEidB1aImmHY46yS
ReZ5hoNKWzkuxj2Dzq1FpOlCOgUGGdK72ER/XZ5jYziNFLfxNa153C30mfyxDgzfjqW9Rs/WfhRJ
KVg9i4h1XaOxVaWzM3UhFy6C8Iny4nyStPH3/S91C6vGAR4gMxELoBqaR6sJlU5jjCZR25XsqDok
Wtq8oBiF9Xozaocp6WqfXi8upIlkHoJ4NFDmnN8MhOE3CGEE9NyQ3+F2fr2oUWz1iRwQmY9yXl8y
rVZO2oiaeh22885u2VpUTrfQ4lN4AG52phQ7clIgpppmUXe2p2Q+Takd77BKN1cVHjLoMXpZqLes
ZkRBkQ4oDIKrXCmqH5WqdSyXfHEtaPBeL/eZPyIo5pWI0LjN3OcvdaC/mbwkVhU2CGB7ZNtuoJDx
PA9ZKFcxVNqyPMYUQABclqML6CXbWdWtU0Eez90JHx7g9eq8R7hgV33b4Oc+hdiF9bPlNtPUfJvb
XYTD5lCwvIHMkVvdRC+1pUW6Acf8Cuk+OaioovnaFMODjrU3w1ZRVwFkyeGgeAA3ZVU/EeJimpMp
ORz7vvkIcMb6gjAJYgmOGZk7yalYoVVQJuAUDEcPHR2N1QsrcbotvUDSRcq64SjLcu8ugoKtNol0
kovK/nH/3G8sI+Mx3B8M2s2xl6U+CVUZzZy+WvII8WG1e9RIx94D1wp2dsfGk4d4jBhKAMdvCLqD
Xo1wFgTlkTZ54hvEej4KCU6BcEKa8zf0NDkhcGt9vD/HjagFfgovAngYiKvr+pdslFqFeCyRu1ou
h0atYu43OXvWhlZG4zZpaUz18nOR5ePboxYKmYi3QlgRlZrVeZjyXOKUGEggdOPkG2EU+XgjZocp
3/UH3rpq2KPYIApxRrKH1VXTmjNKXhmu4nR49dq1YnM6VKoyHZPCNGHva2p97M3SuqoSwCu/nOre
fKgdrf/65tUWoSElRwqqt89VJRlxmKkS9gZB3zxFUtp61N7o9abBr1TFzVfGucafJlhm9wfeuNIZ
2IQYI3TPb7YyzvTaXJlkTVGuOk9QxfWnrkriw/1RNg4MxW9udDSeeDpsscn/eviLMKt5o6jeqjRm
PilyPx7VcBZaGrsip5sT+muo1V2AV+hgTbQfr91Umb6jLJlvyf1e5WjjdAhnYp2MTOgL/+EU/jUh
EK5R1YpkOh3H/Du03fCzCn3nVBFzXPSkiBMYhEZB39bsi8/3F3Pjtns19up8qNo8NDKp7VVP8+KA
LJdF+4niKbeH4sas7c4WueXSC74+5RmKMyK0XyPWyjpp51ZCVArgZxgBIgizS9Kl9leKV7gAjj1y
Vm4L5MeX5yBk5k6mPRphuTyhGpjvgUC29pKQLKA0jwYxQimv91KiL3x9LPmuPP1o9Vt0VZ9MsAyV
q2tj/+ntaw3FHY67ZgAa+nN//PWdKQROmgOsAV2h6ltBj+0YJQgrQ3KM/UyZ3owUYqVRKhHvClf9
Tf/SQcEIdOpMNTx2qmuk662XWLrkR6Fp7NQet3YwGSlRIwm2dWOvrUZ1MEYabrpaA7oCuGgQvYxS
iWZ61AN5Ga2QFkYTm8HkgzRK376HiT5E0ZVr4TbmAY8wTwZyglc5XkygOvUveUbqxlCr/iWxkmxn
C2/sGQRZsHPhDeUOWj8pyqjZcwby+Do0Q/ce1Sj9dx2O9b/VIPV7N+rmWIJZSkHZvIWY2QbdoN5E
SKezjOmxCEzjogBFu/QG9Mr7u3NrKLgeBOQGDYCbl7IIZHoPCtdq1A3Ru0Ual6MZ5sOnRKrV0/2h
Nq5VYlxubngsVMzX4VxajKZcBvRpsslI3k8Ag88APv7DdyIsZeVUmFMb3ymg6Vzbsug51dG/c9vV
Xgdg52noW21nQurGAaDBx3NLOgMlZn20JSTkkgCVh+toL5YEeLmymgOe6LpznIDYxJ7W5EnvwTUD
Z6UWlvkjKHQEfpNGk791C8bMpCblDF7TUNJPbT7xn0TdaGKOIg0tOr5ZyP/vjNmAzjkSCFt5biNq
1aMdhn/9nAyeEzlS7OM2xIYPy1z7hZ/1mBxlI8CAIO5skDv3v+LGhqGxImJ/SFCi7fb67gTN1TtT
DpEBGdX6AKNrPjgITj5H7fj+/khbq4thJHBAlDRIpMQ//+vilOw0aBvkzNFfUVE2Bo95siczPeHR
UOLRluee1ocTXnxY4N0feeN5BCbMR6WvLziQqzn2VtcEuVriKTYk+SFhPdw6TcdT0oWdmxfysDPT
jZMBwpV2u86LdIs5odc9Y9oEBro39fBQlsHyD8h6Zycc3/pyf/jiooC/AYtQo2gBwxhfgwV+XjKo
4wdpRJgM4d29yH9rKJrf+BeBICXPX3866oRGGMoUFBqz9Os4bI5wRDI3hay/861E3LdK3OgqChQ8
PCsec7G2f++SGdK9rAa4s+iJNJ7MTqv/USVErDynDOJjPiX5CzTTKvwP50BgCdADI4C76W3Xo2It
YWIzbgQwEL7U9G8eTO/6wKo/3N+Nm4vJqwMsiQjipo5AXxZArGHEV0sKE5TmQt1DbVT3ZqXcC7K3
Nr7YgtSyqVjcPHLd+Kf9Mcdo/8y5Z8KV/Z4FmewZTjg/WjUFlPtT+2OKtP56aPsTGMGnZrusThpe
YibYThSArDEy/qHpoH6tQc6+yKBavxpVHn2ashpznthqogEl9kD9XYKd+GhDrJE9ubek2SPewaPT
GurighZBP7t2i1/eiAFqd+wTa/g+GK1d0fasJ2hOk1HnfqOWxoO+FPqekd5Gh4XaARNBz4i/rMuT
vBWDjmJMci16e6DRLeU/K/LeH6WVNIOnL7pN/adRJ3+hQ/RZG+122XmUtu4SZIBE2UkwR9fnoTXs
yWpqC2b/YpRfNRNkWZmG0w6WZuvUgXqit82XEwrQr08dJKFuMASyQ2rmAqBi3J6mOP/sOFN9Bizc
eA52yef7m2XrHFB0FThxOlg3ifZC5tkGOuCLwZJ+QDlSnqo0ic5q1vU7BZOtY2ALPjEhGMWndX6w
hBQoCLhAxyyy9M2WdOW71mZpiK7ZUj6ObbGnNbb11DnAcf4ADmEIrpYzcvDrMA3h2B011TNHYvac
GK+pSrJ1V67G7ovWSvMhy9i79xf19kNqFLMgWgL53wBFtRpElbLkpu6cMTvgwDwCmrang421rDf1
+FnWuRHt7J7b6TIoeTx0SJTcbgB6S00EkyR4dkpBV5xVSf8xmqnuZUuoYnSUGc9tUBq+ivXlTl1o
Ay3ByJxMIVZNz2J9OuzZ0Jp4xFJEL6v0HxqumeGO8bLAQsRW4AAlGb5z0qSID3SONHLvGM6XoG3L
dzWeTqrbEsKqXjtk0d7VeyvQQ98LOoJgQmgbkCz0z1WVpJB8xkisL2A5CnBMyKgHvqEMxS8MxkoD
doGUPLdzV/zIw4WASO9U7d8U0Oji0jnMs51H7vYy4TehbwPZl6ySitrrY66UUyllPcG0nPfdWRuQ
NzUbOIn39+DtwaasAHoLeYItcUarSGh9l4RbTpAb10FK7cirslhS3V538j1Xma3NRwoHIo9ihFDd
ej2nXslju5e4otMolh7yzJBdR86mA8mkfMplbT72Yak/6Mj77IQqm/MkmQKfjHDpjXkOtBOYjz1Q
KzAp0AEGkNNNzTMmKWgu3V/SrUkKPW0oj6D7buottdYmOUxKYr0wyi8RBJDYKwJH0n07kwrc4ObA
/lIHbfWQLEi27myb2/uT1gvhCqp+Ao+zjp/DJDQTnS94rbW59eYsTl+s0IrcpRyTk66m0c6bZ23d
YnRVqW4jjiKUeV5/UyBPc1yXwqN60JKnWO3GEg5wVXQQLRrk37FlzBs+LswKbyltyKkZHcvvVuq0
9sGy+6m8QNGYmw+Iu8EYWTQb9mw0xuO7QVs6++sQj1J3oGaW5E+LpZbcij0oG5/8zpDOjZlOwQnn
4Th122BWHD/Ssb87TrXTaod8AOOKlGtQtC6lil6DVDDUT6M5JB1eUYGJ6peqBA95OkA1KO3F/Eo3
2g5dOaoLQZcp9aeg6iPZAxc7VJD6u/JDZsWoio6TpJUH9Jfy+NAs8CNcK2uomYW8izha6NkgQEga
OmMDjT+JScclpBtA9Fhu9bM2odtkDj8MULeqPxqTRYezGTIOeWzPlle0C1ayqtE18NxaqRj9RW47
WBnTkJputRiD6mdtYNpHtY8jxc0qOZ84v5FeXaUEN/hjjxh+fSaO0z7nRSX3Tzl0j8qvp0F+L9Ph
j90+MIfIX7pR0T7cPwIbm5C0APVOUQZgT4g981diMFV4pKgVb2qKpZmb02vx5nrU3yX87p9maA2f
7o+3sQcxQTBEidNRkWNYgaNypVw6qY6Ta1b2quTpzmOOomXmBnKo/RwKuf2QD3a185JuXSlCmlQI
utGpXm/8HgELnmcwBXMSaj61K6wXiYFP9dh1O5HC5lDCm4VLE12n9aHu6MjXsZmBKXCW/Mgt3XiI
ygQPLQbp91dy48shHkMSgjCDeBnEq/TXlzNg6C95PNC8RclCc/vGTD6QaZmnbrK7H0Yt76H4xR/4
OgtBbYRyMIVMSjk3kWVnLQPAqBqmc24VhisFYY1tpcR9sXMtb80M7jmFcEHivBHFks3epFeCefgi
J4030nP2e6XuXMqOAxnMvKeWtvXN6L/BZaHITWyxuhenQEcs3cYqSJOX6oRnVO2X6dB+6GngHu5/
tM2hUPwidcQXg9LQ648W8poOchElV1Puh4cQDfSrUmntYZ5N/T/sRLIAkhwNMqyydowoZqCUWTKx
ikWhH6Q21d06jJpDpENZePusRKWL/qspSgyrWXWmOWlRhVr0nE9oDUrjlJzRSgsCkkzU3O8PtnGD
wLlFYo8a0B/VrddLGOvKjKqGcPbT7NTTFsfuXWDLvYsMRXXqUMl+Rx1jD/xxm7LSM4SJpAGeJWtd
31tVViKrKhMP5ZMe/6AtVR9SXalttzEm/MPpXgT0Y0yoVtBcHfNzKPXObvB7S8oFk8V/jkoyXQv0
KV9P3ZIb3h3ezyssM4uSVFFL7yRnRGq1iursEbEZO/8QQlhuEPcHne9h41N9zmU5J76IEaXZ+RQb
BxVUvDCJEgVemtivf8+k5OpgxiUq4VOJ2h8Kk26TlKprRE16MLtgj4+x0SATthDQytlk1F7k1QI4
vEzg8AiZIjVR3W52pnPdL7abVJHlp0adnk2rrI56uISHdFkSis19cF1sDFHvb8KNuxDneoqfgPUF
EW71Q5TBkOPc5tlMsqw/W4ERvzi5Hhzvj7I5X8rINI9om6OmuDpYDe1OlJ8xSElsgbewc+eIcbWO
wzsyMO1gFxfLqeDvkwd5jYF+StgC5NEpsJ/u/5KNewsAFmU1OiD8lPV80esrSwuthus0T6GPnCGX
iZEuHi7ie9WuzUkDWWF56YKInu/rXZW3cRDn0OyuelBrgyuXrW3AdFWbn8SI1TMMyuRzGffG2Yjm
xxFlfFK9Qr20Ubsn879x1Yg2IdPmrga4vt7fqklwslTM2mgluLVRNjzQ3erfm33cn0jGmy9UHaa9
m3tjWAQM4JbxHMHpXJfHwq6jQkdF9aIUE4aE5WJHiqehYnpsoCsVHkx25IPayka+8f5n3hgZ/hzd
QlEb489aoTQqK2zNoUudi2501lGtiuLijNZ0knQouglaP5jLFHu6XBtnCcissF0RzJCbaqCG3ogV
FQwa4+NwBCOTHcyBGsf9qW3sYNy+aMlQnaD2uGZZAVC36ROiHJ0AXfWlOgn9RteOLRTqt98NuPRR
huYuoji2DifCZYmAKnIhVqAu3Elr1PddmKg7o2wgapAEZjYCjMhA6wwdC1ajw1QFjVfMykZv7Grp
Q6LYLRHTGMaSu/SVqT/JIOcFI6qqEZ6N2jJ8rCnsJG8Pa/h03FAOYhFs2tW+QVs2sAK5C68ByeKx
RLXg85hahhtZy5604Ma8BesYVDIPgAgERFL/V9xL1JuBeQPlbRaYqxZOsMy8c4ryo1XzpfYSxam7
Q1UtwcdYaEN4RdIOz07XaD/vb6jtH0K0yIMEu+Smr2nXQzT03NBXNBoCzKTK2MP1VotdCmUBDMZW
ObZRNXtqrM5+Hk+qqwa6+ev+r7jd1qwGSh1/GJuoHYnD9fdq1KVRYXwtXXq5Qt+Z34NQlG0iOmzk
Oydoc8JsNG4IXmC2nPp6rKrM9WgIDemSCqMyTwvrRHPjUsMVNgM9cUZWQO1OZSRLiWsFgxEdcyNs
rmggw2u8P+2NRwKwI/OlMArxD03U17+F4Zy0M4yQ3lkbAdsuK/Njgs7buzyshv8lkhbj4LToH+as
mS99icz1AXNQXXOLJUKj6/6vuQ0OX/+Y9cIoMsnzAmNELeTiQ2RYKHqNymw91kk1etms2AgOQSFz
7PB9hS7Y268CQiGArZxA9BMRN3q9GHVbaf2A8t0VRW8UGHQi/D/I6B+YNxD6ZWnlvJuHMjii5ScE
7iTnylpIxc4tcHuRC6g50RC0Qkt4rb3+GYnOZgzNPrymhtWdc8OcJW/J4rbfGec27OTPJo0XuEVa
K+tvX3aWE0mjAptEnyBzWQm4TKPsj4thRi6iaNLL/c+7dcaEnwilZUfnVV7VLCKU0hbdmbjd8kry
26maTs0y9C5SI84O72JrKMHLAzzD9MjvXy9hYQ9hYY/cKYkhxW5IU88P7QWBvgJxjp3ofXMsMJkg
BYV/yx8xxr+uDisxirwo0vDaJVELGRhQpNHKE9gyY6/dtjmUoAfYZKQ0UVa3VJECIJgiE73bTI5e
EJPRP+fmOLzD7Mv55/7H2tqEAg9tCbyOSTn+9Qq2gYT7upnA3tKH8aBXgXS00izficztrWEEOwYo
KcEENZHXw2h5aJTBOAcXJ+6n+GjFutw9zZDSw/edofRf4ybNFC+3FrrPQ1V332OYO8kJRb0i9aLS
KQ2PB2KOwfA5yad8ntrkGA7Uit26m+WfU8PT6VbBVLaIAzVxiu9Ll+mnhshi8YdlpnLZRmb4O9aT
pnJ5i3ChibR4SryyyazB71oJjuNiGXHkqRRbfhcQ7UkNDGN6jz3RFLhUiLLpuQ5KtrOMHmbnjY5a
kDMmjWWdQ1uudW+IIrPgSc20I5obeY20XW82/tBNk3Mg508HvBjAEj3J6mJ/TpR0yh+x8e0QqkYR
8zDrCTaLLR5Z58wqcvAhVhUl5yU1tW9mhhmAGxR9GBzSaciXk5WNUntQuhLFzkquMvuRcH8+hyFa
na7QfnmnSSWY6HmU+i+NneXBJdKa5ifprRMdJLlKn9S6q1FZGnOEc6BDdv2hA0OO7lMQow7ZIGlQ
uq3chh9JmNCfiEI8Z91WxerNLQplRjyqbaibxZJefqf2Hyc7D8XGOQANJJqmsmJQAV3FLkFMO1hF
/+aS6GP2wLuOm28WAvlYqDZHO+f7trtBLiyMYXiqkd1wxI/563wHTVNqYdHEV8cM4wP9hMlFL3zx
80XuDigM+EWeoSVoRXsD32YRIGeoQIhamgGBcvUO9GrZa41lR1ddTtMvCc4LX0dlTNBhV+3ugqsw
b3FXhebOfDdeYdzYDIo0Qo8dqs7r+dpaFPR1qlPljcr22WZRzqjOP4+6vTwkjv4/2prSqZkGCvFl
X+9c3Bs9U8p5lJchBgErQBfk9eiOsSh63vXxFRnRwkFfa6hO+DJRl+o7OIhtow/lFXVItXURJMm/
gTPq3/eaQzKJXGvqTkqjneKoH8/378ONLUelQjSabN6vGwC1lYf5EjcyqKkSF02eTvLHpJ/8iabY
zu7e+u64GnLpkgXwrKw2XIz8mrokTYQSUWxCKV16L3PyX7IWlm7SO86BnvFeZ35relzBugIjRcCb
Vg9mlMx5NtoQFWHuq0cuEOUSIEr2mEjKnuD31lDIiZJEkp0LzYTXXzjtgJ8RYLGtFdqtBr0ff2iU
AUvsYj7d/2gbEQ75MJ1kIV8qrF9eDxWMjg04RecRS+ZAc8vMCR/Hvhw62u5Jd4qhhsk7p2djSNqR
oh8pfCkpGL8eMsSlBcc9O8RlrIoOeAwYn+g/hUcnQhQtNSZp58BsbBbR5KV5ASHrtrRVJtpIBQOJ
7NhReaL76WPRZOU3cNmmt3BNusY4z//hZgKczMoKshQ009XNlAEHt8zJIXeM695rBtV8luaC5Hlq
Mw/d5c6bqurN5o18RcWkVo2GFUrx5mpQEwlDezCJ6SajRCgxpCRpeQEHwvoPn1BEI8So5KTA4F5/
QiVsS5TeFumiYUrt0tCIPC0pbV/oyJ3KOJMO93fpRgxEURxKj0ASUwdejRekQZ5Y3SRdmrSpvll2
0Xt2auxtFPGnvG47CSYylXe6aVTF1sdOioclsVJbumRtoZ7GuS+8cilsry0b4+3Hjg4h/ByTTUlK
vzrh8zQ7feYwlK6G5dMoQfjINeefJKntA96ee6pOW0fur+HWhNIEDLNJf5jcPXJiN4oM5TRrRecb
UaYeQKftleu3VhIwGo+jQfHfWuuMdVrUzlYwOZdZX0YXYbryim6p7vWD1O1gdbeGEuxjyM5CB39d
nJoraBwKwpeXdk7FXMrqrFcTq9jDJr+/C/80slYbhB0iAGj0d2/rMG3D2UqtCE+4Qi3OJlLjPaCC
ZLzYNO+fJjkgrhvTxkkP2FgnPxu9b0Z3pPQMUKmfOZG6NtvLuSs01Lwzkmfzoxw7S/cJ3V69O+j4
yMge0vRB7eflIhvvMU1TT3aRGl8TvStHzwCb8xBlhfnRKhfjK2qoxO6muWTaO4pyVnDkmS9/VpmW
I6o52N1TQC4U/rAJPGcX3gfOXvEEsMybVCWKfQsMu+yOUmA7bqUDkXeR+e/sH+0ydPIBFmv4Lcas
ZHYzY5T1i90U8ugFsTz8k6rJ2J8QwjG+UI/jkSJDQSVfixCv0yUlTN3BamewB7OV/M4pndM5uv8x
NmJOyhD8T+SvPCRiX/wVcy6mmZhxhaJzpKbmQzamgT8rKK2LBhHJB0mzBEjkVwbFd+fsbuw4iq4w
hyDYIzWzviZahQBKxokXPwyjPI78G34WtdR7ZmP6cH+SW4UwASMgxEVJk/HE2/bXLLtK6sCZadJF
wrzvPJPbQhGT0pn4mh0oZbPk8niNXhOZ+rNeaN/Rvqlf7v+I2/li5gI+nfaETlNmXfjLcULsjQJI
Yt5VjmcC4/WCxlo+aV267DzVt/e8EO8RTT7ElSFLra7FPNcLKzRpVY80hs5Et9I5S+v+9/0JbY1i
I85kM8RGlcVYwPBUBeE7po7KYzmP+gUVW3UP86Xc3rrILaHMA/jEFADZVaDTTTVaROCsQOvZ/YsC
xOV7OkyL6SEjlw0eEGtK6ChjdM9ks91n3AWW0xxDi40XxfwOeTX+XzI2DmBlOfo0YyNwHtnOn+8v
xh/0xutLjTIrLSdU+Ahub+qblGsy1S7G6IqAdXstqdXMrtxH+e9BssMzaQVCgyrUwMe5CAfy3nz5
lC/peKgSyfKNwZKPg9Wbz0NkLpf7P21j49GtQZqDdg09DmO1G6J+iSd8YRBSt9vhhMNgczYC7G0K
U8n8tw8FawDIr0q+jFDZ63NmSzZtsAxZlU7qZV/OejwXijo4ZFq6KyO3sf2Ao8PE4BkBy7lu8BeE
BSDiiEdDSN/fB0qouVtSZkxPgdaP3030FyuvJ3kN3doI+mfgL8PggvbpvpuUNbrHLkT6YtLbQQcS
RrXHnxZH/VEB8cJ92YYs4yLDukzHKJQ7SntSWaduPWjtJ9wb4692k4+Rq9HmPc/qlGR+EgaKKL2U
0zfHAIzry0bfv68EFtvXzAVR9VZSUEXN8wmdMiU0KgPylKx97+jBUP7NSqNxB96Q39NYRrbbIaxv
0pCYk9pT8Q4JqEaX8cc6Wpw9/M7GDhGQSjJsqtG0hMQ//+t6lOh4pW2Erkpux4OnTktxUIFtv0xa
uQfdEZttdUxEEx5XBDoOWIOsNmPvZIYWOKR/S5F8U3otOi2S0Xl2rjW+arfyewc2hI8bvezGRTfv
7M/bHAY+IAUH2n2I8dDAfD1RBcSB3WcUhhstlf28cTofGnLthY6DsTC8EGCN9Z40z9aUNSJ84d6K
8OH6UISjlacS8uDXSU7sQ0P/5dKZrcDS9WPwoQiCGVBKkAenqCqpK9R9A0T4/rncukMFaUnEyfQb
qIG+njhSOePsBGqA6nWXsu+cLL/QBgqc3zPODcr/HApNvTvQ+Lh0oCbjM+ZOPIoLbXTp0BS6+n5M
E/uLuhTGb30sR+QUrYHi/TJKe8iFreWiGQF0n9rQRl2m1kFxWU1wyc3FrkFOgCdDpDomBqwoXplu
F8eqBXdnmZpzZYaR/FmJW93eWbKN6wUsNTsVuAy4ankVMhSxTGaUNoQnmjN74/9xdh7NjeNoGP5F
rGIOV5KSTad253BhubtnmDMAhl+/D/s0llRW9e7UnnbHEEkAX3qD6dbPdiv6v6ZkUCCxHWEM7EzV
04pMVJU3odeuJWtf6HPsaEH+YclQBI26tRvNI/ra/ae398KFcMrm9yAnQaY574pkNTlmNYk0sSpc
P+NR692bqVFrcACnE3z0Ge5/fnvFC9cLcFX2/46+gRZ1svkmIwV6PmVpMnIhDiTVB2HRL1jqqrnS
O/vTjz25XsjlURRDxnQfNp0EIKca0qpYhZbMi6s92nlQeyHF6KZHRb8sP9lwG8YBYJFAIPdtsyZV
aRQ/Z3o3bay1/fiCRr81hLDtgn9SF/3o0NZc49GpZucZf5BlDidjKI1oM/QF4ctG06fjqLTWuVvN
nq6ZN9FB/8eY0HOJzGxeyAHSPgtwM1jGD3Iu8DI11yUF9laZ/WenmGiqUiTlDWYqlJIHpQYFBCGV
4ifjFqSSzEWzPyljY7g09kH7rDEpTQL6WRQsQrODD2Ql+j3mZYYR28p2u0eu70W8Z1IFytqXZbPF
qVGD+1b2sL23Sbm1yG+DChpu02rjbVG16Nj77WDksWaONvZquCreBNBR6/ek/gB6zG5FK2L0g8WJ
8AjwRFRIU5e4X/fy3aCLsaF76jE8zWv9s4RL8lEi6zSGWq6px6Ie+gzRGa7kaFtAN3ZN4H+0LAoq
gNvKe7LAgn3xjanzAc4gOh0XnTfYx5ypKTj3rVy2uN22ZQibUTHswtwyGyPBe1HhluHIFA5tmvux
n7s+91GT1jLGjqaUMWwIvUaQZQsgmCxdDe/EzDQ99Kq+/Q5TAl8mJFXLL29v9vMQg+cnFHcfphvy
qac1uxqF4zP7cxKdZvJBaGbxrUad+ag3CkXJxVmO2BNcy7suFDi70yi7njoOTvFpjMkFxYzjjG6y
oi6GSpI92Ohc2d3qMJME4B+61pj9U48WXmd0J30+iZmPa30PYamarryC8/P++sfsV+t/0glkiPg4
mge7v2qyuMWO8NC5g3lY9KuOehfeNhhn6Nr0tRgxnxItPbfhYM2mnRjcnBHwfv1OOl3e4F65BceN
g/IoLNTF3v7GFx4QXClJDJfMPjDZr9j/PCDMPFHIRlmJ4tq8SV19iJE2gJsxX1Oav7AShTlQAf7D
U57KvxbCRaW8xEJGgt2OB+GUH4Se6/eDdPJvbz/UWVz4o6oHUMfZYWzEh5OHmrWiV2YWJL2pfdh4
rXfGPH0KpgINwc3KrgWFS8uZDNYICDzh2djXaO0OWFKJxSkeNYctF3ZEMmFEQZlakd1s1+w3z97k
PlnbKxPyThCRpyKvOIXkTqpvYPRSr/mcKpGCr9KwOO3bTbsmP3GWw+yL0bBDEoFodNZoxSAwc2pk
BROnKor0tgVH5ER1azaHwXQnGW3rgN+ewp0j45bM63eT3NorYnGXXjD53h8WpEPgPfmem8k4AltT
L/EZWz9mq+3VNwq06UBuX7f3PVfolczij7bPq+jLY5POWGjsU3GelWQ2t3cDsCdI8sp3p9vBmOot
tpihQQyGpqAAVeEZ0hqFAwcukK0VG0Klv6d2NhPhScjLuV9ln/sin8E39FM1Qa2vxbWe11lqx8+k
AcNYF4Qsvf6T46v5G+FHwwh2AMb4yUS1+R9PWX+tQL6vgvQhVDGgn2Tdr89TYMJWw2cDv9d2WH70
zeqCsVqZ8WcoJH1+++xeeqKdJgakj/bD2WHqrGBON+YZCWony4GcWN4XfWHGb69y6QghdBLAt9ll
hk6PENld01CssKvLuYoqvHBu6K/2YRrQU317qUsHiKIeXAi0FSLpSR7nzhOOiwDYk8lo9Sz0HGV9
64nb76Vs0q81qIQcu6NsJHVNFxB8LmOT9UoFcOkAAdRDeWyn8fPQrz+ggakVRlmrn6zgA3c7UNoG
kMEmVdLIbTU9wYz02nNf+JC00ji1lAT2rvj9es0VUXNSc9NNKGn8uG2b4dZC9D95++3+gVyeHFQq
LPIULicuxNOxmj0avlbqmL1lEKz6Ke62aR4P5BflxwZBAXEoKWT92JiGSWAd5SLhiedWPT6jYAqE
ZiucbohwQNGcHyPGSM8yxQglBCKeZZFubGJ9CpDFyZ9SL+++ic4R2v0mEcaK1sDLfivbbsixtXY7
IrcbTJHuYA9mpxomWxL/CsyuJsOqk37u0i+i9crfvqyqj7hgW36Mss/q35o2PkHRPA7qh+6tYEwW
e55/zcLurqHbL2z6XQAZ6Mcu6EDP4PUX0Wfle9WMcZnnj+ONoWfTsVWWduxE1R7f/ixnyQz9EEZz
RHlUDQmMJ0u19ZqProYJ90quHQEGCcLJzssYUsh245gNJRMyYoe3Fz1vXO6r0rFk1sk8/gyFQQu3
6h1kExMkerQjdXlLOcD85mNnGMZdQSqZRS0zvcdFDc67baqaR42GxjvhVmXiqgAOibBN90eAHG9+
pZ67cBwc3jp6NdD4+XUn1wCBy9nKnl6Aqbndr1Rztvdrtgz/z3unnICjYlIQnybPpTV5ohj8INE6
NOpKBIK6KK1ze3zwIDTIpNSm7tdQVgiKv/3uL9xypCJ7gKAg2MnTr/fWaNZjP5YqTQAmM+oJRBBv
S5BGq1u2h7ns9Dux1MFBGNnyAaPev0bB8uVpP5BcssHts/2GL+9aoawfkFw6MulFUERaWTe39Sh7
1KyM+mEMGnmY5Gwe+9oxr0wpLj09gDzmMQEpGYTI10+/Gm5ZG0NBBuj745ddzuGdY3U6r95Drc+Y
2ngw6imkgJyjxdOvoqMv3O9YQhLOdlEYfsF+8v+TxfO8q5+2dZrYO3sXubypfS79ujRiITfzedlM
raVCHId/ym3O2XiV931wcvseRMdsIJq8WcutYJD5I01tkpTWLrLnBXZ0f2WbXLqCAjjnO6//jyjQ
6x+6jhUG14rUtS3G4cdilh5ggXKlDp+tbL4S5C8cObBukNuZOu417MmR87Jl0caMMsAE1cqkVDj/
uosuv7+98y+8e+onAALAdGnWnL77NjdqXdM6AlC1ubcobxmf81WIo57amh6J4a/pXxB7mYftiA4U
d8+y/8oSYz+PeZDMVZveTAiJlwevkWNzpTI8l7tgITCmlgl4i9HEH5vO/2yqzUSKIy1JXFpD4JpR
G6vr04OQ1g88tbTuY5Cu6udk2ojjEgjEi1kXNg4ugU3v2WuL/q70+kL9/QZ69aPM1xsIX08Pp8vB
xyxzXI9oxafvTQyDD4OeblcSt/NOxP4CQCsQyUBDkVy8XmuwWm/set1PFjuVN3MO7qmAnBt6XdDf
Ntw2EUQLK+TIFDiTLjSpZFtXVzbxhRPDxWbT5d+7IgS21z+iL4et0vqJDJ9w+2i7Gny0sUvvUO29
5uZ3aamdbcaEEh3iszS/ldu4Og07q7NF9u8klDxgVS6+eG736e0zc+FksnHB6u8Ecm7sk/TAcOik
FWDnksmZ7EOTZt2Hbcq9K1oyF04ma+yASLDL5+3hzWdw6YxkvUhRbV/0XJS3M35NzwWvOouqQLo/
336sC2FgpyDtPH9CIS3p199KlI3wMr31k24Cphx681D8qBevXL7lRgPkyu6C/GUba/lhqaHoRgoN
1WsH5NKu3UmxOPogBIAu38mPQLTZm4Z29hKUP+cfzObSmxFz4in0ldWWYUoJkIeQ+dqNgcQ43oMR
2O5WH6uTK+fnDI9BobG3lojH+5Tq9PpdtxTtK6k7SZDT/sykb4WGM1eH0kDluOlr8X6VmxY5SAld
Ccd/4u1JUQBbgjO765ugEHhyaDwsd7w5G9zE93pvO9jLZB8HPFL90FSmpR4QuezH0EIM4rYLrPRT
Lrz0Uxl429M6Vem1I3whGcarZkckc4ns5MbX2yKlxMrrOnUSsxknjI74PuEM8SF2kUU5Gv3YH/xm
3F7e3owXzhgSiR5KggCDzwnSXOiA5IfGTRrp/hi2ob2Hi5Bf6cxcuDJQlAbzDCcay6HTGShlZQ3B
m0cTBRb3jb4M6Iavcv2JX507HN5+oouLAdJg+gLAG6OVk/dYZrvD9ko/umy6pEW65W43iI2Dabb/
PlunAw1Ok5H2Pu85+WSj3rhp7S5OQhcHdEbTi+OqO9WVE3Jxn5K0wiYnLCJSeJI1L3pjzelaOslm
L0N18PW2QfmnqcsP6WCUIho2o3yQRVdWEY6Q+ZPsgTaF7TLjiNzqDYrMf/+GoXvvfqNMz89G2oHX
TVO9VuxUs8vvFY2lLpzh3VWxrnxbXgltl3Yo7BXgFQDezluL9CrtZfMnN9EY70WCWVKED3B9pSS6
tGsg3QK4hVhMKD35lDYuQ6rtWIUxPmQ9y5mjyh7WI+gb+X+8PgjqxLMdF4XU5esNipRh7/QtS8EH
qMI6mJckKJcgTrPRuLLUpXfH1uQG/QOaPs0682LUth6CaKJ7WnOnWA+k43LNsu1CMEFvZW/+MR/A
ofG0ZRDQKvHhg3Pkiib4LbDSTqN0E2ION3dF6tgAmvqbHMlF46jZasy6u7aKLXumqfX21jwP5vyS
Hdy3y8iSbZ+82yljYu4XhpN4gKgeVVUpkJXCzRQm0V7zYK7CvFY/XFpyhz/tJ2HvL53sHBfEapGR
IiYmTLVbeEu7IgyUq2OGBdjdYslr3dzzrUp7AFg6H/WPLcNJ6KaJrhrLL7wEAoGKy2bMjvSTnEM7
gih8+3VeXIqGBMJxe/P4dLpsLboFQtJxk1pzG1jTOp5tSJYeh6nUr1BE99f0OhjzVMx8yKY9cthT
IQkyMAbNGKolVj96Bz1d1HEV6sUoFvtQlR4t0dxPkc4aMGhYy+ugu50Od7Y+9d/O73dd0NyvT6Ve
WloO/MdLFpyJwEBk40ccs4x7XaV4AQ/GfLNZYyfDCuelIrTafH5CtuYaVuHSC+euoxsGZOW8TFRQ
5UrHzrxEn4zmaEKuiGxrrW8Nk3n929/2Qh9sBxfydYktO0d1/y3/rdw6EMZwvt0E0DUCqgiAmb/q
Ml8pWnztUw2C4UZzmuDjOC5usiwtdvcSmubDVuvz/ehbw40sVPnBk9Xy79s/zfbM86/B9kZABjlB
hIdPz7Fd+jw6mM8krbJAvZB+9fb72akNLbI0yxuO9uaiYOYhWmY+wOoRIKVXbV3DXWHNOC45Bp59
2DoDcl1FBRrQfd/3Wjv1D05lO9UzGf9UHIaGPx+qcemKUHnV8C9YNr/7Z21dkR0HAwTrg9Db0nwY
Aqa7n5yCiiCUGLv7d2anMuBCq95t3/M6mNrInWx04zQnWLHTca2sfAH0M8yxslZp3Wie1Ri3wjeE
FQV96toR+t4y/dfDZqsBcbAgxhYxyc7Kx0nNIxKl0NOXWKEZTziyO/lSu3lZHUHkg+HKG4TpokxD
XyRqfdmImPyWmcSEvO76Li9NReNeC6Y6nMZyuJNrMadhASdhCZHxR8AOOSTz2S86JijjNCA+U1Wr
0USmVUzknsCjfZBGi/o5Op1yo8LMZR7rg+TfHIs0f0Y6b5B3VTEY6W2WDrp5wMUO3PaUBfP0pZJW
Y7qxR3Pce9nm0ciOrT156aG3AHYfFr9YsYYAQ7vVX4Fn+P3DUhZGez+Xztodx5qS4OfcNYseAW93
VdQupt0dilYiENUh+zm+1+teq9EZ3dYf4+C0dgzTo/4oUKHXfuLb3T1lXWXpMaz61pmTaZuMXoTS
zXT7sV7xqokG21oedm4UaAolnJ+eNJ302XAnut0o3A1fHXdQVYy8MOAxQ+SgsGBWm3qIUhqqv+iO
6ArDq9T8Aq0//8ewZEDGZS7LQzNA1rxxe7bPBwi4zQsjDm8I6dZXeYg8jPFtTU1tegdZazHC0cCl
+4E5j/XkKHebUYuyy98S+dL+S57V9XpDv3l+QDeqa543QkJ+KDLHLMNSVesUCsdd7jDJUelx3jr1
BSkYM4hXU5s/GKnj3Ot6pX0JVv5Bs3hdicGF10RyzdPvHWWdE+pjWql4FuuGIkJgtF4QysLLtwia
SffSMMvNItvureeRJoe6d5HfQ9Bw5RlDq5HWGvXWgPVWzv3y2Ztb8SImX5px0JRMLnTwOvK+SsfG
uqm0wpK3hZLtP1Ct+jluMQv/2QSyGsIqcEYr7ClHj5twi5cC2ZAfjYePbejqNRJamTYHn4sp1w3m
XpUhw0zJ5b3Wa+SCZdkXUxg4DOdCObiFcbQBdgZHZA7xfNEow+MlTZmx5sozqPGKpk0EHuXrbWU1
fcqPtIvHEsfX32L2jSE2jH75LLPVzWMcevxnF/24VsXuuFje+8VIGzuyilQ6R6br0BVGu88F1Zk0
9K/WhLBeUtdu1t2PMCJSLRpd4a2xBW0aYF/ugLRq+x2PONoe9fU85UGKJMbskPlJy9I+eHbfePf0
28TnRjDne/HXqsbQc5Jp/miMpeF+Wcq1uiVZBU5fdPkEUneol1ncL1Vmpe88syjGx9LpvS5CYTK4
Z1IuykOmBetjH+jLT1Vu9MAgDmA6UBqD/b7PK6E/b8g0BVyFaMNwk9b2L4MRSBXBVw2WO8ufbHXD
IHJ6WGgEuGGNk1YWdui+oCIJlFs8F+UCkjJVA46IGySRMLUMBfJsLNuvM16NEB5suc3Qy+nNPct+
qp80dN3TW5X2lTpIOkoZm65ZHeTfiu5D37UGuOOVNzY42/BxGqpu/mLkMq0PGdfLu02K0oPuouk/
3N4f3iGoK2zkLSfdgNvdCVittKXWEHXrzQt9IbxnD2E0G74PymQPRo/KxnsYfOLbNmqcDyvzx8fR
ZW8fc+IBYNGx8iPdhacToQY+rJFr4b4Vt8garl+xv6rWY2YBZ7vvNqPAByZbiu5rrk3CuLFhqH/M
5dp6R76tHzwR7FcZ4Xam3vVply0RmMB5fuxXDygaqjCeiK1i3CqkIlAADOtinZrQHvS8jryuVsOx
rkw3O/Yt6TQhzpD1wTIRxCchMbqj0+BuFhWZAv2lKtP5Je1FGGErzRoBeKq4kEYem3fFNiz01rr7
sIB8+WlosvjH80bruW7QjoHO2Ja/i2mcf+uV55Zxr7LJC2eYBXo8y9X+SKe8BJlqbDokGfbfVwLy
1MSB7NbvgTGkH5W7TPfd0q7/Lr67MDWuV/lZUXdzT7SLECHuh8PX2dxqTHNrbRuPdWO0nz1r6r/3
qVF8pJecY3hT1f0B5UsDQ4xC+T+cip4xBrdtUcUt0j3/uj5zgbtUz1WXGLLt8nhWuf6u87VqSNB3
Lp426c9uVIEoT0Oh8JmLEJTKPyO83XsUJezqqNS9pk8E8M8yZu7trg+ic52vOZCgFHMI6ekhIt7L
v7PPxAYlLYyjfMiEjyMCyHbojA4qw7XrZA923fZVCKslR6d9FWOcqon7zKm8jVawEBOfDHjg+4Z5
C1NOkS1bpLVl8Wvr080+UFTgJWQLe/qhss7ovy6L33xhtjhrUJE6RHlaJ+emxVlJ8xK59nni4zTR
cW9YwY9Zrf0vGxcb+8BV1OjfV7UMzjEdUwOvhnzV7YMY+vbJ9Jrxu4X6HkF+NsWj1EbzG/0EsUWO
NckltBT1S9iZ/L2bvlsLNx6mBdhLKOqt9+88uNIW3LBJjWE11gWyEMi+IWrudu37ecsWh9Z3U8so
nfQ0IZX0vrkUe1VEiy395LcI2Ub+OkzjMymkSXypix7WblAGXbxq2var9ZTuhJ3EZCUegShQO3ru
at0twvTLGK7+ahwWrV70G1M54+1kCM+Jta5U+UNtetuHUXWDfYOHJHsc2NPyZazBU0ZSmJ6Mcj+o
ar7IQMFdjUBzgSI5mOWRL/RPGLlt662Deig1f5Zun0WW85QBuNoPTVfMRmS7M9qJy2o1Wg4nN93c
362YhvHr22nveSsUrMneH0Pmc9dnPSleleI02HllJI3X2EmllXKOhV4BZrRWSqAw09PsfkIS+qGU
njFcKcAulB7IRCGQRZYJQu20iIctrtdENCMJ6mBP0rLiGTZwE/ZueU2b5MJSgBfp9aKQzjTstNbj
Qm5qTXAXI1w9xxl5VOSl6XS7iv6vFX94IATxaerYBt3l0wq2s/Ssy+fBSdrJcg4p2urHbG6y929/
uQs9gF1QjcatSZfqbLLbiUbqspudBAyxtoUQYfovC3fSRyudx6OLdPCvtxe89AYBtlK+QRSHUH1S
rSp77Jq5DgBkklceDCXMh7n1UPKqq2u6ohd25S7oDp8D6wJcrE76qYuCKIjtoM3V0xnDYUNT+pD2
a9reilSbblDj8/E5EnNLbOyN/JoTx/mr3ccT+46kM4B2w8mTNtVUtFnXAQgVmX309CK9N2uwtXag
9BgxvfVKT5fy90LtiQky3UCUUADNnRzDhjR/U75pIjGYay89Aocp3g38itDdRquOxlHqVSRapVTk
Nr6+hdU0TQ9DaungslpcAA9rBu0WFxPMofndpf9iTngghSUzjjK0M10N8agTUwkVVocV0aAHL6s1
buiz7RJVce1VGYa2tim+2pnSlq9zO5hV1Nut803plc1FpRUVwOatdxFuTknadFTFSxzYGxg12yh6
8iaFqAzFQF9oh8oMRHrHX0m3+97eb3oye2OM857JTIUI7uy/S8GdrB+mwfOLg6aa3r9Zhjp/Hnt9
tX+MhrVYGFmZ6KSTUBpZ1NPwQxEmJ8Blcd0HWhPqENTSGzcbZ4qj1Jg+BMHU7frSu1vWU9kYcrkF
amEi8FG0C2OWodHcSNdFKmO7sBDU9EtdM25oIy9VrLTMcY9FsBhtTBLUSoRa3KG7HRaPlDszzbJ/
Uq6BkAdshqH87KEzp4U+GqvFPbzloT94vd0jOoRNONZcFvSPzzYl/LttAWMfla6wZNTLctuizEJB
PnQn8A30fFb9eWl8VT8C53Y+bk5QdlEewFo9qDwzmoMRZB123wi/AypnOGDf9qrbXpZlM76kKPsQ
ipu+zx40w5vakPkWscduugZdlaIpxhtwfMOzDHboFookTUCeZC77/xElxoOJFQ4cT5rdebim2uYz
Bcx67SDUWIjIQzKKXoV0yilq+2B6r1l+Q2QgjomjJgbeQVR1q/Wp7d1aZmETuLMIRSXr4alJi2H8
t9zG9qurFy7lg2Ov/n1h+NkDMqLYRlJLVTICuZPeDWOFzWvQaj4KlHrdTQ/NbE7O7aq5FC5QtZsv
QVsPLjQO0+EcAAL4qmbp3vX9YgY302qUkKubbL0TtTN2YV84qbqZm9LYYuH69TdZwPpDiFDZeVgv
lfVROn3wnTKn/LgEg3mfMYjUIpk7Tf3Q+6Bkw7FrteAWhrx8rO0VuuVcbV55i1z+lEZTxaDgKOqS
xKEBjNzFeG7KPuSo6ugtDab/VOVoGgFKbtESm4as7SNXNd2LbeOWxxGsg1921uQz52br7QPJls48
Msugp6BLYGyRCRHGQTWxUx+k3trVg14j0QCPcU2/2k2zNajw+8U3ckSvjtza2T4FtMX/Vdugb4ch
q5dP1bb08kaDbi6QJbf2v1kuRXWsRuV+yDaxMzZ0T9AIap32qVf10DH4dKzflACb9rjOgfw4tyi7
hgqKs36o/WKooPGsnneT+rKg3dNgTXHswGr8o9Vuv8JwASgYKquxGkwFnPUDkndDG+X0GM3Qwsag
SYK+HW+KqQmCSKDI3UX6GmR6RArftPdLAVAN3S294GNJAfF4C6TVhblmpYei6tMg1DV3qI5UdBbV
HW7SfFTNOVpzLpluGOlyL00ly4jBw9LACO4ZaXudmD+pYvQZcQbm9KkcO8+MgRW4bmQ4VF9Mnmqc
mzGN+pZNmW3eOEO2xGmpeuTHmOLkkcgmPalGa1GHZhw1GVUr6KZkMTPcCAyVls/U3O6PxpT5eCVE
nE9VEPWDW0+nGigXUeJ147Q2YJkjzGIl295CYRQ8xabKgmv92f3PvO5IswyALYIevfczKRjDaylK
htJOQMbKMpydaXoXtGU7cp7n9h+m6u27dWqdmypHXDQM3LJ3dw6piXSiVX5/O+E4zwIAzyJmqiP5
R2p6+sz+hsG0Rw8kweKoewhS6lPNNOUdfT/vPS2+Eh3FQIa+3VQ3b698KQEAMvcHcXJhMifqYTK9
abKSaTT994tcDGqMtTna0m+fZiPVrszMLj7p7gENTAsV0dPUys5RN5z7wUr2VC/sAtHF/mAVxzrt
fqRB436jRGroVY7q+PaDnud0SKeT0O1Ac6g2pwm4VipIiZZrJm6dbUhgOTJezMqnq6WvV5Y6T3FY
ivYVAmjwNrArfL2DaW1UZelkVgLcYYvrZsoeBZfZO8S5y2NlMfJUrudGbz/fhWOzW02SrdLXB7K/
v/j/zBuUu06d3Eo9EfYwJIFMfzmrfs2+4MJugYbC68OGEfel0zlur/KuQGBfTxZDuEPky7n5ic2u
eETrPRgOk184VxitFz4buwXqDv8FQ3SKaS1ciQB6Zm3JWnGD6k5eIKPUFkep+c0VxMr5jGw3bgap
EZAH0+w9+WxYL5qqc6SR4A2yHbbRNX/u0mI3cNrsuxFFhoj6bkR8QFLlI5965Ua68G6RiXJRv0D1
AXzFyfJFXtVezbgmUajAHUYFhLdyy5S0dCsjOdv/x4EAl7Kn4X8EN07xOU3FJKwR+pYoc9Sjfqs6
ZCALlTiOqq+AwM7F8QAPsDl36A0vmGv99eYcHXduHenqSZN2nGxd86aXXb5+CI05H38FNV45CGNZ
bR+WZaCVESXfImCKjsaTFEMF1dHTFTbJS9D+dXHJT6OqRDhwH7GfvgZ7EJMryb2QJi2cD6NlrT8N
tZRVPPu9/as3aJxcOakXrgduenBRCJ/hcHI6GRxqWH6uV0HKAG2RKH1a4nWzMGR0enm3mx9GEtrq
27fD+TGis7mTyPY6z0Ep7/UH6IJ2MZxtsxIn7cTBmFtmSjNjhgBRwL9fipVAFtNtwcn49IYHR+kW
aU1EMVonZbo2y/oGtRh3PVQSoYArL/P82uPKg/pGtc7FBC/t9YOhq44RnOabyabA09M7dB83YTtX
robzTwaKDQwqHDSAVoDZXq9SYso51EOmI2ukF4+jQ45bmI374KzQiZWu99Fq1cbL29/s0qNB+AND
iGkXWrMni6IjmXp2oesJBoHN/WQPVdIF8ppo3KVH43SCUaTDsgO7Xj+aD43GtHGNTCAR+e9MYA4M
2cT0XFWZ/WkYAj0N1xyk6pU84NKyXHIAdNghHpYer5cVXD3FVkg9Maxef68VJYI1tVMcFUMwOzIq
6AlkB6Uarqx7AU0DKYUXymFAnIxN83phNpJpK3hMCe1rb6fAjExm69HfvqKoD6ZmmEcnjSdS0GNf
LMiCGaJp4qqdvGt2Ludnkl8COYf5/O5FfxpvNAH/xGgGMtB1q44pDe3E1CfnYAzTNQzRhaUQKqFL
t2cG56Gt9YQomn08Yw/9U1r44qkyBIolrWYe/nbT/gkpLggszAMJLa9fL3SzqZswMklM5gJDrKUO
8zCna4wrJ/L8cEC63S1kd1ALl83JtjWXvC4ajF0SZym7B7D+bbwqU79yl13IVkkGIEJCagPBevo0
9DJbzeltPXEXAgFsGug1x2UtS/Pol0OvIkfI8udKB41R8tRW1w7nHzjlSZWCtc7eHTS5B872COQM
W2buapDV0YYMJ+SSYa9ULTU/k8e6p6JdZz0Ekm5+QMCCMTk8UfsXGnHBt8DtrV96tczfUmzRseZh
1vokB1r20ZLvcuIz08sflTWb6sU0JP2kkfF9qEtgtImFwME7i4Lopcp953tvFvkQY7SuTZE3efLH
6JTbvTVVQkO7Do5H3K90bK4c1gspEaDdPWDtQsZn9jdO6XdTBdgvsTA2oNe2IE6uZcx9KbUjeGby
9u3Ne3pMoIT5+4BA56Pv8K/9f/9PDj01ltn6LuQ8qfKRwRmTelur+0hr8j65spTJ3/rvl/3DrwUa
DIAQlDqXzuu1EBRrfJqSC/dQycRvoqH3VGveYj5tFUD6KBgXcY/iAmYFWlbk30FPzvIO7hhqeoKR
txmVczd230o7Xb2nAQhwNIJFfllSzOB/j04dPOizmPQl9IfcdWkUzQ4ChsoxqhjhCid/N+WLw5R8
7GUXLbunVpTVbppBL/f079sabLgXohoqjkuto4xq9sO4xNrk1lOk7WyrEH8xKNX6Ng7ZrVz05auj
mTko2cblgUTj+1mcl3PfPs/zPB2dRaj1yU4bGhcT0q7BrT0HhfU8mFlJOM1UhcYJSWmf0NIrspuO
foh7Cy5nxa3Pp837+e0vcBqB+ADEAYNZDO605/RIJFVqjXMgk8LvfQQfUFe7sdJU1veKabu6pcto
fgu6fMmuMYHPYhBL70j0ndpOhgQ47PW3xyzFtDXNVYnlj1kV+XmPi1I+d9kPvas8FeU4hmh3rkBR
OjGEZnzhdKJo3tQb6Pi/fgskahwtnVEOUNb9CP5ny3uyBAVPtz2ZplTFHRIKYWmU7q/ABsHg9k0f
2d6UXbm8/zzgyeZnnAMyDowc2O5T5CxGATT6+k4mM7g4RUnuBu+Mhj4cIm8zomalvdD9zde00x+b
JYM4MWSDcGOt7CcwOkZWXpMFPD36HnpCezxhnvU/6s6tR24c29J/pVHvrENJ1G1wuoFRRCgi8uq0
nb7Ui+BLWhR1oS6kSOnXz5Kruo9TdnZMC5iHARoNuOxgKChucpNc+1tIgvD/z/uBN4UoQKuczqyR
8X2uiThH1Hj7uRvKC7PaeunCV6G3lwGAHYD7k563QtUoNrtmxpWPFiem6uqqhdzu+O9f7K++BbwY
yNrB5wL+e3UeUJfxnBF3pOe50vWezyWqjfvqUn3JL4ayh3Or71486LyfRPo+IE8mKjFFFzBAX8ji
FFzAaDiEnXb2brlY06O8RhbddUy64M5pGnNh0v45jvEEODPDaSH4GLjhff7mpBmg02ETPWtTZSco
7IpThwLctAiz8Fx6/bSTQT5fSAx+2tEuLxHnLIhg0E6xfVzlOd4IwF1lAFeEjSX0OG4WwpaWoKaZ
p7qx9Dy2ZcdwR4HjXcedBqD4GO2uoa/jCpQ/3MXwMCchdJHgpFx4tp/K8b8/G8gKKGrA2vLTMlbl
MVgdXM3nyqncaylMsFweRd3ncIZLDUQsY21Bh8NFzX5YLimgAYrn5kzHnvEdJNZ5s4MKFEioqTVN
kaCWqXZPvUJ2sSMKVplJAMhXv/MU9iW7jJvgvecNgU36FuiZvXa74VWATbXdUYg2PsJTeGjB1e5G
XJjgJP+TQfTf25qLPsmW9CXpVVc3Cc2p+QYbiwJnnyoUReIrXA8kFXT1rxgo9h+pVu0l46p1grd0
FeoEQIzBa/oZBsqCNitiNczn3neyO+o34U0tcrhosLmMvzZQ4X2Dh7Hu01D2wdt/H6G/mAVx7Iwz
GOAAcPT6U66MCjJ3QPzMZ4h1C3kIJ9f/VuZgUySsrEO7iKuy+05oUe0GTI7Nfkka3lfKwrvBYQqn
4//+gZa98vNZ2XNBqMDZ7JIAYW/2PJIICglYrBQ9t7WURdqB5jAChwU/NscDODpRvMRdkAOFV72f
mFdArYtBdGHX+4uJGPx5JNyYvHAuv14aLCNNnk29ObeyF5Aw0OlASZm9QeLXXpgifzFzgPiJ/AuH
+UiO12WdbMgyJPezPc+4k7nvVImr5bprdyZv6VWDmX9fl6L6s5P/64v9X/mTfPVnfw7/+G/8+Yts
p75ApK3++I/b4gtkMPKb+u/lY//6Z88/9I/78alXun/62+2ndvgbpo2vn1Qhm/VnnjWBb/rrSfaf
1Kdnfzg0qlDTg37qp9dPg67U96/DMy//8v/2L//29L2Vt1P79PffvkjdqKW1HI/1219/df7699+Q
3vww8pb2//rLu081Pncl+6+ffv7A06dB/f03L/4dh/PAmKKEx4VQYDnRMU/f/4b9jjobiA6W01EA
eB2k1I3sFceHvN+hdll8MnGc4EQgT/z2Nxx3L3/lxr/jP2BEwd8X/4D53m///OHPXtb/vLy/Nbp+
JXGVM+DT7PmMsegkllkf3w9QFxLI9anMaJf5wtVqF/PROQGjoW/ELF1xYF0fhyfVkwqF9DkVZzaU
fE4JgqXyCep0YAGirvM5hGTa8d6Z2u3Opojsg9upj1pCjdcSc9eMxfRI6tB766LyC6h7bc2x9YRN
1UznGwsOOmbkVr3CAXJ3O+BOb7jyDO7MD5Ud8BQgW9R9Gre4krwKi1Jho7oocRcpGWq0dwHth1tN
A63A6g+aIkvgHZyVT5Vf+fJTBiUqODHegPkoiXMeYXNHl/wbjEF3aBMU1wZ9tJcMWsVkChlMEwpo
VRPPsPDadNAPXLcoJDnM7SRogtvoLvEy38Xc3gP1s5d57t9VvQGZXTYuSwqIwCD/npvbAu3WO1SI
FPrQlIWj7K5VZg7uCizuLtakvnOPjbYBe52RHjeqiaCRfMBEUZwHGHDCBm4uHNolM8cZTrTvUDSE
KpM2fgv1XQY8eol+Yg3sEHh37ZcoCSCgoHzsamvDG6gWm7uus9G+BM5uvLcDcERiUuYxorUjbhnq
x/RdFbdo1ygLMI3fxP4nT+c9fkMBGcdbGkxNfQXrBe1lyeyIvM5TPvSo3E+4buo2HeyYjfxQl5GI
971rs0enz7l/bkWUDWKH9SEgVzFkEjM8iGxcZcA3++GXPCipu5PAP4colfkuL8QgUjvRB5U96Eg3
UYI8AFJiiy9tExYhM079QWioWRWO9SGXnutPsx5xhdg72UIs7iD7fWoqDuIjb2uAiMzkLDVVfk12
pqwLf1ETVGgRskHlQru9X6QX4DtnjH60BnLKQ40NGn3j4rggP6KYHVQd+JZ9qiCCR84wwgon8YsS
Mk4JKOIbnFj43+1SoGdEITaIHBDoYcvJga/Fb8Mu4BpyVoNXonV4j/1fVe8XQPP9kIfNDDEElJC4
cu4GnCbxujhnJmLfcLQHOykXHk3X2P5KmXhSZrjZl20pDg1h4Q0hresnRRdC1OBVsALmpZlf13MI
ZGORM3TWZFl8W9JIwIMJRa3LdXfRpXCwYX1SyXl620OB0+2wLdCfo6KFkBUvPPzKw0FDVBJa+qEH
mujRa6WLWxpvkrj416JEuQTOMrIdpEZ1eeM2I5W3qAnw4qMvJeFYRbOmgfU3oKlJBwr0k84mMK1H
Vgvcu3e0IHu4i6nmhLMv55ZBJrwQTaprhwB8kpJWM7GXOMOc97acRnqTR1SZfQYs2NIhQSvTmfc9
JFwsg2J5GD0f5KcAAqL9AH9sp3Trd6T3ZyCYQkgxEuQ59VsKWMs+0BG7C2gzlDsUSyCBRq7u7UUR
UH4IOO87aFeoDh/mFvyQ1IZe+y7s8+FJx03spf5M7Ieir8vXkZyRvOE22znhdAdwES5HmAbDmp6G
aReG9t6Hbv00+ijX2DsTNAwHVwco7Dv6GU6o0zmzQ5l67o1rIYD3Na59aoha0mmokMeOIfvrVvP/
xZLcPjVvVP/0pLAm//+wEONk4b/+udz9tA7/bzA6sZw3yND+XNa/r934yJ8rMfG931Etv2yLsU0N
sB5jLfxzKUY91e/L0XWE1Gkx+oLr1b/WYuI6v+NAf0HHLTWiOJ7Dx/5ajInv/w5YMA5sQ9RKLydf
/n+yGj/f4+KLGG5pl6LY54kq67TMZMZRq1Dp93M8fc70ux864q91/8d1/oWWgyVF/uE4pPJzVKxo
tAzRZCIKOKb1/xkJ+l8PHSyJxQ9NF/OEm3kY0h4ALXtFPfKqcrxL6oqXHnuVubc6dBsUaZUHHFnM
t9J37S6bqmC/rVNWZ0QZbhSGqogWJWxKYVyYF/1hW8urUxcpqLBT5JSH2TYjGO5U71H5Eb/Z1vrS
Wz/0uJv1M2S7sjqA1RPu4JQ47wPC3m9rfHXsEE48NCyw5UHXZXDKUZxlaBlt7BdE149PjoL8gnUh
RR3K0CVZPt8UfX7a9twI9x+bhsmFjRRVFcxwjvHwqSo2Rs4qJvHa2hbZd3lAkZ97N0Ae+MUTBb0E
/H9hhK8vsLNoDCNRoDIHnj5nbErewmN2t6lH1lDcsDOdCaqmOohIWxyXaOc2i8iFc9aXnnsVmah7
YBpEn/LA3S8gV++C/NKu/aWW11EZwDkoFC5epGgSFGlBBUvgFbStT1aBWYyApTIZlgeY+dxn0N+d
/NbSdFvjq7iEG61sUTNaHfppqr7MsOU8DwKcwm2trwKTVQx07nGoDv6Hud15l+hpL3X3KiQznOVO
hUCzsK1rUFmKwjU2O9vifV0F0HhRALsvjBIcPR373LhQ2dqtT76KzBFXvW1X9NVhDPMBKXiR7Uyk
u23dzVYrJgfxbs5xBHyI4goTSlTssCO45CjyQqd/34z/MIPP0P0a7MmqQ5gX9R6ArgbbTqU2Pvoq
NgMX9NdZovVW3Az6rWwv1Py89NSryMSBcSNmMsExyB1vQZAXSd+0FyRVL7W9CszAmzmNUcV8AG3r
LEscp3Lpe39sCh22fOkP3d0F0TBY44mDCILyD5Rr4u4jHvpLYNKXnn0VmXNNUarKAgGiWZHORrLT
5BB73Pbsq/is5KSdnKJj3KqS+8xvytMYqI1rBFutmgK8U9UInGH0cAigELq749dtz72KTlwTdYKj
SvIwaAZKtWZfYaSybRZfE5QaNQtScRScRC3EHrb9gzvCbGx7lc6iAD7sZq8TBxwG4hikH06oq2v3
mzrFW0WmGkM19T0evDT5Ve35KHYV5cO2tlfROUa8qV0fDy7QLPWaR6j6X21rehWcDYrYY4gaxaFH
lcJZeeEV7W24bdVcG76VwPmyfkDjuDlJfH/fs41PvQpLcNmGvsZ6dpgqs+MuJu8gFP8ZK+lfux5v
FZaDkP1EwdaAqomwHSAD7BDE0+O2/l5FZZUR0IZ1LQ5Av7LqmDnx5H8MpZHttuzNWwVniEoKAAgq
ceAzTKXIe957296mu1o2p5Bom3loWRIU8eStk9TD/HZTt7ir0IRwUOgRBISDqM1nQvQNrjm6bcny
+vhb0lBbyz1+GD0bvBbUPjI/v4TyfWGBWG4Rflx/sqYrCi/WxSF3+G1DFPY91AzbVmWcPDxrPIa5
G2VFzbEbfOrzc9Rs21CthTyDxytcbaLdzOBoMyZ7q8ttw299td2oCltKp+QHs/Cb4QMabUys3FVY
ujkgChPqDw8UNxB7r2k+YkN7yW35pde4CksgJ/DYyodQA1DzQ0RgnCvrflsC5K5CEqD82AOCDK+x
+BgDJM853ZYOrqXEhLZC5B4YMLmD6sm+dWIcFziXuJgvdMq6PoMK6rc4ucYwydsbBNCDq+QlX7aX
2l4vl72BISRBUNr8ExblMsk0cDibJpPvVnA/5IQognOMrpeRUrnyEOXqHTBE0bbYWUvhzYiaCzdH
46HyE+EfUf238bGXrvrhsTUu5up5wjAxQDii4sMAUFSKbZPgd3HID42jDocpDl3CoY46mgCE6cLy
j5iN43AVm0JYIiYo6Q7uNOLA2+Ri19pi3JYnr7Vn/jjq0UZoXVJzV5XmCbWPwcZOX8WmABdjhPkY
P/QkYglYcIdyhmJg00CkqxWT5ZGBuibAXUTnCnBSqNpBPc0vSNN+HUIoXXg+XlQc5AoeugihFpzp
rJy6nQdQ8baOWYux3D7XcAdFx0Sk3c3tq6D9sK1TVpHf19EMlUzID14BxJQw8fgwmija2PpqPSbG
bQUkPJizcLHHqyzJo21JOF0txrk0jSk7tIzS8v3Uo8z4ktHGr18kdCzPXyRQU7HpINs81ESift77
bDXOx7b19ipTBkd1qsiyapaoydzzyW92cIS9UPH20oOvRmDbRV4lJeSNUsc2GedxP4IaufHJV0sy
H6qg5qRD4+qmmI71uC2poquIB6lOq3HW/KDkdNNW1e18yd79193xE2KfoiLDRjECUuL2N0+GTekD
SgieD4+GGT3gZh65SWTPkNBfe9mlAqiXnngVi/C5aSLOccvvzcFVbW69qbhAen6p5VUc4sKeGgte
xqHjQrzm3vDY6KbcOPOtQtGCcApDCLxCWbE3fXTbdtmm6QNXgs/72uLyV/UMyySb3uYQdvBNgw5Y
neftOhUjfT8gDFFw+GVCZQMK27Ylxj/VJdU5JO3ULsNOkv4wuzLbR5psWsKgfH7+4B5kPZPsGjQO
PsKnMGqdG45780s+MC8Mk2i1QlZx0I8iRvO6m6ME1l1HlZNLwJqXGl8FTpsrGnUS+atf9t37OZM6
SL0QuM5tY/ynUpsFpggJC3KHSjyUjk1EdAk+89Kjr8JHjiGvxgEjvAYklFdTsyvqctvpehStwkd2
wRiCNYp3Wh9DNt1P9pKp70uPvfz3H7LMSXh+gdokzCdNdCqhRzxSz4p0y1L2U5VmCWXjEHiYB8Fs
bqc0zGcAL0Oh7cbBuBaTUkwqnZ3bIFXa6gefdPZU8dC+2vT4weqVFgtry2dNkBodgZICStKHmmm9
aSlGOfbznu/rmVtAXYK0mVxxIiX3Xo2dUptynyhYvdewrmPlKhGkEkUQSUPhgGUA/tkYR6s0AtT8
CbtjvNiesPm6rPRXMGTY603dHq3SCMh9W8810AMx560fDokDZOO2lldTI8CTrgE7GpseHu+4lw27
IK7ppuwHuLLn7zPsZEEsnBgOlZEnXtzC/njTbgrQ/uctV5ELf/MGy0UZDa+qiDgp6pXCbX0SrhKK
cJodNwMq8QArr/FGU9rcdLjDO2zq8XXlT0DbvITvMxhQogcUcGTNeQLKbWPrqxAqG0dgkVZBmo9t
fVzM3M6ZyqeN3b4OobBVIFAUWIEyMwLLkE8HHgi78dlX+UUJR0/AgPoghR5TnwBtBfIaxyvbkoDv
cO4fpnWa1SRexHpppNv6LvZRm1JN4pJd6NID/6Pl/+d5e7SG/6HkvpgA5A1SXo6AjnpDdSTcuTTc
l+n1V62vorRBgtH4BFNXLaT4Es52fiUGD6S0rhOp0xbBxgl4FbBBya1qIcFOw6x3rpE10SQr8ktQ
hBf6aK3EkhN3rZkkfkUcNA8dA42mrOL/rMzrX29gXZlMGuJ1NMTShGKoCGiuoJtvqfLJxtVjNb/T
AZZmE0HzKImSKVDizr6O8m0iNZQmPp/PQgd+rEGBVdt0/KEjtr5px8hs23sFq9FTgecbC9SYpiVA
bVfe4NtTRoONCcdaIQTsZx038BtKfWa7tz4U5t9Aq7lUkf3CmFmLhIoxL+CxjI6xCuV0GQ3lSSPr
27Zof4cm/jAnxHTwQrlELWqCUW9rZJD0wRxsmy39VbJUg28K8lrmp7lGjauNKnYYI1qeN60j64Id
Br2egCgdiZ4o3RR6Y3UYWL1xQPqrmb4wOJDXHMSz3O8seK2mvtYwMX+37dlXM31QdvDaQL1yCuiN
e0JaEO1guVem21pfhaqduwBsMYpgKgZ9z/0838+eI7etUmvNUA24BYROJkh707zuiM+udMOC07ZH
X4Uq/HGb1jVjkFIlv5ZDG589JeS2xteSobyOKk7hDJfqyg/2oEPqIydkmxYWGuXnU5inu2IuAxuk
U0P5Hx0DOG8xQdx0JQft8/PWSxh4elXtBamjInKsMxZekcnT225bIrYK1YaTuBVswN6g09Mui4AF
QqVBvS1U2SopywI1VQ5qV1LQzemubqZgF80i2zbNrNVDQM23wnMRqqheJG8yCE33ThvF9bYkfo2q
jULN7AjwQdrjavtaNAXqS2vYemwa8GwVq24Vq9qWiKaugBsFrcsiJRG/ZGm2dPAv8qa1fCgSbiFr
lBOnmsMBxMIH+7r07Xgu4aK53/YDVhELams9Zy2mMviATx9ah/YPcR1PxYXef+EXrKVEBSg2uJnH
L4AdWXPXZxVK0/IGg78LW3vhO15YY7/XNf+wCvI2iDBoAtAtgQU+x5zkH7CMmy+bOmitKUJhXePg
f34agOV5ap0iPA4gcm7rfm8VuDUKll0yMj+d50gcbc/qNB6DbNtKsq5UdXM8OJY9PwU3PMRmJAuP
0AVU206A18qiyi81NjoYOpyR4MAGtzhAzO1uiyxvtcb6nJJOsdlPYfphDg0MBHZeCYeAbW91Fbfw
I+PBMGMnSIa8PsmiR/2d387bku212yFf6ljCogrTycdcCbVidEIF6rarKhSVPl9L4Ohrilwg66Oq
br/adgiuTd5Mbzf1zFphpPwyG50WWZ8CFQ51oSZGDX8RbstY1xqjkXaY+EB0SAWoLhXAHGH/1ObS
3aYA/Al+ZsOgN/6E9oGKQakooPaA8I6MbJxr1lIjS9qyaSLEK+QY6n1EhwLOW3K8kOEs2cAv5vu1
1ggq2rFACR2e3ivHfFfhjmwXxwCLwPTKg53SMCdwwJjybUGwliCNuKEQgOaEKJprwXRgfXsnjSNe
bRtIqwDGpm2OGrgypHnVdQmIVHwH1CPblsaulUio/IQfeIskeYIg4RGrep9AucHebHv21X7Wx4CZ
4DyLF0HNeI17P5XOvdomD4TT7/MAxu1RX4JOE6QBFDLODlSuodthDvKybTdda0mSg2vxKsfUk3a1
O7/TUca+9XG08RB9LUkqG8+Mox9ifzJa+2YERv6eDXl1IQZeWM2dVaZcu9ItQxKh611HvYI1mQMy
VCW3rYhrWRJIPoTDcS5MY2UkLFEiR75RGKhk27BcK5MIqrta6tZx6veo9oVdcJUSOA5tfK9Ln/2Q
6YgOeGXWyjgdBuHd1WBv3cRDGX7YNOjX8iRW+lHDYcqSRgMK6ogO48ccfvXbzuYWCsOPzz6A9xU5
MMdJQ9aJczvxOslbO26bbNbypCaTMBcisGTOwMROAG2tv/Dck0/bemYVsBNqDuIRFNJ0CMj0DoIw
VcPrLa9fb2p+LVEKQl7GRTjBHq0E1GHvz1VQ7uIsnrYdoK1lRD5qsy2PZJZOuBq4laUCHp723rYh
v0Ya+Z42ym2aLK18xx47akBs8IXaliDTVYIsCx8etqgbTr2FGahrSk6tquKNPe8/H5TF4BUVqpVh
1KdRKm8U964gH1HbwnWtKaorlKzlZZ+lHBzEQwDOyJ1qNAiK24bNaoEtOMDnEYfLYCcpPRB4rX2q
YQD2eVvr7vOu6b1hyrXbkLQwkBMC0uim/oh7sG2trxbY0MYyw4EFSXlcO48BsJH71vDh67bWV/E6
t/CZRHJM0qyeFt6Fkx0NeHibXmu4RsKD7dmLYWFt5AO8vEk/la9Cr/S+bHl2FH487/fJytIulz0p
8BPuLXdI9xZb9P+Mf/zPWwYYMD1vfaYcTAQ9kXTsRvvBtXl5lYWAeW979lWwwr4QJue6zdJmnt3U
tOKuyGq56ZwoXKP2FhhpN0iTpaFP2oMDtkxiZ843zWIwqn7eMdkYNC0pR5Ky0W8P0PyLo3H7bfKg
cC09cjNQX/zZJ6lqYCNw7qq2gwsVQKsbn34VrKAi48Yu90jqhCUsgKkxrbNzdUE3BRSAIc97R4BH
6nQMzw+r0WCPI+TsvceKYmNArcK19IG+GzimGj313TWfJkCQcntpU7W8wZ83VVgqVs8+5m44RT5m
YVgQnF3Uy70rA1Nf2hEuY/tXza/itYVRZj5JQ9KIaz+HNyfM8FDlptPF1w7WUzII592m8FprnSA2
jqqaWQKkSWgSmXsuCozksLH1VfAWErauRT5jSoap1BVAvyzpsUfflP6Fa70T7GsrsGTy/DgY37Ar
GEwHjxIHI326rW9W8ctjOSkb0e6otJOlvueb03fo57bWV0utIvA6rkN4b8syr/Z6GssmmWUxf9vW
/Cp8mYY/hYPi9mMY236vuA+EHAeRaFvr6+DlsIcCdp4cmUZ2ufAnj/BM2lbZFUar4M14DEtdz8+O
/tSMIFrCVPOJwbJ204FRuNbgUBQdcOCi81PpEtrs2wbX4kHZ242jfq3EGYcOBCjgdE+wJaPJCFOk
G9WW+bZRuZbizCDPFcBIwhlTKzh/tDANA0yE19tKowHIeT63lRqoyVJH3cmUfr9rYbO2a8Ar2TZw
1sz7zo8CCi92/9QKUD+gH2gfSk+ZTcfHYbiKWFlqg3Fpyano2veT8ZsnuJIOHzeN+XAVsH00ClMX
sJIdPVb94Tui/doqIOf+feuACP561l+rcUpN3Ym5uj3zSXn5tY/Tosw5hsoD5O1mgjM7iVHgMwh6
3UYyZLelMSQ6ugBiZk8GIN/lgq4RwLomdJCwu4N110zULQhkzQiMajl5YRoGhIvPMOCe4BLmUjid
JgRuwe4Vl7psa7iSZzFNRTF65WdiF55YMrPAOB/D5SMWCWTRza8DO/XVVZPFRX0b8lA0V34etflH
3ehOF0B1D7Z/Q7tOA1heAojPRIIfkeWfiWscmO6CJCfFV2IIwHo7G2ubP2YTzDvHhDHCMejk1Gf3
0mECNuvKziC8Ds4YKaBG6zJ73Y6AVNxK3NvOZC+gGRWvwfgtnTExNqc23E/t5Pfvqr6v+MLubtpz
HOnIT3IF5yUJl4yqqvH7uZ6789yzBepGCe8+uG3lNXeRdOKu2JmeBepGxiPMC3fG2Cj6WrPW6e5C
7nf0Q62qBfI/OnWB3ZcEyibsd43LczjeeyoqJ30e0SZssocOzsyf5wqOQXBBizpRLB4dNqPwMfet
G8okdpEqAkEbZmN7yDOTyTsxNcp/6MGbRguRTwgIcpUPMv90yCMsRfcCjH9xF7vzWJ1i7E1a/KAM
kPZUDQ72nXMUFdWDsHVr3D0WeDkfuT/5w+2gvaqrkgJ8rPHNHPuuqnYKvgZ5l/h2ztsTzNd98rH2
FCzHErDmcJ2XjLZurMQZiPUNTPai1gx6D12d15sdSvImz7ueRDXiWI06E2i9mW1CXxxBlaryYdfN
A/FxGdJEWVDsAG5m7afRG4x51IUb8ccu87uxBxkAvJsCHryuBSyBeLnHz4GWfvBHMbiV+KZoSOB8
CSH5DI7jGMDQoYPVNhDpJ1ARYXpynGBcXhH49tSZQxOY3ON7D00MuRZiwkgdfaNDvjhzFgImnmXS
gVpIPpBZwWZx1/PZm7+AtDyRryBZA/2HOgfV7bho4/rgtaazzXUzlUuAhZ3i3QH15DK2e97IMbbX
MDP3Fitm8LZVcyAxVx7d+doDYw+uxkVtnlycN+jXEbwSi2GvpMpgXK3zj4GFKd5BDAomebSnGOY9
oJHqizOgj752YnBhwT43tTNdNbSpwxsUsQ/u66jDfaeTYN9YPcBOr4BDW0lfwQusYl+lGWW5A+Jr
/uLOg9h7bAqB/XHy+S0rHZN/zUGhZcccVtnhnOSe5V12ayupyhujyokZvbMsi8v8g+YYVOUtm3ns
wu8K+DygO00Z9/z9gNmByUMvbFjwvZsFRl5VIp+ATockLxcd3LanwLwPCB3mJ0v6sX0MhpiEAuBB
HCLTRHtMzQ/cybAc7yusDE6zq0xYAoOI2YPYLpEU14xtOuIev3dPIR1BuDqi1DEYYN0N6lD3DeVb
LcDNOYgsqoWEHGCWKFFASbtjAqS86D4Crwr1ArwylK3iHQhCJeyb4NCt8ziZCczX0e0TEFcffEyl
8evebUzw0ZuIyt0kHuue4dnMaNi3SvWefCj4EHUfLOzJHVi3W9bqu4wK134y+SgqoNomeMgeq8wf
exCouhakKBhZABfppCYPQsgEyqkHdP6mHB06OknFms4b932UedARVC4ZnA9Wm4keQlYG7Jsm2IRV
50HmsazSsMRBfwq77qG/60YBT/SkLOw4pyCis/ANB5mBfsZr1SZLIhv5QFhjaTDxK/Bz4ZF0GCU0
KfhM2FjzWXgS6E9o7S11+oTkjXU1DJJaRQBYhGA+vw+4R7q9q/yZnmnBFNaLMBijPCGdyb5OZTXy
hzKsjL6XWee7R/RNzr5UcAd0UAMItG7+iIUeKMqkisoaDG0+1A2gqx2bOwtddWQozD+wlCLwFRsb
1+xCDT/TRxjZS3WivTuYD0NlWEN2nQ9jMnMAdLpTZtcaS8cHDSNUcTsIXi1gHlo4u8V8qtznMAuN
6mSAn/BDyJnSCdw7C1ckLTO2ek8yHczyAbm9qKZ97y+WitdT2M7hwThDa69x00d8mrhuM+gjZMMO
g7c7zsaqKKmpnOrPfmUZ+KRNzA0OJ3kHT3aRaA4iEEwUSM7vRah7TNlZZtknwMeqpt7Po1COSVB7
08PAsXHRxvsBEvHhvoZNn2yO4JDyMjo2zthH9ODkDoHBrWzoMN2baCxhpxsPk5vPt948410lHXxX
eggI1EQzChInqUUNwCZebrPr2mVznajZI+1Dq6IBYYfaycmFs7PBIV+TqN7Pm+i+6kz+MSPSR0pg
gVa3Tw5++5wloeeK8SszJoYozQ5OYxLYVDTqBBMz4+1yQjMDzC3otNFrqmGhe5vHQzHGiV9N2NJ/
K7J5nLq0xc1R/IgZkLowtGVFTFJwjbUOjn3QjqVI4NPqTp+nbm7768wtJ3olOli0v22qeRhvGZ2k
oqCRloXvIbeYMQmUSYt4nPmjNQMGCCzwFOzwdp7vgVq9m6xb23eY1QX5Q4dT6OaJcGvoFHIRe/xJ
xFXTv+0jmJvmRyY9DrOArgq6+ManXZQHO61lOQ67woHlyGlqbEHjfTw6TQsCOcHs9NqQcMSUzFjH
mldeYAJ9zmKrgocZHrRAywdh4cMoz1Uqb4Zdjz6JAPnNPag8kJJqIIB5LlFWBG8Or3oTNxJLeSJ9
7qs/COiz+VMrMja0qMeoYR2djLiNFx/jsgUpJiGmEt57Z4yFx5Oul9jAJHCEnYlMLAdDyjkMc9OW
iLcJCaGfjHDQFdd+MPbBa1zOevGbYgZ3V+FNuE6HQ9igKxocfwFzy2F7nZftVcQyX7yrZu03X0K3
aN0pYY1nQVCu4t4JvhR+jmUgcYugKt7nU571OapxCXKfxLZ+1p3rgYusSJgHdfO7oeoKChfqkXKC
DgyUwtACLDnMj36BPNYFtxngW8yDo08c1BeAAaORQfXYFidFXbXZmXM9oAfLyTo3yDlY9M6rMDem
7ewsGLFmBiLuwyS9skxt55q+TBj8c7KP9RzL4QGP4mOSg5tKPVwbKgf3VVAz8KRjKPOcJKwbEIBJ
XCqn2gmw97LXMmO2PzsWbs3pzPB+kHCPMn5UIbc9ihKHfPqYzWFfaviREa9WicOpZLdkRkw80ElA
fJa0XQwfQ/B9A78qMMVWKsbPn2QufKwaY7PYDBj4YJUHLwZe+GkoQUdrk5aCMVwAWI0L1pNfY5V6
P09ZGF79H+rOrTlPXNvav4guBJIQt7wHbMdx4sQ53lCddMJZCIEQ8Ou/8abX2ivWiuNqfbUv9l2X
OwV6hY5zjvmMFQ5E7GMJRC39ug/osPtWz2x5VQ19vNytELZUN5BCJSi3w/XZiptZTnr+TtQul9MP
iyx4fRpSDVewIm/Mx1YBu/E2hiixerPYIAbbdkAp8fa+rad2vEI+trIkE0DzD+91iJzpX3sviCSn
WC8rt1mEJKF9aFN45hTZUlrFruFha+vkqi+bDqWhNey4+4wUyrBvxLQNw/7alv17i0UE/YOIXM3Q
B2tQ4CtgPo/ji3WHr8yfIcR79xuuWuw2MYFGAfJswtcrLEXJOa51nb6r6xoeqgfckDR7GbRp236K
QJdqXsHAiEVn3WAe/llOI+bkoWVFylAdBAd41FAS+m0phiC930AIWHF5skHIrmQIUM81ktBifhi6
aK6+bKkW+PlY6tvtVWJl12O2ddssX5bB1pgsKisrP8YrjpGZUjBfvW5UqcZbHYIcni+mbtsHxlTV
t/C42KL+qlN0GLEKTPF7AzWWemVAwG7zqZmDYMyWUIrgoVJjGX1rgQ03OXa+cc0kBHQEHtBRglFJ
mmg6hvPShLeamiJ9L5UEyHrVcGs8ktoI9W6VFPFI9PKOSTDtyYyqLsNxJLsPJjsj9GzaQjanhY0B
bNfFMidvgnJaoxu9lDS5anbbdagFA/X7DqDqdodNxo7V52FNt5UdBqnNgN2mLKZs581kXoShrfgb
cPx6cL8LmXRzeQIU39A3CMOx6dzATBMroaUguZ1h7cfCXE29SE6hmpZyOqKImNoTQA2VvMXhM1lu
ElESfuonU5bnJsYMvel3yYsTg/UoLrtJTcbbYmnDC4wUpPr2BczkbActCLHtfB1usxFHgK5ld7dA
fDVdm2pHjpVX3dDDIwIt5FeJLGt+tzJUIt72IVIiR8bh5oPGogwJSPVS7OGLQvN2APS8F9NHk5CR
vCIdTtG4wKFUBv65amr1SU+zXm65jbi6psU4Y80nBj43NdVkvUUFKQgUGW9mmn5uh1qtZ1Hvi3xo
MYsBXmh2MuY6xqXmFV8mqnC0Ek0Cs8ElitL+ZdfKaIfvPTpadgcTrGHUXLOtpAF8HnlRy/pQBFuS
groZ8SB+JgzxRGTbLdph/UiCAZ4t1yt2RNBb+mGECgZ548+/D3M89XwntDdGBebVoqvrboUJDdLr
4V0rB78CALCdEVr5ScwQ9bNJcE6CFR+MeDI7kfFhE6q492q7W6yTMNiLyXiw1yOvyU1Udc2Hy4n5
mUTXD0XWL6L+bplqacHh37a6ve6GroK9DOU7eI2E6uKaQYuEEirAHMvjzKMAw37roWMMwdT+Bu8C
3LWaAY4GNQbSjIApjl77eqAqhVVXQPUGH/daoAzuSE0v8A8mRcsij8Yhhcttq6Ik6zpoXF8GaSKn
m3KpSYVhPSEnFu5b9xzJ9RJB/NUPdCKLEEtvc9ms9jpNcH04Lzqd1yu4zdnvQzjDC64FROW5XPAT
48ytm13HNg6WaZtgaqvX4KarhzRgxxjODMMRnsoIw2Swg6TsiGhCIMyhgv3plkEiRwKGkBhsWDLs
GHY6ETYHGr5zxaSvUrjysVu+FEF7UBKVW+ZE5zaAHXoy6k5Od3XUgVqfzbMyYgYteZqUfgXBoDV3
gLlUuDxMlRhvLvqyITgmRYtb9aluAtMymGYMTXKMdLVZrJhYd6K85WW05kupiX3o4eJCgqzjSw/b
o6IrAOTCbRb39y0f4dWMQMy4lxNck8DwH46RBXXo1JfBOi03VKzpctcLXoIH1toJVkrHH1Pif4Nb
/3/XSuZSHv00wv5V/6d8RK+//PO/8fUs/UPAzx33a8Lh/gLXsX/T6xnSMv8yjon4HwhbwnCGxHBJ
u5jK/A+rnvA/OOzTENUnF9eZf2gc82Od+s/8S1COjos1kA8EVoMhgbHR41WynpO6wQGTHbFJxyXO
wSxuz3B2DONjum7k9VIjbny94HwwvgwkfK6z1qwCh91hEPIYKLiZZJfg8HcVFLbNwkAVdw14WUU2
9vCLzsZq0ojxGJLOmYTs96uYZovJhfrb8FikolUX45MWjiwwv3sbyGV5jwBMxQ61GpotSxCBoUea
KmsyHo7h/TwH1Uek/5nJRCVwY5yA+r9waUqFq8kAfcAVIbCZfAH3mypCTYNeP6GynehjtOqYZm2a
jBv8N0ZNzowFMJGaZzKYM4LQ7IZVAmUn/Qh/HYQy1b7f6FiT6EC3CTD4VO09hYy7q9vz1AIJ+JDi
cvhindsqyWgZN/hvnMyBdC+3dMvmcmQ4NE9mv9oRH6IZHDHH4AYFdRGWN1vFbxeCH3nAsRK3IJLo
Z7LdPxRvjz4th5M3nKVT2Mdf7GidzHFXkC40DadHW6QKxhYmYDgo2b63V7zo+H3TDSmItHDggHta
chdOuKgfcI/jPCM2EVd4sHz90yx4/ffLf/YveLzaX7L4cHUU7IfHImWJy1cinQKR0KbiCLfN+I4E
fD0OoxVXDQprb6KxEOd//L40pTCzBJJIwIPPkaPYIly6aEcxS79O+9nMuv5UiGE+9vMwfSVwkXlG
O3KZLT93+cUQloQ/HIAvln8uVtTgJAjXXCoulrTrsQ1Ke0MHLOEFrMef+WmPN7NLV+JVWEYiWMLC
Odqts5uGdOIEArAj7iAC3jLr8LW2aqf/6OyH12D5SRncbsPo4gvq6uNqOw/NjuoO7I2ROJXVPp4r
mEU985boBzPyp567uJgzaCfSi+8cfo1bitQCJGTr3dLDXBTTkp74ygIUapU23m5Qu1mP70yErMkn
QHZIkEvEIr6XEvmeU9GMgygOstIosEUAlSEiFFbtur5abYcS82y2tPiEU2ytsjLCfUZmDVcR7MOj
HnHRBkFHedWyIfiWNnzsX6aIsC7wjd35B4qk1HZCRgADqMUiidiGpCxClEFPPTnsMyL6YJbbvf9U
EYp40KGCkWEPa6u1xHIXSRjKnOMAcR0bQ7mbzYgCy2PTRSrNYQhZ0HsZjEt16G3CwwXn6ypGYJBh
j3/BCxPb4sDAT+wiuOVgAWaHooe19YDyMmRvbtoiwDWsbHnSXQUSd4GzJPDHOxCJU8Ed2XtJcDwE
ZAyZJVzPixdmgEEfntG34akMydzAy6lWHSD9i92K234JeX1C8mXv7oAMVfwd73EtPQg5N+wLbIHg
RDBGkxrzCjhu+SIcZPGxj3QwHVNIFczHFS7GX/cm7O5ZizD0nk0jqefXuwRA532fwlfxPt5GszzA
OUU1V6LGNejljoLOJZsQEe3MoVCW1zi9sigmZ9jgbeZq3tUy3u7t2rTvy3qjzZsxmi+GBWDE1Hc7
UjbRix0Znw1B2EKiKUicpK8W+PZsx7EXujrjjSh3b1dVi+NeU/YFgerupQ1KJAqqRbEl00Ezqb8K
IJbgK9jMpTBXMEZLY9xrycRZJnodBO8C06XJu/biEnCoccHG3bjeU3qiGkGfd1NlBvp22Um1vu+a
upTwmxDrmlsYJO4HIoJtQXB1l2WQLcXYFR/pksT8hoBJP2c8KIn8jG9RQeVezTYhJazCUPr7Z1Sa
JJhzRdZ+/FoKJLDtoSwvRmBSpDWOeWW8BBmSBSQ6JnC4ejtLjopVEdi2PLY1gugvurjA+TbVZtqu
IHxPuxudjog+VjbmOQIR0mRqNV2FTWBSIp8WI8IMgYg4Oc1oN3Jhcq/kedS7ia5U2g6fEA7vouNu
AMHOzJxKuF/bYe6ybiqL4lS3iBViWm1qPiRWF/ONQDAfPnCK7emJhkFtM16I7Z3YivI2lLQTpxVI
Ibhd4aemJ0SnCc+g4dHXOwpk6bGCGCOFY7ukGjdfElXHPorXNl/lFtQwa1MbYiMVVF1wm4jD8jaG
nU15DmE/tl1VkWIvmrmOZC5R3PW5HpJSneFDlZTHIIpw0R/HOuHXHMTGOUt2w8MbWNnFPJuTACFK
kFXky6hd0vIVAk+aPVTVGgVXQ2zC5YAUm7ybUKmgsB6poT3qvigfKHLT9FCOATYXgX2mbw/ENHG/
v0SESnXBcdrTGOowueMEnqDlXYL3mH7MKjjHS0Tvmn7P+lXXUXoFU4QOKxDdYfGVlwb22uV4M8bR
CH+/o5FdV55BQoUjZJDsqqd5bWVBnivfIc5WQ2NkixJYXjKBrYbHrmQUSwicmNvCHqu1gatWJnhb
0Dut4xE2MypJ1fu1D2AcHEHjWOdwxIw+z5gm6a0cxmW+HVtAEPIR9rPiQGa+pXdVM6bLu99v9c7W
S4FzxyEW2yLBjhjGrvkSBOJlVeumOiIYR1+la9gfuSmQYdlJ8MzW6zikJj/eFSfYEC/WzDiEO4on
nCYRCGNJdQwBHjkjOtbjSm3tkUYDe7+xtH6jYlXgb1F5B8+W8DSsaXHQ7bN27c556tIQpPculwgk
RKHucCIo6RhO8ZzgBhchqcuvsNWUXxAcgw1iDRZEeit0Qfk/0u/BwQ5JeRwoQ4ajHEdxkSN9aQpJ
aECpPZLRbkfABQeYdwzt6fef8xdjjmAFRACfwIebu+DTBZ6LlVrIdkT6mp5KVTb5kob/rMTx8luQ
n4J1Ju4WlzOpWx47Djj3dH29HWU1h/d6otG1Dabk6+9/y2MRD94S4eG4qhHBMDjxvsd3rHiKLNwY
u+Zoxi45sXSkB6Y6ckblHXYIUUI2END678/0v3EL/z/nHoch9/Td+1r+Vf/56PJ9qTT6+/KdJn9Q
2IJhLYsp50l6CQr+bR3HxR8YBOQyodPwMqoxp//t4sr+wAKVwgYQ52CctS//61/GcfwPnMzwR4HF
4O/7/P+3bxzDkHs8PqZiLYa2TvlVRY4pe4UgzU+//xe3rsdz6V9ifOiBnAgoRBoLn+BteQL0vKuA
o9y2D1XEVx/mBB7v3C+bBFk4C3HPqdKj1m/gOh6WD+W6D99/3/zHi9x/mu9c3tJ+bwVyFPyURmza
7xVAOiHIuQ1u1SEN+whJxXH2KmXHj7k04qdo8YRYS4MqZ35aJ9yJkOuKS50NGxfPxLofrwX/+TGX
7eun5ydYqlWTbvxkiKIvCbG0f2tBX+e3m5jlmmMD5wiub6N68/vee+rjX/7+0wuVCNWSXF644Ny6
3gwV/MIPSKdW9TMr9WUU/efm9p9fhEn28wuQvrDhbGJ2si3k4jd8i4vooNopqm5ZWzXRSyT6DIRH
0yi3JAs7SkbEqKtFPxPWJZfp8asGIHz2cwNU0k8tmzZ2Qn5oGQ+IAORJTL6jOGdEJGosL3VFBo4W
t4MtEb4x0SVkBWWLiHofiSkGjXMO6MqtXzpm0QUiYriSDN8TZutnft9TH9BZFRC94hbYJXbaIMf/
iOzjkBWLaXxq9hiCI487r4NrHZ9izU5tXNffkAkfbmWAs/vfu9AjV/GfAz5PNP4S5Pz52wyBhbdH
xRDJnpPlPbEjcpNIk/utPG6hgu5sAxAEoIDzEOz7CXnjRR9hMTt4+Sqhd5zVAHVLRGxdg9VgoKY5
bJyvNBtHTKXj72fnE2ubqx/u08WyxpRJ3nfTWLwBfHM07+NxT8MbBDjT5H4rh5hf//5lT30MZ+2J
gO2HrkQhbDLglPh6qqdqft8jkvrd7/mX9/601EwiNABBM5HvkMGdLllJna11O+lnBtOlnb+Y6MJZ
aRBlpZ2BqXI+AIHYn6FMUAuYmRupj2ONZI3na5z1JKYQ6lsVJPk8m2i+khxqq9MuCSytVT3b1W9e
u7DScVggFFh7kSNWvT+0eqteSWQvH37/LZ7qK2fVsO0qiMUZJ4+CtT51k07i25IC7/wB5detl+0l
i9yqiUqUqhUJwgUakqLroN/DV2lJ9HPJwScGrBu5HgCLDNE5PDfJGK0Z3FjpJ2j01DM711OPdw4W
MCEaIAzkPF86fIG5K/sTNUHynHr/qcc7i4epY7kBnSlyOi0tvsEm1gBpig0hjt9/46de4MznFtnL
MV3R+ymSpPJaESYtpLfQyb32e8HlxT9N6CTa4okEK4dxYlW/TxDve73WJfImfo93JloCyWsawo85
V9D81ojxxSsM6dvehn5TzBUurDUILXOkk7ydSkWvpz6C6q4xFPrI3/+Cyzb2ixXJvdFtwONAj4dP
PBab0kf48yTJ6z7YF35TzkXfwvEm2uTHrhfxZyNLK59ZyZ8687iihm4tiwQZayyFnejUTRVMBST5
MEvHsU7MtqHIss3Nvhzqiqv+3ELFnxw5JDfD2wXpHfPM739iBLrqh63gQSLaALkyGIYhk24Bfkq6
53QnTpzlf46WrvqBLfNaj9GY5jGoDsNpJ8Uyn5Ci3ztEIONke1VO/YCMI7X9FQUFht2tyMUgUgcK
UvNRtBHzcrMFCc2Zy0I2TA22prlKiik+8D39ptbVehW34fHOTO50zFFo3CS5DpTNy5nQDgp8Uf71
+2H61Gdy5rEhmguYRyF0qFbxiWF3u5vCoPdbRl2i7BgjARMESZqzDjeZgyECgUtT6216ZpQ9Mcsu
Zu4/L0NTPW6wDNcinzdbRNeCah1+WRXBjIOaKgSkvIYAK4t2rsqvqt8nLzYYPotzro+h8cMg0jzn
ougRH0feo882A7WV3wroImcR0G1Hw3UCSwRGTnxbgODkUIF4fXYXOctRtiUbUO5zKOfmfJdQe3Ot
mmfWoCcGlYucRdKxQsJ/3HPQA3sIm0lzLLYh8htULnIWt55BkBoVShHujUjkkQ+yRODfr2Oc2Uy4
knRFgTyKXbb5pQGJE9vzCPdRz+c70xn+hrOK9bbnQdGn19GytsciFjT3a70zm2MFcgAKcvZ8LiJ6
sDFA90hD/itu+E9vbMw5ZAsIDMUC79Q8gBrg0MZmyVA88M/Syf+zol+kLj9P5SYMNMAt054jJ9id
JxCRDwtknOff98ylf3+xHbu5cFmwakeY3+Y2YN9w7WyXM7RYSubIpXmZiCFZ7Rys4yVZZIMkSB5j
4r5JkRaHz8vQ+l3HXfYsyhJjandu84Eyfi1SZo6o+vNcblz2LJn7rgBR1eQgitAXddcnL9XaeTbd
OU1joy7alsRzPg5NQQ4aCfIDxPGtF8KSRS57FqWiUxvAM++kQGG7Qan2fGuKovObVC57FvHRYEF+
bj5rU9rpbWxD0b1iWnAvdC6a78zaltTLWC7RiiOh2Q8o3PgEcZBXfTYe7kxa1gQtFaJYTnD/Ilk8
GdQBpZAg/n5aPbHSu/DZGMjfqGjEgp4PPukI5zuZrl60ezTd2WNbtSOrPvF/NZ0ipZmxhfs23Z2t
TBRGVGQ5pRZB4+jy9Mm7Y1zqLAp7VNGhCvm0Nml1MALFH5yjoMyr2/+LN0uZGMIoxNNp9A3O5N25
rEvPyJariGpXlK3VJR6e7qbPuyTVuHnx1e9s4ObTVnhLF93WLicGiGi2kiXKwPqc/bZXV6vYA3Ml
kbGDZdeyy8xW9TcD3bxnrzvzdLrwF4cKKt6+rWjGKfsEzbCXzx3kK848DQumUQAVzKdkBGRiWus/
IQv0chjAw529dZzSFdhpY04NT1G31dRdZjRk3H6j0ZmnSdxADRqkaHpqyMsJ6ZHXRVJ2fikqN4G9
Ggp9J56c7wSUyktZOGfHYA6EF3+DoVji8cEDhTNpb1S55BvtUVYfxIrlKIOfv3r1jsubJXURaeiq
sLOi2vwmbSZynNpm8zsMu67WRhcqLjdm8jmNP6Pk536i8b1fw52j8DptTb+hrjlHadYdlkeoehLP
8N2PooafwkdpXfcJCu7nvLGVOJqKPQxtMfgtAi5UVrZTANaoMXlQz/Wha5LbJBq9HJkwWpx5irSw
VdMKWqfs1r/qjXyIWO8DmsGjnVkqapghY7/ecjx2mrM9miqebVNc+i29kTNPl5KZqoWaLE/TNPwI
44umzqYaZXJ+48XZUKFciMIO7np5P+j9OKzJl6qGxMXr4S5PtoCEKVlqbcD40duh7xWa3j6XeX3i
FOPiZFPJaa2Cfs4HPacvxVSSl11QqA9+TXdOvxEs0zRkxRiOFcAScW8/orrZ75O6MNmdDmlTVK3J
NVvijIj1UzcKvxCvC5Kllq62vlhcQPz4QM32ktHJB8XFUEb5eMkFQq8oAa2ZT2ERBIegKW7rPfSM
D1ykHT9fJAlRKtmDKADuMn3Vb8knoTcveCEa7kzRoMI5HaXGJu8qeT+UA/COXvg/PNqZnVRZUF4Q
Uz8N+3KlbfSCMr8d9Eek+KfFFnSbmQ+gpeS8L2/FsOZSF35pVpcbW4OuUBmDRqv+3b6YQ5O895o0
LjC2gzOP2gHcOtGq/aLX9F4A4+33aGc+mnFp183yOd+mhjygyCzKGxNPR7+nO7tmLAGzaep0zqcA
UoJItlfA6H70e7YTPGq7eoK8OwxO0MJCphDyP1GG5rmxuahYDOxx7EJsyVXN14xNgIWlaeLlUoKi
E2dSimlJZgjvg9PI3+rhKBDF9usTZ0ZWZQUbNCCwciMg5rDxpDIy8ge/hztz0iL/vm2yQFlfpa5Q
7Jwex9iPK4wucfZLbQyMY1EoeBIdex0b9bWmmxftE5o150wLidoWjiKdTrqPXzM8ezWL77Mvsfif
lhOCov0YfAeEjYGKuTWibG5G6meniZY7s7Oa6NLhPIuBwnae7WHzruNeZmV4tjM3gQ6jYBFh5q/x
hurrkBYcpY84AdVeSwvUgo+7RtmeFsjVzHkJZlVglw9IPrzzGYrEpcMuKALUPEa/GHBcj+CX1VkM
8wmvcwRKVR83XFdLgnj0ioav62szhDfrAuqXX8udGdr0SUgTWH/noo1fdhAcnkSSRJ497sxQUwIx
kpplzkPV3dMATA5deR1SSOrOTxbIrYz7KY9QmYQSWyBjgJj77tUprrhqQ0ZhgvZ/gsCAfwJT4aZO
2Fu/RzvzE1CeAiVmgc430oHBMyTjWfaNnzKCuMKqgVmZws1E50gh7Ue5D3dJPPml/YkrqjIKmJCK
WJ0PkL902WR08CJYwu2NX8840xPYEqyK1OCLLttfwP3er5P44vdo50Q7Y+OBCxTwrCjCfrMqdR32
vd84dLVNSyFa3nRU5/syVqfFltEx6ORXv3Y7k7PeKSrV13bK0wrwRbqh7Pu5Y+elV/875UJcFZMN
EA9eVKLzql9Qi6sT3rwcOTy3bBPBIs6v/c4kZa1cZTswnXd1/Lmr6AfY43ht/sRVMK1QPHYcNq6Y
/8t0tUyaZGShfqk6YMYer7hlVDHYrURoOCUf+iWQGQ3Ue69OcZmv1TqqFmiZKWdRDWDKHpuNZhLe
ha3XIReVC48bT4GtBCGzw5Bcg/u6jx7q0e8ujsqOx4/uajbiwoxHF1t6P4f1qyLmXmkoFM45j0Y5
WT8um87joo/yAA7Y96gerb2UvqggePz0KFlCttQYiQUgGBkw4nlMPQVjxIW99msRzACU61yiKD4L
l+QMDJtfdBhFLo9bPgMPZEA1Rb9s4Ytli150bPWcQ870TG0Jmt9Y6jwpSonque1FegFieg1zV+mU
YpSEa9TqnAzL6xikHx3Ofu121Uu6RnaC22DMJy4+1ETfd+3odYkjrnIJQK6+LRVK/1B5i6pLiNDB
+eqF33roqpHmuEFZ4ZCOyNtU40FH7T04wH5HUFeKFIa4Z0kGwHlZx32TWQQqTiYMuGfHONOzaVKo
0poN8ybd+oMwHKioOtw9v6gzPZeG8QJauzHfUx0dyETvsJP6Zc+JK0MyAUrc2DpguAwpBb5Oiq2d
qkykS+sVwyFu9n9EHEsAkKbyWDfic4JI35Vpey+DAkZcNRPEv2FarhJfFqCy5CARmsuLgo5+WQpQ
SR6vMFtrjEDpq8pFAFrcYbGq/25S1P76rQSunIn0UUhtGqgcOByA60veZOh/5nfHcOVMSQJac7iE
Kjcdjw7w/QY7Endrz7Y7F965g75viqXKJ5qUYAPuUfsn2IXSy6OHEddDe6011xaugflQNeA6zf27
tSN+O6rroN1Fg+2DxKDfpVBX2xROZ9sN1ZXX+s6cBQGWufGmOqvypmD7hxA241fwYVJedvfoGGdF
iLEKg96Mz5rKYpzOiRGAv7Bi4KPnl40ej3qk+toB7AL0PMjM11qLd9XY+UX+iStoSto+goJZqzyh
89u6nO4BtHvr1+/ObC2LzcaoGx/zRKafJfwYs4rS55S7l4/3i1uBKzSaQ/ga7jEbcsylNOOQvoCf
FSQnr6a7Jtd6C5Cj7/B0tmwmY0TdtPI5FdMP6favmu6cekeAk5kS0ZAvvAXFEtniBstBUq/toezT
sr3qgZZ+a/qpu46nOOD5XFUje0CJWzK+pimb9NsUlu1XLfKSw1XTwvQ8SzoYv96V6yhCC3Z+M+p3
dowCcwDiSLZ/DlUFuDLHwTI6EoZY+ylRZjXHjiBKdgBKcF6vzRjAuDdK1opeFwOwCgcSIprwMYCy
dzuTuJmSY5yseKbt6nk/l2MK2l0I6o0591G07sdp6WP5eU0oLV7PFHTDLxNh45gLwBCXXK/4vUc1
7+zUhAsTB6BVSHvgW1Kaq5IANH0L+2PUhYXjHr1FHZkFkpDra1VPes/DIRXb+QK5oMdF05KdlsRS
hLC7agEEoVM9QPFLmm4Hoes4yXq4UJIXgBQ06XUXk5nmO3rbHgCdWq73PejvtFxCAJ/CZdkzYDmL
/W1HmsHLghAIb+depkGdXha1DHkrSvNei3FHDFUCz+Y1QF1xzSiB0xoAms1TxPIyFjW31V761dz8
V616iJ5jVKgh3wZV9Edg42DoPIa15+HSVdcQWZM9iBuV87Jn6ymapNmzJGDtePTrHWfFn3tgwoNq
HnLkB75bRW9YAF9Sv2c7y70yVi/jlgzAZqeQ78xTsnaHOG2i737Pd1Z7QFL3GA6NKu+A8hVZMowx
UpsiAkfI6wVu0tQm9SBlr2VeA1H4pW9s/FUH1suihxFX5div1PAWkOucs2pAtDMAtDZO/ZruKhxj
cM1wgepUXvH+W0Hbt0VS+90aXH3jggzk2kVoNzNFDk+8m4IRv6C4K24EkT/eCCKnOermwVAE9DlL
OzJ49olz69ZhGfMWyeq8jJomW9vxO2/0g9dQoc4O3qCse5FJOORmM+oOhYk1gDRz73cuc7WNFa9D
IyM+5aVu6S3FvQ0VL2b+5NX2C0rh5/SSBaWYhGuJmw5ghDCbxggHwNnzpuOqyVRiC8DKcEBABkgf
oFfjBxXYMPdquyslsyEKsVktB5TRdt0NjxcGdNOouV/1AHG1ZFMjS8ikBgx2aZKbSsbhZ9yYN79A
s6slS0CQ2vsJ51UEytbrghYmT8I58VvbXd9ysOtNWl/WgKbuy8NkxwsaCr46fj3vhA0JCMpmxS08
h9dx/K2Clv3b3pveT1cKRMvjQQlJpWwqoG9zxpMluG5TSUBOtZY9I/16omoPJP/HL0Axa1HwTsh8
70isH1RbL8OhSCRs6e00BA8oZ7sLgOZqjjgjguRapriMnivY8gx+X9+VzUwNlQMFIC7HEeguWfYX
3Vg+Q7a49NIvDs6uaqYEu5lyDccKsMOrG9JpkZX1YD0nXfS461C+zAGxxLHcggoqDnC1KIHJqKT6
ZzzFf1emEFc3x8N4x2XrcnIoZlK86OsS5XjbuMFnwm/wOsv1HhqNQmAQyOKY1G222sZSgJYpzDG8
XuCq5/i049wAd5J8MxHU3Lv5gKKGr37Pdg7M3dxvc2p2mSsN+4q1jL+DeujbcCc4Uo47mYAm7HMc
+c9d1N5E0eQXu3Clc30QhKUFWCUHe246tAFFBsbub/w6xVmO5qrTJbGLzAujxclUMBXpWe15lHWl
YrblNfxd4j6PWzHArkQAEl0lRlZ+49EVjNF0HWIOO5E8YbI5jKm4ainZ/MaiKxnTSpYlrOBkntLK
3k66p4dkbpb733f8pYN/sdS4urHUtttiCXbgbqcjjj5w8EpPXUiG4cRxupV+h33XcVxs4BPyuBzy
0MSzyio2N5cxFKaD327pQlX7oJ7GBYZ5EHZGb80cvoEJgF+MxCXsAi4xi1Cj7Yh/sWOtEcrfDZGe
n9fZKSUGY9BCFXgCrrh4s2yBeisr5lfNBHjt47W+qyWB7+HUXRYbca/6mOVzzYRnp0ePn64QXYDv
teyQDEdUYhjFfQAorGfHOOdaAzeQzWx1B4UAEE4HFB+On/YuHRbP5zubCIA0RaFm3eW7TmDZ2L7s
k+rD7yfVr/fv0FWT0SVEthoVgihahWd6Nk5m+Wbj0Y+GEbqUsBpxBAnbO3S7EgVyG5O47jkzXsMd
5NjHH3WIGpB6NRoP+iPCTiRSGSgnfktx6ErKUr4nsElE/I3YGShCWUOPcGikbBavSyhAy4+bLxZb
KJw9u5xUfDuKMgxfD6jne+P3ZZ3ZuvEaN307BseSlOtw04QkvItARH3OpeJHaOi/1+PQFZZxkA9X
zg2GDjesfzUSIs1V3S6jhoU0M9GZgScKZxeYmw23wYZz+61KmrH/BJQlPRsOc44Etq8sS3fwjhF0
DNr2VS9hhHnox3GrD3tZFfuXARZR5iwVTpkHuDOuX+Oe0heLauabra6Wc1wYi0eAgQFrR1hw7g8V
QX3LfXvhVDzIWqjpiCsVhZNg//84O7MdSXF2a18R2gaDwSf7AIjIjJyrKitrOEE1NYNtMLbBmKvf
Kz7pl76Ov6tLCvVZq5uMIDy8w3rXA0glyGpL+zRoIFFr/Ne2f6RJM61/iJj++Y4ilyBq0vC8TTSc
Ue1GBas7N5sZrDODUuap95gX+kNS8btte3GcQT85J+fBZzBC4+Fp5YI/JH3SXneRk0trsymCJTaq
sOIm2cgvlszveNy+XLcsL84yZJ1BRcyLG7pDzyuT9JRM9k+GHedy/T8syUvp3bIAAr5b2APPGp4g
J2N36WseoK6oPULu9sQ4k91V1Qxy6XIWzzxj6ZqJm0hH7JAKL487GMwfr3pPl2K8LjQLskUqbtYp
7WCAvH9yA8iv//7w3y3Ti3ZHTNp+EWYRN0wu/Qeot9Pnomu3b9sQR3+oJP3up7g4fiBPODsWy/bQ
9g44tiXbYqjDInmAz3GRVFB0X1f3IZciurZDdaMxEl9mTCII3dgnHERXXmDFxUaLYDiCVH0UNzEa
Zo76o6PxHw7o3/0IF1FDTqHl3DGDW4t2zt2JS5sdp4KjM8/aVZKr1AXAYfz9ksnwbNb3eQSbDhgJ
Yta9/QwH8OtGW2Eq/Pen2wA+ch/McJPnmTtCc12UTRdfl6wAhPL3p689ioUUpLqbPi3So16DqmF8
flXlglwq6QjTsZS5bOp47e8I6G3pxK5755caukCJtPBEb+p9Tw8Nn4+qT66qiMCU9u+vJMAIrbdc
NPB3T+7zLLqf2XV1NnKpoYOsEC+J9U2tBz/fDda6myijH/79xPnNhXUpoWvgl70GGmGxx609aG3S
MoBPfLzu6Re7lHBhmgzm8jd5b/U9VK+f5jZcZw5LLjV0LcvbaE0WkHxDIo8Ld+MtmeV1UlRyaSYW
AWWZpcr0Nz0IxbXuiocoN/Zw1Xu5lNFtA5kXSwF6cSrtt2OS+I/aCHFd9YxcSum6ibsZ0GJej+v8
JOR0M5jpusv1UkoXum1rVYsARzpw5MdlJNUusz+cvL9ZjJdKuhXq/B0TfthEFgBoqMYqzeAofN07
v9ihO0x67Opghb8UKlRjq0F7bMzIrxOkwX/+7ycAVwEzFyLjGLSa9qQsZGPup00Axn3d57/Iwxc2
At84U14rv6N39Q4qgD+8mQukwP+rtpJLLR0wdhjFGNvuJg4RXe9JrzIMGLXw8nyFU9J002d8B/tw
XlUGBEzS+Wp2AmRTABZYAMuDEyCLddwm31SeJesNYN59flWNnFyKbvas87NbVnsYRyYreOHCYyJt
rvNRADbg7z+a5I7uFBzMQ59v5pg1oMmjlnJd+5hcKgipT+guhbMH6lUHDYd7xcDm9odf7Teb5VLV
s/gZJjx5sIeQx3spiDBVDqbpVYvtUtSTiQXAyhlvHZAsYBpd+IuY7rrpJHLpHRQBijE3ki6HFnr8
mvsOSLwEw2HXffTLfQ5hddOvOKpznXwHZfiD6pLrBjbJpWgTDN8YJjDunLsb1556Sorl0FlgeOqr
PvylanPse8eKuMvrzXQMtyVItmPVZSymP676A5eyTePEsq8g/h6WqdMHVYAYoXl6VX2fXKo2kT9k
VFO1HOKzCZ3PZtgGpPlVYn8Ykf59q+p8BXzI4eHrAiNxadO5BAn4OkkoMBp/f3raLbBmWMblkAyx
rqiIwWIf5ffrXvrFkpxEURBCG3cAR1eBAwTO5byl5Log61Kz2UL4TNKIusMEmVc5CdM+yZy6t+s+
+8W1k3qtacxmd4g4ek0piMOHPmRXvpjk72+9Nz6e0Ld3BximJi+j2sR3Rvb8upj8UgLTKZSUJ50u
h54YAvJ50hyaBjK6f38x5x/vH2oalyoYGYs5ERMtjsD2ZesL0O69OgaWSHMEUgi34L//md8d8xev
CCjwJo0HfAkYokf1mmRtNW5AgV/39ItcV3dN7hzD09sWvJoCcpiKT+HndQ+/uFzFgMsbekZz0JsO
Va/mobaque6suVTEcJ0Sp7LMHFaxrEfVFUkJA+P9usPmUpIYFGVsN94cXLfLY2zFxz0esut+0ktB
4t6pdJ9QjTzoossrJbehgiT1OmE+uXT7GvOQu7xo9CFSkamGXY8l1eE65yZyqUds0lSaGKi+Q+/m
rtozJasCzvXXXX/0vAn+a859iQNKzqYtjsMw7q870dvbQMY/Wcn/Zitd+n011Pt4gVj5kJ3xofH5
jNfgil23lS4Nv0C4Qbk6cH5MwSfma/RjkuPrVRvpUp8loI9owM/Ij/D5auQZq7q8uW6zn697/MU+
jeVEp50Yfsy0GiFEHDYGuHQsx+K6vXqp0dK2WBA4aX7kNi4HntxJcuXldynPghHX7ALQjUeVIlg9
N/7H65SxIG3+fTGCz9AD3jzz4362PhI+Tqu0K/x1y+VSmwUiY+f2MKU1XLhuR6NfCLvOTZBcOn0h
y0FSo1RaMwh+hjF6SMf+D73+32yh/0+UBRuhzlDAfxO2qPgm1RJz151Xy8erluKlJmvU8TzIZcqP
6RRvsFBPbXp3HtX7k5/g+bf7h0v70u+rj4ROC9+wo9KRvXVAaaonm5O2PWBONW9Ordp99+j25o/J
9e/e2MXmYiEd1TRaeSD885C+svW6qO9SX5RJum7W4rm0f19A/NNnVxYaLq25Jmh7edPn+ZEBDrge
NV/JozVc/MlA/DfCOxJfbCwI8hOHfZsfMZjSgkU99e5e+WiCYtYaoEx9sg4YngadKXnZbOLGCqan
Eakm4HT/ZEX6H0utf1gJl2qPfAiUraCiHFXBQYGF+THQoz7GP78CeIhvYHBy/JsxBbr1ptfD67D3
r/EiaXbb2H7pvnPTdgfYXP3cVgoPTLApd/enbASswPP6+IfPd6mAy0PSjOswS6SXmx+3KpY9ELUH
IXBUy2PXbEKW86TAOCpHOiMg3IZgxvw0Sc06dUQ1ZhCqlLtYw6lrQtR8o9RDTTkSCPJFSYewe18i
Mtbzg2BxoR9X2/iYnbYozWdRml22IHkSynsQyI3LNaLniWG/lxmfp/abNp1a4jIVea9OdBfwCK8D
qkCAeIZ59aYSgQ7bB/gO+rUvgRPHaFY5hn6zYxnzJWJpyQN4AkCDa/Byu1Kh0O1UiWEUueAD2nwa
P+pEIeEY8qH4S2ngqUuzzOlaMwwr0HLBGxLVuvqkv9nDsgHVBRKsHb9NqPTnS7mZmMS+zArWdl/G
PhX8h2oX0KEw/btPRpWwiBvC57OE8Vbv6kwshdOYrbzvQRavc0zbNocd/bfkECXNZqumwPHEq5X5
kKk6WfeM3MfFyvixz5ZdYdxvnsIt0BJjlTO9sseBLADckp56WnU5mxG6F6qoCwXX5HKbWzaPkOUO
U9fWjiMvzyuU1bZ2wiebR5OXRcJyDBut/U2T5sg1cAExtdzh15q6vjQF0oGSx5FU9aLG5OvsFKt9
2Lf8x9LvgR61mTLxtBuwlN66OcnzJ+oaSh/2piuWtpY7BpvSI/dLDBuNneWLfMRYT4HfS/e9xodr
yc7b5UhghY0QXpFpF7eB0c1/nwvVT201gbTanXJMyPLXeMvhYFnJMQV+ri2is3eoXOToI4w+7dC2
wnYpX9blEPBbTtMpyVB9TU5MjEVXCib4kYlurCa2eWVQ9QiRXc/pyGrvCWjJB29wsT2xqV2G121L
2rHAcpiS5TjQzG7V1HZpAmvhLsgapauu+FI4Ok73fNtR2+sysmym9NqdqbjAoecJwm7nKKUVzygd
3sWiMAz45UZs92PiY7RCiIMh3w5tgltbjOSRYJmDzpXBmY/I5XsiIwxamTVP9Yc8U3FRd43Nhu8o
bxUSm0al01rbIZvsk1hIy16h6ZvVcQg5Zsv4RKbsbs+iRDzEnRf7z36U04IxKxNN6dOMTdsdRt2F
5KRVPMyfukgVJMGdKFrwj3OVcv1EnBPx93RowO4tm5ar9sb7dc3uiOnT6fPgWcgqgBIILAxA7Y45
/MAzJn80zreiLcUsiu8A6876EywJ9q5CSxIBD4YkpvCI6Rdb4H+eovTHNJh1P6lEh/AqdhLHle6w
k34MKZb5bSuS/clxAsBvMhfDc2GWnB1I0evu/Sy6bX/xmI5IIsgKYDZR1Gf7anay3o3jXwLtvu5+
YDMNN9M0yOZmBtLN3C8zz5NqSIEm/1KwJOU/Yy+aJ/gORHfoPe4/MBeiQDTO2rqFq1RUb/1eAOwO
v/z9Fo5T9LPkfcprLTHA+i4PnRyf4rbp45MHFzscorkbtlseDGE3OdsE+URYI5r33cxbXengIhhp
DoRbTKAoBvrjutvMPFqyO3Kimmn5EbSXZnpeMp53R8DNp7x227Di7PTZmXENWXxsHsHUZT8kjCTG
qkFpzz93GzE4Srpp8weWTc60NUGLc70XA1yxj027aMymRPnavoLpzdOT0loDfdxEhn3vOj7oqh2t
cENZjHFDAKxK6XayUllXO5+QqHZ2TOJylLvXX6jj+AR1RtoYHpgbPkUftdaUwxbZ8TCefZxKuCDu
4mn2mGY8ZNr4rwkJnoHJ144wcwU/hD0ixm5/NdjCeTXILlEVUz6bPoUZUE+4YikFn7ySin3vT95h
+Pk1AGpomrKbXQ62e7xrP03AeCO28yXaJKv94ZeVZm/gthhcCAIWR/y9xFPOP6QG1RlEVob2+GH0
icpKjPSO2Y3kMReHdW2pDGUbu2K/95ttUZjegCPjt6QJSCww/th1Jws0X1Tupu+jDywTJqm7lC0A
PZM15nUe9n14M2Snw+3qds9vFjVFTT37pAkPFMS3FxLbof+A5kASRNlL6fgRqIHW3XGBtPcpoHRV
HFPR475zTZPNUMGn3fagWjKIatpN7KpUG9CzgfmwTe8xcrnb+L0jQmHGZkyde+k3kie3E3QGw9ME
e8R+LteQgroEM/py9obHJ2B/rXvO7ByN35J+K+QDk9RijY2dkt1PKosdK0HB588eprbo1yO+2TYc
MiVS+5GJtWvubNsP9ITZaCYfF5MA1HbAcSRZDb4WbX7t8NeGEb7thuzWTn3bQvmN8SWskQLmW3fd
4IK+1YOiUFQnUFiTg9VAZZarC2PyAX+zeFvjzm1fJUgDsBrgSTel1QzPzraKcD411dbo7cOQMEdv
C64xqZeNIxTOajVFVAW9OHAIzeQ3zAWteVyhC1V0L/i4Wfa8+dD2t9GYpGg39o2Illel9mm8w4RD
B4a7HPftB24NOwoY6xISvzu39yipaDfn++NOeKosTuI9NKdiwE8Pd2IGSt2Dx4E8PwOZYs2JuI67
280xnp1v7q2DkUSL12ht6Th2OYHJYbsvbTX3PoR3lG+Sl6DfFeyYpwrnWymoH8wzAZt9/rYbq9Oh
lG7dslNIKdmeUqz+7vNgN3CL8CXp1DwLdDz8+0LgJd7tyWC2eqRL5m5x/0e6xctN1Hrwe56D554J
N+34MU27HlcvIvUxj4NTLyve2Xo3D9ASPw9r3/VVOnST/bzpPMm+qCQPhSq3Fe7mGm8KGOqfI4x2
yQtQByn/NqWMi6+znEWCpBwumrRSQzLktyp3NiB+60jBpnKOloCrUG64PhDtwWeYRdma1xbOHlOA
sDOPvgNFENKK4FIfTvsyi9d8wfo+COIlq/ptR1tN5WP6KUsgpqloKJqhQgEjzYHRnPLlJpF5xtaS
gg8+P+lu7jCnHsPzFcnHIKdHqrSPZMkwP/ptmGa3HbO4T9fneCQGps1ozvPXtBh9d1wl8Eovc9LR
z4UFGqi2aYP6UdFHjj2FUTdIOszgk2c0Len4Xorc7vfxMM4TDswUewNDA1A3FjcCzrvmsVGS660q
0rR9CZBLRdXGerW+t7ufMUWPYenEV/C+bESV87jXz8KiMFl2qpXzgQYMY8sjBmzjQ9HQcawNaRL8
En0n48d00Wf8L7Pn4KeAHrdrK16sWVKrZSbxUop9C5+GQsJqq9wVRv5eNUZz6Vtr2fRgxgURV9W1
Q1TFA6wEQ4XTfS1zz6j7lCxws7htmde47/ONIEynmPrWrgw0jdypx0cg75ZpdHmVZGyuReiW8UZs
2OpfMmL8ekxyIWPgbAx88uK0p0VNJTTlpaXxfuS4jLwrTdYM9mmBDo6PlWIqlw/CNuG5CGdq7m52
em+LQpBDAezRhmsUIUdt9hTHvpdr1J4EGzP3usgmXt+PZokr9DLm5GuQjV+rxnfpLcI1oFYFZowm
NFNLsw3dbec0/FJSDOPjsqXVvjuuywkELVY7Q5LbFvHAJ69yet/Cf0uVjA+zrbo4YS2MfpGpTVM6
sLvCt+FniqGu4THB1lE3+2B3/jhHiXkhHr7ASIGoe2hBW98RO8WpeVkjDa232/KKwXvgEX0XTPiD
eEthYY8Z3sdgiuTj5KP2IJKBiVKpzd2vQvLn1gO7UAss4yrbFl8lXdPfpmnKHxbWhrs23uTX0K7D
B06lqXrC3snMqI/ZwEdetkRbaJUWKcRcbqTn3pYtot1wDEAOhlu2Ju0bizd954ZQ8BrLmVVqX/bt
OJohuwvQoqYffVTkH1rpKbz8kVPn0W2j8tXLssHKLeCtEDrys3dNcB+BfmehXHu1FdD/xiuI8v3Z
ROIkw7bDa6cwcdDAMc+zTZDH9HQa6patcXS3xilGmTEU78md6eKGP9los+64whyCvO1MJqziIV3d
/ZLqrP2KyFXNh8wlUXKre92nD8O2ShCC23GVSMe1Kd7oIjV5nulC9QHuG2GEj4Vl3WmKVi6/RB0A
1EOVhT7ra2KHzpVL1iMU5W7J+8pIxCi+bGhEqSxDFpb+x1ZkdH5Yt2ndv4Nk5hEOda7IsLol9lam
ywHjVMMB1ktNcmMK2Q/vthgFo8M0plQdXY5zp0ZG0+an+awqPsy5SugzRo6G7B6iaxrXMd8yfoox
VLb91UPBr54X6wpNqsDbtbuzs6WElfCJKdDG3IdEhndIjfMEWTD0t/s9CjsW50I35j5+1Apb8oNA
suq/iEzwUzpBBUGt8vmX2FIRfVVohCJN3qYM5Ex0LroKqwPBUtksK053a5atXlVrik8MRhDurfA4
2z9bO/NkqLN8jnBfNWMWrR+Y3wcUZaIkyWnpXGNUxRsqkye7F1v4K4VHhPxpesz6HYoB+Mn3QXYb
h0tFNpkXgMEzsR3GFZbAN7yPkumFYZfhRCTUzAWOp27LUWHuRtSAbgdKOn9LRSeIqtPdIAQoJWOs
BTtgQv6BiG+Yq7DqcywC9o/z7wZnTOtvuGiFeZM2mtbjNESOn6zlS4ZfbOfe1HMit/Wr4Blm9lkn
uP3qvJhRyWqJiioulvi+n9uGVTMa1u4hDEPa4ifJe8x4WrRmKqPXGUHpzOAS9LbsKS9g7zA3D1Ob
oDrVbMX7mSYB1R6X7bt+DlLK0oDxWmJkrl0ooHTFMB2DL7JQtcDiLqedWiRoHV9QaXJ+inTpFuft
uzz2effXCh5OcdgFIV3N/PleLVsLMMntzlT2PYCu2A8lnSLe3IHhnbK0snIfIsSjgUQ3244VfIMb
P87vHA774Rvf+67GHZ82z1NizaGP5n2BbCZqohPiW+oqguKzLaPCzU0FTy76ka4OosXVd60+8e58
Y+BtuRiWwNPUV7iRtHrL0Pchx6HrRlfrKOv9Yd0w/YKkL0IBcs+7uH8qBk+QMPdBPGF4YDnJpmcj
dmSz3E0EhY5HnrQuOS2Nk18LBCv+aRTe3rk5H2VXFyFsVZbh4EAppm2+witl6OtW4ezsByMenSMI
4HaY1/iTzIuu0nsAzAYjQ+S2zw2Vj7OjVj6aZrH3i9bT8C0xWyEOUyHMK5JOelARxaARPg8rTmHP
QbGTW+rfMjjY/DIJI4DZw7OlxyJGnFFKn6sjBap8qWaE91NVQLuygqdYbGgJ4Ny01TybrZILMkYE
NppvFcakQlvGHRbvHEQiKw11FSYPYEqTPE58dCivuGjn6i73a9Z93vw67w97uoXhI7xhpuRBsX7p
beXoqvv7qYD2Cr5721YTNqAA2qzpcwLuZb1O+TbA9aIBcnnEPZ+/izuK5LWxSI1KBl7i3T400QZN
6iz3WqBPnbVl4zB59qMZwXM5JQKhc9nAWaT4NTkUIXBnIeYHz3EjEBXtDsfbY1TwyX1ARysxDx7T
/PLZeHBGn9IFJktVURjtnxUajt/TfYzgXtRmrvvUTS0G0oTTWkJrp9JXlXDXl6DudqUX4JAgYwZv
EWffqj91PXJEVOTsUdglxCXOiK3pyx2Vu6wWOes6eR98jjSzxAxX/BUB9kirCYno+hx0u/t3RM9R
/tk387g8L2vP+7ui463qD2ppRH9a226LO5y3SfaX8Igmv4rQegTYO9dwohbTvH9EnVVB07MiIVdb
ueEuN7fbYD12djK/JbSjR/RR4ntYDOAiKTLYiJejZ0v+EfvBywPvXAd3nSIetwdfLKP44hUS2NIY
1Nge4yhh4y89cC5qMTUmeY2SXa1PgSAreWomUNTeFShAJf9Ju5cnbSkd/8pGy/PbLW4lqdIUZtQP
uMhaXNbtliW+bli+FboChwrS2mqPIQf7sMI5iNwxuCCReyysXNwtjKYaWDyyjY9coxxVMk09vMR1
Z36RjPbdU7I3IxR2DRHjLUzdo+QFM4U5myoQknaP3sgY9NFTuMcdIbzRqkLxOFu+j17ZCPDA3RWn
SCJr/EykmhG6M8R3dWy4HjCoiThTPS0ok4gKswfOLiUMc+LkHjrEDDF05qLxtocGYf3uk8AtvhVr
3I1v+8LXJtNaHCSlxVwnoLU4Uc5Ghe6IoFfy+yaFeRiEifKMzgJJbKqHrufbXeMgWq8w5dPyrIaP
ALHwHG8Uer1oE07tHVs3uuNodjq9xTk5oZM94worUW6KRYlhyn2oZzUu8phuSzz/yvtMyAghUpw6
ChYsnGb+0kJJzDoJdI+crVaF6zCtImn4DUt0EraTiAtavMFPWbmH85rbNL54nw5pNcQbnZ6zvJfb
pwjfhkdlFzs6Lcez0zPi7rXY1/RpOScK9000iQ13DLSkMF8KTds+BxVbxGRmoYysyMmQmucVSsoZ
gnJiFR9/9AFHNqRGIVfkl3FrNB8XGL8iLsQ2R9kcJJfJ3Fk+LcVz1g1rixuxGPafokPR9esw+Ekc
0zYdI4+3q+kITjEz/bsUUQ2uhoTnaXbUONrnX51OM1+UDvbp4cnn6VK8xihD9ECjoMzp0CZJF/Gm
o2WKXqYWde136zkex9h6KGRS5esMz1+MlGkjT51CeR+LJNX0aHLEd+wAxuAy32M6rs18taNUPiGg
703e5zVEXK649xoF8wcEEQV7EEua2g+jHIS5y1vqp1O0gCP+FV2XhlRoZzEMvEwqWkqZJz56mAgc
bN5Fi136z9EOZl/FEQCMh7Cowjz11mEIRGUkX193CYVVVRCLWnZP5QiDFNNG7kfBrG5eqbddlYzw
/h/W/S7agbY2yJemTp68bmkoEWYMKFbkm1tuAxpL9NagmOhvpGA7eUPxJMvueoGGR6WJQnP8gFlb
YorzHb4jhT8XDqLjbJJkqShTQ1Rizz0ybUOKlkoGj4QjiSE7no99FKOszUZUskMpgR8ryjBvOqtN
l2fprdsWvt/qdIvICLuzxC8cpYsWHLFp4fHwkMXG2rfMwnH8V96mi3ogKAHmR5l1C//gPSrQtWyL
ocXkHqSVL/04SnbftHIUH3yBF3MfkkLYO7IAN/O44rMmoH2HPXsZlly1d9uAPuJHxLN9s1ZkYaGf
62EqFKpzKfzLelIt2Mw6qmAAwYKu0e7IC34UELae7X3zL/DfIzauOId9ozooVLztcsqVN3ixLh+0
edkMXhpaQ1gJAH4nOQ8fKF47Bo941on9I4rEzXZcsZOPfN/zB+QKLLpPooajs8UInN2Sc7eiSG7I
wJi+EUM+Zw+7nDCVHCdhcl98v3A4F4gF/hFHB4hz6MrYsyxHKyeBIInMtlgrhvzNflVrWiQvE0w4
bHI826DGSN22DODzwux8HSquvBd1UOZMW3OWPWWmScdTiilXfzuPeqF1uwY9PiQWLiuoBBG0laZg
8uXYo1YZl5GN4+iIVozra1m0HNG1nq3OS0ZVT79tOQjr983eDtt72BWkDiXGrjH7TzpmtP2uxUTk
iVCM550IilvzIybqjXuVsGvuPk5jlm4PcRrZ8FeYs0E/hNBGFnWMLSkqRDAojqOMtqCE3FsLIdzs
0seFKOsrFwDVPBl8hKFe9iQRFXTjDK3BND2r/dbiyCG0fJIrqLkfiRetfTRuj8e7HEg4xAX4hg3m
ALgLoKbbPB2+o5oR0XrIikhbWI0iEKvsiNWuDqi9CxQHcJCesxl/jkd4ZFZahSiKDTZLMRuMEujs
/Aa5RlbelsRk/Nnmq4wwit/n/c/lfD/+zBdYC2DOOmtP88QRihCcd/IDNSZx2HttpmZX6sJi4hiZ
NCBKeUd6UtMkiyA9oe3cPCVd7vwRxyh8Alc59usvN2x6e5j2XGWfEAywdCuHeVjuQsj37VORK70+
49Zu6a1FuFIqOJ7MJUA57bkmqLcVdy76NC8Ijnl+Zzuo8J9QD1YYBgcaYEcGPwsk5xmgjmnmvmHY
ci5KDN0k/rAxLVCcMHP3Ht3guK3XFcDi9wNUf7gXwZ+AryFfi4a/5RrTproaCcr2683YmHlyZY9Z
uLScCrRLaYUWn1l+IV9uUaNCXkrcNyRlex+VzKFhPJQZTlmHUomcMAlRwsBd+/a4YaQR4JxxS1n3
BdPHYTHl4gF4mW8UUo5+qPwMb21/h3x4y+La0A4d6/rf1SRn8e4/9NAv/UZaFB63PjL5cQLYUdY9
JNWP0FHNFa5nFNVRYS7+MDL+G13JJbjLzDbYlFJ2xGz0nH9wYWqWWrcIazDgisi/IpiElwhCtjD+
YZDzN8KS/wxz/JdWboBUBodHkh1ZATyBgwPHYUYF5Q9f6HdPv5D9asDNbN7xDP1Q9V2Y+M0XuvmD
cvZ3z76QtCIqm5Vum+wYQEAoOxNOPXQVVz78QtHq4tiN08KyIyorB7QH+rKJkU//+4L63Se/EPM0
29q7jPfs2JLI4ghfG+R5OOyvevqlTUsiNEXPG+8FmQFsSh0HcG+fPvz7w3+zQi9dWpiJldfbgOXS
5Tz5acde+YqwkACxUiRKl3qBMPUWEvtMX0Uqw5QituV/rdCuaH0O+4rsCDJk9imdjX0aYlQD/vOF
/udvbHT7v/9H2pn2xpEc3fqvGPO9fGtfgNcvcHtnsymJGpFavhQoiap93+vX36c49qg7Wei6kuHx
wGOOGJWZkZmRESfO+R/++VuWD2Xg+bXwj//7IUv463+mP/P3v3P5J/53/5y9eUqeK/Ffuvgz/N5/
29081U8X/7Al0KmH++a5HN4/V01cv/x+7zmb/s3/3x/+4/nlt3wY8ud//fGNLF09/TaIt9I//v2j
m+//+mMi6/o/57/+3z+bvv9ff/xfMoXlUxw8iX/k+amq+cOG80+Fs5qWEIt6FRWIP/7RPb/8RFH/
6agQqTlQZZt05uLVKfKK/r/+kPgzOlBXiB+QfzJg7GCtqqx5+Zmu/dPSaV6yDNtRFEUDY/mfj3v3
1yn713IwF//+53+kTfIuC9K6+tcfU2/wz7PYtnADbNuaTOWe948I8fWSDMf2O/VkvU25F3iU9+vu
U5Zv0mh7Ni0zlqYe52uWhK6L0YP10jJa9RQBHwxkGt6PZrwa15nypixuJX0J+Ht5y7we2fTzM3fv
ldGTQeWpp9p6S8zB5b9BmWrh5JkzYui85xyHV5YhKiTluh4aUjEoJ5gaN2H8RU2+gcfe+9kSWfRl
W8NfozEcEqCGwaKbYkNMYpXcVa2nnlK4YbhYSPT4CKVvrq/RjBW44nSdBmb+Y4lHBDkDeKmTTD95
fdt9qAc3X8cwKW+iuNJ+6Z58GRCmKMNR4KA1SSSlob8PKse41E/U+O21ZZER63XfXWhTnFkfS1dU
w1Y0hc42sQu0BdevwHuun9KuCDawUX5Awd6nOxKAHUAmfcEdXrC8gpNbhuZY0Bfqqq6LIOXW9oj2
VFs/mbrcqGAQrIQKVAa0vQ96j2K3rNkx4NCSpKNN7f4YRV751JS02mxQTqiMrdcZqIJLJODjdWvl
1lMT8mjdKeRlAOD6Yfgh6+txHWhy+MMvyi7YBKnafvaoVjTv2qFzDmEeRcYWgp9yCRytTLe1ODxT
Vgw80UKBQYzgmqojoz42+kkLZH9bK8UbEBfexpds/UCjEMgC6W2iN1+QMx+PFAQq0kO2ttAEIgBV
X1zHMW3OU/ADpsnqXu5sM3d5d7ZMsqpJygbulZXu1HehPXBBD+FOov3VoLiaOvKNX45LW35uEhxb
YYtAemuq/O3SvJ5ZBNbaaJz0CPgAGV6KRcr7qqzGLVX2+BSE+gaCiWLjmOFNJJUaqaV+iTNh5ito
UrMdlZtAdXA24Stqm6dWHTTGCSby4pPZpO6BJNvntg2jQ0AH+3aI5eiuGUbUawuaLBSwVoeqj6Vf
ikhZDO40rjBL1nB66Cu4386P2RxAjNbZmXRrRoO550nU/zkanbtwML1ec8yQ2uFoMmU2s6xdmtF0
KmuV2ki34LMsdzz2Vv7diaRxRc5t7YcErp1iQ8xVBnfeQoh2GV3+NUJDgbhG4xhxLLG1qc+UqCu9
Ubq1lWOpUAY1F6g1Xh1S09h+GhC5iofRK+WIBNitqt4nw7Et141zIxsLR+FlpPkyDHCT1E1tXTPR
8hIi8Sy2lMapHOe2bjVAPYHxJxp2O3Lw4SYM3egwVee316+TmYFdmBR8o7JLki6R5dxab+Pis6I+
2NFDpT1cN/LqzjK0CyOCZ3QRisRtZjq3nvylS5/gvu7i++smZsZB8KaqMv3uTJ5IPkHyq4IdM/BP
kjSuQ4+8JJm/3rtvtV9rH3hZpAtLwiJ18Bsr6uj7p0Zxd5lh75ug/3h9MDN+MEWiJve8bauy2OlC
3VeF5jj0KR41/r4dixubdM829czbyM2Hu8oPfq0/+69RcdnbACotrkWRGgShhqYu8hqT6GAVQ/e5
NK1310c1s0mtcxOCq7UlHQxAkfxTOZRIjFsgh3JjKaR8FcIammXx+ZxBjkH8LRhRpm643G38ExvV
9dqjLe3Jmq8oDO5S59Yu/qxtbeHgm3M9y7B4HsiKBS5cOOYbRDBUevP9k6feyZ46eZ3U3QfVEtnE
7Pz9tCO6uAKyy2qNjkYz1MT0TmlBPVJ3u75Irx4b0/wRVwJ10OixfiWfBQdHYFDUPilvzXSbkRce
4rfQd+9JqkvFUjA2u1pn1qapPXsAJFFkjUE2+GBAk73aJEellL8n/rDKHA3Ms7Kibrk2uiXhlZeb
9yJIEkY5bcAzu8pgtnBWYLf038sFMthOs/GKIzBiX1U/ocAAkxXZQaVcURBYJ9GtHz97/iGpXMDA
X7ryLgm+da2+Gr36zutaVMa2oJd2iRPtK9g++6zepDYVbenglcNvnHTnKzSt4Nm3U6ejkSCW/VMO
ek8hpmAKN71Epjt5uu4Lc8fQuSXBsTsU2RtjwBf85r6U8zfF6H/3yo9e4FNzbZb6Y186yV4timXD
3Gmbsoq87uXAWjpcOmvU/FMLQHq0Qdb+AIiijADjhuaz1tofPB6kffFJCqkxrdz4PqRTl2TYhkTx
pkmPYXtvhsOaLO3KtnaescS+MXONWdbZBwoz74aNT4nJ4eTPYocOD1orGjC1a32k7+D61M/tdVsm
ELB4evGmFDYGdGGmksMXdoqzuNw0BiI8VOqSm+tW5k6ucyvCjA+tSSEMwZ5TGTyRxb7rpC/1oB8T
9deIuP66XWwAUCbBJw8CMR4PwbBGPI79UyR/8POMpvwlDqG5tflpgZzJpfMEcjgincJQamCvkVOS
arz/nTjGYi1UWdNRyFPFRvEmqwfg8aN/cpV7b9AOmQyGXcsXnt2zQzGmUJ1HMXGTMJQsAKqR1y5H
MK4vtY/5+KXLF/jcZm2YGhV+FdDAKw1w1cxkMwhpWg7TO5dSRVTtQ2OpDfj1A4hjFobpv60IXqxp
IyMs/ODUq6lMlUZXNxWdZTej69EOH6p3ppZ/yoNuXXnGZ6Oqk62nAeu+7uRzp9j5RwhO3hseJRmV
oYJOp7IV0+EyAMBcBUNvrGyQp3LWLSVpZm1aMi9wMhcOzT2X3ugGg1xEDUt4kwztqs36lT3SC62+
XRKJnt3BZ4aEcMfoTYpP1nQktc1K0p4M8kJcUuPQLczikiEhhA+nV0vb2/4pc/6s23zV2w1qV0c7
X5LsnvVMC4z/y1uVp+Hl1HG3OUBtJP+USg9IGNAv+iAFSwHA7GhshScWvIOaI/bTNioI11IKgxPC
ShYCm1H4xrHjjV4v8T0KBGH/PvlsksTGlAUgl3w5nL5JJxK8IDhR2qeJsqaTcV90d+nXCNhtmh76
tUw51dnI6a6ieiEtLNvMbNpk1QAyakTF5EIuzcPkGsLTNQ3Ueai1B5/319JRMvfuv7AhuIaKoG3a
G9gwdWlPFGwdQSls8109xIehqPZS/B2Fqe31XT1zQdqKwVmskGIh6yAcLQ1oFAJVLzjZLiDXwtgo
srkk2Ts7eYTBmHF0g1TW5eS5lLZp+UqCk9sYO57GkhZtS/fXSLlfPIScxU8rwlkBbVhY91oanHyI
KgBzwAD9a7QGf5kgC4Wkqcl/ubsuB5IVLS10gAlPo33XpOXOa8319eWY2VA8VMmum+SJqZUIPuC0
fuzVaRWgbvwYqHddn7331TvYQxcSi3NLwtGgao6tKai1C5MVaG7lx4WBP5vPevJe6h5qkMTXxzLz
KKHY8tOGsGeyiuoHUvbBSUeD5OhR/l7TsZHvSekfk9z6GNLheC/bxX0XRkvPr6XxCfNYjzLNQy22
K/ud0z6Gxufa+XF9eC8aOUKcfTE+wRtGO1D6vjKDk3RbKebeOAB8Glt6YUFMPydDsbKgqYCJnKeX
lSxN7pyjnE/uNAHnrxdV6xq/0wKQZ2BCKcAbH4NEXjnRt+ujnLVD+Gw5usYGEAl39byhjcY3CKI+
mf1T12714oMsv/8NIxR6JgVGEzPCTGZANEJ9uhQ166BH+wC82m285BKzIzkzIsyYmSqSrwEVP6WD
022NKnhvluqwqspIo1FMX5JNnDfnELtw96qvpO2tSAcno3KwWjSJVl6+MetjXKSbQF1yhZkgiQqB
ozmG+pJ0Eo7XXteLprS4N0qAxkTUatjRTd1sdJrOk2aBXn7uIr6wJpwcyuC6RRNibSw31keInlZl
fA9imwKTX902obbK+4cOhlOHTnwavQfa8657y+y5QhVN1nhAqJqYmkr7PHIVizOy98gXqBRP1g0d
D6tSRnW0VBx3FRfauCmHqNtnbl4tOOvs0XJmXjhanEJVamWabolW2Saw0Ap8WEzDvsQz4uGiw5/7
csLoqkgPOkIrJqEUNR3Q9UqS3hZtgJfehcmngOvNKT9aD0p2Q1S0oZ628KiZyV3ZuiJrNAfoVH5E
oedGNkmK+U1wehzgUfADmmNaf51Ft1av7TTrN95pF+amnXR2lGVh6CVxiTm5j1eGdR+Xz3RIX/eZ
uUU7H5LwePF0qbfUHht5e8yyp6C5H4yFWZvbhucmhKyGLaH/W7STCRCld6m6LaSDPTyDGb0+lNk4
UVcsVsdh06siiSlEgq1mD/h/5TdrQuJV5r33cnkTNtL3xs8Bzo7uOm1v6BpdgNPMm1bxS9WZoiDR
dN7Rd5pNVzooKu3GHJNgBYVHvwmU3EY+MG5XnluUe/J7yokGzm5vJmBvF8Y/bbBXW0NDXYSkvqNa
osoCigEBbaoy41fvM3PIdlFTbMZW+54E5Z3GAmjSeDOlDbVc3sbSvu1uglReKDHNOtTZRwg5PXlq
Bwv0PjgVyp0Dg56MJvdSsWx2H+o6QGNrevmIiWrIgSMUTzMCqBLuyNR1zBvD9NJtE4/GTZQ3+qoc
hlvZyPVv16d41pV1okKdzD8Ru3Af06mXZG2MYeS15aPS6vtQUca1nZrtxvKg0QgKWjKv25wNp3hg
GTxCONVlkSCLNqYWAq6CY92Q7priIWoPqrbN6nqnSBuHfGRjP7qRvg0UOl50edt+vv4B06BeuZVB
Rx1FL8J7kc+tq206s9rplRK6d1atbyhPLWzdWac5MyE4jR0GJgwVPFHk7HHMi/Uo38GAshB2z3rN
TyNi2qv0fQjlfIxISf6J6DSM/uyhJEqq4L4NvsXxgq/MxTk4pz11RGm2ogrRx+i6ejk4OWNKjuMA
9D8+km32k4Vbd9YlTYIpGVAG8unCJdEqo10gJoF30M0IjGttGV9iI90owfK+mx0SsuYmyPkpb6he
XkhKHEKu1WMr7O11EKjrOvtBX83W6JaOslmHgGAApjwgJuBMLi05XZzXecVRnsXVqne/01gNqZBt
3I6xu75x6LCi2BbUiBWa9NbpKzNtd90SSerSR0w/P7t/acXnMlHYeGH45JfBug6OY/D1+uaadUqy
RNPzHACeiFJO7BwmI1oLTw7hmWHT3qas/eKd5++sfIek03Vr8yP6aU1wFs+FJ6UoeacbPjCJcpNA
/pj799eNzJ4XZ0MSQwp4AKDYZ+1qtVib7hcv/62dfGZBiCgsxNcj8OPBKW3WtfneS9yt74+7uO3X
zmM5egunk0BI91d6g+TW34skHE8NHRtl77bk2EJ3rfZvp6b/sHqbBTdTKagJjnkPf5shvw+NZG9o
zcYHqQ8xCBKVCxtjYW7FQwVWuA7hYEbux+E6tO5dN1pdX71ZF7Ep0MN0QLVeTOWMowT3XjxwSgbN
j6qxxpvRND6ldMctxEyzh8mZIWF3FV1h9LHJpPbRk5JEcJQRUtNO6rZLlH1LlgSvV9xSByOHpXQ0
DpBnHSndAHPYpNnT9bmbXZ2zIQmeb6eIKWl1x4ExehD5mc9RUC75/tL6CL5PK06XlQ02Rush8bVt
Wn1VomR7fSBLRgSHByNsaXSck/xkUSL3B4iDxSBuflUMh+wxcYX9Sv8t1KuEBmtCZiXed+m4kpIf
g9yf6mDB0eYH89OQsPyal/qO7jFjVmHeJtqzPdhbCfHl61M2ew/bxN5AZ3UDXb7LyyKvOysbVILv
3jMsUFyatQL5DcGWYmzLmCZl21OW9BTmR/bTpnBLZnEBfNTAZtM+ycqwxePg9V44/WZvKFCOQJxN
QgzxQMhpk+FlP/KqyH5EUDya7UEPnlt5DTNfn8o316dxbkiGyoUP9N004fy7nMa0DpvQ6R1y/X4q
w4wn6ZvcDbs9zbHxgqmXIowY2FJA1OmCour6SrqvmnTddDCRQJLGQ+UoK5tLK4q3lZ/tM9gy6t30
iOyiajv1P1njvWE1f9aNfqzkepK5pVW+HvbXxz+3KwwdNDmoLKDkol6DClUevGl8UxD0G0I5Jf2R
1tKq/zUd0L+uNAOMtwFqfcIzCpuiC4e8hrosPMXwhXg/KIJdH8ec15z/fuEoDKFK7GxEyE/ondu0
zkxN3JH3MR+adckFmUab6/ZmX+Bgu4FnKopMpUAw6MMOVYz1NCCnK3ZlEem7MTI1WPUy6+DlKlxk
sQNdGJyW8Gj0yafBAaN7/SPmnHfCtwENI+1oipqKmgUpmEEz8EnxHlVPXlMKk8zH6zbm7hjTNhRn
6iThmBH2fJSOTT2qWXhK4+Sh4rW/Ah62JOE3d5hxJJuaSh5BBlt8uQuLoIAEbEjDE5wr+rqRfVqD
QQNt2jz/VuUwvMaO2f/GOUNJFnodirOkEQWPJC9cDnI2hKdBvvOqhxby5Cj7rLjJOknuBmepX2y6
wsTNb03IbZXXjC6LXRtB7FCj8JvwZIfWI8xJavM5VA89vAe9+07J3/H+XPCOWYumrkL+CISUp9rl
pGaaHMRSbIYneAGJeTKbpmgTipJM90iZWiuv6D8Vhr277i8v3NCXA9Vljc4HOg6oZVLUujRbGbCM
+b1HoeIbHN7wsCa3SrxuvrrPZGh6Grf7UzHs9W5NJ0IbHUcTYi7gLd5iOv615/IhvOkc0NvMt5ie
ggQ2iXOv8E/OcGrkjZIuONBMahgDtMeYcK7y7BblPyDLKjQ6IAABdTw5aL4eD1LpvkNoGiT1Q9c/
wza37spirUnum6ExFyKA10ce5qlMKopD+ZD+4suJLnLLHPyx8k/cNSvYkGhaNletUq7rba1/pq64
YO/1JqUFjDiC81shHW0ImzS28hTOucQ/FVa1DtovFbR4bfctNnd+Eu6ve9GcLYOWI2uqhnM1C8kM
+v8T6GOAgcB/s1WTP8cPkjUChYa845fzhzplV5ChwNIAQIkQKKfxLXhbCQAk/QeN/isnPipRsOAq
r7eiTkUcWJKqqhw14vmWKLUUjAmpoDqgPJI8FOh9OE+D+SSlz+pHp1t4Ec94BuYMUmfc6lNd+dIz
ykTtDegbyWZM3G6StNHcj7q7U6MbO3MIqL5fX6y5jXBhT720hxSlE6QVz3zFjOEEgbyExv/Yt/a2
0j5q4Ia9/sdYf5Fu4oCO8q8L1ie/Ew6cC+uCX5a+3XeQBrKCvnSAAnEFZ/fOtfJjFRzDyL2baMGq
3D64Xb1T5WyTt8aaN8DC7pgJCFjjqUBEr5Kss8qXk0CDjp0ZU2bFdPobtVbXuvxlCB+HONjD5LbW
tM9DA6mntnR3vg4C2JSOA1qbfClxpWDXTWQFyoeYYw66QdtpV5RwqHMvufBMUgIYPWDHqSGB/KLo
w6RrA2OIQbuPw3d578sIYg5I+vprX1dWQ7J6MG7M/dgeUmmVVQvFzpnjgGOW5LsFhhuHnhz+LDM2
HRAFJLBkraxvCrSMcfihLJ+d8F0YflvwpulkEbzpwtS0lc9M2dCW2lKHqaJ7CofnzHgTQBZmeu+t
ca+bR9feZdnHBZvT/rhiU8yy6KOl5BRT2K9Rtare+MYhyG5Dd99/rcv3vqGv+AtOYAo6C4bnBksJ
iawLSU8e2cK8em7JdPdsHT8+6e2zXDxFz5WsrT3oCuwaQlVvl0hLj/0psBJHiwI9QdfUIclj4HKG
3Uwpm6HnfdyX8BXaUOo7NOSOsOcsHIMzJXJwkGeWhNgVGpoRCjkSMTBhrulilKqPaalueXJpDj2z
60yK14N86+f+O1VN9r7z3h36Xwb48A0TTolOFPbpy7Fx5k995Y6hPI22hYlkXUpdvnJhZIKbJczW
C8s5dxTwJpFBT3P4025zObODW9G/rwwBrbTZWtfqQ5y/9RJKuYdC1yOopx4Vne5ay93AWbydqoRq
HJ38cNyWqvtw/WNmrjzG/fNbhLk3EfDQmoy6XErKMIfC1HWeIqtcmaa1GhsIjaAqXsxuL03A9POz
yXZoy5qe85zBSvTg5Pamg2XO7p5/Y2gOpXJdA0bHq+XSSpWbkJhALQ+fi3Io7b3WoOJbmxtbL59D
ewO77Tps5MN1ozPRLE8jyjt0fhFqihXfLG0bU4Ze8dTEE8lxrkvrRNOWtFDm9ua5FeEygejfs4uO
5IsqxfvaVw9NcY9mCBx9j9eHM2tI4eCmM5nquai9kkCA1LiNhHuQSNsC58v3mWFBLjr0aK159kKU
Nzt7BMv69BYwyfdcLlkNj2BXwFJ8UgcQMuP9kDWb3xjQ1BRIeGzQ8SG4XtRUICklznDY79aacafI
2VbyjovZxbk4Q52qYf8xNM3smY83gwTf+WRI8Y2TlfhQniKS0Lc3VAk2StXCKQvrr+yE30g7fP7v
Bim4R68ZHqKn2DbHQzjuivgd/JorxRsWgqnZ5eJdRUqKOrBuCHbsnF5B16BzhnhqTbOOlozb6yOZ
CZHp3qATcXo8mTxqLmcRiuUuplWEzgc13VAkdYmUTeVTXAfo5sBJ1y9ctdPyi5ce3SIK68bfLPEx
rkGxzv9N50BYbwcTSOwBHsPrQ1oyITjGpNsc0sYZnIb6fdj2m8qLV+qw1Io+u3HPBiIsjWakcL1m
dAJ0PzKGYFn3tHOM+dP1sUy/5dp0CYFJTrAL4wBj6VUUfWBSL/rbqH/Th5BthwuusDQiwRXgSqQg
DKz81OTVnR0Ox8x/7ouPEPK/vz6oWUPwqJBlBTMkvzyjznduJLVKLbN7CnnY6MWjMmiIiWx6r1wI
BGY94cyQcEEB4yoNb3puVkpObK5ML0DH+OKmhbFwK82uE/2pwKCcqVN02shnQyoTiG3TiHWCF2A9
aMeIKuGHOqSsBqPmj+vTN7tlz2xNoz6zBW2Q0o8huBBLr8a3HVSl+2Sw38LF/VxWVrBPk2GSjs0W
du7sqsF6Y3MekWsVM9dKpcL62wBCsOQ621oevSJZ6v6Z6gat/wjILOzi2aPPIR1hmfT+6yLmrxrl
QYdxOTjFFrlWI4u47GnhW/D5OQ8hc23zVoUeiP9xOZdj6eYWvLx/Qf3Yw7V2v3yKLxkRNlYQ2Ulr
TyibSDnWRkkP7B1yhL8xX1PjBJk+UjgERpcjcfMCbL5DrqOytOJPpS2KlSGF2cIDdKZ2owPq/WlG
cL7Qa3RkOnpuXcfJDmlYaGDt4i9xGSa7OHZCUMXKsPHKsdn2TmNuXTWSN60r+ZsUPvNtO6LEhhKG
dlBgpyX4Hb0j1DGLrStTHCOem+efOTnz2R7pPSg0X0BApYqIVgdqoN723sRnaBxs/di4txocvLz2
6sUc1/xqA9rSUFOiRUyYIQU9d8cJqGhVWxqtEcVKH67v/7mzhkzd3waEsWkGRDbBSJaJgOcWiKG9
LSFqhd4pIb3jv9XHYGHnz4ZaU3yKyA3i3EQjl7PZDZTsvIFoGApiZ5s3UrZJOjlbSWkXoe9QwkSM
SsE6tXnUISqWfy4N+Fuvj3p2WjkJiPj0l1Ph8hvisDMb31W5nZQv9E46IUoF0dfrNuZOVrL1tGcC
MrZsQ9hDKeJdEIlGFAGh1FWPhVZtJF7+6RcQC161UB5/yT6+8tEza8KsKk5myqnG2ROo8s5yIaFF
issb7ikCbds630nll0QbCMqaLaIoN9eHOne8MpdUKGgFUG1bGOqk0OIjTse7o92X9rr/neP7/PcL
g3Nb1Ddkid/fu8lGUTOYRZeC4+nYfDV/Z0MQ9oHUj9KAMCFo1KLbRWqwU5XbamgOofwh0x6NfrUY
vM7uvDOL08/PTpXa6EJJGxlUqKNjJtkrx482MD5tqsF/DpXd9SWa9fgza8LdlMiSancj3oiW1Gks
yrfTpdF45W8kZrjTUThSyMqwtS4H5aLaKIcv3QvRUxF+DcPj73SEcGuQFDZ1wFwUxMQyRozSRDlw
ZI3+hhLch9TeFNWHfol1YnZL8VICED6lgQkcLsfSAKOIfZlEVxw2t3WWrcPkw2gC2K1NeK71lY36
5MrwSVEEzR4t3aXk8NySkcijeqtx8Osis6RiFnqA6A0HpfojBulEEaXB9HW/mDml+O0sFVELdTXx
NNYgM5bTDCNlS0lNq6Cr3MehtiFpscn8bNWlC2fFzEbDIG810CjcAGKQBGxksFyFqjQQuHXohm91
mRtVhUZwcB4RvTs28hHe2831YU7bV9jeIF0nWU+ocqCqE06oUjLLojGL8FSiXkC6TPpQBcheSIW7
SWVrSeF3ZuU4DIG0AwiFt8QQEiOZHvWx3kcvuIyYEmWu3HX2/fURzRwfFzbUS+80wpQmADcMTzUF
ykFHwcRCCKW/65rHEm3U68ZmvWSqU8CWRjFErFK6HTGchozSSR9f6vhJvSoM3d+pLpq5mdw9SYWX
8b43n6/bnZ3IM7vCstW6DWO4lIcnCdE/7062nyC4/3UTDAvi84lC6dVLJOONJTtxF56czr7z3PqW
jHnb/zLiE4EDaARxhSnVKAvjqMy2kR0PI5YKSuc5s5Y6yOf8m+YCGl6dCT8unru9Uhk0SFrhaYoS
oWgIdiYIzNR9f32y5pzu3IxwS0IO7/JwA/0QxNDXxDvVvlEPQYnMUPjpuqU5jzu3JNyOpN0KrRwY
kDXspLZEQkqWP/VGQbEPRTkb6Ypfb2lkjc6mcPqis/s41akiyLIenjTnybDuzGDbFijILfEzLQ1s
Oh/PzDgW+kZEi+HJU270DuYkKTtNyZ7oMSrKVZyXC+ft3BY6G5ZYKgkRA60tV8O/R6q0llutq4nj
sUl+XF+wueuS+aOQSOMS6TiRlm6MECJJJRdkTApCy0o+q5p6I3flmzCrv6ES1SKY8WwgAoQijbxE
7DI7qyAbwKBChwbo4HJWS7ctUe6RQKrZgPyQsdmY8HaXbhivcotmtREOp2/XB7xkUsgHQbTljl2C
yU5R3sYNsUgKOWMIk0dV3ehxvvW97DfO/Am/8Z9RCscIfJ1p3qIthLB4iFCw6e3KRMtWWacgh+PH
h6RrowWTs+5DNDc91OGyEeuK+QhhbDmBiNV421BmD0lPVuZCIWHWCD3YU3MUxHIiNxqSuTmNKpRh
9OYJzKbfPCyWLWdXi2fn1P8EYZI5/fxs28W5H0KKy4sPdQcU1Gkuk7+6Oa9OYI3qQV2iYJ/fDWf2
hG0eSZmfpgX2clTuvKJbjfnRHu8QRWrVaoteJYJ0N1H8OV96X8/O5U/DYludIxUyRA4aCWvlJtXp
UTTtLcX/d9edf94K0MLpymS/CdNp14lbBWh2nmry4VZ2LGPkB/T9dSOTO4tBG1SN8tSpxNUpNs5D
34fQDZpdp9BQTlEZ37a6+3TdxNw4JkAdyVZoT2DQvnQLU/U7si6YiMDID+mT7jzAyvcbNiBQoqeA
L35VrE6NJEM5MSDirY8SnX7JgAQw2ffrVuYiAPDGf1tRLkdiey1cNabHOV/ep9q47WuY5ZKjIRkL
F8pLq+CrZTmzJJy1Zh+7sI3XXJS+V6JPZaCFC5DsUDd+vy2DvNx4Wm3dyxKMioWemO+QYbyvuu6z
hSYfMlxjv88UVF9y3c42PlI1KxlNzVWP4sc6RkrRNj3a7DM66yskdG6KMKC/L4j9/STzc6qB7kPd
yUOo9aollpVZdyC+nWDy1PtFzIiba1DRkH8+jWG4tuJ6S+QeWEuX1Qt66NUM0l7L+5UWZ7B/l2ul
uSPvMQ+YsxHvgDsfHW1ACzeZ+kDM7aAiVxf/qeoT6hmUV3nvm+EjQvXr1nynpV+b0N+MSDBV3Rt4
kRP7HlD9TlYfPEldG+m2jt9I8JyhFRbsrnvYXLpWm4JYSIoplRMqXX52EsIwIftE42Z+G3bJfdCC
7h2zG4SuNvIwIvjo39UJGPG08B3kcKBRzpp9UVWrzAo2CF8eh0DdusUg/0YMf/5hwi6ONDPMKwPI
ttn06x5ttOCIPvHh+vBnfeNs9NPPz24Qp0fLOUaR9VTFwVp6LPrn1F7InsweeHQmg9ae6IrEhsmi
QFPVUUtiw/596IRrWV447mYPiTMDwhh89FEHKcBAh2YK/eUIj6t/Rt7j9ZmaeyWoZ1amrzibqSxs
s7RCiYdu1pu0PXb9EU6H+E1YLzjk3J1+bkd4I5SK7eBMHESq8cZC3x70NYSgpeRQN/iOB14f1Vzi
GjwwxADAjtgA4uo0I5LcRoGXEQpp6rhGrBHSigTA0/uq2oSlcssjH/nlBbvTYfDqsDgzK6xZ5kpK
NnYkTEp/a0NjqRPQrvKxXys+oqeaszZ7ZdUsa7HMruKZXWEVgy6w42hKYmjuWxnkEwNTaIgznG1J
RH19bmdt0WE9NfFM9I/C5TVUdJoMaLmdWusYo2yPBChd+XGLbEpAwneJ/neasldTemZOuMFCywha
vcRBHe+JuhJEAw9ZsnDrz0aANEJAbQi2E60H4ZB3ykQ3sp7eBNXtzbWS+8fRXivjk0vHdQKLi1fv
80R6hDQXMemH35nPv22L91g6Fknbd9ju4nfuUB1qvVqDBEJh69kJfifbdTZQVVg8v5XKLLfo+ZB4
BfEsibN9A2z2Po1G5G+uD2x25Wg/eOl4otIqXEG64mdl1pGIus0N5KZyGIflfqGWMuuMZzaE22Rs
YBdMOlT7KrlBqtleD8mTWYabDlp6yn3/3YCmAZ+dlWwHFJAHMkOJlX9UpGDrGtZ32TE3183MH150
P8OpAsuAbAu72WwKr/ZLWtJyrUSuO36bu8ZtnhzbDDHHaHyTp8fcWSdfF8xOa/9qp9kT4dtEIQqc
4XJ4fSOnVjJitnCrTRZa6yR/gGOrbj/0ebzS2mylUQLcj8US5m72KqVKQIKZdyXtZJeGJQKYcERl
A1WFxFpbQd/fdK5c7a+Pb8mKMDxXoc+5VCcr8NWuJSsfNm7E8XXdyqzTgwSZaFLRLhAriaA+m7gv
uXgsOGubrTORTY8Ltfhp/V8t1JkNwQ/1gu6GpOeRooW+OuXmjfUYozjdDf66pyfpvxyS4I41eTbT
rBiS5h7t7knZRNFSy+v8iCDSotI8yVpO2/xsZ0VNb/jagAkZORPthwFRWf0hTJPfcIEpEQ+ejpq2
ZQuONpi6FXQdd0lcj0AVbgZf3/768p9bEJxM9UItUtWK14L1LatAPLhvC8SArxuZg3WTY4GYkVy4
BveycF1JQS/FUsd1X1ZHOpF7b2OH0YbS7kbnNTas+/hOSQ6IWO5S732SvkHKcOET5s5dWtwoDkFD
ClGOcO4O0dii8sKC6Tg4DPbwjzX6Fsm5TRqYm9GIHq4PeW5bndsTXT52aqdOsIf66g2962utQZQ7
GxbeDTPUPygUUnKiSxnOIWpel45YeHEQJz0Ph6bNN6V153TDKi/Qcp2YAFuIFH17lfB+09KN1ENP
/gFt0t8Z6c8vEHw0COW8TQe+wE7RTTZ2Y+Ks7XCJk3fuMDwfp+CnWRREvVVjBZHAwFrZ8sK9PL9e
P0ch3P1aPpbADKZ5LN/Q/c8d2Un/Fr270Lw7V1GbHwOYNGgzDNIpgg+2aisZiKszU6721fdMxK5z
Zfyt5fhpRHC8EFaG1J0ac0kIBYV6tI1vtbskXzk/Wz+NCCdsZFSp1o1TjBvkB9ezN3mvHBYR57NW
XlBi0DPChyDmAdsCmWGZ2C8zC1g/Gij0qhZyy1GSkt11J549Hmiqn4Q7gK/bwjbKFUQMvRBTvmJu
rU/SEK367GB03lb/rbkDcMWmneT5RErf2M8M0lrjVKOW16n3ZYKdV8lC0nvufppQXf8xImxKTUfx
0pKJ/Bw1MFcKGtx7vxusnaYnKdxg2hIid3b+jEmmkPTN1CFweQwFll0iBybj2qakkICswzUdNP5O
UqJyk6K8vDGDLlnIzMw1Lmt0Sv9tVbhWdD/Jx7qk/DRW5VGtxrWpyPtBgdoqS7dj69xYQ7tRn/TW
2fWB853ukDeW4Z3M8N0YhUdNup/QShOjzHVnmvVbemCpN4A/VcT8NVCAQh2d/0faee3IjQRZ9IsI
0JtXslwX20st90JIGg299/z6PdRiZ6rYRBGaFUaAXqaCmRkZmRlx416TazfZt9g4VqrvmFRM/39W
FoPXkroetdLiRBN561Eptd70cStLvupH4Ax+a1PSBrsw0vuZmHLTje9z2dzB/uiJUK9ZozN1Gw67
Pmf/ZwjRsmsH8nI6k1B+jn7nyuNOPYtGYyMy+F+i4z/jAZZybYZHpBjVHeMprGEn+9ZJV+Ndskkx
vJY8muEZ/zttNJtfm1HrCK32nNGUnnygIPtM27wVhU7bPMwNg/R8/IfjC1pJ+B5gK6CVdXF8pV4c
iULMfg/Ex+FVShnTf3C3SwuLw6vo+6CcRMJW0H8Ipl9j99CGW7nrNSege2QWzKMdh3Lv9bTJeRGb
kF1zGc2iU5CrJ/qsIy3Y8IG1xQGbSbc1F/eZ3OHaiiAYtd/GUXwf1qMND/U+BgFANUMSMkcoJzuK
NhZnLThqs4rl3ItraOo87IvHgkK3rzJ5TUz/TxvaWTt6f/nIlztm2ZlOYSEtgCb8f4nI4LpQPJnb
ceAqvzbqDYlldn0a36vqlyI7mF15FD5pgRNWxfF2IFqdzwtLC8/Q+qwaMr+K772uP8w9qIF3qMwO
+gpinlX2/gmp+g1vXLfJ84tONBr0lyQ4XdnLuTL18X1bgpmmMJsfi0ZJ7iYrRpMqHsQ9j/d9GEf6
RhZ9NdcBbc0/lhcREY3wocigF70fq5EWX8kHUTw+tK2EtKADOiywZZScqugHyO6N825te3A5mXOY
EEPRuH69pFlCa6ycazEqB/HnIRvHO3WMv4Sj7m8E49VB0ndnQbSCJDFYyGtLYxmYeRJyU1X6Yp8j
bh0GThfnB+1HrehuV3xKe2tXm3/ddqS1fXJhdUkhIY+e2aUqV9dceggaNysEkMYfBv8MUHNjKtfO
tUtTi3MACXbIMOcqQgpkpAbSVlYPdehTFHy7PabfYqfL3MelpcVRIDAmMZ7RWVVuZ2GC3DsAoyH9
BcAt9shQGd0hFhNbHalDev2XNj1Gwznvv09599hvbdV5K777GHA00B7Ar8KT/HpdW8NPjSAndatX
xQ59qyEtDrfHu+ajKI38Y2ExsSGlMchksADn6K6NjT0Tu/kwWPdP+gApE3LXfNfEJHoGd8pw4A4d
aMeEjvRcpJmIO6fn7fqps3NlkO2mbV0h2WrZXnXSC9OLTWhWUph7Ey+FKjlIxG9/sK20gjy+cXp9
k5pnXpD3C/bvQBdnlWmkGld57tWB9QZ+1dH98NDUMdqFsnis1WM/QGhpiU9NJGxE2FVXodmSyqmC
eus7gLAXGbKvzdAu/7vp/e37GxtjdQde/P4ixBQhqjRxBSIO/Zuiqp6M7KgF+R526I2BrBuapSxn
+XKuSNc+H42xNSQjGXdVzvdDMiFYJx2n7CCAx7/t+6uuwQ0MxqiZLW6J99DUiJvljL5rUtGZC7mo
b+/D2tyXirartlpAVnfahbWFIwZKHVOgZAIF68EzQX7Apa9/uz2i1bnj6kKJCd2gdyLGk2xldQe3
6b0afWjEnaJ8i2Bo2fCEeaXf+fg/RqgfXC+QibJOUAg8l/A0ARpymJBlHZ6JX1QET4IS2cmwVelZ
TUiCup/R7/S1SMt25cjLgqpXPNI9w8deexaUajdTkQPwPihoQcMZMyDrZxR7LVcMJ2icNCv3BVyX
5yL9cyUo3BIiGNoBUA2QlvBaT4ikuKn5lhBO+GYKH/LfkQwCQfO/FC4uTS3CSTH2bdzGvBkjMTjW
YmXXkrRxG1zdBLx64YTj6fsOLEkrW9DrAy8spX6QA3MHjb1d6pOThJG9SXW3agz8IC0GNFtxJ7p2
HctsO6EpMFbVwSfUsxu1Ogg+WtbwJhXox9zeDas77jdtDz4JWcfiKFc4q5uYRhpyui+eETtVdk4Q
rrttZDXuIrcIEh5QJIjr6yFVfVHHmhHG9OcK37TIGJ9FKAOebhtZ29dAFWn8oKMKovqFH9ByXmqx
UsT34pTZUfpAmqoB8kRLRtZumFqbNEj7gL/rIODIsF2Pp7Ymr4giXgfqWUJb4dsWFc+aC1z+/uLN
2GtpIUR9Gd8b0k6clGOWBDszGc8FaTWkxw63J259NGRwTR3AHe+569FYZdJpWUusGkTdTnOExSPL
6bKt583qBccge/R/dhaulomjLwBToPCT3ENkbQfwiRr15xJkG3yHB8ms7KH4VcdbgXHVMcghUKtB
vACCtevxdUmSosBMLAJaU/fw/JWfg/SvZIp2t+dxzcuNf+38Hv/Fk7jqhLzRfAJRlj5V4VO9JV66
uk50yMOiCPMBQJPrcaBVDRg95I0Pg2ERV3vamwJrS9lu1fUujCxcuwuoSsglWzXOqMwCCko+SLFe
g7o/982Wasbv193ymISG9Z8hLRzdS7O+b8c51tGoS20i0CBe9h3pa1Ef9Vy+HyfzKRE/6Mnk+P1L
0IBwrMs7umCnQN6F/re0eknbO2BFlsTl5JWm2HbOsQ2l9np7bdfOc7p40NVUoDRCxel67sNM8vRa
Ze6zxLGEb7Iu7LXmL4R1EeO544Hl/xcY+aXBxcyYfa2GegtyXay8XWMVuxlHno0bYIrV1b4Y1mJr
UEgzhlDEStP+ypASEeKTaH3Uol1SbCldru6OmdyY2h4waGVxZVXArQrDSHjuDO+nFZ+6evh5e41W
98eFhfkLLvZf5A1SY5ZkMfoi3xeU/yEcLJyo0cL9bUOrAYX2Rh1qQ3JEyz7HIK3NsJbJfVnRN48M
aNyfew9qr62MxerqXNhZbHgxD3tfEzhmyLkPXY+IjzuELhRCx6Lq9mPieMmPQH5r28wZB9fqiwcj
8l9QkDhl40Ctp96Y4K3vWWyCqoQAvNGZYDiag+jUa8aHXKjtsmyPfhNuwfhWl5OLHek+kAJca6+X
M6ZBRRe6nC1n0ZNSnqtusvstqoK1nNuMMCerSFqIs+naCIrAVj8NUwxUoP9SBuqLEtYHKqZ6viML
d4jA02/chdZoKhUT9ncqDwwO5q5rk1NMO7gOE8O9bypOL5y69Owhvm1Qwi9dPc93qgrtHb1oraMb
X//cc7mGmRTpyDC8e/vkvTWmQpJhW3gWpu7OyiFmSFonE7eE4db2yL+W3j2A0CythUpk9aSpPAeZ
cEB9oLe0Z14u9v9nTHS9XM8nKa/G0HUsWUkDr8T4BFDwQUhbR6S8vrF4az55OaqFT1pxnIaBAFtd
OCU2st6V+Txk3//DeH4ngOmxBHq2tCGRzUpTdlnTH1U1cP36Ic5LJ5nqjfvKKqrevLCkXM+cVgmC
L8od+3k0HVJPFrDzveXtBPoTpVr/y+/HB3BURytNn8dIdlIjezGS/Hmm6pMm8VR/r9vkLY66g+9L
lB2MY9x/DfrpNIq1ZdPQexcIzWQDDuYJKG5d69Y3ElyGmoFSMxoyi/DYZ36CJgifn/XTW6QpSJIc
q/GnZAaOqTm1ELutpj5qqekGfmPTzb0Rn1dd3KBWSy/MnL5ehMM2b4seRRE2E6WqoxSZ+l2Xp8on
ZZLKx0r4DxLOs+bmTIBOgy/d4LNzXpxv6BMNEcJBOB9l0p0qtvqhyWgshvZZPt32wdW7Op2JkI3A
8ycbxsIJO32kni5gK/eeO6E4ToaZO3lSfCCRfxbN8c30q73udQclrZ9v2167KFyaXnhlEzRDMZZS
fJ/A0eFArAIarZO3ssarO9k0SNbNb2zm9XoyZZCO3PWoO2iQZrOTqWJuV3TWPISMARgfsscWB8y1
kclDzrbOPa63WXM3GdldEFenuG1rG1DZRqJubdoAeUAQhSQzaaDF7SePlbo0MoGHvBx/MEgfy3kd
bYTatUm7tLHwQLkRMj3o5/H4cG8PD82U7TbvpKuTNl+tEH6FWXxJYWiWqZxqUFbcD81wSPxvBSWT
IGwPEbTYf+5p1oWlxfKM0GK0mmdiSfkbFRtb7P6+bWB1vi4MLJysKFUvDpCfug/FI+k4OwYds3mF
2ZqvxX0C5vDIg4SA80J4UBKSRNXD2EExnR3+w2CAf9DOAfcFOJxrZ9Z6tPfEgsHQL5eDLqAHYLMI
surEFzYW1zFQV/GYBDgxKvVdjfYYau63R7E6WwboavaIhH7cwkJXN3TMpXFyX8b5vqqbY6O8lHGz
92lfv21pjaqatw6c+L8bPmmKvJ4wuuX8MrNaQkwd9rYccKETwDPsJK1DdaWV/djtfE+EB6sSdqrX
fFFG76FFbc7Vujjc5SKcx4bW25Up6H/f/rYVx7z6tIVjGsIwRKi88brsKod2oybR7U3CjfUJmKHk
c9YPcZBFSBL8Lm2HFsQI3OA7H+hD5L/1gl0qvp17nyg168NZMDpb9Qsn1Mkv0CQn2oH8HyAYlHx5
RnDTkKCtXdwQQ0PqRCMny2BUwqER9lYsO0r+9udTemlkcWKOmW/+rpXczyK5oYIskRnbjbFFwLvi
v3QSQhlA6w/HsrpYuSQYQu4IQCCEyNih9wuDyU7AleEm/fOdApcP+Y4Zgss7bLF6XqrVlS5gie9A
vDbYBW1xQIlbg2bs9tTN37zIAqkWfew0WiCI9U5UHOUopREa3tNkxGl7bNSzkdHoMAn1VzJHudOF
hb+xOdc2wKXJRRiwCj1tNIlsBCBfu/DG10SNdn4k7W6PbG215jZpuA1nKqnlNSquJD+bpJHV6uXe
7lBRPpXdKWifNC3Z0sFeHRJoNvA46DuQnbgON7PyUOlHxGd1fINzW/u4VdNaCc60WHIBnbnveKct
DEhZl7Qa7ev3SaBndqbJmjNY1db7eGUYV1YWDi4mBWq+gAq4Mx2GdrDjWe1w2GJSXLXCqiiwWUNy
tCwWIAdZImEbJfcIpAfN9EpF32zKjZvsfCIu/FpD6/0fI4uhyEkQpiZi1vdlbvR7kD0fYPfQdkHU
mHao5sm+EVpzF03RxgtyfXDkumeyd4TmFjfoKGhbgKJk2UVpCHdiWSOb2/c7o/3zBxDj+9fOIkIk
guWHOiq991kRnazsU2D0tpUPjtFtPEdWAgSGAFDOTdSg2xa7ta9KaBWrKrlHhubkQUC0k9VHOZFP
nSDBLBsHd7e37eoE0qHyW9kavYeFPcVqq8CoMvgpU/nAw3gnIAqZGBvusdYeDrmRSryeUXv843rH
QrExyUnNsHqaRyiN+HaTJHsjFh8CesLH1nvszR99ZHzxG89ppnOgg6uBoCX+CFk5FCBvZrY18pWA
dfVJi5FrVqB55E+SWRWh40kUowzFOTbrmN+e4tUl/XfsS1yUlHfmOHZ1ct95b4OnnqS6J92VO9lw
SNt8w3/WUgVQPCGqS9P7fB9fhK5Arhumtkju81FoPrVpEt2VvQT+C0SaI6Rp9mIWZvuaQdm1n6I4
2qFs/B2yoeil7DLry+2hr3qXDt/3TNxPvWixbXRUX/JowrsgwvwoiCUHkCGiDedvHD5rMC0eg5Cq
kS5AgEteLKY5yc1kCcyxNyW9TTKsJfBoWWWrxQtSCwdgw0dPbY8dUgGeeFTjv1OKwPGHOHkZgg1n
Xxv0xbcsUVrK1MXJIONYUc2rDlhCMOT7zR7iNa+6tLK46c0tFwi4sc5i/FnIbVW1EStXtK9bVfM1
rMXl1CqL214+pAG5+ZJCpt0idVUdfxW1M8q2ktjjB6OwW2/39xb1ytrevBzcIqyrSp3Wikm4EAtl
n1IFSKPaKdM3CpwbF7LV/QLcgYz4HHbh1b6OTE2kW74gslpd+WLUO2qmBKRJO0vRnVzvAuGDYOxj
yYm6D7e3xlreiQfDv4YX81ooPedp2DOvgweN2blv95Ni58NBb34XBEF12V2ZbOyUVee8sLqY2aKt
Ej8wW8JDpNsCCN9ZYHjzPbRqBQpdg0wdfRTKYlL9Oh3rbsJnEojF/Br+0n6bO2d1B1DoBn4jAohc
KgrQXStUesyeh6g3UKpjzEunhksJMc1kC0631rHPeQxD34xBk6jqXbsJqP1U6NQsvTfVdt/I0h0o
mZM/HRr9A0wrXt/t/XKvld+i5j8sGABU3nLwSiDQOs/CRSo05P7uG2Gd3nvFY+9TeutNO9kysjaV
s4W5s30GlCyMaJWU6rVhpfeVof/V9uJHNCAPQyp/LMBvDWgj3fb9+bS/ui0SqEFvzVSt8CvRsX49
pnEg0yxE/uDCrknJUhClQ8D9t5ZcX1GPfj1szOGaPYbGITMLh8LZem3PTJENHfqhd+XWyn9mRlg5
hDx/hxJddOgy7TvlK/OUR7Qg3R7oe7dhpJDF8yCiQxttjcVIxVL3hkrse7dpaVtKtSB+HWL9c6hO
1imL4ydRKf9qG1G+V7Kouw9QGbqzlEzeCHLvlpevILbRHj5vl3cYyj6DrbgRgsFNW4V87Lcs0+zE
Ko9W4YoU+m+P+V3s5v0M8EnjKQ2dqvxOoaDT4sKPDRZ3eEQgYx+r2gOAmFOY6Rtu9P7Un0FQQAeA
qfHofJenSzI/iEcDU80X9dw/CI7hhG/+W/ygPkePwrl6y3/UP8bXPx4fRsnYkmMhQ/zueBemIa1Q
vXNH8H5jnzuWGe9lIbbTYAuhsjKVBB36DDmb2PzLd+441WYLCenoDrRFWOUZMbiZLzaLP90e0uz/
i/1INw2dArPS5Az7u94fRprr0hi1oytHn/3yC4oct39/bRvATAj8cuaMEd9FT2umKFBic3TzKjwI
xqcIbVDwa06UZ/dmgh5Mxi2/MJxJ/gIK+3jb+troAPXOF1AyPDzqr0eniO2U5KE1uDz24VfxU+Cg
SbnFQ76yVnC3kgAk2UlOYnnVbQYprOIGcEItanu9EV+qUHzI6yqyK1JXt0e0Es8gjiEvhmtIiCzN
33JxJsjyBItL7TOdetHtmg4l267o6dTM5fRHaITiPYQuFC3T+o9lLOCXJCnOwwL4HLj2+csuLAeT
EY5jqg1ugZZZIDWzO5Z/TPk4G4ExgahF9oV9fW1EVIRcSuRgdEXoMupSczAiyxuZg9X1gmaa1zaH
ETTe10ZGhGGUuA1Ht01+xXFjSzxOrN4x97eXaiX0zupXiqn+RiEsM0m57KtVi/yMm+g/DeGgURVL
krNqgS7vtmAksyMvtjFba35mqQZkIMuqqaYIjRc24eRSWDimhf+xm9LzqPwdibIjy45UvbX68HJ7
fO9ueqyVogFDpbQIJmZJ2T30mVDyKYRgPbI99SUzkx25kg2HX5tFwi3t3XNj4TsSUAvMUZCHxugW
AGRiYV/Uyq9kLB7bwnD7JNtYs5WAMZcVoVn7TQm6pMnMRbWq4mqa3Cxsq19mmrSdDS7P/PODBAJw
OEAAPtAIsORGqodEzyNVG90wqNVdoVvEDEVTnrqYaJ9LjbzRDbAWNWaGc/5SIaBEcO3xSqP2lmco
kytl6UksXCUQfnaVXRnxoS6nAyzRG7efFX/kLjBn5SAVYpSLMFVHrYXodyC6k9bsA2naZzTPlson
vT6m8n5Qd1SnNkyu7GpMAnOC6FonRC1MNm1UC3ARIjFZBofGSvfCAOPgL6XcmMsVh4RiVKIhHSY+
DrV5W1zEwXEySGLpreh6tYS+5Bip33KYuw+FHphHIVGTJ3HyyuPtvbaygHMZBNjyrJ9OnWJhVNfC
OjPkyQ2HF7NuD17ixpJmW57GszGwoQa4bW9tMi/tLRym4A2uavCFulpop/vJ2zfHzT6ltYm8tCEv
xjQmZuXl6uR22p2RvPRNv7fko548FE2yMX0roQoUxFzfAZltkBq7NpVpmpHlYzq64KiOQg2qOO32
Ve9ttAuvzBpPKKLhDHvD2mLWmqFsslEtRnccpMgOveqFdtao7dym2Kptrpn6LZUDI47JhXvhhWkc
V2GWZpxhhRM38ZugonOq1fLOhCbhti+sTd6lqcXGyo1RVloJU4n2KsWSzcniTRsBccUXwOtRhtNY
pZlm5XqBNJ5vYhMNo6u3uS2pT+rPtgMPATXdVr5wJcIT2ikYzOTVHJcLr4OHFC3HmNALq6stgDCV
p1+35+t9eocnI5czuvk5tGb84/VgBLQ8pUGVGIxfvOThs+efaK4uxLuq/1/2+NA4x+LH21bXVomm
KGLfLBgoLq+6+CQaDIHMkaIJo40E+klR4tD2/fbPj33aiylTsF5QaC33UqREit8bjA538L0Shkte
8tZWE/z6JGqYmB+v2FlsWVPvq1EXWCdUL3ej8Hfsfe8P4VPmtHed8DhuoWRWAiwll5knmeTjrAly
vWaNT0LOEJLJBeGw80XAqqktwAASyedqHM+BIuxvr9fKBp4JH2ZdOHquwAFdG/TEfAqSuphcFf14
dK7ztzAAMOHR/XsoJvnnbWvv2aboewfhZqLByb0Dm9fmLNkPjHaoJ7cs1f6sGOjMDlQNHSPu+1NB
yxRiIVFphyi8u3E4KCdFDLMn3Uj0yg5Hq3HjdNqS21rZipTeuQQBe4agYtmVJUuIK8lNw2WrDUTu
qFDbdmWx1UW6sjGwggdBTzEXjhe7kfRx5vtlO7n9WXwZ/9pi4Vu56UBkMDMKoiDIc2KObBfXgUY0
fVXMe65WHnwxHn1Fr2byMzFiiAUTkT6PJr5Thnxjt6/ES2umReXNySq9a/MXWkKJboxMnT7YXp3t
uhH2NY6Cetq1048N55nPrcXr4tLasozVV60M+1CHr56NL+WnASqMg7kbv5itk9/JW9ZWZ5ScDv8R
ZIik1zPqDSU+XDOjldG4hSye6CA8lZ7+cWx/JsmT5r3R1fSAbpox7crCLcW9TJN+mXLp851Ue03F
QDyFypbk69qGJXVpgKXk3CD6XX9WMOkTHbX4kaK8qvJD1Ee2Oj1Gf86NaUjc8uYmTDr94b5dHFC+
CS2SrBGJ9P5NtT4Y1OzL5CGv/tak5lMUqo5pPXn6WfD+/A2JYcp1KuPTSRouPNlHuH1mMmaV6x+l
1dk+11uzc3TtV/Ut0OwAjsHbfvV+oQFxULDklIQJ6l2HySjCGY+6CZdMMXskRlKAbVnB4r6Vabfo
76JC6neJNm48FN4HhNnsjCCZLwJUpa8XsregTTYaQqGefBaUY2N9mMKNcPv+NJnhKcRaSGPmKsVi
Kqs2ob8swARsVuMY7sZegXHkk4UgttjlB++Pcb74zFxqpemQJJe6vHi2RlILmko4EBNZPuUqlV9e
MME3qQg30BDvy/m/TUHeQjIZJbd3z6xxUgeOksktfmZldkyFdteq9X3VDHZTBjukRg61n9FgFbhD
/dg35Us6QXuSOHnrd5T7e0dNpI0VXXMkHNZkvwDC48/1isYkk6SZUcyV0q/0nNjjoaUmKp9q/74h
0fjH92HetWxRUOgz7GWZMp380tQjxG9dL3/shb9n/bUtFa/3J+O1icWAKL9UXqxKTHL/uZt+KH/+
HqIZiK4cSpB0+r3j50M9Q8+Q/RZdEOgHGJfYekH7STDCjezv2j6g0knQJGVJi/wiljUtEnqxH/Im
B92sH1twJndF9Tgcff3ldix5fyAyogtLyrULTCbSckqJJTmQ7UhqD+ij7ug9ckc/2HnWhsNtjWtx
FqhkD6Wxw1oknH/JjeMrjjbuC+F4e1BrkQqAGd3K5DVkSoDXg6pGLdUac3aDLNp5SbErKP8N46Yq
zbwM1+c7kwcXE3mTuaKiLiLiUGgVdxiyCwIhQw/tXmmRzR0zxDfKXR/8lVnVB2konvrYPyoCrDub
NLPz8tz6goXDs3czj+sMR0ETHYSgvp+jpuVb5zE+8IpJxOYTrEaH0NvBsh83ziBuQU5X51pBUZiT
aJapXMy119Zq3zXMgVg8mmANcg11uT/tqCd20p1tcI0gC0cZ9Ho9NaFLiqYj46H337PplZ6nzQT6
WuRgHUEz4C9UXRb7oBezBikUi1vKrjtVb7f98f0ViO+/+PGF26eqXPuTyY83wjnOX4vgYdLp19zf
trK6leGRI8XGHYiEwPUsyT7lyiL0uNtWJy93NMHtczuqnLY/3Da0dmzwfmXN535dILnXhsRZcbIp
MERd50EIpqfEi3/R2/9JkU+e132EvdJAxWgjf7jmaKQ52NbEq7ledG01EpIu7sVYdIu4dqLqQZCf
kFffCFCrQ7swsphDeIfA0WiR6A6d9anw230+dAeoCZzClB0zlhFrMA5pHm8ErLW4yDturlyCOWV0
12MLEXEO8r4k3lcfdeNZh79dUZ+Y2SjivVB9vr1+azNJ2xblFUp7lJ0XQUNOihFnxZrVDF9qwXeF
ob5Heu3utpk1r780sxhUZgVNWQaF6IbZXuucNHKjjHz2p9tW1lYMoMD/ymYBkFjEYN+K4SRFU831
T4n0KJe2Ph66vSfssqMf2LdtrU7c/FylMgrufYloGUtVh4aP40uTyR0HPvp0ny2Ol9tWVucNXLgI
9IDq6xJZYrVZWdMaIbpmeBrp0uqUJ4NKWxdvZF3XRgNdDSQ8pIss2iSvna7yFD+q6o7LDEFCDWCE
ZMKk6Mefj+bSysLZqkxJyzboRbd/aetf0sw0fJT/uG+HA4KbNe96MqEQJy+2bQh8s0tyUXRH+TyO
x0Z0vPYYthsTthZgcTDqMvTsUQSdJ/QiZSGw+sU4KiKdo48ZY1Db2hl8x+rG/XZlcv7kxck+a52j
00bEo0Azh4wLY9kgk+AahM6d4CB1G5Rj7AjayQ+3V+c9xwY1GZl+J44NPAEy42szfLtYRaPXuWXq
lsaXPjt4OTyE96b8VZA+VeXOi87jL/UZOuU0c0OoPpLx3vwQCufghKaxGtueo/5Q2l2dbJwyK5nM
609bTLc41rU10EXq5t+7u2T3Oh3Hw1fxXvt6ewpWUnzXdub9eDHTUWxlnhlgp4GpYHro/chW8p1h
7TPlLoDP82sfv6jKKXjbjCe/Ly7vF/nf2V+cpDFLr/Qdpqv8LhTvFO+oZaSebVk6a/UpjT6rkNp/
EVAmGr2Dlzrhx1x4Lg5Q1VQCIlCvk0621b+PT5O6l61fjXys9PtqevD5n3NbPgRv0Wvh21lTnmrh
jLK3UE22l20ErN+UFreGsfBV0+i7Sumszq3pew/P6O+YnmTL/Vsj6XZMpcUw7Ih8Uxscpt4JUOx9
qNP84AuvYXSMQZBH+Z05fNGK4E51Nf+LVD5n2U5TM7spVDridskUO1qLUO1bJPxd974dwioRbZz9
vyuQt4YxHzUXjqAHg2GVg9+7avZMcXCAMBIxaN0/zeQzk905+VvwM7WrO8PbTcTLNrPjJy13dFah
dBMwMsEpNB4FJ/Y/j+YONu6mC3Zx9CkXnVJ3m6fwZbjzz/JeheEN5REmzWZZqrOUfsgP+bMwOPL4
pL6Y1ksavcXC4wDPtd1/GD6Vkh3GT92jHtu5bA+0/cn3ovdkpTvYbqxgYyJWsEfsCJBNKCygnEaj
9/VEFKMp1AMpBxfGLCB/Y1rv9aqc7tIyh9d7yGQ3yqFb9hX9KRnT/mNatzBRDuNWo/lv2pfrFZEl
3p/koFWu5sgUXX+IlHRl2/Vh7064CxhMR9K6jx35bjKrzlQ1rvmrRDq+AkiRl9I+sfS9It5Z4zfU
c+2oV/aDZo/kWBpbgJww6eM9HGOnOdmbBLFdijDZCk5zbPXqZM6ZffpkzdRtav0kbhELbo5lMaly
m8tlYQXgGoUzKjDGF+0ksC3yJ8X14/3gm2Bw98Nwgks3REU1DcgWU5rM72LpKXpSDFsVTuE+7I55
7Hjyrsv/yg/BmQSjobzkrc1xYW9pU76/iTD9oM+47FBs4TC6nn5EeLpe0dPe/abePSvPfxx3r399
MSGhEvCoTPh1r5lYi+qQysfGBLeeO3M1Q5AerW7aN2P6tVXu68Ln0RRs5W5/N76/8zC6axBJ4UHD
/ft6iGZURWLaRj2IkvFJEIVn+MBQAA6e81g7Z/B9F3IFeJkwllMwGOWdWDqelxxz2XptzelD0I0/
yd89BJWJqHZXP3Sld6Jq84qoJ4vqhJKy8+ldFA4WghHZ1O8b5aCYrtG+9hlwaEN3fGFj/64uG0gw
2iZlC1DO4kArRKVLEzPr3SpKwUBGuzztKHbsPWoet9fw98Pk3fRdmFp4SFFJaln5Vc/dQX+t/Iym
XTAruf4CK8ibooW7JBPAfRs7URkfuj750sXFLnttgl9J3diwzZw6U7Rb5XtfnZVUdWRtOMrpaeMr
39+l8LQZYcAlh8LoUvHJ8zszr4Opd9GOMQ6j0B2yTKp3qa/ru0xAJy8XvEcw48T8GIkcAcX3Ru2i
nVCPll0mmeRMtaCy8dr2UAIoOajQUNwHfgb5xJBl+7A0baJkSp5l0nkyNvqhltXm9fYw3os/0ClK
IQ71rzk8wxlx7as0PsDIYdW9m0P6aMiQPrbwhAq5dqdO3bHW7kzzOIzfVcGxggd0Eg6mZWcSDOXS
eFdwk+nj73K5pb7y/v2FrgsNrDRxQ7IC3uz6o2TgsfPU9m5veq+ZdWzyF8lXD22dnoCllp0bTFtC
lSvLiUn6QOfS5Ky/cW1yKOk3tmIRk3HlTNEZ+siNG83qoJQ5PAFo422hXFsoGqMXmgT0e8YFIAiO
jfxoyIlTd8eEmnN7zscNXPY8S4t9BKbyX4OLMESLZKblOQb7Ya+ENtJ4g3YctX23tWNXznbWi5zy
TNNAVW6Jxa4sYeiTgcmTjFOURyfuWA/aoy8+1j+rT13iHfwtcbI5jr8f278WFy9ALzG9dPKxGEYn
dBN/gje/QxXg9uZYNTLrbEEHRsXeXPhE66sxlPhS75qFZ6fjN8sTDmH6qgTdXZt+67YKAasOcmFu
4SCZmk5FHjCm5K5/EHXHfKrvhMjOzvWGY6zEcqgp/x3XwjFGWR3LeMRQh4xxnnIb/csQ7iHpOtye
v5XX1ix3/a+hxWurrRM9NUxipPIlPba/vK+po/yt0t9p1xvFjXUXvDC1OJ8SeWroIcdU9Fw9K6It
7NtDutMP1ZkDxNjYylsTuIhPE3nXwhgwBl/0K238/RMsEhtzN6/2Ow+/GNDiJhMp1BaMap67p+C5
a+zmR/e53QVn8dDeAWhrP2/Ym3fMLXuLgyAOtKrOuUu4zYHmgPItPSpH8R4x8DsNRPEW1cP7PNGV
Zyzrdlk5WLlqjD01hlPXPtYDvrgFElg72y7dbwleCLu2sUKR/duich466SkL7GzaTa6cOfhFYAeu
cDQPor0zun3wbWOXrQ4Rn6OWAxCcJmAm/OLlJwxhlgke4ZduhHNSE+kRAc62GglXMg3M5IWZhS9a
UZqGgsBm9t1J2eW/mnw3kGnoDsiIWIHvjCWRP9jDb+VsXIG2BrjwUEOQpSiaj0w13psoY2lHcxq3
tsHqViOjTDUMoimaoK9nsUhbP2o6medCdofe8L3i5omtO9FT1dh6a+d3yV7sbOFFrTYuvOsRZe4Z
E+cmbghJri03sKvE8IfgomRDOnk6tV8sLd8bmWvGPayvdB0VX+FMc3rV24gvvzHny804E9jQ4Th3
lyzfqMnU1EXjaRxvZfCiJsda/2wk3VHN7ifxSVMgnfV/VKqtRrBhyQ9SiAKk77b1sa8+jvPHWV9F
6+Crp/8h7Tp75MaV7S8SoBy+Suo8ST0epy/COFFZorL069/h3Hvtbg7RhP12jcUuFugSyWKx0jn1
9ySxDuu3QVcjeg5ZbyhnJeK0HkERWwB4kp6b6Zeyfl2mjxJLJNKrPzLeNYllepqwcWTzKbuz7D24
9bbFKXmw/XkPuqnIfvang7G7LVMokjmbYP9CmwjPG6QqlUMaDcta5tdOf5jrnelEt0WInAk04f8W
wT7hwhw4xqjTAQisU/xiBuu+972H+ZjIXDGRD3EphVNaC6RSCD7yGSbv2fFy386U3Vqg4cXeteqh
6/dSMrC3Idm8rqJugdABOX8b7CPXC9ObqazAKjGfQJaxqfdkg/KC80DvraMXtPvxOB+dp/TburV3
5NE43N5UkXW4lM1ZB6esXGtdK2DKdiOqJ0DnHe2X2yLeA++ZyqPqzzqIMAeKr6OVSABpZgcZbYh+
6717SHf9Pt85QbMzz8q23LqSkgBzv95t6IVAzg8s1dyc+wYCp2D2ZcxHwh27+HHO9+uMcnKyvsSO
lRMg7vRRm78lyviAE5Tcqbfuo1vr4DR+buMlnkesQ3ne0nPzoduQV3AsHUbfPaz79EjD/Ggf6GHe
FXv9c/bgfIkfllP3JHENhXcbbTUgoAW9KdB6nH5msdnrOVZsgd37oVAsX2tkM0mFrzDwNWj4ciFK
5cvXLvoRG4OdmbdNX/pn8+huQDi9T+/ah+4wjFuJTrJH/d3WXojjnl4js/O6rhqgHH91e++5x80z
tulGOzX76Wn6nDwUr8/I/0oefKHuXEjljH9erUVqe0wxQdc/bdAuGZT0Qz5IkngSMW9RxYWlLNW5
GmobYkZ3r7TP4/q4mg+LLDMvSjOhLeP3kb29/xdiQPQOfI9TQwzdl2Xo7pqDTX2/CjFtI9SO3bPp
ryBQfLI2NDCi8agd3f/ffvK+zUJqUKsNFPtpf1bnXZJoft7OoLGVuBPCG/BG4QoABBpO2IZfrBRo
UdWru34+0XWHJlLUsRcZIFVosy5EcF5o6YCAN0aC/zR7GbpTHzRspUTnmS1/r/OMiPY/q+B0vk6b
MVtcrKKMJupXXyzdL6r7ajyja+6nrQI1io55iVCd1atvCeVU3naIrRU91oXsOfGNb+vd8uru2j1Y
8LbOvfodDq/9PdsfjS8IJ5TGl1E0vOdFYa/P7419N+fW7Ic597oWH7A8dr597AL7h9n43YRkjg/k
++sgIyi/rS3IiF1ry9K1o5o22GdQQrjKLk03XS954cTmC6qIOeK4ZPxo15IottlaMF8uEB32x5I8
0ydwDfvSGr7Qicct/i2JOz81plMXd7hi+cfpCDbcrX7AqOV9E4Cn5J+MMpwvB/hYRmLMPTRxtyaq
PQwwKHr4aIz+irl0n6eH9ZNHfPvOOU4/7CGIv9chIt2KyMIVUb4AtDm/pXOXnMRJZWImJ7zmMsAQ
l/qXh5TfgfzMdR9ZRveZ/ugqaTFHGKhcSuXuPcZg6nREyw/61FHZ9MidaoRGd8geZ0MN3KL13SWq
vAMpPiX2Ny9JfC/fxtMh7b/npPpEqpdsHh/6xdgvMhARO9l3N/diPzhzQUG+VZsNO432k6kr4Ena
rI6vf6/SiBRB/m+R6uVWcKpWp+DkXrURqhZvDBpqeJVpcEAZHs8lKj1+tb9ryjD94B3+xTD+WSmf
S9FiM1tXzPU+ZfRQPLULAZTuk91uyfih1X7Q4uuoweVyo17aayD2jS9Ec7ZiUDwApTIcvxrF93bU
BWBzD5rNFLo+Dedj6+sSyyF8Zy4Ecg5/71lqGk/qfCJurYVUmYFKjBVDkroReiAXUjgPPNW1YtGz
CcvK9q3ua4gtvPxoSiNdtj03dJQvFFpLnedkYKYWzBEHffxSqo+DZvpZ7BuNzcrytfJoLKPkVWOq
f0ssZ6jg85jqUmB54E3KA+8h3rr7pffpp9uKKXpIgMnGABYUVWwAS64fkjJuk6zo1/lULxi5OO/G
Bl6jjAZGKARwFYD3wHAFSddCZgVDyrPOQOSuH71GC2gf6ZYMHCMTwlm5pAadihXrCHGNj2RwfdU+
9NX59m6JNNu6WAhnr7LGHEmnQ4YbP8fZNwWD3m4LEBnESwHccUztBJyEBgHor8KgwwGzd5qNTQ8A
isw1wGqSB0m4HuSuAHBEERygxeuDyZpOG7Qa4pqDEsioIYQHcvHj3IHMiZXl9YAfz/coCX5WJBHI
G2KbvyEMLPS/j+cOg2Uj55ni9/X70o/mxxnjiXwaZa9aRD70wS/8x/b26QhN6aVI/nhc1516R0ME
mb6ABwiNefGxd2gwlFbodmCI6n6C7qxanhvaokVQBbtqO/gL+SL5DrZ13NIBQ2ELR5LPA9b7+tza
mJh95pi4UEVaOsFoGc2r66bJMdOXgmzMwrIXP51UNJVphVo+x0ljgr0i07T5kLeOtx+BUy5CxaRq
Dlq20j1aVjXf9ZY3ELSJNbI+ftH3MkwpTgu25h0Gys3cQuknptYdYMLVUCrfa0qLHcbSL0EVW8nJ
WQ0ZGEQolFkbTJUCyIkveM76rKZgfEdENb7o06vXHWhjIu750ZjPt89DoOkMR44IgGX5MVDu+jhG
zGYppgKS8tkwQ5Mm9j7T2zpAYOBJtF6wKHB3gTUdhLeIffmTJ0ajDKaKrlrMflFpDjzneoehXLFy
v9jlh9vLEjxBaHZFMwlSJQzGwGn74rVmjCHHaLwf1U/IvKLVyntgkDyjflCzNQSRRnRbouBNB8QK
owAZ64Th8cTYIypFgLdrKpAMHtmWa+6FLobbHQZQwHWYb7L7B3FsI5FQBmyWj+2Tyq3qqUL3sAfK
TANFEqU3d7nq/iROK3ueBAcHXBLDshiAsL9jXU3dEjPVpkI7mXUM8uA2SOY1yIFkt831Q9vLSk6i
s9NApIeGERXIRb4ViDaJY/doaAeX0rpNl33ftV6YZsrGJc6xc6rP1NZ+/v1uMoIX7CT6ykEQyt0C
h6hqXLrqKf9llMavsqcYN/Fd061f/yAHR4amEw1YeD7X26etg4m2g3aq8pfKzAMA1XvN7zoqeRwF
txqmA5EviIE11g15vR5Np1aV9yOIFuvks+M122m1QtCfSpRQVIAHehjwWnA2GIhKuUe47vLORkOS
dtKVZo0sq+zDElHYVpu1eeN6o7NZ5r776XqZAprckRxGy5WxPgq0k40IZmRYFqN74d7SQc9nkqJW
eHLRntrn47Zwm61LyH3v6Zsk/3H7BEUR/5U4zrJoZlKbGF+hnZxMDRoUJRuHhub8DSbUK/KdjQfI
NkkwV/Y2wSDSv3eyIB08/2hxRG8jT2M7L1pMK/Cxnmqt9p0YT94a7ybPRbv0fdPsCtX8USiNBAQr
uJB4r8F1w3A3GMjDRWGuaXQddl87lVXyARN1q0/VaBwU9UNtFVvDbiSgKdGBWuhrBIEFBFr8/Xe1
Kom9EQ27IHYKqwzN5XFzl9J8W3YEA1WtWJLAFy0PjitQvmzIkMqz2Or5qqu1XeonkgSrikoo2gEJ
vR8JmKPbuwwNLLdVSLg+jFEBLAxE7KjCXl/OflkGu0bN+VSvg8+Ij707q0j3JbqyS11GziV4loDI
+S2MT3bb6zS71On00zAC+zNqFIAmBLVlmiZP/Sibp8jZHReEPsBfI6EIdClDjXOashp9AerVyoha
sw+S7NFBdmiaP97eP+683oSA1QQvEfCC7MCu9w+VW8OJzdaI3OnV8aJ16nyS3uXxAaRSY62Gt6Vx
p/VfaXAiYGBATPSGkb9IbqtdS0dHn40oX1PFn7J0ow9FtzFTJ2xQQF/7UZKC4E7sPwKBn8YfjFJE
O/v18rx5bjEqWTMitNVlQ9SiUb8qjgRUgrcXxgVQ/5UDy4nkJQufObtpYMJdUcOsR21mDAErbfkG
0YbdbSni1fyRwil7k05Wlo66ESWonlrdjpFJzoT6mP18W5BI9YDRRGyB+UTWu20rupJmmWcYkamo
QYnm8rS2fHBn3JYiXs4fKfr14RD0ceKRw3JMy9pO+QMgJL6ttb4U2ytbDqfkSgLQZW1CELQPoI1z
Qj+6jsTQijQADJ/spoLfAIu6Xsy6rKnVG7hIHVqIkddNx8fcLGRcfaLriqcZCWsU7IB55PS59oaJ
dc+Z0eA9u+TRUuvx7IGcv9HHZ6IY4CHS5/lw+5hElxYoevhZSP/jBeFWZtBmyEag76KqbTdu+zNW
ziuKGUCOhRhBtL0tTKQTl8LYx1xYCDeeuyJrFOiEft+kX8zmkLRBbEnIOERLcjHaz0E7OIwrP6xM
GUGeZNepGYEA56M1b1YgSvQ7EH/se13GVyWSxbB1CNEdC14kd2RGQVMMuZrMKPmQjl9tvIDE+FH2
4yZrJHsnUEGoHiPsRlEbwS67Bhd7p5tkMd05syMSr+0BTb5AlxSYBH77hATrYVYO0Rdai2DquFvb
tq7WDiCrjkg16OC5saJRawPUgEGehlyYlZLPtwUKVAKQaAzDBUEl0Eg8GMlazdzOs9KJGty+UMH4
v8Ch1gmYc2DCFhmdgVAaKs2oCoGFTuefqD6furruIG3praQMkOfD2KfZKuYhmPXV/QYCy8SQvB6C
Ww2cJ6gq8CiyFkTOrg9DaizmildKofcGKDFWgPqqQ1a5D3WM5jnSShRFYA8xnwl07YhEgZblAca0
BDqq7CwjisETZNevZTIH6yxLKgp38kIK9yZWRr9SWsNuoB3PGNFOCQd7qlFq+4fX6mo53PZl6pxb
GagjIs1c0Uis1a/2hBSgE1MpME6k/A6OClkk2HgU8K6vGDWmpB4yAs7eft6Za6Qs6RMlI2ACBSYM
PHgGAHy1TzEXp3XH02I9GlOokCBJ9msJtj9KDYn/y9Z2kQFkjofuYGgEeJnQ4gfu5+sPqvSyVeMm
NqLVQ4wW/1oKPUgfQBmzxlHTlZjrMpH9399HBBSIKpDCAwqFO9eZ1npul40VFaC/cTBIcsyfy+Vn
gpLlbUECNQV0n1GQw9VAPxe3tq5aHLXHvIpoUR5cdI2CA9KWRGMCHb0SwZnMbF0aFCR6O0rWNd25
lX3I1XwE5rmwfFibWrIigYXGtB0XFG2OhQwhz81IxinJdBeUz3qdkpO3NKVvVHEtsdCifXtjlmYd
TmxgxLVOuAvmevVjbkWkz+DNgzmgTcEhLAufBXfBQA0ESof7AHPJielsOPELJkFEibnJHIAv0bG9
YqzOYL6oGAt9WxcEeg5h8K8RNcPz4ZUOJHoDGIJbK0I0u6tJH0wgcW+/VctLVyRbFaN18o//IBHU
CGgQADkheh+udxGT38lo1pC4EP3FSJL8OJTGS9f2DprDMUHaKdLkMC6KEq5geg1vCxe8CAaGK4PO
AO+sbaqcXlZLTuI0q63INrdW/GqESqAO+2k4ZjIslegGADSGnDyOEiPfuWVSuEmxqvS4zYrhl/rX
eUj8Iu6C3ItuL0moLmhpAk4MASAIH6/30/amGSnO2IoArNr06s/eeHXacw9ymklWqxWJgs1AFcYw
HAww4AyH14FYCybKjtCjdb8Sfw5sT3JAfLaOGV42vPW3DO6EetfJCi2v7Mgdl2020Rdigyqg/VlX
ZdD0CQaMz7uOxE9ZKjP5ohNDBRUpcJbSRRh9vZFDNU+k9lY7Km3MJFkNJ9SnOLB679HV0l+3D42v
dL0t81IYpx49Sdu1yhY7svW4TneopKjqBgOYmztn1Lzv2jrZoIxM7ScvH48jQFH3SjfkX5dRcbeJ
5iIpE0PHSdDluvfp9rcJ98G0wOPp4Z9wr6/3IUsmDfmYwo5iWn9f+q86AUEAKb+WsXRWL/sp7pVF
AgY0t2DJY2TYnO5mMaX/eSYwIM4He6aihXHl7PteCVbNTyrqD3X3s5/Lra693l6l6MnAGFNkuFFV
AlUht0ozrRYbpE52BOz6rpgkT4VoDy9/nXPmrdhSNLvAr4NzArwpeVCsu+Ll9grYTeA3D/lOVcNN
BHrV5qLv3l27xQWLbuTWDwQA7lk//kv0ja3BZUd4Cmv5DoNhFX1RqbUTxeWpxlowr/32IkQbBbYk
kI8xJlM8qtfKli4zcTRKnahNGJfRQvYYsCElmBFtFV4aF/psAYnnsP9/EcEtdlzn3TLbSFTtEgC7
nqVTxoR261IEp8oLBhm48wgRqkJ2josuJC/dxC44K7KNTknQzuohbacAHKJ/n+4BTRMLgzF4DJeI
8xemIkbigtmtOt60mRdqneNjmK8+jBLbLHo8LwTxaVqvGJV8HHTYLGCeqxGcEXeKhoSc0vpqqfme
IUkyCk8N/NdIDcM8YHzT9akNRru4WuPZUdNYPrp3t8SN0RwsY32WiOHr2Fq/GlO2QkzSOu5j2WnT
HgO6vmNOt8TXEpkcsD6iCR9hFegnOZOjYHYhRfLZiXqH+GWfBVMr4/YRXSfAj9EfjAwMRslwdmdZ
gZhsVwKboDSBPnWYYhSVeub30rk/AklQN1xZkLvjcPj21aWZE9TqFDty1I8T/O21PYGaBvM1Ja69
wOe4ksMpQdzP61BmWFEBehj3DBifPzhl6OjR4gySfIFAE/7IQpsx5wF40xBPFVM4tTd8HVArNwtc
c//XFo+RfiBaQZ4AlUBuQeuSjJ6a4WmAoTDD2qgaUFuubaC1S+e3uiPrGRdoHXjVQAsLRl64NnwK
3es1N3Z1JF5o/x09XEGlPd9ekHDXLgRwC8oIiLRiEwJS7UtePHQGAKbkcFuGUNtA8g9ucaTHUOe7
NgV52ZOuWSonsvqDZv1CU0baRB3aF26LYZ/KPanYqz9iOCNujoamtAOWUthpvLFa8BGCb2P0q1pL
g65bXod6sA7Urr3npGgk5o6v2jKf0ETUjAku6AgB1opTP8w/TmLguNzIQruEPi77agSj9wsiTh9E
fPskedbL18E6j+YguWR8h/070Zxp0qlC19SBaAMyNaM/tu2605I8dGClvldgSybxvCGGua+84rGL
C4kbIF67jkYKTQdhDLolrw94yjEYio45GnRBSDTM5Ii5UUckQUBTcwds6Um3k1PWNOBqc+tznX++
fe6iO4JHhnE1Aw0DMsxr6bQw87HGaxPpYwdy10LPg1RVZe6u4P1EKdBDKwxUGJkKZuouvJB1rYu6
pK0bwTP05/YLuJ62k3nOwMszpdtp+HV7UaIYA4UFcNDBR2QACu5iWgBIKXOsuuANCef5OXfDugaB
475R4z0GzYa93Yar+0EZ55eG+q2XgFlLVlgRmW+Ec5h4iXE3bG+v19x0A7S1L73onvTbWN2PbeAq
YSFrxxGJAZ0VCvJIKaA/hvOFczSPOWRBil6Z7M3kjXv0ymwGsmls+0B0iZUQGSPgbxDUQ6KNvt7r
NTkDxajXybSjYm5AAlOhHll0hnUo9cbe6pjRJbmdIgOLHIKD0hQ6/FA2vJa3LApR8tRAYOoB3KNa
jeEjpw/WtEw2lku4MsZeivw12tL4uQouuB4tb8TKlrFHS5MDioCp1nxK7pLUlryDPKzozeZYF8K4
K2/1GNrbwaONMK4Q9ArTUtj7xqrBWqdgDFMIdsbRH6nZhQZJ6402lxtLzwAn6fUPdVyrYDGol+1k
JHowxY72hP5QupkLahwRFVV7ZckAlE9lHBsiS8G2BpVNkHrY/IiQBAVbtQVbeUTr5QXEMwfsluQd
EIuAY4WJnnAU+EJQntBqcRErR2lh/2w0+nVRFxmmS3RfWBcEY/xlY3O4+6KTvJv73sLeW1NQxNrO
HYbT7MYB0VqQ8iR/hyV4O2rktFmQggIawj1Og4u8TEHsZUdrOWn3lsE47hZv2pmYrPitmOcxum36
RHqMsBXdp9BhNK9wy/OGpbNHD85pApoha0GHXlf7HcgRvWp7W5LosHBfQPSPhcGl45S4VNC4OtXM
DR6ddLt4uJa2TWVMIcL1wKk3wCqL0IF/OZoOKAm7YS5WNe1yvQb/IWj6GkRhhQxJI1zQhSj2iF08
Uq6VptpsowyJhuIxTDHE0XdLW4a+EJk0OKMgBLd0GyUPztXRWbsFwTityIsb3VfsvvMTZx1BrBXL
QiKZKO6EpqkYUVVlTn1t76bSdv0hBSqtmFeJHyxKAWBWGNr8UcNCIzY/8zIGXjC3zQzBV/WUjb8U
pw/tYlfM29TJwTeYb7z0ichoMoSqgfw96u3wWw0+el008NB5GYRaTX0sB/OpdesnMwHdp92d/0HX
4U0wKgDWKcypRkLjaRkL5GpUs3gwEpQE1b9EV78ZCkTHjGiADXblK7Z9QezWK2cnGml/mLx2m8Xk
Y5Oodxgd8e32akQm8EIU720Xk5vT1YWo3OyOlv0zNT7pA92y/mvpDB3RIbFhIPjDaM94Lm34CSOS
NK4TTfWGgOa4BLfxppA15MukcJq+aiow6XA8I033m/XczCHy1029vb1vIilo7LTRzQqWkHeUMFij
1mglLJ4+lHdpetSJ4S8zDRT0Zv21JBSlYPEQJLOoj33JhSki7uoqGouHGkxjCBB0fcb4mI3bl6Xv
elQW/Av0AR4k8oPI4kED+WxT7BFjMdrEi+Yu3VWrBw8EpxksSh3M+fCzNOJC4gEJTK0FIDq03UAK
HMMGr9dXoZuPDnPtRZZd/KRpCXamWZFNBhGEtGhPhT+IFYHVz+WUoitbq5ym3ovaIdALcOxCM0BZ
uVK/+Vo3m9snJrC1Fv5irIVgKYLvcr2iUoNX4aaDF2nZ2vhqphO/s9MPjWntbgsSHRYSaSbiClYu
59+P2EvomhitF2Xaz646eq2ytSGsqPXAMT7dliVcFOg+mTBwTPFjk+GSN4BqLF5EhjOa3CrtPpcR
oAvuFIvTfotgy73Q9DxLUsyEGLFvnhmgULIlYEFWSRWmUyK5VKKdQzDE4hfkVeFiX4vS57SkE8Vq
RufbmBnH+qUFQnll+CZZQU2keuhTQX1ZQxnpHcK9aGvbG1HNisbUT50goZuH7Oj2IF5GRen2GYny
B2D1/yOLi8mW3G3J0qrYwSIoj+s3dHB65/SQjv5GATOXjGJIdGB/xIEf/3oXJ7LUtQLq/MgBu0l3
0und/MlWf9xelHj/GHsumlBQr9avhQDOoHTuYnrRNH3t0o+a+VJ64dQNvkcedTMPZ9ngAqFugF/s
fwI5gzRak+USffXQEUZ81warmPY5X59q9W6kncT4iW6VjYldzPzhIXkjk7lQ+XpUtQVlMg+V+Kib
Poz100T74PYGik4Jrjm7tGDmRAXhegNXe166EtSbEbjTAq2KrHoOY/OXdH67aC0OoCzwZsGT+a68
VAE51WsdFD1O+jxEM2lz9lq1vK/0avcPKwLoAKEGymWol12vCLMb22o1Y+id8RFALr9Oz8itJP9Q
eWEGAjUExN8oMHKPRmP29eSpbRy1cZhbweD5pfPh9kp4yizm6kEGBtKxnkoGNbpeSln2JrCTagyo
spVtsbvdwdX6LmjNKgvA/FzdaUX2SdfddoNc2hpMoI49VrVT7YZSUx6zRRtDc03WXZkY6sYYc/Rm
Gepyryegj+mByd7c/mDm3XK54bdGDiSzMLUcXYzX30vB1Dj3jhdH/arexy15qpS7Kn4uxnFnoTS1
eF9uyxNdRtY48j95nEWLs4TUI/iTI7TYe+CYRpm6I69ENhRFFLVcrov3TVUF+6VZcRwllv7DizVM
GMrKsEXmBK0tYMfXELrE26zL/daU5QVEFwcNaKy4h+zru4vjrkW+5MBuRen0CvpBX+m/uY0s1yGy
AiB3hhjEFMiqcIrmgN3ZSPssjsrFAS22MuU7LTe+9NQEoahiy8jFBOcG2BNDs2CgCcZ/sM+5MGza
pHtxn8DoWNZZT3/RYWS31Mbgsko2k1jwQCAaYz0aUEfgy7lXyGtWdAU3hRLlGHpo1qCfLJdAG++W
kYGRAzOPg7WWveqCM0POE+yHHosD8bRfry+u3GIpGofdgwXdYX6iEF+mlCIZQMuz2WRIW2N51zJo
q8yZsphKlE36bgS4JK70rZdvbt+w91JYqyCSxni/LYyH4raPaBQA9waKoeN+kcT0DQwZ1c2/BjBc
S3lnS2PNQydPHNnVFMRmHSay+WTvFZxJQNnXAlQdw2Y4jYtV1pY4VXFUgNrQ+BxPSaj09+X49C/b
9UcMU/wLxR4mtYyNtMY9qpT2lHrmetTial9Xnoxa+P0Vul4QZ2rTuTPTAQP4IgdsPV2YhNbO281/
icnEA4RKE8qwyNcYDpq1uW0r0w4OyKh7DKJVxm6gqlsHHVUZqBtzQ+LtCPxThreGLI21OiE5dL15
rTH3pdY00IJ+Ww6P6jIGlnm3TGWgFFs7fyr0D2RStoVXS7pDBO8sk2wzBnmLdXhyx4bIpekaC5tZ
d9+07KU1/MrB9IVy29g73Tivybaj6LBL3cf4qWq3qrLB9AxvflST/LMZux/aUoZWe2+28EXYDNVA
fySAeJwFwUQgy0iR4weo62sFIvbUDsb6iMdnftGHJCDhbb1lP3f9cKMxBgkEoMeAF8FNv956JBfb
Hh52DMojGMV2VJIwqxtT4msKjAlz09k0DwTzGF15LWVSVAKy/g7bvMBc5Ru4hD6VoQoFOwcYCt4W
+HYW/DJu52onzSdFgcFf6bz1uqAYPwLIzBzBZgmX5Xvp/Li9dwLvANMdkN9Gsy7Y+tG2e70sTFEy
+6pvlcipu7ndUEUDT4ECqAz4U9Z+/maPbab7wHuUHxQUpoaAon23B1q89/6+kYEpsOfgCcd4c3Rg
X3+K1Y1UcStLibTSQnGe0tfZHGWAQ57EklkFMJDgQUBojLrpu8huGWdvqQ0s2C18XS8PpoOJSfCE
jMUNvH5bVKCCu3eN/BGQhe2gAK/1982D+ATWyYu2LrDu86GRVTk2QWFXiSb9mLWfMHHN7QLM77h9
tCKFvZTCbWfTLrkVe44SKc3nzn0yMF21WSUy3vvMWAnLBMFBQcWKvxSD0rdaS3JyRuokLXY7Z3rJ
6nB5rv8e8ojkDKNsYeQPSMJzarqCrmBatZKcM7JD83CYN/femgVD/uXvN+1SDvdmOJ09dL1dkHOS
ofFtoUfKsHuN5LUQvH9Xq+FMdrrSjlg2ti3LVhRHjvW4jy3brxJQ0ciOSKjwju7hcptoerZVTg/o
TJtBcztyXusvhbEB8WamuXtD0Z4s85A0RZi1T1ZB/TnqdHoYZirrv3ujp+IMNIA2f76AOzwbAx8b
0vXk/DG1fXQiGL49hWU0nFLHT/KgSZE6Cto4uAtKKnkdRTuNV5nlB0Cs/o41gOoFG1A3kjObt7ds
su6/Iw7nRXITRLcN/PcIdZAWRejLBe4ruB9AyGCQc9E+Ns3GHXbJJNFNgRsI0u4/Irh3blIsvY5X
k5xZElExWt82Hpwi2Ulhv6JXCAwy6Dp2WLsS78t4IJx2krRNzv3Tkh679OfcnvqGBil5HdrHWE1l
zUHMEecV5EIgH+dUK8ZBt2qfnCvb9sf1J1UyzBDEAmNGhnBXa4mvg4q9yDr/9nUX2S+Gz7WRikcC
/c2ru3B5Wd0Vk+UhOG+bbe5acJM+TSgjLyZqevfuIKMnEx3hpTxOS+q+xLvpdMnZG8C4skRrHvuM
qVYG5HhDW/I7CpcIWSS86vgXLiihoJqYu2pKznq+t5ZPTXdK7O+TW/utc4eWM7jCNbnXMZSyOmvr
17l67pQtLcddSv/hXlx+CLdiJ01UAFj05NyOp4J87fSPySxRH9HVY6PebeSa8KDy00ULL5vXRDeS
cwM96WM9UEFE2Y+yapVIV1ATc0GXAfwI4MLX7sk86Ebm2STFDK5Qq7/ODf2olfvs3Dv9a+5+uK2Y
IkW5FMbddTcx23zq3QTuO1gmZ/OUa09J6+tdv/n/CeJfh1JD51HnJOc0zcNm+akVVWB2GhInukQS
v39AoOH9ZigDJHwwe4p/WnvcZiPOpohWGy9Tt50WNhTsTUaYrBsvljyx7wIyXhz3xg4aCEPTJZ8w
WcKEfxfoVagl31bnO7HPuq2F7vJjSbdWKumE4R8c9AwZKjhjAM5B1hLDAq61RG+s1LJiQ43Wlm4L
BQMrTXc6t7NSBiAqOvSp+uv2AYoEItpCjohVawGtuhZYam072nmpoXMWI9cqe1+oH50er52VBmMq
G/snkoZgC0k21KsA6eAOUZ9qh05Go0VznlaB1Tnf4krdxq37eRiXKCWmLCjg3yI2TpMBWXXEA2i1
4RsG3LKpuwYQiGhV88AZrbvKWD+qSn1EXjsgxfBk0HjTU1eSC2HHdGk/ObF888CSghN7ySEWjsUv
D06Kp3Yfbx+cTARnojNwXiDMTJD/zfVjWfRbFDwlV463jKz9AY3oSLDjGoELgDuttiFJMzgpOXuk
3K6Ot8NzsU/bT7cX8v6IrqUwnbl4RE3bS8e4gG+uzgUmb9ZBZXhBqT0XRY4xwKjUefcoRD7fFipb
GrM2F0JB2xjrYw+hxgBMK0EnaL3xqCa5zWyDrtUAS0MPKEgQ0TOJUsa1lCU312a2IMWsOt9oaeB0
UwA0aZHJ2rJkkjhtiL2lUvKlImcMOUV2YVY3mM+Sy8rqwl3DiCGbcSMhec2tZ7KqYe4aSLEwRqny
wOtCQ+l7/C6nALVDopJ19+DaIvPPSaFKo7rmDF94mh201RPF7xyAj4unblvlyRvmOQd6LgRnRHRb
K97fKUiGEsNtRTYM9HzX51UVFYaYDB7OK9FLODcZaF8z09neliLYRWQp4DXC1wD7BJ+9tiuTdDFe
s7OnVwdwKPi9Rg65/XhbikAjrqSw/3+h4URJ9BwcZMlZc91NUr009jHpm61CJVD+dwEiOy7E7wgQ
kXpC2okt90LQbDSZYZZwbIz4NR8w6iVxQ6uKmvkXbR/K7uugav5iHaYZsAxMyyz/lhjlTT4Swuhi
waYC5nYtH830aIQlVYpXUgsTjD6t5pflGR36Mu9bdG4MAcBeZnBaWdwd00npdl6CSCKL1101YrTB
qOwd8+nvzw1ARDYtFb0/iD2vlzOjd9Atkjk9a1YKZhcn0OPHTkX/s2yGgUhBUBVA8AI2AeCaORPY
21XrDO6Sni13hyGEB9iMRMXI8DmWpD5Ftwp8osiig+4MNXB+RYSSvMK8hHNsJF8xnjf3NZXk4e1t
e+ewIUWvonkOqojdgxZypwOSAkwLr5r8XA4v5RINDrj2tf5QmFs3r7do/whWmvkIYWSgoLeK1rWV
Z33Y+NvGAEx2o69PTB8W1SWGkZ0VZ/EtjFJc3Z1qA5T+OCvrnjrpzmmCIT2ZTrdVexq2xec2k80v
eb/JaCBkcyLQtINGLp4tqk3juFHSOD/XUXWWEde8S8FgcwF8R3YCtfg3tbxeYmVOjZI5pDiTEliG
g4fh2PF5Hoa7dMz3nrrJ0X+XPjh5s3OTHabfPHrJvm70CBZHokzvLyEQn6gGI+rGIZtv8wwvrE1r
piDXGZfyvBTfjeYH+iTpJLFoIhHQJLT5ocvUQv30erGpjgkFHnrQz+1nOjxq93/dnYbdBP/PHwGc
xUySwqrBT1yeY8vyFXpqfG2Bw32fIVF/+1b8H2lf1h0prnT7i1iLQUyvQI6kp6wq210vLFe5zDwJ
JAG//tu473ePU8lNVp37cPo8dC9HSoRCoYgdey8uBcy6mIjDRQrV2culjFnUl0y05Vmw4SCivVVX
9wVRDretXEcSZ94qpPPAnQDcLF2bdOppx4hWnpPROhL0N/TiF1RFHsvx/bahhdQAlnDG5soEHtFy
wcVOGzUeIx2fpuj8FMyk7LWvQLSSH2vW+RoEkCyCJDJaQ8UtHYALw9LrfYotZ1QyGLaacyJaj9c/
UnJsBrIrysbPuRI0+L/ch8K9gYuHjR9IXS2UC93z7S2Qn8Gz74A6Dc1vUBPMbMaXXxSkVABxT1Z5
bjnz4iz2YvG9FgcLoYfYMwn1igct2vvM/wFOBqRXWjiYtR0bRRGcN238QZoePOZFU1GUWgfrIAwt
8yetKrZZTfj+9krnsCmFVbw/ENDRXkKKIcPJi5orA5h0QBtI2NEq8BKwA0cNUoe8DMqwYmwpiIML
zMVFOJe8QO50ua9tYVIIqk8VTkqJZAWwkweSNWnAmijIFNH4ZZ/2W7MkfYBJOGVXO3ZxgnIOPWh1
mezjfswDZ6iKlWGfpe1HcxbnChEDVExSqBAYfKzGtkFId6sTicwfpVUcjCI6jE1031YPNAN88fa+
L/o6eGsBLZobXOhIX26FCV3xgaVWdba1++E1ETtuILwP7Q6N3zbe8Tbxav5o2Udd67wZJJM/F8dm
jZFw4UJDGw/DRzODHzBVkqPXLXA5cVTVULfHQNtktM5Gg7jVynWyFLqg6w79DTSBcadIWUOvkVLH
26k+Ozu0g54LO1BXvuBSCP5qQTpAhjlSfVJhIUEKkurvyfREVkx8Oqd0VFA4wtwPBj2AFjdnL/py
KXai1wXKO9V5Ul0P3RmivEYbXfwmOweaJVUTkGivJ6onqg21jkXxBo40EUagty0/xvq1ugc9wzRs
RL8TeHGZ+pap6LLcdquFfcAWazhgKHEBaCXtQ68wkPZqmM61snE39rMMADhHE7pWZ72aVUaERDca
86xoGjmz8OXlZkylybSK8ApPe1J6duOAd131gQjfMPOo/mrS5wbd8cb08yhQVsELCw51YX3+918+
hVtNk6gS1MVV8FU595O4V7Rjnr79F5s5v3Zc1ETRk5aqdlAYzEcAHBEWIgUPndzroUWQJWsvHlme
0vncy/kdjhfCPJgsHQ+1gpy7kiAUxNO+a6DeFj9w1P4715sAtxLZHW122STwgq191zlX6RYYRNCg
+RCT9FLnmP1I04d42PaDrzXMg0bDrnJOWkSPilhp1S3EC7yMUB0G3Q0yRJlbNO0FuKd0uzoXNWig
TAczkazJ10BBS58XWDAQErmzXo8MMmjcYRq4RapzK97iQd2lYGyuJy9xPm5/4OuiGHriM80nppzA
hSbPRatakTt5X9Tn1v7mAvCadh9OlPsjgGjuL1E8ichaOZ8L1+2FRSnqZ0NfZAlaH2cHfHJtFbTQ
TW7yD70tA66kK8YWDylonYDuBvAaQEjJgbUEEgUTEfV5HP2shhpz81zbj27XBZT2fpxazzk7UE5Q
syBPbbpSG1l6LCKjmEmRcL8APC/HiAKIO5RhkMvVjVeJwVPT5C5y+La1lUfRjD+rOvYI49/LoYOw
ezetXDtLzopThSo46MyQ4kgBOxnTiCeASZ4rNVK2Xd9WL2OnqCulhAUrMyMtQNp4L+EylU6vayVF
VrR5cx7azt4IZxoOZUa1ldRpwVVRFUHyhJf9PMQm7WWnWK1rc9KcGXkt4ntoK+8iVdtrqbZ1G9u3
BZAQ/C9Bk4hLgMkB1QiAKa48mWmOtrVFoZzUnsu8d3xLqw2fc7JGO7pwJGAA3gGmHBTrPhWQvsTy
YkqqWFG69gyClO9qsUljvrdj4afWn1WkwcL1eGFLujcakjltjerA2RzRfpxImHTj0XTFiudffyw4
vYqSGRBEKBTIoEazKtW0ayt6VsmWscHYE70lWzpkxyxr7vWU/ux7Vd/aTrI2unmdycIySG/nVAu4
fhmCU+AgjJAno+exPNYZnkjuPSpBSpYHhntWo7WJn+v9nM0BgTAP3KL2Pp+NL9+Och3IM9ui59IK
Oh4q9T1AMytRbGEz8YsBXkNBAt0seeyawrbmFlV/1kQbAgD34HQ/8zQEgeQWLb6fdboxVtOb6zPt
zh6Peh1Q+Uj2pMghqNAhhZD12LLG3I4i032FAaB5+/pZ2D1M4Rvz8CGqLChVXO4et2hVaIXFztT+
rZhPlVl7ZfZ628bS7mH0BgIgM/8y7uxLG67I29RuTHbODC1QUwWJap4ceVf4RyikfORNDLDRmuTQ
QrUauHSXzGwuKCDgf5dWoTdkdXne92ezNB7q3gVa0Ti4PPbQ/GkT8zSlqZfn2SvLk8CK0oBn91nR
rQTmhTrG/CtmEdS51YvXzeWvKCESnUWs7s9QRgisYYOL0mPFphv/Ica9pqheXXO/xUzA7S2XNduQ
z13anb/Jl1Oh5E4rxND2Z/YhnMAhXq6cG5D2TIF5nzxD6SbZDOhOGZ5b+fbaM2Xh1r2wLisUlfFk
4tKFdTVV3yh/F2IXx8QbtG6DKD52e5BpgQMnILh0by/8OpLPfSQNbIgAGc6CupfrHlDetDNOYbl6
N82DLg55g44m86au29w29VmBvHyMXdrSL22BDDTP8QKAh82cTLsmeujJcyVAYwARDDBDj63iNb/+
McRD1cWoaJxK9zeakFRshhU3W1u19IQmI/r6Xcz7s57wg+mCDQIy8uZbqTunkaQrxhbeCvO6UQpH
WMJ+yo9QiDDYIDks+3NjFfq7Ywj1iHqRO0LjV6UfbGKC+ukY9dMmB7kD85woUzXI4dGq3hIu2GaK
srJ5bHu0qOLSJL+6KmsKLx0K+1tdVnoDYoZcmJvJ0tMnklG9C0BRnys7TS2acpfUJlMPQ2dlRugo
VfKQGqJaY4yXtXw/DxBKMagFQkkFRRn18uN2zM0H3RzxcT11U++GffZg7O19dFQ30HCEDIQn2M4K
v9W/rBhKwoG9UptejF9ff4DkySk1BmpWU3/uX5tsS7z4Sd+UeTgMvyd1n7XMsw+0DXJtJWG9fvfg
4xo6YCmYTcCwgOzUjchylmDdLGWF31hR5DG9KveDHfEXu4zi88opmjfy6hR9MSj7bl7V1AXN0Dkb
Wij9tHsdOBxbP+R2HfSoOpbDc0kmH3Litw0v3K9ocWDoAP9EhVUmb8I5hfSWpvfntNQNP49z4Zl8
ire3rSzcryhQIBChtoeUWb5fFbOnvWoX7NyWYZ/+E+l/dGMl01so4+GB8cWGdMfYUWyrMbSMzpb5
qvJzWxw53YhN3Z4EKAu6EECY7oflsVDv7mj7FgOAfXuRi/H+6y+QbptKF1PMRM6QpR+TmN3Rzghy
+ifJMRO96UPH6EMq2Pc+X+NqWPqIqP/AXeeZefAkXZ7SJul0V6EtOyuTo36rM6QvmAyIftxe36IV
lBRQiUeTCPXSSyvgqInbRqfsbJq1eih02h5MTBKvwBMXnsqo6iGBBQEEEJlor1yaiSjPoiY32Bmz
e1vy5uwsv/Yh0f5s+P19RVb8X58PlnzwvpqT9i4xeM+aVGdnkWLk1kyHHKyxA/tJhJUEU5OxU0OV
6QGjhBjZN7QqNKwIdSDNYT4Ie9LNNMV9gJqGeo/x7Qwd7NI5FEPFt2oyiW2nYA6X6FH73OZucV+r
E+jV43RthOg6wQLQf8aro3sAZMAVF/+Ipw/pUoefS6VJ3o22SPxKUO2xFrF2mromwhy2UYDZAFoN
IOBppv6ogU32920PuTrm+BV4Zn2OSoNpT35tMcPm3ZgVAvBx45CCl4Qm8aHv19iSrhxxNgM3RI0O
onr4v0sPUZIRQC2dCZx0s3iNnd4awOsiMOtwezlXl8CnHZSXwfc8F6ekmGwoVR6LkYpziy50UBjl
R8XBCEiKESpVaR3ctra4eSC1+19r86q/5Kp65phVjITpbLlV5LtWoWymAizvFIWSvw3HnwtDm2me
MsbIrLSBVd7SIWo7cUbLwWv16FiUPLDTaeXyXv5O/zEjXaItQD+ZAd6sc+KY3zHaHh117iYrcX9x
20AAACJhfU73paiUqkw0acKxbRndVZCwtFp6FI62uf11Fn3hP2ZkkBZzSe5wjJWee/1Pz48CQsI8
+9bqw4qdleXIwoZ2PjWmYuLTOJhUttHNyDrmWb2+EvbmqHYR9VBHwhlCORLoHgwfSkG2cXM9zaNB
nNWsTf6p7QiMpgmNuCdUi28IMOJBlOpjAGmxtSrCwgpBl4XuHqgoAF+SX/RFAxUDuyyGM1M63ynw
ELToRsPU9O0PtrRCEKgiUkDdAsxq88/4cpwSLcWuafWAYtamIWe9g0J1MWg+TbA05gAmXq5N7iz4
yEydj0lOwDWQNEubqjcdOAT1aQBqxCi9ljLIfarZnzSpMZsx9OP+9grXzEk3l0MNg2eWGM5CiK1r
T53Xgz/Aa6JyCMzIWbmXFw4zBtzhMKiOYGb3Cj7V67QyEnU4V0W5Jyrfobn1t/BROOVXE9JRJkwX
4IvTh7NVvJBOBJ1yl5O3KFqTx1n0wP8s5fMy/eIaFWVAZevGcM6LF4iSbLS8hQ7JuBKYpA1DqUXH
nAwyMpSUAOOXG4AJXoW5TVo9rBo736pmBFaMpJ+C206wbAUNE7BAz/3y2Um+rEXNu4jZOdVDNEWH
nZ5aH1aVlisXoVxH+XctqIzNFsBOI3v2kGcT6/F9whp6U41H+2x6rFQ6PpKu6TZJreXbqDQ3ceNQ
+F+Xn5S6EF42ZNMmGcDenIDp/diok+VBsnnwb2+BnPn/n183q6TMIh3Ad17ugZMOmB7QhR4myYSJ
Hd3TE3eXW+5BaFVQFmFkgic6ZWFHn1RnV7W2F0/PtNw5OupO9so5mQ/5l8j6+WOA1Zq5byBhjmLf
5Y9RFDUrFXTeoQ/hs+7NLTOP1rtoHD0rXzG19O0tYAZQUcMk8FVVLUF9qat1RQs7xWT7HL7mF/nQ
rPjxp7aXvCLMyQNnCB9D60OKpEVFm5KzGC5WFvq+nnSyF1HC9+aA7U2dSj1PpM+C2olf6gjf2UyE
uhMGO5Ao/w4aO3ZgDpJOOkK8SevbdguBOwhACG74BH/Zy2iEgfuKKoHTFzpqvGC77SKt2DhOrQSu
MVl7bkLyoKpaLeiF8mwaeXlIuBZhW9XXjg1kCyBusrntVtIF8vkhgfHSMBkBWOoVSWtr1zkXE9HD
Ftwze+aoUUiaJv9Nku4fUXJnDw1RJxgKanz8F4bxEoeYIzAOVzJ9Se4adR+7ejgp1pZGzX2VVNum
ow+2Ou6NeDzWxRpn/ZIngT4OdKoA+kLEQMp0lZTRISGFESYo40LL6zh041p3SX4ef24oZs4wmAIY
F3oIcjoI4jgU+g3IGle7sdu2u+S5+8edvDTyxLv1K18TBpRrR1cGpVWhs6MxPYLBzBi8uNxov5Tc
K96sb3nqGW/xY2wELPLWCCGXzaKWokExHsuVs2vS5LZGoT8ciuiRJ0HxkN9ZJ062KvO0e1B3PLNH
2q9cAzKe69+1Av+BqGOD6lem+O0qMgwqpvDCjjE/nu6yNKjFxlRfnAwl7syrXc+onzNV8YrsYxU1
txiCwaUJnXPAxYEok+qEQx1BkltEeqgoDiioMoI5fVCjTj5x4vJQ1iAG56o1bSZH637TWGm3bWzX
xzomAM+77bdK0WLP0nqALNKKnjo6fLt9qKQ7/9/9wTwUSE5QzkMcuwzLqaugJaOgVqo1znSuy45t
dKM3d7Uh1upAS4FjHr361xQKXpemgFSpAKeNjXAyNlaaAKJ5cHXUD4v6gKTgpK89HOWKibQ20D9e
GhT5aFE9x9oYaY5jy+/GUt0Kpb0HWdI2o7Xf6KFmFFvFGn2AOX1avd3e3MUVo0k1v8chVyire6M4
ztF+TY2QdACc92332qhqoNvTz8bK8YSZ4l2V5isJ/pLPoV2HjUaHF414GdRgqdGgxJmjhqlxzAdn
F5mxT0b93p3e+5cY+h5GYAx3sd2EQM8EE35Ia4vdiN7X+vFbcC+cd1zCyEEgZS2zykSxG1XJVGih
XZbb1PwedUrYgsgl3RT8fgS8TG/Uo9o8xNaeAlRbRY+x81ON4pWrYyH5QNaJHi2+AcjSrh49dtwV
BhFaGNX3+NIIP9FmnCLgmP7kbroWc6QHyOx3sOZgLgrtbReEnZd+B4G4VjSRroVOTD1TG7ZlNe6c
Jn8Rlumh52RETZBCha/QmTeYoW3HQVXGTwPtHtOq3yjjWmFo6YqZawAQV0AyjHaF9ALjo5WUtWJr
IVXb50n/kRAMjBflN5eDLX8E3euAgocbD4feeNGrNfT50u7P1S+EQdSL4AmX+8Fyy2LugHyMK8q2
HI9al28qUXiYV9fWcNFzGiklZagV/a8tFGQvbRm0Thzw0Gih1h3H577yBPHcF+tk9cd0tYm8kB7M
FEWYEsM/Zhz/pbEMn94pmlwPiQE5FD76Lshlk/enjH6v0eUTVnxn9aM/AohGMaAQPY1QSLkdYpZ+
AkgK5/FCFdAUGR7rWizLCXNxwFDvC5TKQonMLtb6FHI1+NOl0e1CWRHFMaQpUuzWyZBiuCXFo41H
Oy0GBtv8btDOt2i9sY3kWIPbgUcB7/OD2lZeNIQtm7ZN03wko7ZzEYEKkYL54b2GINgwlQetSYAg
Vg8Q8105ftdBd06ibLBSAhaBZ4AU9QvSQDUy7/Swp0zg1bVp4x9pv+mMgxoFaWz/uf0BFswhFwWR
E+q6mKKS5/kNK1M0OuCR1cTc9cUIPiNq7qlZ+ymHTGlPR1zgYq0BuZBMIZqC1BhlXhNfXc5MNTep
EOo0HWwI7qayfpURoOlu4JrZHQNM3n7Opt9F+07ijTYXXfJ+DQH5//gFs/4jZmOgdCvtMwhRXEUo
ox4Oqcgw8FAfsiY6MRUiyM6vUvtIlOxbLMyDrXR/UDPDPV/5fOC729t/fd7nfXDwIAGIDtQsUmwZ
kqKKZ8aa0PpRmvYmIVCALrcMcBjmmvs2fwKU4bbFhWB6aVIKMRWt45KXeACZCmNBmhvt1p4m46z3
mdg4I1THSEaq945gCJIWRuH3Zep4CmvWtNJnQ5ex7vKHSPdMnTlWiqCuh66SKduhSNrH0Z2KLaFc
fbq96IUAAFtgxQBSEccfX/wy1FlK1vEaaO6QJmSbESCqLZI+Q0aw4qavdA8p6MkNrx6GTRPVIGG/
LxRveu4t34oeymHrDL+Bshg1gDxRts09yLesfZbrW/fyF0q7EcdJjm6qrodxHb2TJPWgJASmxs04
eFE0HJviG+batqn6EjmHsjwh/Yu1+xTvLLZWE5e7ToiWlz9Fum4nCgrGCZsZMuAev0GgVlN9bhwE
3xetXzYBzVYqhDJ7378WAajH0BtSHDDmXX4e8C+5IJ119FA1OuEJ8WAJbxIn2jheZmoH3Xlvs2av
AamAHmjVb6n2fQRJS59AA7LdjnHIct+JV37Vpyqn7KD4OSj+zlUYUGlc/qpWb9paafB8hrxT8V0f
025TxXwI1HG6o5GhPExmls4kvPY54x2m/d1K3cS99qRFNljViPWPzXoRuJHl+G2dFEHqOnyfuN0b
/qPQxbP5ERIUr1pv58feLqqnOtfLe4ZmdzAA0+aTqRwPnHXafxF0ZrGqOZUELlsulM5XvsW58lkC
EdxDfXB8qjUXmlWkVvzasR4NNwYpZa1qrge2CefvrzjklfPk/SxVetUKJk7Z6wa4okKLk6Cl6L9a
ntOkUML1lNHyII2x1jWQ0UyzgwHOA5g0viX66Z/x4Us91bIVOwLZshGWFoPOL1fpt4E7dcDSIvkN
KrrxZBA+Zl7a5dUefXDwcU3GKc41CsRGOgLOHbtvouk1gLrb4o9bQ2myKtrkpLTRGl/FQiTA1Y+q
zayRh6kx6WbKh7jIWo0bIbgWdy3RuZe0TA8Y9Bl8PY3WOvPXKRhay/Bu6EGDMgBZ9qWXVwPXMtZz
Eir9q05Sr14jP1q44xAwQM8IFDdm71wpnIB+hZK4ECSMQB+R1W3Qok1jWE8QH5y5S/ZF7nUvt+P9
/CelkwvqXrCu25j2wKSvtKa6rLnd9BkJJ7Tw96WhZncFo2A3TBzNV1mWbRpmNdvbRpfiJq5ytDqQ
SgFiJNPCWAhiPSlSM6RT/Qpyw0NrJN+j1N1PjD20PIxjiHpP6ZFE/UqoWsji8E4FjBZvRBQ85DLR
4FZua3KHhC7V3UMPwvAN5N/BqA2p3m2aA9vuYfrhD61iuhJL5hgo7fR8rc56KMhL8VS+9J7ItpgD
fkUzLLjr5XUJX32m48r1veCi8wgPGKeQEGM6XcqSgGRCIQp9jDCn4ESLwUvjuUq7Ntq1tIlAV6Ll
MmtugGbncilDqQDQPZpmqPY8FMTw7eRtiA5JnGyaMUKpdlVKad4cefPwpkRdDW9LIIildXGoZ7O+
ccxwiIP4PDdZEHdUD5rz/YhGpk9/fpRr5dOFo4EMCGOYjoEhIwSay1XiVuhYU5dW6KY/qnKr5rsU
fBZjXPpVPqz0GJZsoXQJEm1MbriGLHutD23M0ESyQpvpu9RCS67VMGCl7Iyq9Nzk9e/P32d+B40o
FKOhJXG5NKZ1rdITzQ575Q60zWa/qdJdXUOpVc+fOHNOLgnKek378dptwKOKHcUEzDxN9VnC/XK1
0NZJE3OM7LCMxCauNO5zE+8F14KI4SACyygz36XDmszm9Zn45PPGqYDrYIhLOnig8JhqvFedUKf5
uG20bE/zbE2QdqFDeGlFqrWPCthSalI5IWuTVyPOvUkDQ4mSBZFTb40uCiCp+iheDIDc3STsIsXj
yTvP0k2zRuR67Uv4JYjpyBxUDdMQ82f4ss220maKymInbFp1U6Z3KHk3I/N0N0EbcqUqcX0DX9qS
mn2R27Xcwl0RVkn2CPUsPMOtjVE8NMW0FnQWLo3ZFsqrSIgw6mlJ6yoGQVqTUifU5i1VePqWQrUQ
7H1NHrCY5j4QpPoxLi3gGwD4uLPaXLzcPjhLrvRJeAD76LTK1ZEhr8eIi84JlQR8gWrfC89oCNnd
trK4UmAoAGiDuwJwKPlSJ2KiThVzwjj7NjSNl5SmVxgPJahWB7XcZVGLyOcEWfr7tuGlr4miD4pp
qDdAymv2rC+eo9t8YE2MHa7bsj1MYhiezFi9s5NBvTMsoR7+3hyoWxzchuAaw4VyaS5XIL/I88n5
vBEV5UHQn2mCx4u2VkRZ+mxfDUkRwB2Memzb0Qk5uBvwZMbolXd7KWsWpC8GkcSRiRIWVBLq7vOY
rLjEUuic1chQf8RNdEWRPgBLT5RedUIwzHjRO39iD8a0A72TuVZVu85B57l48B1hlApXu9xLqcrc
LAemOKFb/xNVHjJpFgfFuPGrwRPm383w4rGBJAzjmMg/iYpGsxQ+Uodi0wrLCcscw+mkjqgPgVNz
JUhdZ14QS0LzHsQS6O5ixOnSz3hvsYHSzg4r5Uc9qP7o1H4xrixlzYjkzE0OpUo17e0w0xOv46rX
aHf/30ZkRzZY5USg6AurIvb15h4jagGIZ2/78sJKkGrhBTgTq2PeUsruXA1Pd31M1HBM4z2oFMO0
zf2W0OC2mQWXxisKoQYFXBUcqfOR+hJsqC6EmWIeP7TSNHDj+qGJTzkBWRJ5mQpQPnfDChpzIboZ
yFnBLoE7ca7kXhocq6mcELHVsLF3lvnd9muDeu5ahWZp96CDgulGZI3A48+/4suyKjUe2FhOaojc
me+dtAhypbK3ybDW61kyBNiLMz9mQJlxdc3Hiqr2OvYPaPef1Gr9KnEfORUrkWfRDFqqQL8g8F7V
XdHwtEAjDTMGxlQT+y7JvjHzx9+7Au6dz3oWfEHO7pMmVxvidmpYtr030m3F+YY3f3j1AnW4te70
fIldPiUguj5L84KUYlY2mxf89QPhUeSgD6qG8X0f3fVtHbSWhWLdka08NRfuBEzPoDs4hx3UUyRP
gNjhpGZ2r4aK9YtEH+CJvr1ra39fuq07Tc9JIvD3p/Heqd/+u7+PPGsuCCFt/8xSvmyUMWhZYbUc
8qRO2yFognUid+n+9iKW3Av1LUjjgasc/Q0pNrdmmdAm09Qwr/8URuuDYwzKbCt5zeIn/2JEis2R
qSmA8+hYCU9BHcwf4MexmbwZ6k/MB6ykAkth5uuKpBitd3Gc815Vw553O0N/qwbm5VYemGvyrksB
FCEamkjzHD5IhC8d2RiBFeX4dCG46msv6p6H6Yz5WcPalmu1i0VXQ5TBrYDiLigcLk1FfYyHa+ci
Vs+sTBOY5NfADEu7ZgIRDS2TeVJXhn0TU2gTnvhqiInCN70nZxViCkbmFXG+ve1xi5YQoXH3AJyE
GHC5lkQxJztB4zO0jG1JPLPFcxT8RmsTqEtfZ47OaMeDgx+NqUszTs5FUiLzCU3meuy+1zYKasQa
t6ErlKBZvZJLL50jdMOB/cTbGtS9UlRr0jypDZQQQjuCFh461fhvNvWa3MUC0uYT0IvbBqkh8AXS
pV1mgBGZdjp3+Nu7Kh7CNDdHL6ucbW8eLZd5fRp7Gkak+jo+DWoRRGvS50v7Ci5akNOAHBw5oxQw
Ij12U6rlWjj2vUfYc+08ujlMjTtqBXXxdNtZ1qxJzjJZjYXRoRII0zLxKGk2XawKiJd6TrydlHHT
9ka9kq0uBSuUZCClMFdmAGW7dBy1yguqQaAobKIdAbWcI/hOd/9ktPA5GX79/fqAZseDGv4ADJF0
sNU2yzkGO9QQHCiAK7shQw3Giccgaz1gMD0zLVbC4+LyIPMIkkKMPuCdebk8K4sNbajhqDqAwToY
IXgFhY9yj6ozksw11MTSsQBkFxESFzGyWen7OVY2oVXYaWEDPQjrqEd3ZrZCxrXQJkY68cWGdNLL
Ka1dM0efCrIFHvBeOH7E753vQtOCkUAMqdqjH8bT3/0a58XSXs65H/IZE2Ol8g2NG5XpHabc5jLe
BPKAOv4tLMWHWAnSzZWwubSTYKKApilS9vlhePndtIQbbIxhywKBepSbz1Xb+H1Xrnj/shkTxUGQ
Jc/Uh5dmcAWBD0VjaPrVTwbDtF7uiWKNU3TpCoAzoFMJVDMKgvO+fslsUIdsFfRhtFDErQ/5x1gZ
Peo8TsPKm3Dh2iT4LlBNRTHewEv30k5lNZ1C5rfAUOSTN6Bdt9frbk0oYWE1c5iYi0WoGBG5ajMR
bRzqalBDh5XDJjZItzEmzePxEMROo6xExIUPhLcNiosgw5pFLSVvr0VtGolALkWyb5l9N3XnVZWo
ZRMzVQaCINoM0qGN8GBiEcMNDUISF7LX1l01dhyiP93K91kzJK1lcLq8abHY0Go+wNfbJE+juZKk
L5pAJ2ZmSZ0HeqULE/NQmp7OaxmnynPGI+4vr1rTbFr0M7BbzSypOCCyn5VKqqSJSLTQ0CIIPY4u
OaBr+nL7qlh0MzzT0TFAGADN1KUzC8y3mLnWaGFBRB80kZn7CjGjfT8l3XvqAlp7295SXJ2zTVBW
g0Toev5g6lxh1qzSQnVq2QE6d1NAzDbzUepRUStSko2dlia0W1s4Os8wVqHpDbjLxBoCamnlc71Z
RWUMkjGyy/duipxHyZBy1JkX63edGz3zKrAUdl5Z8py8SG9TPB0cwDrw6HLAcH65xzqGD0fQf2rh
tKWYWj72xj4pvF3+HSljv+KZC5cHuOhnRNlc7UNMv7SF6TWX2wK2gPzyzGYfjUgwoO5rN82WkB+3
V7aQR82IAqAXQbWPwUtpYQ3GiAe1w7esy7CsQsUBJNf6ObEmcIxn5qzEqGVraG4huuvABs7//kt8
19CybhOKpVHcwOUG5I+dT95bGmhrJHpLroFL6v9akiJ832cI/iUscYgV27+a8qcwhW9VK99qKYp8
MSMnvYVwU3DSImnqnBdwNflq8gaZ79ufaP6psu99tSFF3XgA9ywkFeEPnrOrmx2zN/f95LN3Uays
ZsnzkHKCjA9knThU0ueZXKfleT0glTAaPXC6qdoQO6UHpKjMr8omfoDE1totebU8YCSRbQI7CywN
2siSu3fgBLUzYCBCfZo8PYoPIuavPdsOrnvgpPHS6V3kyfPtPb36bigzzWEZOQYgcwDpXzqiSlPC
KdeVUCnrB6U9ZGp5ds1uLQO9ChuzGWBhZ+TI/OCUnwygw1FcEilhUbaB5n633qGr02JOCqN38Zal
7WGoVoqpCyvDVYBGLgaWMFYjv9erfMJQA1GTUw4I0iyTxyfPFSsuuWZEunJGBH/e5npyStVDkm6g
IWA4r3/9hS7WIW1dBMFfozRhIrE66Md9CJzgNeGFq+t5fih/2SvJ9ZTWxaNOjMnJOlZb+td3Bv46
QCU4TSg5z9N6lz7G0wJ/3saXENU9avqe+eLa/xTDNh6Off0RQwHc4X/v1nPdftZ0QqMZBahLk61F
GkjTTQn0ioF+dikYh21/4Cth4iq2zgtDXWmeK8EPV6XYKuIEraDeSk7IsX1FzYH56DytPI7847YP
XMWjS0PyM0qtHEvpIAh3AvEKHr8vZXqKrB0GD311DeF17dGoBM0kQCg8YU1Xl26kGGCyNMtTimPT
ooNXxF7617cF/vBXI9Ln4R1BgWSCESUBT5ULC0q3Lcu/PpywgmnYOa11rplxo9HMOM9IeZqcNxC4
+VVxrJKVL3ONqpiX8sWItJSeJznKhUZ5smMApkqx4aUd0CZ/HR1+52agsRYR9XRGNskIFKJBMWLY
tCfgFP2BNhhGWitfLH1Aa37/kpmcB+N+l66fJH098CpNT25yakwbbapduzbSvmJDViUi00iyREvS
0+D+pKrrz2e4ZWt16jUr0n1P8sStO4qVUOuH2TUeFLiYTr3bR2vNiBTBRdWNTTobgcZSCrEZbewD
M41X3nGfLGwXucssAQOoBDA+OFyoDV5+lU5P0xq65OWp44WXO8l+jGIvJ6A19h2W36ms2dQgowAz
wEmrX0DnahR0y7sSeO3cz4s/cJ692pGDnjbeREVwexOuAxne52g74xeifm7I39NVE9EAx1WfGtIB
Omwr+ZZpVumnkPf8H9KuazdyZMl+EQF680pTTpSrktrohRh1SyQzk97z6/ek5u7tqixuETM7AwwE
FDDBdJGRESfOCSatS7e37V3fN5f2hJWFKkusUCspQuii+vrcgO7j/2lBWFbKumRuB1qEI4090/xI
194L19Ha5RCEa7mXoykxDAwB9cy+q92awI70oZjPdWH6SIsG5rhyka7NmnBLgyQUT8qSFaFWGL5i
3PeWvDJrC4fhYh/w38+eJc5Q1EUXkSLslO04O3ezcTDoGtX1ohELz0cw/iL3ZAlLMxlpErOxLMD4
iJcICrc/+hI+JMrrj3++y/j9jyc6Dhyq6pejoalcoMG1KsIsAc0neuZT/QHdYWtgqIXDg3IQghtk
giA6JvYtKw1w3BJah8MMemOWZ/8YGvRarpHJL1lBkAGaA67eZ4tP/KZlTpciqgmpFGSl/Axq5k+w
oQGzvgZGWdhmWBm0zYH9BzUMsVE2H9CI3Jt5ETpzXtxFZqJunLT5dnttFjYBL3cqyCEgOALw5XJt
ILJil3qmFyGR42Y/QnP9XRoH4rZI3625+KWpO7clbLjBpipSw7CVzq9yVe8N4+eIO1nP1ygpr2Fx
eDQiY8vTMIgKr7g4235C5qQ3cUItacMQEXgz7bZlXXuaxvxehmRqFT+yxNw37dPtCV3wRxemhQlF
UinjzBA4VaiKu9j7qs8QiiZF0LLfDqldS2Jhl05r1a7FyQUvMxrVESxC/uFyIRUaNQqtiyJs3NF+
ZrKbJDur398e3OJu+WNEfKWCIAJcIj1OsgyO4Kh87QhEhHOrX6tsLW19pEqQ1kdrMPL7wiQCJwot
k27CrmwT/aAVxehPrBrd26O5juZ5Cg3kIbw1BDKw/PczL6vatUH1KC4RPaEuKGV3o9U9IBP2K0Vb
q+vo6srre3H20AyC/QhNODAEXdrTik7PQflfhHZa5AGd5iKQWG1vCjlZIy1bmkDwG/IiDOf1En1h
QzvDrDVahk4VbRu1QdtrZHTAyNyewaURAVYE5wEIKnokxE3XKRm+oCjDxn6aTCh+4iXUZH1w28rC
YJA84NAv4KTg34V1alNmQ+SnLUNd3oLHGRb+RdyFxAhCQjDCg9JFvAqTlkgsqfsqpGn5ZBfsrkjm
D11NPoxc+8dXO+gu0ESDlwFIT1C9vdwEHctorjhpFhLyl1R8x6tAt55vz9f1qlyaEGJcruvW9QXJ
QhT7xj510WSh5K+3bVy7OdhAvwMStQCaYgtcDmNOIFNRm7DB+mofmSBIf62Gezs+amwrg59GXtlp
fFou4/ZLe8K0gVUYZTMV9hzkK+T7yaP562Dv5TXJxqW5QzQEVTzk1JGK4b+f+wSKf5DBz8ISSjZ5
bN6x9F4HOcPt2bu2gnAIxHfIh4EJBoYurdikiE0pH7NwHPVgnI69nvuryaTrJYIRW0MxW0NUhCji
0khVwXlWJh73QzV7xWi5+oBeg/4zTUYPzZbFtinYyriuL6FLk4Lfbie1tboeL31iSJ4yfLOA0sOG
GNbS9ovzB6ZRpEqR7gEc4XJoABal5iirsDPoQYYOKQdMA6sY2oXRAHnAGU2/aCpE2vKpxCVETSsL
1ZJ5VqTgVZYhaSCfVpfq2sPBS59ZEvzoNGdy2Rqw5HTf0/HeGda0+q4NAJEFNQEEB6jHAYp5OWGq
LSlIKE3RXZXtctpspnQNnnc9WbwdiYM/EXsB/ClcbuC115SyKZw7qasDKn2LsxnN3fmBs7PfPjzX
bDYciwXwErhb0JCE59/lYKZZKUHoWEWAUfzOW9+Rv6HgAc7+yFUnV5rVXS8d0Ows2dN7iUxC2YZx
vdfaNDDWGmiu9yHyWaB3BmyLQ9PFTr2SON2s9TPoziZ7CEurZ8E8oExQO3K2Wxk1n8BLDwhiOc6T
hQIxoJaO4DOSmgD7StsItZB2W9ofbUICrS12o6Qexow9mbmMTH7j9uwdpMWvhUpWOs8WBotJ5zUK
ByDVK2bDAVRrDV450l2p9b6qhWn8msdruaZrP48HIhrEER7hzkcV8HJtxwL8wUOLDGulRxvHHF14
x3hyNlPy1ml/3Z7ShQFho6IQwvEDJp6Ml7Zso660so/TEJyN78x6y5VnmhvfbhtZOHlwILgqcUei
lVMkOayarKWVQeMwHavOn0F2Bs4TfQ2nsjBt4PPFfYwqJraG6OtV1lXzhOQ00Hb3YGV50JoHoj8r
WQ/R1ffbA+LRw+U+xKsXFW5IqinoetSE6ELNwPWfRBISdXbvZ0mzR3I60poNFII9Vn5W5kpy/3qV
YA9N9XyVcMJEQZQuQcg8J04KjctppydzaJTSnQMijdvDEmeQZ6eRnkDXNifnwp+XmyHVx9lKaYck
Z5r1d1UjVSghZflGLiTEzuAN9Qhm4x8eKbTeIfGCDgPgfvBfUbI1IzHT8QolYZMfJOWVl5Taz9vj
EvcfTKAXlquXcobGq8JiE6VWrtKUhomF9pxijE+xka21aV9PnoHHBriGsNFVFDD5Gp5FTelgE8gO
tjSMAGGzga2ILDWY+uFXAcZCAonU22MStwQfEwBFoA8DWMrCsARzUB2VDfC4hVaDFC2Y5Al6W37e
tiFGT182IBroIKfE1QOF/WB1dkpqZ6QhlMO9qQQkp/jLHJ/AZeCO3UtWu3399s8torMXdwnCTjze
hEzmnKlpVtqUgUVf+VV36fwE6dzh0YZj96umJvskMqftWA3NllbNGiOXeKz5eHGrgNEJ6Qswhgjj
lUeQ1NYyYaHugL+CtPau7IwfrT343TButfmwGvQszTAwgiafYzT6WsKFNtatnkIwhYX2DMEWdPxq
XjS0G12uLJdJlHgG04ogq+UIClN9s3Ler6IIDBjvcGCT4caQyxPRs1IndfZosDycOxvBalrVW0Nh
vadDLsa3mqHcym1ZBVQtu51SgubbjUfi7PNx7DQ3N/MpgBp1fyzaiN2lWV0cGQTUVpJJC4cX/fkQ
RUOIyzFhgq/tYwPCN5rCQijd0IBJev3GDKleyUtc8TZ9TQUXlASBCbCUYicSaMRyW6lsqBa/FuUn
eQTesdiaLyBijO6p6pXQDPjQpN3t7b7gMzisHqBHhDM4YsIhdjRI580Klr9UPuv+I3lQpUN2Iq+3
rSxs6wsrQliqd1aRod7DQprfxQiOKBTVrRfwYVUGc+U1mh9TuBv/nsg/YxKOsKG1VlwSjYVtZoze
oNYxuGsMOYiYNgdx08b+7dEtOEJgRUD/gaML0hcxuOhjSjn/DwunAmyNuO8Pmb5y/S4tE4YFpifO
m4L/26WvNRjtGpwgFhZdCfFUmTj3eBQlh1xh1lOhstkt67VIc2nRAFKBM0RYzbnvL20ig5S2NMN+
7KKnKYCirKvMv5Lqk3zcnr4FDwR+feR98GLRkb8S7Ex2UslWjWd400toKoXi2BFifs19GeVVMA2S
sUe6NXmYCukdqNm10tiidc4Ey9/MYBgRNotE0Z0OWpwsrEa6SdgAPvrqp1UBn10HvVSf5iZ5y+nK
jlnaoQiukX90kCpDC8jl1A76UAHHaiLzEFGX1z7H5DmqT3Zwe2aXNiZuaNRiEMyDZpP/fhYQ5KnR
WgMU7ELWHhqQ0WjxfblW8l/amWid/CrkouNQ5HkbNKMbJpnbSF1rB/ACJAus2h3W5Cm/WlXOI15+
qiEbDSgYf5cAPX05GIj56IOTlXk4lU8pRADzWPZAwU2aZ0125Rx8e8Um64ApeKuj1pXKx8LxI8kJ
ajN2B+hZJpEGkHVroTE6fWyGH0qyg8broZzXXsZLs37+oXzGzma9K/H5PWnyUAOJLgrW0EbfzDRb
WdvrLYTHDHifuLwl8n9iM77cVdMwUeDE1P6VHjW8uWeF7UBNvnYtXQ8HyXlOYgmMK9hORDfQVh3Q
jKWch2NWuAo4myTlveqIK8+FxzlBjAF4ojZ5VejJliW88ynQqbPbd8YmkX7f3tAL4QJ0UwBwxSWJ
DPHVYzEf0Aw2mRHwOPWmy4PogTnbdv6dZgcECJukHXbZrIIzGxJz4+/SSJ8rrfYm83NIN7e/5ArC
gGN78SWC15rNqpRUiCeFpuXrUwDE02MX9Jt+w/bJk33o99qx6F3auw3blMXDTF30X9z+hqsCm/gN
wrVaasCDgJsaKWb/xxAkHg3c7kf7sHb0vkAyl0fvcqyCj0zrVpKy1oGPDLpA2fRhu9cD5cXZFAfc
dQf6nB7mu/6u3VnBE9hjN9IWrMFbnK1t/Pi5y061i7aoXb8t/DwA2/DGWnGn1zcVvg/vHZwF/n4z
BT9XjTWpQISahxWl9YZqM86/bdWewrpuKxtEC5rEjII8b9eWYOEUwjLPkah4M1jik0ubGTFVQvKQ
zpLbltuq82rmNu3+9kovmQF7E0D1vO8LCc9Ll5JJCAvkscpD2WAMLx+oRujFfQ3RrHQtHbM0lyZe
H5DFwoMVYoKXphz4ctsp4b3GGmR9BsCiXR9q0R2Y1IDHqX4adM3B8I8XdxePnjhXLnoVxG6I2WYT
IFRJHjLos8nVRho+LAyMvEVoYo8UNJQzsMTGoaHshpWW76ueBX6CzmyLGRs0Q0YtULF5WM+/nGTb
KEhgxz9Z1UJNyK2K5278VfSbuFt5UazaFbxHBJ02SgrYdWxzYw2OnzVPRbJXDg72EcSy5w78j9Nb
AW2Q2ztpyZtDEAclSV7JQ5r4cnmJWsx5P9U4KlJNvITmBIV45IyUplirsS3tJJRnOQ0KQiuouV+a
SvRpQMOknoepAZpfJ0mkbQeWHNeKhnlTOC0JiGl1oCPMq5Xj8hUyilvqzLQj5BSHrJoZcOx5GJuG
p1H91THf2mGjOGTT6+1eaSGrqAczeDZPzuTjfTmMh1T9PtbsPjLr7dQ+IVG/U5/MCq/M2wtw1ZLL
t9z5twlLb+mpZoF3BEvvHFTLb5RdnKBNhXN5beLpyQlGvFlwfTkrt8VX0ex6UnhnG2goIOgiGB7M
tnKqHJOSHZFI2T+CAz36ZhbeR+0qHjIrbuuxQHVL9/tPqJ141EebiVd66Sbe8L+pj3gqiFbCGL4J
rj4KuSNk0zko2hA8W1u3piPRAQ4033Zp4RXT45xtCpZvE7cijlvPazRx1ycAnYJ8EYBURcpPrJZD
y2VUO7C3hYTNhmvV8V3kyLErJdXu9kpfO+1zQ0jZX+5/UmuNqtMWsL7evouo9T0GnVet214tr0yi
fjWJ3BKHKXOCWzTAXVqCRNGALAqAGk6XvCO71Hk9y5KVS3Zh415aEfZP05ld0po9kF2WgyCw9dTy
w6kqDy86bypmNzEgi9ZB3EAKIKvQuKWhr+TmFpcOWW/O7Y7Orq8vPIusDX2YpZHPqOW8IlFbK/ey
+np70a6dFgaJ3mP4Kw0ZBPGmTSu7ySN5KMLh2WoPlVca7px40Q+arPiB63fTpSG+pmdjsdUqJxbw
+GHroC3el8ptb26MF7leOfaLdr7OO89wY0SXdiaq6RXpZMxZa+A0fVfIyWk6L60PNohwb0/e4o4/
s8XX72xMSdRWdhnDVgt2IC2YlMSLq2A1GXLtMzB1Z2b4Z5yZIV0t6ZE9AtxlebHponUa+Kc4GPy4
DUZ1c3tMa/MnvObs2K6zbFKK0Ew/7YQgMXlkyP9J5irRzdqwhKt56miWl0wFrKsr0M2V3xNrrF1V
HV0VaOc+30ST8jhp8Upn0NoA+WedzWYzQC+LmRhgPev3LNJ3EGL3jWGHHIVraSvI7+UxwulaFs+x
i/S1jTLGwE8bMDZ+RulvQ21dI3OxGZUs9aynURlWtuTy6P4YFJYvnwH7mCpMqmK8k8ht7Mpr9pH+
aB5vb5Nl7wh61f8dmbB6Zo/QKgFxXUjSsPtmSPbL1AYDeZvqfjsPOwdxu0O7Pd7paJFa2aNfbSiX
tyg/EX+MC2sIfl6m4A1ehoCu525aNtSVDIpMfg3YpRub0w9LmVCsAAbTCgh1QGapVen3yDSJb2Yk
P9itBIpPCUzeK9PCr56rLzPBvIhXErIIunBWs9jppWgA2i57SO8qT7Jc6ZU+dSc1c+enf2OL92xz
SSkAEgRXZ2hZ46QTrofE3qb6D61wtWj0zFMzeK38U7UR45Tbf2XTQRoP2SneHnl5ehyGW6Qx4Iva
zSQbQeT86KuTCg1o7SgNr/H8MVYrNxQfhTijYHkDuBqpQ7SPCddwqShN1GdwsnOZPyWOc98qU3B7
VEunFPUvYDt4zvmKO2KQGQgMcxt72dq1cANDdpd0gzfIT1nE3KR9q/R/VoLlxAHQ9sXLlgOtkdsT
To/TEdtqWgvip3Hrae1vpXmN5pUjym+fs4m7siEckrJLxiEvpPEIrTiQE1APvNleH327PXeCw/nb
CiijgYrhOA1RqDaXSsqiOpmOUTvLpwSZEx/pZbKrSiULpDpVH8xoGlYCIyFq+Y9RFH1B7gYOQUO4
eCun7TokTsdjUusm5+WXMujFJtU0beZUr3+BAkj/DvxuuRkSKWr2t4cs5qG+zAMABsugr8KLTzjk
lTTPUiZhZgdSPtjzTtJCA9jnot/3aDMdVHLsjJ0z/LPI5j9WkQQFpRYCGzGJbhp1PpOBTEe9O+oS
C7rEl7q3wTwMycvtAfLvF3cOTECGDdwg0GoSpjelQEAlTjIeLQcpFzuqN1FBTRdFLdnTIn3tibi0
mniho1kNEHJQbgp3lpXRaciBEztOsdYcnWYYU9cgtdlvnGSaGWreNvQBp3gCE09kFvH8LyYWQTbP
aaH93zQED6OzmSp5r87HuawBW0x9O3N2Y5t9MGn8qWn9mrzt1ZGBDgwKMKA2ACUOslzC9CL/UGV9
1XfHBLHOZEAmAwXgun+Xkl/5mvLb1VJyW6hy4/lgIFEoprcUba5ZI9nd0UyHTV6qIHoEDrOP96q6
MovXpwKmOCcwXDQayoH9vLwaCjr0VqPVPapZXWAO99iuWz0aN130m1mlG3el2yXpS2dKKzGP4L5t
cC6rcKe4jviUoqx+adjKoLRMBxtq6WXsjem7nRzSBLAg6Ef/7CNju6qrsjCpYFQAAhRXBXplTO3S
IMNDfS7yVD7WQGdCRypKymd1JHjG9yt3/LIlFLSAfgPuRByanaR1TQsiH9X0e6kCabclMVIW0hoA
bmEK0YgDHQ+IiPDUlTCFsZKOYzI78pHW1kOptgGipBAtrZVVuy0hYTmS9yJbKfIuDe7cqHo5jUqc
GGkHDMIxblKvSfZy/Bvnf9Le/6E3AyUM4FW4bzE+AAmFu5YgUOyqCWNLfsuQ+FTJN1OtvElbuRWu
vNhX6ySnKuGkA7iZLkdTtnEzKLRRjmWS/FQnHc1MfqYrD3rSh4AzdIkZ3B6XmFTFvkeOnOMWkUXm
cYQwsLhXYlkbdf2I07iZoe+GzsCtzRwvV5lLoMoy2qAf78pTJVOIY/1aMX+9fMhIAHeFWeUQNpXv
qbOHVF9HUmGYs31smw4CPg95Qbd5jbp5FhTyyUk/y/EnmZ/zbaXtSEoD03yT0OawMgvcq1zcVcik
IX3xRXzD8/jCWXSmXMsjZkZHJtUJR8hIdwNiScyFsoabu/bbQM8D94fSMq4qNIVcDji1J6YwU01O
may7WuhIj1WDa6n0Ivq6Mrf8q4VRoTSP+AJAC7THiRiBAU+TzJq69KQ1zDjEcfVjGFLlgU65ujFy
KfvuMBXcMTJEvRomz/tKMR8bOjQHmrd3mimpKwHX1SwbmGC0ByNBhP4opNQuh26UWmqVCr6ntx+b
/mXIh4Ba2mZl1FdHCFagt8LrWhxaIo6aoq9HSb5GHfvZp/XY++/jjnym3vCzgEpu6dkuCyzfIe74
tErceH1/fVmHWwc+C60LIry/VJUImvN9ehpt6nbzi5Wdku65tVOgsT6Lsg5UFIOnNY0g4XnD0dVo
swSKBq23qHeJ+1dWIbMLIG16olUcGBOY+YzcX5lX7r0vdpNgg3/D2UnFqFADSfjq/UBopXrEd4K0
cPvP0i1frZX8yvI8no1I2CtSynK1l9v01AXDEBDJM/3Ojz2l8y3ir0E+1qZPOJO6IaEtuoMxaSRu
pP1OE2cluhA5Hv6zQqBQBPAAZfivyvjZ7GmRk3XxgH2BFO+e3sXPTtAfAAjoA9mv74ed9ALOgDVQ
xZWv4UumIWhD2QaCyF+a72dG06K1TKpiXAQ3sQfGKD+xGO7j1j42KX3L1LW02JU3FwwKq8ZYgvxV
jD0S57GbOfGBqO+1+cMs+5X9seRKEKdx3iEcdLD4X27GJq0ZVY0xPaWKjmKcCaURhojRG2x5jaJt
zZSw762EqSA2gqmJnSYJghhO5OK1sbZBFo8Xng5oyUCG7yr+NLOYjrMa4XjJH3GhbM2kfW4y7T4d
D4yVe+2vQa32EpMeqLXG4iuCKP/enGe2hRiKRVqN7icnPemWNzMvtf1yA5aqOnqvpPtKdS26j3uI
+7p41tz2KgsbBqzYIPTFW5S3zArrGNdGaio9joVsFXtaTUdHHx2XoZ1B61qyMscLKwloHqf0xUMN
mFTBGCtaFM1SrGQN4W4Pr8WjBBDttre1lVEtnDtelYeYqAVaP9xGl7szH2yGD8FaKo9Gd6r0INWQ
rg2yf8ihwteNZweBjkfMggYDIXZjBjiec9AinhCR7yTnlbIHYisrWaarqJ4bQX893AhEBQCTvxwM
qn510tWMnMDAPZMwbWtfUo5E2UL10h3L1teklSBYzMz+Pa4zk4IboVqi4p0OEv7iEwD8pHB/5L79
80P9rVie6aqOa+6atTYzMRf9H6NIHKDhAP1ZYkOUks8IEZOMnGbNyz6Lh+xND4btvDe9ku6z3rNX
YBTL8/rHnrAbG2JUwE/DXt8dnO8le05ksCR5egVw9nYNA7ZmTFjEvJ6klmgl2EwTB5qmeP3FtmeN
viWdMmc/jDaeFmuySddPi6+d82eEwjL2Rk06RjDCOBoAHXipZHekfqkNHtPGgEYf8bCpkasxhpXb
YXUthQudmUyTxwl7VvlVdGTfK/ZOeq3i6UTasIe6Wg85TbtPPIc8dM0a0wCfSyFQwoH5M2zuHc5u
XR1txXIGvv/TpEt5wMp+RpxU5cFtz7kUIeHBBudpcC16VCkvzdRZORU9yckpD+EjXNXasmKfqm6T
BLXkDvPdWlVocQ+dGRS8WgYoAtjxsZymN+9I4kIY10VLyfT99+2RiUCUv0/imSHhOqoiaDiqCgyl
36bP8mTd2R/ZX6CGGgL2qGTuL+Zqh5+hWrjz6OVHxVNeb3/A8vY5+wDxaMr6SKYW26eY3PgIyV3t
ftjIm8GvXtqttfdXzPFzcLVhzsyJhxP4zLkfYW70ofj8pn486Y9loCXeuA2dJ598GCsW11ZSOJhl
0hoZ+IfJqY7uex3Q+NOAVIPCMTTJsXghZA34uXTNQ4uSE7BCaQN1rcu9Kil9gQ4QrOhQPoyAFOWf
7K0uNrfncXka/xgRDn2lxWSKi4acokqFaPZsvidqrXjpNK4JYS0FTBw6YvGsIcD+YpYypyRvINNG
Tq1B0JRxmDbRXgu75tUwDzH5VdW76QX6eyCbl73bg/w/Dscf08IorUYFsQPETE/2+Bixj8a801qv
gRBzFbuTfNeofl39Ml+6v0jn6c23WE/c6BcD8X1TPRvOd93eEACZbn/U8vL++SbB42XZUIE/GNMR
EynyjYp2mwyiWz74Ok/SPAS3ra1OgRD2IEecpYVV4DJrkk39RQ3Aepc577HRP7UtauLjwWReWR7G
z4Qo+8HejcqGUAivAlWceuqMi/ZZ0/YdW8P7LJ+sPzPBfz/z/SAlBDMLXx05u1MPpjdm+951XuMn
eY1VgjuFa6fxX0si35qBup9hFnwSjFpxp6lO/UbP15jq/w9X+MeM4PQL3UnscsCAHOdVtQIa9rVL
NTfz7e/kkHzcXllRl/lvzw8OW56HB8ZAZAKSkk5q47bHFZMFsvMAtuZt0b9wCatJ3VTOK9uT+nVo
vLvyt93cTd2GSXtU6JWft79jeYf9+Q7xbjUdOnayDleSm7ti9gzA5rf6fM/MCaf9MTMfAAFoy8ZV
DX+EQsdYNLwcAoLfkDbPUrTrpL/MzNWPK5+1kNpCs8h/p0d8V5B+LjUG0MSp75Ofkr3Jm92UQIX9
EY+1hhXPeld5UPM41OWOOr9U8jPr3VQ5IuE/aSTIOx39HLty2uSVz4x0z9T7OCv8ubbutMFl9gQh
zbWyyrKrPPtm4TIf0CVMc9Q1Tvpr8cZO9Lm6z7ZjMLzo35NnepLW6oCLt8CZPeHuZlwxCFLn5FRF
8byZGsh16hUk99DUsyqHunTa4f2h6OPgHoD2weVpZxlkNxQLhyPXAPkuQHaYxXu5P2qOX8q7NpmR
OH/R5o3ZerPdu1H2MkE4ZnL1zGsQ7Futm8UrW3cxLDz/JsEXl+hLlcq2wnxDWLeZf+oSPoukfiHN
G639RZntlv0bahib25tzcaHPDQteedDUWa9anJkkvivykwZeZi19tCooATwW6QbVyQiNuH5phRD6
vm176b19blrwuuVQaRaZYbqUJYjPoqk6DrNScZMftrrWhbbkd89sfc3/mYc3y9ohLf491YXi6nLq
jmtHZuk2PbcguFxdJ0qDYhM5Zeq0Y5O6z6pmNxeqJ1vJCrJs8YkGsDkorkFQAAE8wVacmlOpyhhN
kwe4FQPpL8srt6U33vf300qUsLw1z4wJrmCerbau+gHGZMjnekPn91Z5VwYRGFlpt5PmH5O5pou8
mEs4H6HgDyQTxetGg89U+8ydSs9od7Xq1S/OI4Qqijh1kcmwOw9tC5b0DWSpt3fmkjc6ty6G9mPD
LLWB94squ9jGyAn5zqjj3hoQ3t82tXhVn9vi33K2M5Myr/MCXCunuLgzZy+T7xW5Bp/wvd250hj2
Q+rF9WOxsddCkUU3eLaughtURmuc6QTDibUbtc8KKQzHG10QvmxT67f1cnucS5fg+TAFB0clx6hL
vHxPaf5Qy3lAALJC/2LUI1MUz4iG/dv2lkfHWeJQqedF4Mtp7UFSI8XtBCe/N7heMJohvHLYZq1v
n7R6NRfLT5wY1wEM9F9zwn6NNQqOOBvDc9BeXgbxvXK0PMiPIZ6AXjmy0Gtvs0WHhgwiSoTgN0Uu
/XJ8dZ13WR3ZMJhIjqsN6ezOBpIIt2dxqQCicAa8/zUjXA9qmgMNmOJeJuwx0dAVvbGqRzSz44C6
Olfd/QBrDlDwZu4WU+JqqmeZa2mhRc969g3CPTGWDroXCL5hgGb4VrtTFFf+KHKvbL7Xv7Wn0jfp
A1Ne7PLQSDlK72s5RrEd9yu+/TMJ6BW7nOs46VOJdQouZxlF1kP82ueuYb92FGihbQVJErpr6ZEO
of1cfKfl1pEOKUMb4ES8XiXbzAIjnvqUVj8H+0iyafv/WiMIq19+Xo7OPyRf8HmZvGXo+ukeknbb
te8z3eRQWbA3c/Qs0bCV+70MoRoy965drTGgLp7v/y7SFdXkHI16P6gm0mdbJ/Ez6LU8n9bEORbv
PYi0QHccO5IrrV+OlKlqV8mxmp6cO0pQ8VCnQE9/Z1aYt2+k7tyuVPzaDoz+58oUc28hHu9zw8Ix
mAcK0tdhSk8R/dYln9nLA0DxB7l14+m3RNzu/fm2waUtD3obcPSgHMFp1C4HWrZTAkX1Bn7DIGjR
epSz1yZGhxJZi7uX3Mi5IWFgKZtbWbMr1BrHwS3TwTPsb7eHsrQxzi0IpzfqK8NqGwyFGqWnQrN7
HkLKHgfyXuUbo1+THl40B1Q0CNuQsYLWwOXMZUqqSwZfqVapvKrM/YgyN2smEAQZxAMhquJrpN7c
HqPYq/3lIXgfPAyD1QbVqkurRJGsEhqasOq3v6QT2GONyH/KUrffVT79rQWe2nu7f4oCF82KzVB0
LGd5rmC2Q27erR/jN+0ob+Y3+bv0b8LbsxGKDEhKmuWDOaA4Rljkmf2dZvlt/Gw6K2HCYrQJzUJk
ijnYBI++y5kE8kXvJ42nq2kn4wUijX6qpsUrur9D1czr53qik5tVlROCpqZ90qlB9rdXk28R8bCf
fwI/nGcRmdPYmpR1hJwsxdfr1k26fZ9Pbm7fSfpKcL10/IBg/IK9oKNNzEh2cgsWpArpoNiu7ENW
1oaL1Jfk3x7QYoLGwmsBWxPdzuiNuhyR1fQFLnK8Tazp1MeHofqGc6fNn9VHDsgmaNs66qa/Z2ND
3iPZH5xdVAbggXq//RlLgz3/CuGQFJPSSU2D914cy+bWLEqgUmWIjNy2shhQA4cKqBanDUSX/OVg
587so4YgeGdJADZuiL+oATgEpeIJjVS4t73KvpfDvv09rmb3vs65uHXObQtbp53HwaodhIHm+Agl
jkPUSoeuyPbZ+KrKh17mVUnijc1PtfyV9syblA3tw0lCnXnfN++T4fdkZyj7pthg//tx9JdUkj1V
yE5PM4htSHsy0iDtt/9qzvAYAHoXmG9xzkwTjVHthGh5yMAf9F7I9/Ns7CRXB8Xl/C2h+xT50Lrc
WCuXA1+L6/lCk7aOFlUFyLrLtWpnB9LqiJFOTaIDYsMckFloSbWdJEhF3x7j4u4D7eL/muJX/Nmp
Ntkws36YUa5BB0GQtOW8Q3/Jy20jfAvfGo/wDOjtCJjNVsaztVR29JDUk2fG1E3i6BTFf0WDHVjx
GgxqMSoCrfh/R8ZHfjayvooAXMqweLYS72OoAhg58SwNz9Uu9WOt8BOgI805HBtXJpN/e8RLKwgq
I45TAh4apEKXxtFNl/cD2PhOOmjKArUw8o1EE8mnxMz/hV/mVK8yIiKQcoocxhLkvtBK7/BUVea2
qL+nvQ+uqkDuzSDOVyKwxXGBAZLzbEAeRXSZyLBW5kQSetKiBOpbCSC26dCkfpfPa4/HNVOCX9Tz
CYCWLKOnqmXmluI5HFAapxs5s9eSOYsOitOP/mdYpvCUkTsqRSox2Ukua6YFrV23zI2dxuo2ddrP
1X00K0M2HSQDuSxPHjTIzw3pEIFFaFaMgKJUmAalqabaTiMRVfbZbMXdXeuoo+qrKcHfsZZrldcN
lpQ9W3GR1p+KnFTII5rquJ0igxSukdfmdGcPKiivY3Nsql0tl9Cf6Xu5aV0QZBS2h2OEpq21y2HB
C3ChDg5dQlYAROKX29WZMpZWqkYRMVXB++xW/kfjpe6v/yHtupYjx5XsFzGCBnSvdOUoW7L9wpDU
anrv+fV7oNm7qoK4hei5MT4UoySABJDIPHkOutWtBDwAlzfH2sWLqBBPMoDPAddmxS7qJUVTotFl
x8b4LWnNXsedFJAgAqJCPArlZ1uBrElA6jlb/H4ursbYJelDMQbeqHxOwjFQf0OB4/flr1oJkRWk
YtBWB6QrGM+YQ7cwx6ybqjA/kqixZEG0CrHwtAy8Z5UHQgWrGl8vG1w7oWDxq1+C1l1ZgWYEjlU7
C3F+7LxOsgoIodrWp/K2PPZHaJf/C2PgvaXKf2C2BKDrfImTPtdL0DiBimc3HPNNX1vDU7a385tk
X3PAQCs7FxiOb1PU205O3jKCLXmg48pwPUeG/hlV0Zsq5byjb9WRTi3RLzmxpI5BADEyWJr3Y7pF
0zQqEcH8CKEKEH9tS+GqcCH5TtCViRbjJ0N8RlczepuT6pEzu2vOg9PQBBMvZXllb+zcgJ5eldf5
cWquJtlNJzsTJ9cE6dSj/NLc17Vb3IUF1WjPxdnK4vtCtqJpo5b3lz9kJUin8Jn/+w7m3mn0eklq
ocyPed5ZIDaRaqhnUmhJyKOEWjsyTi0x/qRVhTaiqzc/Fl58V/KK8F9dWEzIcDYQxof0MJ7nIsCE
xrOtl07SbJL0IQG11KH4rN/LyBo+F0ASbPF53haPxvWIhefFzGuVU9pxgM5C0OdRZcNz9+oyEkG9
poN7BbfNTjOuq96eHLG1zN5qXpvBlsaP7gmyjUVjtQoEy27rwZI2eoPHZsHFrK9uKwD6IBlJGXVM
Zm3zYhkyucbX9PsJAutL8DoIh9xAIWqutp1wACYgUl+JdjP1nZcPLchb470a/SVZE31dK/AwEHYD
RAniQuac7JZ0EiRlyI9PEnmDIpJlGBDTGdxMBT2sIw/bQDoS4TUlb6PCu6hWVwTq74iqIKhCmzHP
V2Sqg7oxjAn+fY+WT3dHdst7vYk3+U6/G9xHUMHZ4rvpiGBAaw8951xbc/lv4z8SnmI0NEVFlvwI
dmAgFdpDLnKh9XQRWb+nb1Gw8QLDDFGw8wGq2dyC/lqEyy17rbIz4rUodkDr1FafmkcTotK62/AU
rr4yIpesMukhFU2KIB2mI3MGZ3QLJwaDntfdEDuYrcnqnfRW2Cvu6667Uf3pYVPcD9fTdbRV/5QO
KsD38fvlY+wrn3Hpg5ineYTm/tYo8UGqJe/bt8p7j+zWTn5f1eg4GJzeVY/mFmJpn/X2rjyY+Mbm
INx/tI7uhhvz0XCAFdh12/Aqs14Rz20k/H+LpW/6h8TK7MsfyxIBfu2I0zVjnLIr6y6UB3wsCDDR
Z5bfxZqdHTtbcORnV7pX3X4bXIvP/a6zt5dN/7x2gGRG8E+R2Sh6sjluua31hJC5OWYCBD5ANGlG
HkrGPY4nZNkCJH0v26MjOV8WtDzBO4EopmAxtrxSKWkx1E3VHY1HDHTYfQCi2TzlDi//upLvonSi
VNcGRK8QcmcOGXUkRo4OORiKdxEABv29KfvjSCx9qhwh3dU92oQ52HC6tdjB6SDmotlKUFGLzI3W
mkNYl2XZHUmiHqQEHbtm9LsZFG+Qqz+X5/HnSQI9NxECVBKsoauLce9gyklsAFp1DFvRB60EXlI8
ScmfkcC5CcYpjWQsKm2uu6M+Tl7WVqjxbevaiQ0JGBnOncAZDtsPVMyp1qsxbE0duQ+z1FMCHgqa
Z4JxCLHSklLq6XBmiAmGqpWEz5fX5OdewuLjqQ62XPz9hzRL1AZlPagZ1qSaoWCC5qw2MpwlLh01
K92kHv+YYsPp9+XZZK504G2IGAR5d8yDxFa0ejcboVXktzhPrH4A1oZsLw9ybRpBlgAiAypwDQKe
8+slURK9IAWmUV1mzZ31BIxQmvhy2chKrpFO5bcV5joZw4ZktQT3rq32EbRgTuo/B7217G01diZO
Q/j6HH4boz8/eQPEXVEuqll0x9meZyt+M391M2jrni6P6WfwdT4kZjvlZgP2/ABWJi96iJ54N/Da
bv2eMXBonA9CGrEKYYezR22JKyxH1RwQ4B3RqdETznW1dsydmmJ20phWAJwt9AxvPyqQ8ICd9lH4
W1pU3Il0vnTgHiGHgmOOOUwlUkdtHMPKMglOXm1iSfEaJXnvesO6vDLr4/m2RF3+ZP1NM0qmUu66
Y1mYhRXIkC2WigNwR09CXXIiwFUvQJM5gl9Av9H9e25L7bopTdQZvlaHThEBjSe9LwjKLo9off8g
sgYnOhDZP3QARmDoK2mBmai5CluAsuXGFcxiVxlg2I5cWQ+vwWVtl6HyAqJldwqn18tfsDpOGl6j
2RoUNqwiYxzmIOkoxO6Ypa+liWFmfhjx4MU8I8zG1XroqueRhFGagheN0SETxttciDln7MpTElpN
iKfBQ0DZZSXmNApCU+h1EsBB8s8AmSXRACNoZoPxMW8gsJrmVrZ8yiO4mhXIik1uMuRuX6IeUSY3
alraMp6gdfxQLdH28iyvBI7nX8bMANAqddw3Oq4cPCIdoXGC+wZA9z/B4ubX+naUgAp29Ef9Wh08
7bdxNILWUsmR9675efjgM1BTxxtXBg8+29DQd6QwgmlAc19q2pF8O8nSIcv3c26pGrfoRq+08yiL
ZqrxmgYomhY0mTELgqDOLal6ikZeYmvOd036Vpqu+ius3/DGtYD0FPJPsAlx9u7Pqw8wJHDqgPIF
cZfJkgwb1QSSEB0tjJH+S9UOTfp+eTVXYlYYoPwEBOU8tCnTkZ8cRE1PljIjyXDs2nHQLLNKRelq
SFHp9/PeMOMN/t18lwSjVxySGwuk6NNa38oCcFrO5W/5ubXQQI9aH30ToDuUrYCL6RKmRhBNRySp
pdgBC4e4TWZNrBzo+PH4Jn4ewDAmQ6+EPgoo68z5uHshl0JwWU5HIct2JJ9bu5JwZkzJhLdjwQud
V4emQA0IHCYKapnsbp6WsjfaajoC5iLuwQSvXU8gvN3JuphwIotVU0CvGTg1IHLEAviDWBPTggwY
2AzqKvSmZltZLRVQUqPZ8PKCrc4hlX3BY4c+PuinnPqOEQ91FMjTMSnj1grlbZSCd3SeJ7dX58W9
bGwFRkp5pZClBBSEdkMwc4jK+4houpqP4iSYt2aotYNVqiGYrUAoZC52qM9Veot9nNlpGDaennd6
s49rPXuv+gFvPr0MsgmCw9Lw0I15lj9d/sCfWxXfRxlY0QZM1dqYEKXpe3BUoyXwGAA8fMh1UtDO
LpkzDT/n/EvjSYTzGpQOh7nM9SXUhVoR5mONhq4DuvDnvSYI0a4r2/hBJGPNQeytjAqrC04cYHDQ
Rs28ki7P0E/XpNyZ37+LmSEkiORAC8l81O6U93SnPV/+9SulifPfz5xloHQJIS2H3y9DU+BXeoiO
O7O10ARWPeYZ/SfH3s8r6NwesxZqnig9eGpn4DYhVXLI2o30nGi/pmYzAStqkPtJcKXOEndVEtko
0lnjdNdEv2vC6+FfQf6ffwlzmi2VpobVpKC7NnSV/qC9adWVjHRc/ZZ4dWGLhQraV7O/eePMAI3w
z+/Fc7vMCWDKRFhQu5mPvflS1U6TbtvFywMPtern8CPbXDa35vvoXKT4VYkmIJjnjDJAliZvi+UY
pzKq72U8A1sd3JhxHViDXPIoiFf9ScGli+iLcnyzFBdx21GK/3I59orsaPFnCm79h2D3ukjbfjDA
Oh4b3uURru02DTwyoDoHhAKPkPMTdTalNlZGccGzQGu9REwqb9Y7XqKK/hZ21U6tMPNYZ2YUTOOw
HI2mtBsp2JTVpr9Cz78VHAwz4YSya7sEGj6g5MTTHfc7syuzLisSSKAtR9MI82sR7wQr6/R6Jwmt
smlJeRySpNz9i3k8scnszEFqxhGHNGyKQwKQUDVt8ro0tv/GCkrwSIgByfqjRw2xdqd3Maq/Mumu
oDP+MgKrxDGy5vSUXNCkkoUaAt5zl5hSSM/3IkrMcjeFV6Gke3Kg3Ge6UThzrBLOxK0d0TihgbfC
C05Ff+25NaQvhTKocvG44IqzRqPvPjDNxbVa9DXnJlsJPUFohkwipTMEg6LBOEY4kIW0gbEcAXtU
dtNUQCIkbUsb+g+zXaRi+DR0qDvqI3Ro6gYCzfpoapxoaXV2UTtXEL3gH2y0RBtTJH1E7mJB3nSf
pBC5j5V+dlJkTuxoMX7/C48xgMKlUQKsMYu5pHI+6QFo1fRhar0ll0TLaCrB/nsr6CPQgVKgvKas
yKqaC3KtjpF4LPXxrkjT2urN/v6/s8GeIWYv6HEG309zQbLioQvtweTVMldK5cCwIcpRcSIiw83y
6+qpXhhKPsEKMvh7dNu2B92YzV0wzd19LyIxlxottLJCUPtnpAG+NJw1SwrC2a0B9HbVWDC9sR0h
FVHPi9MLWvwQViSzo2yOOZ1ca1sHHDCoaaAdETrEzF2IUnpdmLksAv8ZBE6K6+k4dCB86pMsPV6e
/HVTkD4EoAlEpyxvrpDIRdimpnhshX625SwaHsvWIJY6Awly2dTajYSqJcgJqagy5DfOD4RJVeM4
axX4ktiH10uSLC6RO/HfeNOJFeYo6Joc4iI4sUFB3RMv6qtyp2U94cQPq9MGeWhw/uJJjUzR+VgM
OZuGVAulI5gtwMA5ADtYLXJyjZSUxtmCK8028NxvWyzBdkUAwkkEQzzmyCigAmQ0xeBLELsYt6Gy
iL0/zLECwfF2GRpHMet83iqxKbYW5OlblOwztUeKLCOaJcZqG1pdo6L1uSQJGhUur/D6rOigXhV1
ZO3Ytyk0FnqhkwIRDXJptZc6XX2ZxbG9C/rS5JRc6ASzgQe0SAHkw/sFCGlmiwASp1edmUpAN8qP
06K+N7V8H6nHUEIDCKJnii3pOCHV2vBANkXvGMjAQYjqfNGbiCz11MLm2FQR6OUhdVUJUeQBPBFy
TK1FOiADh74a1h50lsq5qRnhwCCVlXSMErDZHzrNmQIX2rPNyIkJ1jblqSH685OHdxAEqZwYJXXk
4jaPYjsLc07iaeVixPUE4AbyXaCTZcmNR0Kf2tQrwjbcF127ScDuYaljDmDL42UHXIuzUaGl0u3Y
Czq843w489BE5jRgOCK4zm05HByti4gXT810bZBGsLu4HP2uIajsq8aV1hvzcy4oFWdWVzo/kC5B
DQCxKnxFYhPIVYbeacj0SoBJaFZYZlcTQW++/NQYEEGQJbvekw4EP6HsjBVe+LN23Wa922fDTV6W
O6EIJ87WXNkvZx9knE9M1ZSmMMp0v0S2RmJPzspDgFno59FKIflZzz7hgYBXfAs2QQin4zjAG4vZ
L8ZUQVgsbmEzzB2S3IoFr1d8fVTfFphtMuHJZXYNLJAmCrwMFT1zOvZj/NgMDZIZ8V01BX5tjpx3
yFoC6WxkjJstSOtWWdNJx7n4raXPwjVEHqxymR8SkWzKJLbKzqnm2DaV2kVH7XVaWrHJIWBdqZJg
cqFbLQPzDIwWS5JeLAViagFnBFBZCnAqlTDaqa7axSgBrFnkSD4G+0TrvECaNKtIFF+ZeELD1G2Y
Y/jsGxi30lvcKOaMe7AZ0/5NFES8/Iph6J+nAZHSArJvf0wH2VnygiecvXqsnAyfuYK10SikmA5f
RzeCYHwgerWJ/r5kvGTy+qHybYm9gOumTkJAlnFGHjPIyEPn/RrJ6+SpfhhvyDuPN2XllsGUghUL
5ScFwRKza5ogjqMhaaSj1vlEOQqtR2ZOJm7ldjkzwWybYZCzbB5rnE7aB0YElkE5fwtHA9fZ7vKB
vL5I34NhNkqXj+qoadgo+WIDIbRVjdwqtfImmzgB2Vp8fzYmJiBAzDlDeAlHQY/8bJ3umtzTWmIr
5FNGnVKIRkeSbCFRbiFE603GphqweLHTkNmbB+2Z5MqnGou/Lw9/9Xw6WUs6PSe3q4S3mZSrmGhD
eo1iRwwqi0DBPv7VCjeFdKNEx8v21h7CqDsjxaqBlxk9h4zBok/iBDkKxA2D1cBXFbAkvGm/c9ky
gFSq7lseDHb9FDqxSH3tZIh5uYjzROe9jQK3qqGYtJibCoKoc7ghwluZ+mMvb6pSLK12eFI7zlG8
esecmGcOoD6vZwib9hRyaUJw1ZASqw3rxOXM6+qmhPQFshmgzwSj5Pko9XICYV4BM5phy487gt2/
gKLLly1ka0CuYfOeMatb9MQg484QI4pRKcPGIdAPmbPG6g3ZFaTXvIqcbnm5PDze6BivCfuuihcT
a1iV1a+2zwrbSCTJyrMstS9bWt0QJ8NivGXUZ32cJ1ha1M7N1bvUcBtl22q+OdtVtdhIRnEsrp5A
JxYZBzHzMU9GHRb1odgYwXYeXtocTXODd3lk7EYAYA69hSeSQczQlKUmcpIH0EHqX9DAaUsNID+6
VB1kpIOoTooctw4xS6uI7432PpqDxrn8CXQoJ5fxjy9ghxrWcYc+59LHwxfSfWmqRlaqoWyh5wdo
hzuLsLlskPGb/zUIkCLSFKCtZNHIROyAJAswZJIhjR3YUb4NDJ6KCLOAX0bAxgS8JTivAbhmLqtp
KQpjGpLSn9TfynQIyhC0WFaocsbC3vL/2KEDQXcxsrAsYkccwgjEJ9DOMsPMMeQX086k0pZUS7JN
eSO/D+Wxi2JOWM4+FL6swh7QzkCVo3mCiWLEmVQNCh+lHz4Jwj7xQYWbPIialwM/r2xmabLq30Hs
1fWmnu2JOC2X6on6Jes1RAUOE1kZmhdj4g1xIVWgCDr0Hvc3tWVa9C/FM62X0vJk4EP21Vv8Uj9f
9pw1VyU6QETAeOMlzd5TSj8po6RDri1DwNhlNzHozLKqtPN4IytXVcjrcFuzhygE0tFocYMzMU6U
j606CKFS+cbUPZbNIynjqyJ7KfCO1wVI+7Td3eUBrm0NXEvQpEMqGFl9ZlalSq1Ks4xqX26M4XqU
536Xjfo+a2Zpe9nSl8gEu4BI5lMJWWREgN88v5skaDNpjR7XPl23cNvtwm24bXYjdMrD1go2wE3t
jH146HbpFs/ebRNdhZkvOuBt8yNe6zobgXw59OnXMDMtNUtaGFlS+0r5WgqJHRgvSXCVBPqm1QSv
qtU95FegAPh4eRZWN9KpXeaGbomxBKDFqP1pmjySO0Nu2KDACaZHrLGU2kYtOGb4EmaedD+g/7a8
aSC01vO208puQgMUyttf+mcSK4sxaElQVCM+IzVHJ9GvkmaypKm3FDW0ScnJE3+l35mll1C9BwwE
CtMKdDLOl94M9Y4IWlX7B53u3CcQIjtAtHrlVsV//3qXLIo+Dd3I++eP1P4ErtJGX5QbWKGt2qIj
2ZM7Q9xYtBROQWTtRlSQIoUEHGA49Ao+/7p0HgCGmTAXpF8sSK5CCCZ+XdTpttWXnZgIaEm4Ahpo
N6azO6vZtqt1zgStrIaC7BllAEcb04+aTEqyIjfGvPX7ESI8EH+0mnkXSTcJXseX/W/lgME+x/mC
bgSARNiG55hE4jKi6cgfjesO7BRKdtWKnV0s+2YCeeDfPavoJoM1lEJxT6lIqTGbLNFHuYKwXOu3
mSVvFjyvrZynN/FzJ8OHwXdvQLhSh4vpTFSotmWUtog3/Sz8JWeDk24N9N9mvZPJuhXXzlBV1wGP
rpkJECGVAKPAfAJgqiKPrDL3YSykhal2Y+SjTpm6yyAXvoDGX1cfmvSqyOXSbtGna/dKC3WbJeak
Kn/4Cxj4qTS5RFFyNMl77rFRFmhLOS2RP2dQuxpR6bNTkgeuCdWrfThCajed+5wTttGT6WwTo+WW
Ki7Tqiyaqr56gU5eUAnSZEZWKJFfyqJdB9Lr1IKX9S/dk9oAnJ6ixuCk7H0bkLafZB02osgtVBed
MrrpBR7JfoW83OfKHJ6Zoj8/GY6SGsZiVFrkw1WOsVJb2nyrDvdCTW6l4v7ysHi2mPUq5T7vFZVE
fjFYYXWUX8LfwQApV87srW0FKr4CJBZthYRu3vmYhl6cDbWQ4BfJc9NrkEC+1utNdghTJzvk3bKd
qs/LI2NxOHQjnJlk7jM0VAlKrlKvqKZ7AKoOGa6reFIdbe5sI4R+ddxBSG+6E6fQAgP+Qj7zNN1c
/orV+T0ZN3O/DG3X6KqAcZe6U7Zeus2vdAGtcJet0N/yYwPQTBeYPtB+xCbthzZZqlmGx7QReoOR
KYr1uyVdeIsoc8wwg5nTrihQIoZjthtAfDbxUlqmImyk+C52rtDvUpT3zWJxW89/PGDoSp4MjzlH
SzkfBTOA3Uj+jIzFXSZijzHA1x3n9Pp54X5Z0iEHCmATSqzMCM0FPRTFEsd+apDQjSsCfLE0IQ29
lEcpkWI7T4tXFGM+yg6N6aDNqOw5Kh4UINE5d//amAGDQOKf4HZCmfR8w6RNNBVzjTGncrVXY9cw
BnSDL5bAsbN2dkIlC80WqPYg7GLmtjfrWGtLI/LVtGo3fSk/6yOpOQf0j7sd03pqhDnRkryUEmVW
MZgm/dRGu/yoSGqHErqvY9AMVn1iX94Qq7MH4idaz4WCJRvR922qxJOMUZnibTq/mnoF/kS7k4+X
zfx88mJgsozoDGQmiJJE5rI11FAzEjTp++UAMamN1Gl2koCPCM2FQNKAptsWbkFkwNmIa9MpA1Fs
AliMZz3rpSGJi0JtJnipuI0mLy5t/b0JbCQIx5JH7r/mH6e2GP8Y+yhI4xy2UEy1xxx/VZzDi2eB
cY4wmOR5mmEBVIvgKm6srP+7FOfXTQBUua4Q4MzRf83gJgwEe3LWLrGPjlaHl6BfO3tPfzk9NE9u
62yYE6Bg4AJi3diT9ksFHV/R/uI4Gt3u7Al/aoW5Pw1JjQptoENAUeg5dofth+FlrmZtLxvijYYu
1sloRLlRBVHAYkThI/jTN7VYW4bCK3qtL/n3gjDHbBaYWTGTOfaXVLXi/i4n/+WKM14bEK00khLT
hW4uu4juWinj7EHeEBivVZoOWMoZQ+jB6T1DPrGLOQCNtTNMRiiPKwB3OsLq86UQJCkCtBZLUUPn
qQYlZ5EYrtn+qiv38pqvHic0eyZSsilg1c4NDerQQj25wBY3yE5N4idTuWmVe9xNeN3TBpSZ42Sr
16x8YpF+0YmXLTKp1SqExehWQFaFZFZ1zA6zo+qWZIPydig598GqW58YZOZyFNGoqiFl5Uv6Y5jm
bg2RQY1nhOWW+DpnkEMASA4N2RQMdj6stCnapm7F2JfvNCDfDmJmkcfQ1Ta9mx7yX+od8TJrfEje
9H0SWrs68TSOz7BQp38+QSbg4Kf5DHQrnX9CWwv5JLda7GezN94tH7mj1Qcz2C/VnZoRf1aeWmSx
boSPMKos/S+V3n5YZyagjbJwnIEe88X2TQEqO+5EW6yvjPEzn//NxYS0Od6a6C40AQk/H6kZlZFa
BIRucc20qAqKA+YTXul6bZsj+kKOVYQEN1AC51bUgNI9QanVB+Rja5rJfkaL8OXtt7bPgXlF6xdQ
WDRLf24CeJ4eMBgDRzt4E0nphS/a/DRNnHQq9XD2AlFBEUVF4VVQPTAXyGgosdyFAaygJb2wEF56
HentDgBwkCIs82ArEY/XYvXVd2qUGVqqYJsTDUbz+RfqNmMgWs1GfdakTy2cPa2PdsHwdHk218YJ
2VcQ1KLOiKw8cx134E7TgsSMfURdApK5obv4xm2de/9qcKDDRHoagR/NU5+vW6oGRlm2UeLr04Sn
0AZFP32OLQ35eCG6iybFSmKodPHyo2yd/muTaYj9kCn7kj9hjuuybWsNUqaxr+DWiUkLYd0c9OAq
6N9Cuw6v52dBugHNzV4O7qB9K79DdKf2ms9Ee9AVleO8bAfqP1/zVb8CDaoGpfrzWRAMM2vRAxb7
szsdyVNxZ7wvXn8f3o332g5VtC0mBt37w10Dvv13FCguL7dM15P1a0DGUXb6xz5zlcQGquWCAvtZ
aQVXqqN+TLeAHlvjXQfc3y9psxxMV3Dz0RqC69AG+9Mu22qPl79i1elOPoK5XuQWPMxiDT+Xx8da
Q6ORYljNYjf5Vta9CDWEDGSVl02uXdqUxAhHE6jm8Ag4n/cqTFLQx0NGPluUvQYtdL2/Ggqnjkwv
vM3fLxuji/hzkr+NMeGUGY9mFKYwNu/jbXLsZWwt3jG4+pbSAAcGLoxOJRuGxFLfCyUUEv2Bghtz
8BVp3Z8wgD40UfZVWt/SsFQx06sweI2Bwr08xPVthQIi8KKoQuNv5xNaVmETtFAp82cb52N6VyZO
cUxels4aN+NtE3rxjWibr+VReBVeR9PhmKdvkB9TDC4egDxBToWk9Ll5Xe6lJUQXm6/dTbs4dYKn
NLXql+A2sOri5TfH2uquwd6lxQXQ/7D9kVFbpcIEYgC/6aatON6NV8ZH3FtyaVjC+Ng1tuo88prE
VzcJHBWyEahbghiAGSHSzlUBDl+/f9O3/WNqA8QU22gi4Ezl6s44scO89tD5VFRDMia+qj6ZC6p1
hlOYPiFvwm5oJs75s3rF0Tf4f0ZFZ/oklNVkOG1cwFrn/EFa6iFwen+5RsGSm0KlHvDDQ3SKQYV3
UC85t5QvnRmkAuavhArAFHk1egzsOtrGhqvthqdJ2WSpVT61+pWMMmnAS4CvhSlAUv+feeagL6Bc
F1QpBupN7wpY0kLOGbPuHt+/nznIU90MFjXG75evyGyZVOCjuNL1B7x40FFp1Rxz/8/Cfdtjzuxk
MtDUDliEX7TKZ5Lom6LKd51xG5QakM3oarkOFZBx8R5bnFVkS3qDNImylsOs4qX+XnMvb+z16/B7
lVjaq7KIk6CtMYuDN7vBW+cRtNvs2ifhxXSMTbiPMisTrfkjeNV/EckSr2YPtHtyvbn8HbxRMrtC
HoZqGVp8Rog+TVH4NQw3Tc3LidDo8ceGQNiMkpOE7CU7lUIS4cikW29xwv2rvp1t9dA9x3ZwaO7i
Y+0mnEGtHiwn9piDRSSlaIBVMvHTcpOTu4WypbX3ynilzjclOt0vT+H6fXhijplDVWgG1NdgDrB3
KxnACkc2S+XUvp7aanXbcDHZ9AlwaT7pz0+Osqo3Ab4OMZ+jnbvzHQKJfev/RjO/Nbnt7i+R5/8E
jifDo6t7Yq1UtAF3xJe1ypdtAomk4Y9q/7k8i6un1okV6qgnVpReD2ejmRI/3xq3s0MOXPgmzwL9
+YkFkKEURaTAQv82HRCLX02H3K3cBOCj1INejANy5nsIA18e15cuxKXFYo5jwMHxLI7gHWQjDeiw
J6D/bR1A1YBLSPem21boj56dyHkWNuJWeY3selNuxQNSEVvVQXexPXt/CSX9saTMEb6MtVZkBpY0
IDnsqDpAl3nPAwqsbXvELEBFfMVJbIG7rSIgnyIB2uugm4iCChkGzkZfnVygqkwZJQSqFMMMBCke
1CdiE087b4B49Ibsx329GX5nm8yfjuGh8E1kclq72bZ+ten+lC/tJn8ATaTb73qnug4/qg03tUP3
O7vipx/FXFhKIMdhNuGjhJvGk93KaW00yLrgRbYrm3iX/Wu1enpijSWAmeW4ajO8pHGREDsGlXdt
fRRWbhcgL0CrHCdmU9bOnlNzzNm6yChfajkG14M7dNxOL78lL4JDRzfjm3IjulBdem7cfK9upG1w
U+HaSq4Q7sgWWvg23aNhTVthkwO2c3kavqhnLkw6W0hCV22vBCK+yxGvhBthBzz8TultUFg0ENx+
iCFGMD8p2+INj769dgA+Rr+LXKgGfmqV1eIZ+hB+KLZ4K/qJFVxHHEdl22i+dtzptDFHdrvkqlCm
WCUFaKWnmv6p26+LJdn7Ty7pOscBWZoeI6yymiQwJu5NK7aUjfcCzUcrcd94b8G18OF0WMypraoh
YBh0/2Xks89ulepPzktV/oS7IXF3aoM5t3tBTAgojuDgODWjG8EaLHDGe7MXOhMI65G92Tz9uexN
q2/MU5vMoQ3lXkE1W9gMjdmr+sqOC0DNgmzThfO2Cpa90LfbeOzuprS/MczoegBjfZWB2WuZN4pU
u6FkPC79jcCrZnBngznxprlPzHbGl5nHFAC42VW2PUThMsjaC/bgCs78Uuwrzq5fjcFP54M50vpx
rKNxwTqLm/h+2QKScUec3KudjhMrrj0uTgyx1XQwfASa2GN4o6v6y4FY5iZxRyu6u7zAq34LUiTU
0yllIVsObtNWnIU8TP00bpxGgkJdaSe8Rp2v2+fHmfRt5WtWTyIOAhketRSi1JeaXZz8kaZoqxtb
E6+maR5up7iyIs2EMFZlJ0VvD8q4jSQ7D2a7A8QtW/KHUdCtou82SlB64HFEkY9s01pww6RxO125
oTSlQZ0dzRRcLi2Pa4JuLObzgbxDzzfy6ag4sXmAShqB6s27yCdoV6i6xiIQ/5TDx2LkrMaae0Gu
DDkdZAeBrWdLBHk3QTwl1QGF6+ptaWQ3bePFqWuKGzl9BIdaO4Ro2OflH1acAKGDDnlM8E8BcM84
dYteE7zw2tgPAX5rBvApa4ieS55IGccMm6+aQ5K2fd4h8dnt0e7mzFJkd2LG2aJrVgBhpLR0YAUB
ZPI8usVCQp+RIPHWwn/cXvzklmpX3AEIyW8L9AtOvLkWzLIjLQqp2VIcxlLd58bkNc38tPSid3l7
0kOM8TwD+xLiBih1Ap1IP+XEVNAs9TLLqArLmZsOsWPMkuJmE7goEnfS2mwzRAYHUURP9J8mVUUG
AQiQiTqT9IrHIcHjFfM3Ti50v60mHSHRqlmZWWyBd7AvD3B1tSBB8h9rTBQl6e2kSyWwCGR0Ou0t
Dd4DXkTEGxDzKgWW02h7QY79Tl+mTQCyD0fIwTWr5tNnr0bo6iSEl+RftYlOTtrrgBZ4lXFCKWpa
QchQ6pNAzh9deb2+qRfItnPeVCuXBOpi32YYT2wrUslhidpp3cj3xQhagjCwhU7YTovk1pUQU2yP
MPH0glc3AEECw5S/Gu+ZRctk6M2qrQowRDJ+TOqyMeXIGdOstFO0sVx2kNUdgAw30Eo4fSHAcL4D
wNkij3WHIcbSrrYVoGUVG7T2tRdUm//OEjMqgWiz0haoy6CFSgofm9CSFT9x5+5QcCytesfJmBiP
RFtCV/YS6qe0Watw23hvFHaQPo7BvzkLTwwxwTaI2xpipP9D2nXtSI4r2R+6AuTNK2XSluvMqurq
F6FNtbyhvPT1e1h3dzqTJSQxvTODwQwayBDJYJCMOHEOM5TKm7TaQ8jCL6gADbWGjbChHvTPEnHO
PtLBkbIFSxTr/Qby9UH1PR42pn1UtG95sSktlNPMmETt7LaNYCrZb3+KVibIOcBw+kHuyLmHnkqm
QVGE0Jb3JXqaRD0mot/nnMLSwrYb0E54jJLfhvxNeJas/T64DEBFa0H4QjWZq1wE+MFuLWfuCpxW
NahgY23ZT6oj6lNc26+XRrircmcUeWXU6cceAt4rQwdQqj/a/e/bG2gtlqMlkIELkYD4VA7T525M
TCVLjo1zl2XvjSpSHl3bN0gggpwK9XLT0LlxzIbdQuIYk4XcldnMGzmSCKIDUYq9BJ2c26NZe6ni
NvTHGncrijOrD+0MCJw0HscMtFAgeJjjCG00eedA714d/ELOunOVtk+LBWUc7Ovxvu9LA+SzReuN
5fhsZ0suCIirHvPns3hmAntpKiseGfYpiSR31GU9yBpZpGO7upZIWIG6BYAuJJWu/bJp6dwNJgVg
U5tchELxYq6dXWjP+8cCt7OGvpy6rocFYJZPFQQUpCkkiToSEyKruk5qVd93/1IhgmUfwBWnoeqv
fVAYckaVLlZYaR4nlwlemCE7tG392Peyq3SsVyiOtredaGUar+xxkd6yi4lSCnvwIwItHbQj3c30
L87jKytcmI/jHA8UBVZq506f7vL+d57c9abgRbo6FkRZtFSCYhJwsWuXAHmFlslgHz2COXubQ2sX
DWT/ksHyv+sDXjLDUkFzh/7UKxu3534tIeiAquufH+Mmvwfwzcx0nEtt2qdBGSW7Voqjx7ar/DlN
QDuXlVVQWdXvbMiyY2pS4M606HVutGXXTr2oVfsDWMKdVfgei+lsWIzq7Xpw/zEjI9GLHKdx5OSH
0qR7OfpeZ+FrkmSBE5vErJGA19C6uZAUal/IuBA7D6pM3VhZdsj18U1OzR+3J2klpOJdznSqgXcH
FSW3qFrkdEWuYY4kyUsW3zjQ4YzMVSxKxYnscME0DWkNNkZcruK62kPTaysvA6GxsVMq5dCk1eb2
sFZOvMth8S92OTcLY+yBOILOL2B2Q+iF4Z62gseLyAq3oK0F/bs5xoIWRA4fv2bWS6gJAsi6CR2K
iWiMY3jXqw3xHyU1unBqMG8qGIbGaT96ufZVG57+Zrr+WGGrd3ELobEVZ0MOK4lFJqhgHp3MF0ap
lYMLa4I3JePHwluWN9LqetovQJ9R2+5JOhmWO2eTCN7FHPbTJruwwjk0cDJ2qasSu4TsLXt0ddDE
hstjK6fEgCBuJ+JtXHfsP6PiHFuz2hT5gARFeaM7pGb9nOXf6vxRNluguEWcwjcHBw487lQulAaU
pwxClWoqqP4g1Z3nRP7aVw8ZSKuF6ajViG+gfZ41SKI1k5tLJIsspIYwtrF2cU62b2P6fNvxdLZF
Pi0XeuxwA4Y+D9Aa15436PZUgWsJWdwuSvy0sKgX2XHlzjSTyDyU6bkvZYPofZb7NKVZAHn0r5PW
jsQBVzdR6hYa9CYWV+/ob7CMRASiHZq7JEPhYu84LnS4vxt525NOKV/ieM48q0hD8IAqNmljLYrQ
3gkiLWdJ5henr0N3UKL4YRkjxasqdJ3WNLdJSYfGR1IE7LKTOR2VGJQRulxavhKNEin1xgRVg6YF
tydnffr/zA03/bFNs6VOo/RYg8mojgdPigRPt9XogsYxgJvQifeJOg9Rx+6RlkU223hSoqM2b3N5
IIbo1rWW1sT58scOG+lFfDH73EorGXbMfeH4oJ+SDDfUcVfeJz+lnVYJJm410lyY44JmtaSoRFhw
qviR9AIeLdGUcQ4LmupODRX8dgXEqP7Q7Je326suMsCtujl0jVnNmKsoDUGU89yMlhtBoCR9+f/Z
4QJXmWta3VHYCfN912xsIILbO1kVbHDBaBwuYvVVLyuFhukKn/t7+zE5T4K+mdWQ+GetuRvjfywJ
QgYUSE+UYZWEtDL6ZLfxj7HzHdGErUb6C0vcdRLYBU1dClhS8gBtpD1ojCKCdktZ1E29vu//2S08
zbMaaTNK5zAE3SNrSsgQ32HzkNvLvzoalDKMD3YrqMNcb0m9HXusPlv+5osDgJVk9tiVNrHeTRFl
xep42HMdfyHPwd9hWikqq3IqAfyQN7j+Em0qCBXhyFbHY4GBluX8IWvOYsJFiMnBZiAlBk2P9uhp
aPwrW4sUVkzQ/EdNwXVp1eeQ/ETWGtzSeGBc23Io9OuqCkmhtvDTxJ+GAAi8qkBjrV+LME6rsezC
FttgF+NCOn5MpR62oDgLZFosOAFEP8+FM3UZilAfAWHue2SF2ky3vD4KBUFg1QEuxsCFNCiOFI0l
YwzldN8Z70a1r5NYcBdfXX8QjkBDBc9TwMuv5ylCiQGvViSGkHGPF7Qc5gpp8phU8nHMBeu/ep6p
ED0ydQCDoQHELUpU91K/4NpyVFEs8edhubdGKm+itlS8aO4TF81pd7o9697cTzWZbKUWRO+1KWUl
WzQMA+4D9tvr4UKJl5EWVJjS5Vcanae/6BGFXtWf3+dOB9OO6zJrALemUeeVmUms8gfVBH6x1vsF
BRCslobEPvqSuUXTKLhaYg0VwXo85DKlLrLVx657nHpIyqoUajsJCIOBYMGCZsVT2tvBaHRkMh6t
RKTHsjajuCmi9epDfk7mZhTqZ2Y4xfgWBdI5HnJC1K3y/GFoRU/hVUOMZAWQfRAW87xUbeWEqg0C
+eOwqO9LWDq+lki9l2Df+bdjPFsk/nINonJNBXUMFBn4um5SdVNcWz0azqrseaj7Yz0/lPIuXlS3
bb9WaGVcCsE2XAuNmEEQ/0KHCxGSm0Vj6rOpaSe8JLMoKLYN5Anj1J0jFarKEQlF9Adr14tLc5yb
xkVXqY2iIL+WWDvFKc55XQBkoFDSyMnuL2bzz9B4RAYkYsAIMGBodvWCdn0Sjw0pnYVMXzT1SYsX
Txb1H6wBakE+gscRql+gpuF9suxoki4J2jPLKTCU7FCBLSn/YkOwz3Yg4Zd68cFMHmgyCi4Ha6eC
hXZXA0zDBmMJuI4upaKag6kjsRHTJPqNfDyEncdK+YsYdmmFu4LIqbPgdMPojCHd1hqeOGmwdHVw
e9nWXOTSCndtK3JnlvscVix1/qa2BJe4PWjJ3EQXwVzWNja6cUB8hfsH0nzcWdrCOWJdxnM5RLpg
C8bJH2hUlt0knv6iBgB+Kzzb0N+Jiw2v6zdRuxhC9kYwFxucmksWe3lLRUI/q17wxwqPBFBniIVp
OhI2kvau400OWhiBn62mRIE8AXEJ8C42OISuHa0r0fyodahMGdR3gPbvgupZlu5pRKA553Tv/bSb
f6Eb3pi/plHp5otbVDu1fbztImt3Bxs9keg1RcssULrXX6EtUt9ZtEYTcLZLxiiIqx1N7gdzDrRY
1J675o5MCAPCUBrwKfzSSVbTdHUDRMcQFpuhdd+KPHITaCfeHtJaHL4ww69drNhFbckMV/HcZ8Qc
if1LfgvTh0zU5LN2xlwa4jbxNGgGHXqcZtnv5g2msol8WSTfDD1Re8Ha9kKZGVHJlFEZ+GgkubgJ
22CVx1UIsf6hOYFA7t/DXpzLX+dqKA0wBnlo4NcLYFwW+Qgdi6xBvcZ4a8Lt7bVZGwjI+wyk3XFZ
RdPvtbsVUgGWNdahXU7NF5MaX+Kq2xrS+19YQaUBLXOGoYNv89rKHONXOxAAHYsuBXUq0ceTNQ8C
N1utsaDmC7QVaJJBZcqd9/2Yye2UA1wzNT5F0UKjvWc45wycyUUJVZ156xQbM96A5YSU2l6SreD2
MNf2k2ObJv7RgEDgOScyuUnVYcZkWk3ao0ncCWpgs7ysKBsSSVH8r9M/SLuiG/2jhx9dbdysLr0U
FrWDp0w3UXfoQPRIxy1LnBi14LrxeWCwhIMLTmmrkNJiXnTh7kvvWBFt0HaFB2AChhnQzMhJ40PV
Aqmzze1J/OyR17Y4j1xapW/rFLaKFzMnC5ZRFVhYHw2u16z9HBypXKAvbKkuWwPPs2wE2jNVtHRb
VkVLBjNxiG1l9v/THredFxClG+3QAxciocPF+a2Vv7HDhIwn6xOH5DjIqPActDj37xoaVYM+43Uu
1d+BXX0s2/xeinIRf9IKxuZDGBufDXgm6nTsCLvwhrC0C7uMMB4lL4kaxa5VyMTE24RGKa7xHTGd
dJu3aC1pv/f1rqst/7aLrC0gutb++QBupFKhjuay4EGYOs+KcZdJd5o/iqB6KxdeDBOvItR/0VMM
SYTrYcplq0stHtXHPPG7piYogcZj6kW0QGRBC5Aeu4NREp36hgh7u7aUF6b5Oy9UnCA1zXrJSvTi
5RuANxRRsmXlvYuytopbGyPthT4KtwugmFfI9dRhEnvJN5qt/VajDx6VDhCDePH8c5o9agwueLs1
rGifgWwMch6F+np7LVdQ/dffwe0OM69H2rT4juzlvXXNfeMZxx/hWxzUL86eBtLefCxO1jnyBHZZ
dLx+kF7b5d77lM7KbJRwIoh/l36puwznUTOJU3Uvdz56zkpRnnMlVwObyAeB9IKRwsqcTdkpqjGE
SMIxKjt04etuC53mKfMZFs4M9/1AidYf40XwEF7pT7i2y/ztYseaTQfxCwVzXBGpIg+DuYk9/ZE+
A42J2173hdrEjEickfF1/iGYZ+ZHn+YZVJLIh5lgaOH7XuokAxOHhGirSwaRm59OH/txPG1UZwr6
uLpLu/IxhyCQMmDg+TejnEXXQhaPPn0BNC1xuWfYXp5qpKmHkKaxjPzRPN7LDdq/nPYH7livtJXu
2kF/E4x41bOQjAUMESKh0D69nu1+KejiZAvoAeTKA9J9n0gjxBpq+4vxbKduK782084ApyvJZMFs
r0VG+JbJeBBwDvBsOI1FUdTuVZQwH+DL5YNW+rmgyLE6mxcmOF+ycI8JQ0tB9I89u8hI2YB/yiRS
0rtUBBb8/OqD317Y4u4Chblo0WzpSG739s/O0QlEKb7cXi22GJ+cA5JXGhAnWC8+Vz+XzYBkF5wD
MqFE6yQfxadqAK+a8p5Id7bUk0p0sqxFdw0rZELCDeRIfMZWM5dZjhcTtykD29/8Bo4nRe0F8W11
mS6MsD+/2PJpU9Vg1rfwYC6cyk8dM/IHRyZLy0SkrS4mDS1igc1V70OnyAcvBpJu3LncpDbOj8JI
j5P6UsoxsbMXa/pWAYR4e83WxgaCZjyxIDTD2Byux5aAOK5WG2ywCSPxgJscjnNoDJ6+DImrjtkv
sD0oApursZsVpsGDxu4en+7AYTzMhYMzeTQP9HWaH03o+jRJ5Gql40753qZPhSXYa2sTqgMDCFJ9
uAm883qgWZkOg2ZjO8egY5LcMEUKWnqEoJ3ggFid0As7nLMsmTkZuQk7w9T8kKtTm8Ub5xXklcEs
hQ65vXr6yo4DyS7QliwdjAvI9aDoUleZ1CXZ0XpVQK8g4g1nTsZv6Muf55xDq1V1KsciO9Ll2xiF
pAYDfi2demmvdrE7T++3R7O2mS/NcUtU4/YE8GuJdrLRINX4ZIOqTUjyuRakLo1w69M6XUzzhgED
Bwc8VY/hmHvK9GRMnmP7WQTIlxBIz9Kqt6aR28ul1E1TA8XdY1RtymabRi8g1SUDcsxS8woRRcX4
mi760+3JXPX3C9fgTs4a1JZT0eUZEh/g41K+oCOHKMrDglzObUOrNyIkbixLh7QpnupcVrlv1Szs
FqhDJfKmMcE71uUkGh2Ij/Txwywlm8Qw/WmEqHi2G+QwUIrFr04GqMIWuTrIYS/YgWtuBEpICDyx
BivUcq83xaTknSEZTXac5TtLf8YTUdg+sDa5HylFlNKg6MkPGQJVejLlRnZEToIow2/GdB21JlEV
0eyuuStKaUiAQc0Gbwtuh8tq6Uh0MbNjBQrHeBcNyqEro0PO+r7LvbZk56ERAILXggrqA8hNIIEL
umvuFTFY2iy3mp4dG20iKd6kQgDaCgaf0d+yqwJAaAjHXGBpGiccE4qioB09oNveTaU71iU6emPx
bTkoNbqrNJQm8CKV/XYMevNfl8dhH/eGD3UA1vR37SI0lqa6YI/CrLfLIK6l59IJ/31i89oItwP1
GLpp4MfDqzAsA63JSGNNrpj/dc3dL8bycdhe3E6iljqdreEhlLfqLpqekJvciv1w1QpAloyQHB0t
/N2urp3RZoifY7qgUaNUAMClpfJdcnoRvdPaoYNUEpplQZLMGu2u16Z2ehQ+bdx8ail3x9zZQAYW
WnugHSaIQpu+jWQIBMQPt6PY6o4G0zpoPOGOhsxZjRIDJSqZXQ+a3SxZB4rmjx7LRf9qeEy8AXSU
MhiD1OvhaViupmTDA+h+m2rWFhxaRorHTaIFRTVDj0B03VpduguL3H6W0TYbVwbuyDSbdxrd9DMk
WwzB9Wp11Sw8MNBsDtENnqXDaKgWdgP8IzO/onemDYxwp4wvtMbh0wjqOqsBilWWNGSobYTF6yns
4hzK4LaDlI41do9RoUoPVUF7/7ZHrI7IBnQez044I58Shqy8BZQW7lY9soys/gF53fu+BYfObTur
y3Nhh3MIubWyZLbRRK/6bzIRnIWrbo0mEkZDimOKh9ENRtRXNLaR11bRZakubjdBdlx6rArBdUNb
O6jA9QupcAg/MEac60WRsWsX6LQjpLej/dZJmeHN4eS4wM7E+5A1q6ZLhLRBtBxTmqouiDViouu9
eagHyUfu3fTkvNC3dFKeY0mBCFKp5kHtpPlOmTX0yof14rVN2r4m3WQE4KmQiZ0gQ1ot+ZehaEZi
ZT1SMbFaPwwpviOaegWCJXWynfIxcSsTkDu5Mmcf6J9sM1RFfIjwy0RLAY6C4pFI7J1FDP7Wx7Sj
8OwGRR7uRdcTApJnalfGkh0nKTvNnX5CKsN8yjMt92gdxW+x1BiC1V49V4FwBkwDjytIF3FHThOZ
tZloE+4lM2mgkkp013lVztZr9i7/LH4plpc2LhB0tz14faT/WOWLkkmhZLKWwmrtVU67n6y3qHmX
tGg3Gs+3La3tfJC8O2ipRBEFhArXc5oZ6PduK8ypTgE4bOTs3IRUNIlr13WUjT+oAEAMwd8fkeNq
lF6aMzREqdupe82c5lEGPMmZNtTZFuVI5JySPjnfHttKzQ3n2oVdbvES/Ko0OLh3xZVUk1HOnhcl
oQ+1EcqHYorKp6iMUrS9jLM32oa0C1XlaxkpmjfNRb0DZCAWrOvqO/3ii3heOxsoOCqhPQwaSqQ+
Wj8iJVB/Dt9l0lee3QqsrYUq1N+gu4kaMN7o3PCltlW6PoaxKEXLXrPLCzT/FhBSF3XXrxsC4gdJ
AJQi+JpVEutz5iDqHiG1I6P6oHQdsb6LtJ9XNwUwi6D7gPwV5CCvXbWdW7B/NohDFvkBQjl3n28E
/rK6GS4scAfH3Df9UAKYheqeBg2ap24LFpOt5v+KyexJng3+oP+nRS7G54aVpcM4gETZ+tn4SPLl
ev8mld1WibeATiN1Odt3xlARDfoAVk6GUqT8s3YoMyTo/80qm5OLy24e9cY8sVkFeYUHOtVdtknO
schDPtLKn2L3hRl2Zl+YmSVahGkLMxOiKDGgvAjtq01Com9I8ZOgPaJhK/FekQf0UQbw6C56GPzn
98UXQf3WxoukGwrSuNCgbYMb76ANICxRQ5yqdHFTsOY0YBOv6cus+0Vr4mVWCXbh2m0EV2AkycAE
j1cnd7dCmjDRlSLN0YYMRQxHTn6hwfK+yERpslU7Bu4JwHajPZ4/HecGMAIATGCnfZrqvW7vQK96
211XTDBaYcyaydIBfJbRapc8p9UIfUzfeM0PsYhxd2WHK7jBG1C0RVM8TqNrJ0HJq6+TaspZ3kMH
amBLB2hEumr475fkyg63JK0+WKXpDPmxqH8DYw06BCEafSUkAk6CnngMBJ3AvGBulGSZLZlzfqxz
Cxrqd6xttZXfhQjr1SUxHQZuRrXb5Jvc48iR5Lw38+OobIz2bkx9AHH+YtUvTHBxN7Jze2pSmABy
pS33MAEO/Nsm1qr2DOMFWIzK6KP4JgvkeDsp74HBCTfGIQzSAMc16dx5++tZlP9ZuxVc2eKiPNLo
gxa3sJWmz9a410awggMk6mgVkWOvND1QVzeVP+ZftPynKIWhrTrGxUi5iJ9EfSlRNlIpJs5POyfz
IbofjvLzEiBF6+aHH8q286ZD5ydB7/Wn1M231Kue+w00jw9zoG8bH4WEhBG3nsA0J4zUK5e1q+nh
AmRpNrVWsOl5UTzZn8iyU2HNck3SuKH3Wj3KoHl5cUjs3/aBVU++mBhu80N0Z0lr3M+O+RhuGsMf
ZXVjL8FtI6sR5sIIt/OnHvrVZg0jRn3G9bqQvsjTq+LOjsChP9BU3Hl3NYvsQy7OuymxK91go1G8
ntD7fq8E9s50NbwfKjd2052yze7rYPGsg+lRV7n/1u6bXQxGvo3mgTrdkz09AIWb25+g/aUG+ZMC
bdp4OxMTM6+RzEsCMScmW1v+q1mpkaWecT7yWcTaCWeqMiArdMSb7bx4t2d/DbUCKB8OXaQZDVAA
c1svDuXeyiWIKdRo6NfIUgRhhs7j7qXN/YiSOieWWTwUluDcWttzl2a5PaeaUpsbCYZlpVbQTWh2
ySb1qJj9d3OIRYqlKxcMjBFq2ix7zwjdr1fehBtHmoExZqq5S9sNsmxKGQX51jGC1hJcWdf8GW9T
JPVww4BYBBeb9SQMjZr1pbZN46ZyeUBu22+rp0SewGP97zNSrF/hH2Pc6hU5lBvCAbBtLZ7vDau9
i/o30xq8pKFEVrJg1EViYqsL50C3Cl238Eibiwl2hJxfXaLpKm0B7ZtrCtJlE/1KZaMrJEVvyPa2
g67bQ0LWgFgFAP3crnVSUJE5A9qVImX3bZemuK9Nteg1zLyN32RIYaCYgjotEklcDJKTKVJb1pFU
Ky9yXQcD0jZqclLp11jfjf0uUmOSo/XXyt6pvi2a19tjXIuzl+a5Mc5lMi95WENDITQB262QvQqX
U0SbL7ftsNfl52GiAs7Szsj2cJuuBvdRBGQtWr+0N102DlrabZvipNrfqfKYp4U/dCKaifWh/THJ
bb0IaGEAQICaQr9E64Fi7V3vgPErTCoY29q2Qynin7FxfhlphbQoBZZwTptNZzpePQ9PnV3HrmZS
IkFj4PZcrsXlS3ucyyyJFKIpjPklmIwS/Utv/7ptQDRznFPIY+8oITNQn40+duvqpBuCICzyBxY3
L05EmqJFY6Dwu7KHPFkOOtgep5z8COI9Lcuhq/RbA8br9rBW10lBiwm2sgy1UG6dZmQ3JVUDCLl+
nHCLidxs3GYa6ervt+2sTh8ShEgH42X0icUwpHIWLgzClrbWjzkcMjdUwrtpElF2rvqBhvcEI3Fj
PcnXc2jQ3LDLjsHVpmez30rG6S/GAXoJWbehuQDZ7evfT+K+QkoMeKMRVFOFAeQKcKXyIKIdWCtw
ozPqjx3mKxe+EMpzJpkjahuSAlNhUGRgmkTz/m+k4TajpQI2Q3U3b+w3dFd1pGwfjQyobnU6FljM
CN2xt8e9FvdVBGNklVWGuubGrUkTnbORVciQKzR2SOcvGbFFQkDrVnD7hIAZaPh4HSAJmsKSsWDU
QAa39Y8OT0J9fNQzwd1z1RlBLfd/ZrhgUUTm2IFWCYUjMCZC4Dib0A+Ui3CLbEouwjse/w5Ggbj+
0RaP/75eQr1RFThjp5z0piDxaUw3cqeTSAdNSEI9pegFW5kbFW+Pz5yGk55mndEqp8nctRaYhcOS
LLKgt0VkhLtOAdiRhHOCQamj4/e6mwFREsrPt52Nf+x+Gop6PXWqBG2HsYEV+an9Dl2vzZfwV7P9
md5TxA3BScX5HLOFHjokn4DphTwg34FfjI4Gcj5ZOVVNYxydMFS+hJUh/4jxpPeAKTEElcR1e8BV
sPZyR+OTtHqq2YADwd5gbWbjMFUKkdQSSC1rK5hF7p36vyP7Y4mbxdGRq2bEMXyKKt/Md9TBtbC8
Sz2dvrX5A65u46gKfJA7wv5rEpc2BhbG//CFdB2VuqnSZuVUl8u4k5sadbKmLAMHYFu/6+Xli5E2
+UwKXZ+20aRrO8GYmf9xmw5FFBV6CehlRCcR89+LuIl2hrRjJfBT8ZL+oi2Zzsb9+LWABEF3X06C
0a5shitjXByRhrwzK1g7tUl9KOTGz7vMnefOFwxKZIe7exSOVdVaBTvjYHpGHD301Aa30bKn0Ibr
FDfroYYFMQRi5uVDPTo7O8v2cpxtskj1lHnY3P6e1UW+mGPuLECbPXiNRgPDjpZzpO+VarlLMurO
inZIcqDiS9mX0lYwC6v75sIqF06h+FdCqx1Wx7wPOjMKwjDxslINumEWmBLMNw9vmaQqdawRTtSB
B2bUl69We7/oliiRxOfZ/rtb/gzpIxlw4awDhNoAR8GQ5OJ3YX0dmnzfKzZZlMpPKpXQXNrGODJk
cwkqSSfoTHDNTKTJJVjNj1h88RFGWw1VNMC5JKT6k9HYI5d5r6fmwegGz6D9Ls9BjK+J5ngtxmPz
MBo3EKmhosAW4cJuRDNdshIJoeJt6lAQIwNZ3P2wKZ9qNDKQ4e220/KZlf+d7D/2uM1KU3CQIrOK
RY3tbQ0h2zrR/KoY3KlGq5OO5BHKSQWY5CYwQ7dOEgjsrzoViDAs1u8HkCQXjR0nMzo62Mqp7IEb
mNO7cU4BORvuFxRVBmfcGDNyWbN5aBdA/FC+T6FMm2xNaSG9JkAera75xbdwL89mUroJfIDKScuD
UUZPA+jPPGv2UepdkDfN/ubIA+8bZheoeSRIrpca3Lo0R5+8cpqnN3Buj0ugQLFJJHT/0fL0KfZf
mOFGhZ7ethytSj2VObQOgBkDW2PdACuvyymUjPoarZ9uOrYOads0dAsDGK+2q0dfsyvHa+0l26vt
FG7iXpr8QZ3fEmuiBwuaJXsIOen+ogL6YWXV4qH3Z7iPijrd3XYS7vXy4aOgNEROTIb8ksLXo8fI
wW1ej9RTFtKHrqlOUW+LGuXX/BB1aBBEs8ILhIKvFyOx035A/wdmyZznbaJF1s5uFbTkh9C/vD2c
1QCHZwxuOZC9RAWVOymqcdaRJ6/Vk5Vp37LUDMx8M6r3qgYGRWitJKqXy99jmrh51vrGhJxqWTn+
7Y/gXrh4pgFHA2oUPG/xD7bf9XitqV7CxGrbM/pq8VLLXaQEvVD7XZuRF6lfbhv7dOeHxAI6bXED
wlvdALDg2piUSLOuSEN7HrL6JFH1KZmgaV13PanlZSctNfxeHmXBgcw3A7IxIqgwJgCWUkVP7LXZ
CGzRS6FN7bld5sDuhk2dH5vsCRtNapegm782KLPJ56jzB2XYjO1ugayX0Xm3B8/rWH18Bsqf4BfB
00oBovH6M7IW9Naz7bTnJXleHkrNBfwpHzZWT0I0jfvzJpJ8qwS4rWL9VIfEDArF75/q2o+NfTdD
i5XQY6xsEo2gDh5WYOP2+umg5KSXHtqTKPfBl9z/+72qBj5BdKHgzsjFpdiiWpvRsD3XO+tH8Z74
g0uh/rdsQ687yI+Nr+E8ardN0AXjtj9Cgus0HjpveZDv520q8FPlU1Bm8hwXX8OFL6nSM8lOMHvq
pveRo3Z7PyKSi/s6DsaQ/HyfvZT8jjzBM2Flf6jg6wUDCAiooOTK/vziHC76hUZOKXdnJfEms3J7
9ZXJaSsVIiZi520X+RwRIDIBlWOkNkBDC6flXIS28xh2HTw1HeqtVTbnMntzmnqTxR10oKJjlSne
okDMwBx/d9J7b7+OuQic+vnqwT5CZ+AxZMzxN7dL07BTB6k223MG7Y7KbIBQTZ+iJ6PyUl11586r
pIhQZ/BDOrIuP+WrYBZWwgRyYSApAVYA1Ks2N+dhUiayXSbdWU9fQ4jljtV7Gqk7rShJb8nEqh/q
LN5NL22zG+u7Oo+2Tdy5reYZ0ddEAZOoqgtuBDyMj+0FTUHWW0deBJ1tFncsSKNq9LTQurPWgu1M
O1aNK0WbCbfRKSWVY3hT/zuZNmb6SOWJgBLEzzRVkFxg8351gOMb0C+FvD8I/vAv7hvMsWzKEOfT
OaooqhcOkJL2qIowFJ9vgsyMga4spo2kWZ+EEpp4BrPw0J/RAt5GbpH5mf2SaPcWDfLxHFYe+j77
/pdgzVkwuR4cE2FiWHbQFyI4cms+OACIymlsnOxli7LefD9Prj6BItU4ODPBjQB1y2naLsLXzOc9
B/ADyB9sPMeRUwMu7HqHS+BHVi2q2idP2ga7H4mPjmWiuK55EISSzwcAZ4nbWLlqdIbSwNK8qY/N
rvQm8l4S21tQ1NVdaB64gQKZuW47oFA7+MnG9kwIzil+4sX7IpAPUbA8itoNP1qUr2ae+yp2I7qI
cJWh9YaBOHDq3dmdvPSXvS93JbQdIfdAtIOyzYPcq9x3wKyA3/DQEYLashlIGzWwNiqZIfqYBfUm
FzSEfIr33GdxD5Il1+SWddmdRhcEwa7ll6QGsEukyMV36EOO63r5OcdTwBJXVemHneoFKu4YdOmd
I/Lz9XtDQtIeQyITgbd/sKJ/mnNk+pEsBt4RGJ/rOXdkaSyM0rBPSzBizrWtsV22iavs0/vZKzyU
Yl2mOujtMa+b2zuNjYczzQQZcAcB5gfMipzpUqWdOiWDc4qrs63eUegFps1bUt/lqJDeNrWyhEjx
osFTxdnJ0l7Xoxy1wYybFO2JyUwq6gJwHqEhq8a9BfkYTxZJBrIv50Z2aY5X0liUeIErU+lkoQBK
0x9F+6+njlWvoaMB4jENDzVu6gw6aUoDuN9Z62qiGS2x6wDMAC4uEK4SiZrmPi8UQ1WDxpWpMSFT
zm0AXYraFAkQWAOMONRA1PWmvurtYRaJ5q4a+hDCwy6HZ7A/vwgAuT4PVdlpyVm1KSAVfnGukT+j
W5oITtHP/oA5A0ocxDSyg3DLHWA9cp+GJSXp2TrlJmAoeu5XYUeo5OYVSWTVB9PPbQ/8/OhF74PJ
iH0UgJiNT0uGTF9Vp1mUnjtonvd3P/T97P6WSPpQuGiJ3GTQr3yTvW5T4+/YFxVseLg2ggvMg6ER
fTGg40WguZ5aW+/kbtLy9Gw+U3fxINi5bQO3fxWM8tOjlTPDHWGjQtMmjYv0XAAXawAdO/uUxO6P
hai7xo82Oonve68BQDYHgujtuXYjT3SOqMwfr7ff9Vi53ZHjwmK1CT6i/hptJQLBIHcgPUL3AkFY
3Zv8xwUaweBXJ/XGJgiu6LJ6kEkpWPI1b76ccu44M9NCiUwZU/4/pH3ZcuNIEuQXwSxxA684eZOg
qKP0ApNUEu77xtevQzO7QyaxhPWMVVtbV1WbAnlFRkZ4uMvawB55WRcg3Zpvo/Lp8aTfBamY80k7
BdlyGdEY7QwqYZCkNKrDi4jEoJL6kHwWCKfJrNOtoT782Njv25Ce3Gtr1KiKpglArlKFl+ojMmO9
tVQN20lXTE7ndNkCGEJrrNxktd4Yjc8zgOe2BIh7YGc7CE0CDlZr1R9Ja9ZEK21oXNqN/lNq4Yox
Qh1S9UZv1AazVhbWggYr/u5/eeL5I+jgw11HfbYfhm0ZcUJ4aS3eaLfrUfNWstY4I0SqOQC1B51s
aiNfF3Zoec65sTpL0rI1sfgYd+9HYqSbvteeAoM5Lekjz64fbid4B1kA0JY6mn1X47YIpk9rVECB
VnUzGnXBriTEGSGvJeT8eAnnjgd6VyQC4lv0YgmUPU6J1IRpiwideNI6HWM9c9cSI++YpUTffQCP
nXltifIGZVPgUdfDEhk03vIKq2gsV97GhS0YDHILbyRb/29jo46+X6o5z6Q5xtZAUcc/Nf2hDXqt
XsCP0WV/bCf0okyXL2iYUZWkNXSDJEpZ0CuEF042ymabxBcPwei4Ro+KxgOG3wiIR8dty6w6O3pi
wQXyXS359Pt1xDdAU2Vi3EEcRUMcydj5IssE0UUaVqV8dIOtW+w59vPxjM4OFSI0v40qQGuoVOzU
cz1e3iSKLr2lHvk/hZn85KfQ4NaRKdsAQpmQI8m0YiEVvWD2LgHRoYXNgyZCdKl3jS04mVMZjaWa
46axiJVvZAOe58gtDPbeZSNAxCmc8nTI79JY9zj2ujji+ujiM5a7Fw5VtBpcpBjYBZQGrY487R9E
Hjh9kgTS2LuWaRLg3Zt7JL6Mu8p5k7VCQ6APMRQL3MLa2T7tdq/29+n7233rjtGRybV2ift6ZqjI
LUMEAPlrEDb99mxexVoJZOxBoFWkF/c9tZgP1oSitrGwde7DLNR30YgLeA8PegI67B5ytnDbsk8v
w0Z4ad79o/cOfIUtrpjz8Lc2uyf3FY51HxEty41w6YxO3uX2poL1iZ8JDWMgNKYT6GXH10nh8+kl
N/odqgJbzwZAGsouuOnj/RLg8jd3+8gc5VbZAXJKkSjB3DpZJU4PNWudrNVDuZXWUMNc8UbxLB4q
CzIVdm0HT+mzenFNsmpe5VBTDsyf+HlxAZamgHLARA1CJlenbwIAPrckvbB9C4B0gzMyyz0siZzO
rvfVjFPeN8/boAwyOb0wTK2NisPHe3E4Co2uls98p4O8+vEGu482b1eYutRzppV78KCmF+IeuDY2
+GIbCP+QEnk6qujwRte/iOIisqHUugaSN/BySfxLBc4e9jVfSnPNDAKkCQjbIGmKRzBPDaJNVdBJ
cqx/EeW/fX1iUjtwlyBHM4cdUT+qmeBnQJxIU7b2YqL2gpSFlyNvCOaZ06qFB9V9WhJvi2sL1C2B
tGTKuDkssN4ZfU+aEp7YeE8GOxP/KpyVXQRvK+zEDxUiTajhPt4HM6mTa+t3lwUqUgnHDbAuvHuF
3r1E36I1buPPzvD2Gr8aQlNYB/k6f+Y1aUnOeuYaxqxyoOPCJgGEjMqUC2nKN3xZ4MmTaB0eO6vS
kZYgatPBufYtCDGQi4cRUGSKEB+hznE1dkElZV528QZGi8SDgozowhTSZ5c2QZ3dtHHl2ktgIt11
P8wXhvNSvHAfycZ/CvBWEjeRq40/8SE5dReykI+8S/T/yzj6/TCTGCOdYWjLrsyUIYTxC7/NX33d
f5J2scmccBh8belmoE8cbW06LVdXX5T1Rd5P1kAPYPT1LvaR1mhfHk8oHdVPRhD7stDAQr7pDiIJ
BqmxaASSwfUqklU8R4nej2iRWiKxvnvZ04am/Xk1mqKrkyQvxuzCa+6ge9vsOd6ym/ygrJauuEVT
1MRJI8kVDsRMF2br7vN1fPRsb+efQ22J/HBuha4nb5rc6zGpEdyuBEOyiBe7+7dA/0lkP16g2U2H
0o6AKjACIIi63BphJYaPXJbNLt1GAFWm1n7mr+ozKHWf5ZMYaslC0eTuNYSFQrITgndIRCJxJ1AL
VeKmyaeQ5MIfuVjrzpWjHBFpbvmf4LjklGZ2340taqVq0Nt7PhMXl2gbbGrNXRVW87pEsDj9EMor
3RihVsmXlB48/zDir+MTvyJHbre05WbHAXQgpDDxlkTR63aNAgDQuSgvisv41X3wB/+TLzXu1f14
vBV+mzKpkeCKR1EXenjoCaYL4pwYxYCpZ8UlfvP1fnu2LavfaogUD672qjurUGtWj03OzB0sKiyB
t5vqudStD4bDqPFIVVySs1do3LG2se0WiMtnTtGkgoGXDDbb1Ad3O3leykRFxjDlhbD7MFY1AmC6
5y1cHHNGUJ4DehroDQJ9yFsjoCxJ2Db3q0vArkOgw0BpqABI8Hi27u8/PJem7D2KgXgx0Wh+MVbL
Ii9SYEPkHAXHGFoeWRPH5v9mhRoKaRj0zIOPGvXGJ4bLtKwfFsZxBwDBNGEgKnwASh94EFEXuZgp
QVi5MNGwm1H4IIxqSZwuSUhHnfJBG6xabzNd9TYMDw6tdZoubInZiRSgQoC9h2cRXXNhIykSeS+p
Ln0LQXNIbyZ6Uw7s0jDnzQBTD2gxaqk0zkX0G3cYPMBrSnTeiqD01rNRT1sdWiyASHJvJHpvx3d0
zUDhkl1iuqEDsmmOgbKZHDtasAEkvN2RI5MA2ucCn5EP5Uokr64UmgP3AkXohWHeb/1bQ1TIxALC
Bvi7XF3Auqcn6ONrc3R32I835V1VlB7O9BVXdyEjspnkZwBBiBroQqxq33963ykovNfpCigl1AQD
I7dXcqf1Vmk4nLbxtUYTjSn77iHR/tTgt4+/aW55oS0FKpaJ2v+uUO2PmZgkYOK7VHLgn1mVqMY4
+tWCi7wrmfyOHIh+XCJgG1RpryyPw+grClOjmKBs2G1yNiyipxa7lZF5AgY1Xklb1Hw5Q1fXC5f1
LwDs9kbA2l7ZpnxnU7QEcFjYBofH6x7FaD03yrW0aY+VhYywla0/MisxXgi4VGLz6e/jCf5tZnhk
nrtd9LjNebbxvOYCCKal2PlRRIqI2PnajTXk2C3R7ley3lkoYpy5XX9IN0tV7zuMAD379DHqkr4j
PGbAU/Ss/pRf+2rjym+1b8mvoaCzPh55lRUVWsXaKTPaSQ1VM4Okfwce1KzZDmSikpxBFIwxsioE
D4EuMUai4k/Hc+PZWf8tQpukAxl+tlKJ9XgCZ0JVpAYA2calBAZj1D1vJ1DsQskPGmBHvFwP8l3l
mRKzZVbVa7pXd0uX+dx5wM0HOiikuybfc2ssb1hSFgxpLqT5aIVIY7vAeDyeOZ+GsASFC+Bu0JpH
xY5BGAhyH0bNBT2h8aavs3QNpsBSJ42qaoDAFwv2ZoJVQL+AvwH6C702LA25q4YI7e1x0uD5Imr7
8Encr54Aaft5PKzfWgO9z6/N0JtMjuWUCWFmsNFeuxGfxC92a1l71pBO5crd2eK7ZmvaudXOa9UM
P0xm7ThE89+dBniPp1wftJ+FofPT2Xr0TdNqXzlcUlajqDb4JmnQImUbyoCWnYlvqahioJqITKKT
PKOqlV9G0WreIF8AeiMgsmWjWA1gmavM+pkPt+xPza4r7lM1OFErd+5g+Ev5r7tK53RGr6ePuhvK
pKrTuoqbCxdtq3bP5zpoFX48K9VVQ++0bovfQU5DC83QLG2dOxtOzC4ctV80w6P5ovYm17eE4dys
uXSJPUQ2gOkZ+QReyyt1dcWoTiVu1MRJumORjxrfbeN8HZDPXIr1WNZQL0kSnWfeRkWP9nJpqJIx
qOcWePfIFPBgFjYdZyUdGF9/8nXZgYFAYxm7jI5ZZPaKDtV6tjn4+aF3T2EFSugKqoMg+Oi0GEoz
31FiNzslN0fJ4tfBV+gFW8UDplnz+kUqnvsMCieDVhj/oKg2Fdlv902lVi3o5pvq8vZ+/ARohtHq
NfQsT4z2CZVilJ6n8jOy+wyoSDxQVE2/Mh3/jT9kACo6HDbmhmibj3j1zJvgRMTV/gQRB4CuBqSs
//WrW6U6zsDjYzh32iFNgo5fAWEpWAkpb9mUZZL08oCwUF7HhHwFUrMXXsMPmVlJqpWW9UVpXsKw
XNo69ycNZQFu6mgGhwbeQ7czxmdB7CJrV186sR21aizehVB9I6G3V4ORLJzruSsBJKRglUfpCOlc
ugTMh2WQNtKE2+XjbTJcKrEyciIYMjLT0lvIH5NWq4ql3ORcJHFjljoeBV+QkpvgwuoRXDP5SSi0
+CnaeM+S0QG3xpuszmnMmhgs0mzMugInTbHy/2kxBJ4C5ZwpwTzha+7kQTo5yAUG3JcXjmwCTVUs
LvSM+nl4AsldzwOgYOKBeBTyheh18pWUb0A1jYP4DfBDEHulVjgZwkQoCeIYRtxnnKdV3BJm6A41
+TuyKxPU/DJ+gZxU79aXgrVzLCVYSlrOt1vPiphNrmc5wt/us7W97uXxqZnJGmBOryxTyQkpDzk1
8TE4PGKscg06apzk71b7+gK+AcvJ6iUuKc9Q8WsJh3FXH6WHTcUcnOClY+P7AMfuhU2LPk74FG/j
w6cAD8+9oTcLlJTWsMTneQcYpO1Sj+ROdktPYTDdlVkCquHrks4CMhjtRKDg+QQPElfLrNSJDBXA
F26hcHpXZ6DM028CNXG9NgOdMFKQ+Y45yAf13L/KB3nf282nevL3S2m7/88qI4ULuDUaRWgUculx
reT1ODluryUv0Tl/8q1xperZl4/B+1oCzYg//OWpMomnJYZ7UMzH+2wmUTnts/98AbXUhAeiIBGw
1DlvyrHu2hAcS1YRmD9DzeU090gKk3R/F6zOXWdoUkHtdOq2AyvbrXNWGOKmfIUwiP3q1xL6WaF8
/05MgbcCb432bnJih52Cx+WTEF+aCohYTq+jhfWe/MO9//jPR1CxWFeJMfElTL4SN53ps/DVXcBn
eivlr4/HO+upJnVmvBUUcFRTllSvV7ksF9FeMX5z2Z6Utf7YwLRKd0O5MkC5QpXPG5A2kfrS75g3
cSXiIbQdn6WFCZu95X5Vpv89DsodsmOZynzH1pfoh/9i3qJv9VnZCU/FMc0WBjS/L69GRPm/cUjz
MeBhamw07h0Sgsk+9vUCcOEt2fV7Fbx3fx7PITv9SHoSwTSEMhjUw5GppbyPTEBWA/7N+pKD4vcP
cEt/ko0ognGzf4HgTrWVL8mrl0IlbyHjMXvLXBmmpeKEijAIK1R0guARXu4kW31TtxAUwpPgJ7GC
05Ji+JzbmVJYuDQRF2FTUusYpuhCTTm8+Opij0e1L5W2GD6XwnNZjKu6NzNUliCjEQO0Omg9WQmC
Xqa8Bs3eJtuUiaunUbrKUitboiaam4qbL6OWvelKnnUHPDqEcMUVWxHdJ+3J5/6kEZSBDi5jFX/q
/biJw8/Hi3/nkFj0zQGEPNF0IFalG5FLxe/qBuGUg340FUB/SccleG6GU+GWJtu56Ohfwo3f52uB
qZwIh7ECCpi7aK6OwKsEFM7zyvGZozc4rsoYvXBMayB2ys3w6oMHT9pljcWD+Fk1wsEmzffjUd9n
wfAJgAWg821iDwPY69YPZ7ni+4FaV04jo+1YY8AlSd5jrjb9jFisyOiSjLfWIRjWcbGWfaNIThzz
Mw4DWreKowpVmb8eA9ZdvWEWFuTOo01fhg6kiQIGlxBdlR7FuinRN1o5fOUbrbArmJ+6unTDWy2p
Kx7X5eOZuLsLJnMSSLcRwSMM+D0xV+/yOksYsIN0lSN5EaQQtioYYaRqCXc2XWs3HoaywlHTLSpJ
PEh95XTJj1y3Wl2DAb4tjIogg0TOUWSF3Cp1E71oVun4DBWABbc6v+BX45y+8GqcpPFF0UP7s9MU
euintszUZlikkKQa1tWYGWygC1GujShRRn/+9MVOiN7r+hmUMqbrG262EeRKU8MTes9YL139F4uA
ZCw2JAFzLh1/ZVxKAikcoYABCELjrXq30uN2/c+NINmFpi+A5SH8TL2kG0UJylp2K6dVmM+qCspV
JI+xjZr6ErXDfZYTyw1BETzXp8MFCPXtZFd844NYja2dltTvUuCaXr8fA6CUBZvzKh1sElPnEb9K
E6Piz21z5vuN2KyCU7ENXXRPJfVujJ98zgIFkv8e6KHZoR82cY9tsc5aO5O1DrwfhV4US4iN2X0y
hWYTABTaCjSFStZDcXlU5dqJGHYLzieT6Vpt8IdzgOYWIRP0RDkx1c8koOpXCE3lT7zDtSo4dQGQ
xRAJimKLe2vwPqlzIxaIAZ3jhb18HyJgelVoC8po8kEl5jeBdbWXhWEIi0TsaqfoDIiXRLiRdugi
d8221Ion+S8gnIPxePPMXBM3Jil/WbOhJ0olTEI3Ntk3wBsx/ZkfnBYPlfSjW+wXnDYj7TAmNDDq
0yi1CnStK4CDRMbJa5zmp67RHC9p6jlxz8Op60sNceoqEBca0mYcIdgTIKaCdpKpDZN6D/Q8UKqp
2PUOsjmjkeQd+kU8LoLipbwkXztFGdTgJu+OHDpaj9FlQEXFJFNLnx3G3gHmysg5CFqpnp4Vq8Zb
4NSbHdOVoenvrzYK23Jemdekd9raluNcq8NNMyyxHt3F+AggrkdDxVRKVeGOrTCaLnr1ws/cfXm8
9e7zaJQBau8NLisFoQcDIqux8qptdH+w0BaBsie4ccdD+9IuxPv3CwQeg8mDEQ6VcQzudt4Erokj
2fV7J8uCzPbFPNrWHRkMZRwyINO5JZ7/+zsf5Q000CBhh95fqOve2htdMQQko+wdL5BX9TEWPM11
KzMZGmOMsOG9cKkL/H7RAGAANoODWaTv6B7sVgBNFYpxvRMrKtKmAVq+o1ResnL/sgATwu/DArLr
cFr0RTDEYItUAhET2RbyuowTxQKOgdM7kkdGUyb5qmeYaBWXeFtUQ/rTKs1gBr3cah4EOEywOHka
WkxaCxA9z1SiPrZ5r1xKMk/Te3se8ZWQG+WnTJ6C5vzb6Q9aMVALkNY6at5pqhroBKhDtlMMpbNC
dYkFYG7qr61Ri12paiVyA+LetsgMrxJXQpUuAEfnBsRxaD1FY/ukKkDtXyiMCk0nRIPDA+zlPgci
ttFe4l8Ie358Nrn7wA7eGQdFQDc/YhdaNTWK3UAUkmZw/Dyz/PidlBYU3LWw1vtjeZI9tDcor77S
GVAZwrF9D8Jz4tmhugXTQY7e4/ZL/JMGsqZMnBz9Qih97/7Aw/FbTReRCUcZ4XZdO6iEq0PRDU4R
ebtABBRELQat8NMl1va5JQUaXsHDEilZHOFbQ1LWyFzH1IMzKvXBE8oVl/jPj2d61gT6JzHNqCfA
0K0JmQEdqtBhLD7r48mSsuAeLsii2PYUiNNHYcLC4lKaGmFpaNiQSWxRSuLgZC6kRFz4BduT2doo
xazW/UYZXsWgalcp45d6MgyVCfHVZFOXZaUndcgZjwc9t4B4n0HDHi92HEzq2RDHXZaXITs4YiUf
RWycuEmOoDeyH5uZcfeTIC8rgY0LlW0a0hXHMvaGRAYn6PxzClaMaEzNsvwYltjG5s6lBDUlXC5T
EZ2O80exkriCj0anasPvMlKNFP/SUCcyuFG9FHW1VJ65D9vwpr8ySJ2AuuY8Xuk8GGxqu2NDnc2/
hPQSEwC3NU754lvz8VTOxKawiOoTOFWAuofTv92nIwgekwRAJScJN2zDGxy7caUYjGa15uFZ7Ql/
h0awhtE7yiRcV6m38JSaOydoRgSl4pQ5Qpx8a78L2YIHl+XoAEM56iXv5TYofpfECO4T9rjYZODN
4PhUGS8q6jgOpc8kRSAjeSFHKzY32sEoA42rDTeRtPCJl200LYOFy84Z1c6bwuBHbgtmnwql2SB6
76RVmBSbsuafFub/PnDGh6EvB1Se4EPHSb4df8JVdZmK+LCeOUqAsXC87jMmVxzZZz63AvG9W8rx
zh1STAQARYBmo/OJeldyAkrlkcCPOD2eybi8BUzFOo2XXiBzh3TqyAWJJg/+fLroxUGXtY/JODp9
38ZoLg/BXqEUpSb5IFDq/L+P53EmIkPwDS4nZKiwkWlxvdrPI7WvPeKwWU3sLIielZgRdeLx9S5J
w8ROSlY2W6FfalyZObEwDAZRSCYjG0vHIoA7K8JQ+TD8xG3KS2dznT6mm/qHbf48HuLMut1YouKQ
hCQ8m4cYopqk60IE5QeoJf1BPj02MzcgFDsmIrSpn5J2CEISj2qdZoOj7GMdZ6R4OWeizvt6RrTH
lubW7NoSdVsMKYhv3AyWyshSpW/ACPWSOBH6t4lyqVrrsbW5cQE1hE0P4Pk9s5rn56QL1XJwZBKb
su8BiMUavGIMChStyTnNUSB1L49tzo0Qj5IJiglKnLuuKcjGg5I34TBCdCQIzoCWbjDHpSCotNpw
Aay3ZItKmMWeorixiruX6OSQAccPmgpumy1YmXOkaBUAlpojoFIAR9CtvxLqTE6UQhicQQUAscmO
WZcaYh9abiito3gXMmYJBEp3EoPOTsf6hUHGwf2rSgcigupeL51B+duMX48nesbZ3HzV9PdXD+ee
YTuGCRAG9R46npV2zYUgxgE/WATi4MemZuf5agKoY+gqOITQ8hwcjxNirUpR9eE8CEfiJYKdG3ZY
4iVF3JkwBCVXiNejPR5Oho53htSLwngM4LFr4rienbvEVP11G39CN/zx6OaczES0CDEL3Azojb2d
SJcdo7bks9EBuK5Zda4yWIyAp2DIj8X6samZsgLgsxjTpLw6uU9qx2aDBL855qMTxU8l95JE37H8
VR+V0AjGQ12+xMxrmm/rxACmEkx2of3Y/txQEXgAqYj+WOAyqHuQKEzV+fGAWRX6yE7S6gtqqZ45
VlAveGxpzvX8aofhilBwH1K7kwN1nzqwuHG7Xk/O/FM2HPntyAUgOLA8f2mDzo5rUir7tzVqg5b9
mHtMJo2OWKD22AIkrARm0XgLb9Z72N2UjcDFjpYKvCjRwXG7VeoBAbonMKMjtAbU3QnS7bmjqn/S
MteSCkCv3AzFVcuUehf+LSvDRXYkOrm8FkaboloXXKiB+z/OdW48iP0lyBUt6uS9lC48SuYOLLKv
QKShdRUdINQ6u30h9Irojg4Q20TjS/7UgHpeb6OS1VU/aI0KZNh6ptT/RZYIPQbI2CAvCtUUOu1b
DFVeyeDOc+Q3qB0IXGUoHiDi66TojeT18RabWXREWSh5I5YEFp3uHYzQ6TTg8UccH0SCJusnrJbX
WWCWTZyvHpv6zUZQb06UuaDOjUcRkm7SNOFXzjYM1a6T5I51FNm7SDFJjMxF5Bz3LKePQwkxQXCN
G33JoJF/lMBQKY6s1ZQkWXlwZOcy6FOIYAelNjZStFUQ/Vpy23YWHwSeVsZqsw85ITWUmC0h4JAp
Zlo2kJIaJZd949u+MZFt5k1gIZJTPBD/3PueAsXZNjNi9HsteKmZmwXcFtODFiknFN6oXZ43dRH6
Tco7WbNL6nKfDCelQslAURa26Zw7vLZE+6PED7JibGPeSWQL+AUASEdEQqXpp9mKDQ5yDGYwKMVF
vpYJnhW+D+62SQdN7pk/jxdYwPpR6zux0OJNSKDsjXrQ7fo2qP2VqooPIWxqVAIS7EuAuHvcFo7F
tYlpO19toZpJxl5NI96JxK2UHeQSDQaIJbqGs+V+11cHGUhAJFXjYVdLg86BnSg0eaB+wvN/M1Y8
h3Cj49Kje6rYqIqqWip4RyTMjmdaHVrjS0+86Ql9P5//sUFtobBsCFvXOe8MesobsWQnehbrsl1u
otIsXCN++5/GRG8krkV7VZxgTAFS7yKQWYBgP7Zwj68BNggtKTgSoOtBKxo1JL4v81FJGcGp+nUv
/VTCa60Jw3cD6ZevgjMZ67G9e+8Gc2gZQ/ll8jqEukCrmhtLHwR9DnamFaTHPlmRuFowcr/toehK
oG4lwUWi8EqFPpC3q6QILJ5O56N1fUhrsHKjqrRwzKeZud0MoB6A85xqSfiXROVbmCqRvYyRRKe2
pAI08uOO0ZnAKcW3ZzZcwkfOzBvaKtEDgg5sZDtlKhSIo9arosATHalIdgWgY4yR8u0/RtVCrU5G
8mgSwsYtR++3spdJx8sVhuTmpQWR6hK6GTVYYCELtEt7PzAlYVSsIurYVZfLoHprZP8g83VmF5yX
rToxChfWchoYPcvoukNCCZc+rkTqiirHEMxEbS46lanIbwzRCuGrA9yMsR9vzGnj3dpBfx12hoQc
Gqj07lik6lECJXnFOqNviITXsi+pt8RhqcXhfh0FIMTx5pr0B9BbQw3Hn+iPhkRi8YIsYht0apCQ
LHnVRD6tXD0e0cwDb7I1nWsedUBAbTDkK9es4golYiWyDju+BpX6yvehyaG0HhGjq8xWDvRGrjS0
LNbKCNiVHUjcKhK0LFsHDABal1IwIuBv2r+Pv+uO3QKFL7TxYiNPM40wmvIBhQTa9wC1K6cDiVYN
JtCmO+XFW1WMn23N6gVylnELslqP6Hx4DLMAhb9jWbxmpLsUQIpIKfeXH5WFh+f9cQYeSsBEwRsi
0087DbbtuhJEh5zDMhs5ybRuyCBvpSulb2XjS89o+bDg3WfihMkkrE2bbrpGbxeo77yUDfE3TnIe
2gRgfdcIszjUPBLpTI24gYSK1h4KVZMi/uh3JhFD3W3ltVc2C8fsNxl0u/9BawR+4KnpC9zE9P5X
iixqu8EXnK50VZOTo8QqXLZftUNROZmQEy3PGBdoMaHVXCWTVgwQ2+hD7dqfhe0xeee7L8FxZye9
NgBXqcdkVFaJ5DGB4Mhsr4m+KTN/anRgV0qosWAQjg+1TrYFhIhl87Hl+x2AKbgyTEVLpI5kvhIw
BZGag1NyyNDxkuAlqyfqholOlb/w7prJ2IOXGVUPTpwkuwmdynYVhgUIqpQcf5f5l2boQABuM06I
FCTTaWmdamKnVSpvkXwBcjHjG2Aa7g6CD1NHM42GjvjEZby2kRxeDrQg4TVVeO9cgFjgHIgPFeMY
NJNWmZt8pXlfcBNZaeZQSnXz1SDsg3DtebGpKv3Cd917++mz4OzBnALBNxqfwSlBnYZCJzmMyK34
ap17oMQeWSPNRMv95yBYVuRZyFGgFV/AVqN5bVufFTpeHGSnQQtssSvBkzplE8PBCsOnAfjfY9nt
M2Hth8NWZpeCyfsbR+QBsyHInGD979KzTZeiRKK2slPzZgeaS8l9aqFA1zzF7d+4OMsvPeiy0z60
x6kP7BXIraFfaJ+fbhvqqN18AhUoEfRhl33QyY6U6yxjcdELsKdInu6VehuCI/zx+bq/+24HTB1s
XmHHlGFG2cHzV9K7HJJNcj4AS6JkSw/2e1AvlhYFIsSBiDKRuKWCsy6tR79OBNnpfTRV5i8+Sm/S
lh2B5Rayeo3sRAjghWzE7j5qTo/HObuwV7apWYW2Twh2Wl52VNkO8lPmnj2owC84j98TSq0dkB08
jglIE9HZPc321e0OCIOYVjEfngWGYIcUsSsEhie7LXgQ0iosDDVkUUiuCx6YjqAGX+++qNj+Nci9
vNBCdEK7q55UwUcBwZpXRlWhKoMiS3oIkx5sDm02QKtIxf/sGSmJ0ZfRBn7qruooJIqej/GoQCwD
WF6j9Tr5G63JQa6DrTdL9KBny2dF7JI3wR+Yj2ycsgE4BaNsh3yC213sRlnagDCEaSxByJEmZANg
AnUmFaYfCsF5vYvq+KMeK2gTgfEDZKW8C5mkuAQQSfKj/rUjjdsZaSC1aNPk2URPQx7dOlldyKke
SUn2Fsp9gxeZmDGnBHRe4AhDgVTUB+gIKqe+ROz+DYpyHpug65HBAAJ8+CyTrkq1PnHF9DDC1702
VRODRB5tG7uIjeNCz0s3McA81oFesFHiHhRZNbMbCe9BPAoZtsqQMDeR0Ylj9ylJfpXoVdKi+NJw
XKbazCgK3kei5vA4pBGzwgoyAfyaQ5K1/PNQCfFucIFQW8j1UycP6B9UB3Gx/1/hSer1IPfCkPoZ
9C35GOXSgJGcJkhbTWkW7m7qBv2XnYn7XIHwDUD+lB1wzrjjCLHYXZa46jYcVEXnk140iigJwHDS
lXapVso64wqDYct/yCr2b+tQOcAbZqqIUmc+GpLI9Qo53LU79RPV3senmvKVvz8dEhF4IiNamxJm
t+ct9LnI5ZMx3MXxYJZyvQ7EWu9Q3EryC1fZmfTPEIR39ihvqfaeUsgM7MnYowITofMv0xbbhKgL
984KFfNkecWmDMuiWV3qsULqfqzUo1TXm1bNV2G04Bmnn3bls/5lDS8RAdlz0BbTJfKJE2mAvEa4
K4WR6Fni9Trfs6PxeKXonMa/zIAtBS9GwPoAK71dqjzLkhptv+GuEDNLICsG0EFOL5XOHpGTHuLY
QBe6UYVLyQ3K8d/Znf7+yiXnuc8zvIQlk5KD2tp1UllqfmrypQHOTuPV+KhjJsYRy2XFJAbca8NT
t/BunHMWaDz4f7M3HYSrUTAqLs92mj2uQp6S+SAeAf5viVNn1goAkJNqFORwCHWculwMi15kcFjV
3O64SpMSAWHOP4sn/7UiV1boQ6SKPnqsPHRzsi+Sm+s1BzcdEzMbviv++fG2mz1KqoJ6DZInwLBO
zvF63kgFNwtm4R2S0KLGiyAY5KOAGFzphTY0yUEen0dLyglz0wgCzMnhgjoBL9dbo17qsthmQbRj
he8a+uDInaObwnk8slkj4P5D2g5tz3e9hC6Gm/wf0q5sR24c2X6RAO3Lq5bcSlmL7fL2ItjtKomi
9l36+ntYfbudSfMm0XVngJ4BGqhIisFgMOLEOY1b0XgxtfvJUu/TwbpfQGtw24zoA0KrDzJ0AE7j
Icpt1lSW06rTlsbOuqPdD8eMqzQEeWRIZTNf4gX9tsRFvXnCQIiiQ1IafncEVR5ek7eXIjQAKB/T
FUKGz19F6WwsYzPAQKuWkbvs1RVTN6nEuUXhBu2of41wR8guQNGijjWNG0zK0KhOT06132RFQeFS
cKWi+sgeqyq3KwYAyxtVZ2x+F6ktssMqyHCb3/5eoqUgSWeDV3j9Ac167cZ0qxMwTFs07rLIxKhl
Enh4huvRbSv8q/ctHFya4Y6oigSrdwxSxGqHAXMUmeag27Rv2lqj57kldgKx87IIUaHKoiUZMWM2
OBi5N5XRVweoMdZrExjOWu3xRlWiobNBvEGWNJyMbQqsZYLW3Gpsn27/atEGXPxo/pXaaU0DpCa+
zTzFWrs3tkizJfeyKLdhkHQLvorn8B8N4CnP06kb0MS178bxuTXJg95PPh6nkMt8mY1OshHCJQGn
6OHpgholP/HRqmldj9qcx6U35OE0WOqd0YF4xutya3/764nuSiYz948pbsu7zsyXPB/zuI+cSMZ/
J14HYHFA0Lhg9OIu/K2YR61j363ArDz6AUHWbIE3S8Kv8HCgRfOPFe6674w13QoTVnodvVTanKy1
CLzxB8hZPt7+WML1wA0weYFLBffY9THsAdZvVtBqxAP5YTlPW/o0F+9ZDMBbrDeDAQUelmIXY7sW
A1JATP+us+k7G8abvSdp+ix6ijBVwX/scGHL9Hqq6BtysXI0IqvBjKGCqTVlDXqw7ECILfA0UGNm
kg8oTD2BEgem2QFO5I8BoxUtGkgNInlarSbIigfUlPeg7FqmGfoXJMiSv/TUCdwek6+3t07o53iX
AL8I0AAKuNdb19R6vhgzEoEiz4M2efVq2fSE0DkuLLB/f5HfoIpldlmPx92SPM/LCcVhfx4/316F
MBCxBi6GMS3b4PkkM2Lbs53jCedWe5UECQZ9tcjrdzkE1GSoIVG68dYs/l9b3Bfr54kCaAFbtAFe
uAbfoPkASJZjdjvdkgGHhNvDyprAY6LjwdejMnsjGDxBCuWmqgrm0uqxrgtJNY9X8ny73vCn2RQd
sjW0Mq53yFnYnGCX0xh9Qs/tfdTyenLaLe4PRY+G+rP5EUR3avEF8+U5pP96wwfD1rKEzUx9qle7
23sp+r6MFRTQMzYMwz+YR2XY1qUoaTypVVSVTzpgHSv48twS6ClPkkCInBMj9FCDYtPtKBZdL71O
UOIlKnLH4lirpd965xIqJbcXJAop7GAzJW1w9/Kv11XzmmSBhkc8Dsopz0vQwxRR06k+nbQOywJh
fzn4taXIJsVFzgMQB1AcgLxiqoZL9AabDlqronyjztXHCns2L/R4e23CzbowwYVLOpr2qIBZNEZx
z3bMj5p1zo1uV7VjsDiGZLNkxriTV7LxWsWyWDlqR2coNoJppyO71FziyXQlxkQh5fLjcWFLGRcN
qtswRpv1wSq20CamX8xl5CT3fVFFhS5NM4XOaGAOAqkUY4nico6STZnqTU/jskedw69Q3RuDHjyu
EHzPdGAh7aoDybhbVqA7HTVMgedaD/XXtdZ/muXgtD7JWkBQkYaOf5Wd0z+WKyV5ZM0r2bHSKySO
uvkl9TpAQpw+UT9li0MS3x5p8jgWmpvgcKPoeFZosUhSRfHaPLxq0DYCnSKX8mjuQukI5Tfg/VAf
0vx0OICdRXLShEYwawVEJ/6DKcnr05yk6P2uKOfFSkJ9fdtjhtFXzR+3XV54qtAAehMJR+zkvVAp
Krw4KB6BM7SGCOhZo3oBGP+2FfY9+JIX4j2+lou5GKgNXi8ld7exc6GtFGNgYpwxpAIQ3UkK4xGu
BbhixwH4VsUFcG0lW/qqdxyEP7AVesH46fYahNvBZm3QogEvKA8LyV3w1/cu/rrlPdP83sk6f8g+
37YhXMGFDS6AqyZ0qCuCF3MPAc9jUleK3xK3D29b4fm2/r4i8ZZlYCc0+fnS4DYoCUCM7M287dbC
/+qeV39KAVw9oEZf0A/WQS3zQB331vNty6KYB1ga2ox48IC1jtuhZQWTgV3YuKBIuUZ9OoJnwqmg
zT5t9Z0yq7FuVTIJetG+Xdpk//4iY9NGtcr7wYTvVfMOYgdnUIFEfbdIPqp4aRB6s1AWR6eBDwmk
77t5dmicmUYIHeWwzc1QV6tHb1T9spP0MnikwtsWAqlm4TqEs/8BhYKO/WQ26QRfh6TsdJ9BiOjU
VWAzOY32fvh68D7d3jnRV0QlGZ1iNnUGIeXrr+gsFXrdA4oGbf1Y2DpKoqCmyOvothXRR4RKKLBx
gJUjX+KsNMSorHJSsFfWGmL2eu3BPefdTWoZN3X1jvjKJsZAJAzkAZol10tCRw5Pyc2A1n0Orr92
P0BufJQNIAhXdGGEy1oU205QbdGRLtVLkE8AfpLdZixBkrihMT7d/nzCTTIBDwNAmx1szgfrtcqn
NoMPTmrn1/MTa+lNMnSCzAhb8cV5ymuPzmoFIxTtu3xL9phfB1iMSM6TzAz3CveMAm1MBcd2GP0l
21PlLJPylFngLqWp3NY+7VhJCYCiZgKjPSR9iSOBE7KQxl99kGj6Z0/4wtWaWktqtPhcrtUHEyj1
uu0dPTKWYKFohS4Cos/1hlhzYtWJww5NbvuO9zPPaViBOO0dvmVD4YBNJTK21WsrWtUOnqFgHZb6
WnXnlIygKXjXkbwwwm1JQ4oxcQuXxqQHK4kFdDpYx2XtEFEygrGVf1Zict0C2pC5zVikdrVT+6NI
7rQikkEvhDYccB0xIn0mI3X9tXLAENy+TJD8Zl+M8bUy9nMWt6Zk52VWuAimrS7JMHuKoKydqxCT
6kinH6dJElXEVjAbx5jX2aTt9Vq6CS9YPc+LuLeqg56d6OBBQHXv1T9uexjb3D9OCiS2/7HD+XHq
EkhXNJi5A8bB071AbXo8UVbfhZQeMX4WkxpIEy7Z2rgcux7R6R5oiVr499x7Hu8d8JCA/eT2wniI
29tljYI+kgLA3Biw9voLAoKD6xLfIq62x83VD4sBcuD+WAyBMeC9ovq9+dJsn9oN0DPDjG5bF4U5
DC7j3gZCm1HeXRs3twqvdG8BHAHCyKCP7c4O+XzbhLDgx2aGdZRcQPrBT1HaVNV6L0fXrzGTLNDV
Ym+S9d6ZwCFTfDDWhxE8oxUwnVb/H6eh2KfV0VpCPYD9HyS016uDtIuBKRkEv63+pgCv2vpWcRrU
AO3t19uLFLgKJC811OVgCmNXnHtuIL5Yl6XFSCiQ1yj9mWO7K+ihklXkxHawEhdStKbDK8C2m9Lk
rdYVsWsqz4vZ/5hm51it6anGc1TimQLfwJp+22K/5eIuT9W6hejtUMTOcLJIhFVlkyRGCRKgKxPc
BukttdbawXKmFhdgScC+pxv5Y1fQJ9DpHDyI1dzeJ8GFCwA76M5N1ncEVuV6TaVhtH1twhfV7MsG
yKwra2sK4tSVAW5FhVv0xjIgb9wUJIxRq6/7tDy6j2md7eyu3/9Xvu2/fZxRPUD/Bv0Cnqy46QZL
KyBnFc+p/aLo1iNkwyXpvdDpmOoABu5Ap8VnKYu3OcqyYk3DGFS/muEu9Q5pI0nphDsDmB6YnyDI
BfzQ9c4svZpAUAMBvsLAy+Rau2z578kWrqjfFtgvuPDnTU29pCUFzk5m++jdYILjPSfmwgI7URcW
UJs3ynWDBVt/agHfKbpfaKa+wwi6QiCcMdGCghtfG7FyR6vTAvdF6dw1P0fvmEjuBNFOXBrgVmHP
zWrSCgaM2scE60wlZ1B0RNDXwpQOOk8qeAyvF6B26mSiTYwFqFPjm1aKQUrvUOiO74DO1ZyftFX9
aOnZ4fbRF3nxpVnuZC7rUMxVUxVxlpzV/kUxUf/GWGYqazOJ7ju8G3+vj7tTF5SgclvH+vLCJXFS
6UowDHMRgsnrsbAeilV7WIn3vZpNG830REZfzv48lyldmefS5FSbRlNvYL5LHrbiE4Y2IEMxgi5o
teqgTyS1BvFXRUMBFRu0bd44uC5cnkx9VjQGrEEEJwPIVofOe3GqLBltp9CObjALb/rSnNfjpaxl
pofdA8ZiG09WfaqKE6RAbvsIc+0/vh3IuADheSvUcFunOGbepRuucZhI5iesRNqqlpngtqfInB7M
YzBhmiPuH+p8AcL7wa1kY6fiD/bvUniSSup4mJB2cbXSikFfoKeytTvvXcEIQ37IePCORTmaO8sN
QIRtNxXx4D67qRsiHM1NKwkYwoDEKoLAzWIE+02+58LHtFXpEmXAJzMUpQrLFs0QJbf+I//V20WK
2w1ZsIMTilLd9VLWodJrrYGVXrNDbD7o7lsNvNpTqGsSNxMtCFcRejjg1WVq7NemALaunHLQithr
aujfOIUaoP69Sj6byNMYtQXsQAPlD1iSsunWBCg34hABCttIvjEWhsJTZV1vkafh9YJjiV4HANzc
zd1Mg1tbhQGPBt5nT2ffNQLiSN6ZwsWgNPzWjWBp9vUnK7S6G1Jdx8lEGjJ9BhmZ20tCmSgZBXfd
PyZ47oTVKOxs0LErJcR0u/ywTmc73WuqA8khWS1T5AEGQ15gng7zJSq/HIPQdrOmMu7bdIeHFys7
3w5lQguok2LvdeDCXO5ZWegK3swZchFDob4CesHqHeA6zIP+tsA9/ctmWizj7Xnc/+hpearGV7V4
Tp1CcnELL9RLQ9zjKksdAo4ELAVgxyQ9YeLUeLKeUWdep50JbrP5HRnWpT3OofPR8OaOpXHs0zEc
RweaAsnLR3RowEmJeQNQouGEctvj0nEdqY3HlZ4Ye6WzfdpDZGT4ntQyQh2hJdByAO2P84khyuuT
05Z154waQrShfq7bRw9VBWKgB1bKhGJER9QEtAKvKwNYMh6ylnlDAvaU5e292BPjCGeg0mtN5NaX
RriDgyhAm3xAUEttC1WDEwgN3rH74FjWWF8VLx6HLfPitsnNMZnGCRbmssdsEAAi1otqSd4iwm91
YYS7N41UU2y9xLcySRl64ys7oGAaCW/HAJkVLuWdzSmlPYGVpsKUYDG5TrC4LfTSQGsiuWzYd+cz
J1DRIXp6mEpE0eX6q7WrWYGBE/F5+mq/Fh+rjfoHBfoc3RdZs0kUpkG9DYoSwJ/wJuX2p1AhyVBt
eRl7HSiWt6qbf/Up+HSyTFWe1qr6MdmjjEZaeIbg09DkAW4dQ1DXq9PSGdrlBS1xlSZofS5BR3vf
qKbQnl9ub5nIkmWjUq8BZYp8itsyomRKW1dFGWtW3DdV2GRPIAf2lU4yHCdyDUC7GG0ApDWgiX69
omXumslLqzIeo6QNfnYyhhfZ3+e+WFNNituVWIfq3I11DNh1Oj3e/lQil7tcAneGMKe1VA1kaVkt
Z5nv6I96vgNGNxiNF7QGMD15um1PFHpAFADAJNSJoB/P3XcaWkIVWB1LnNkVBD2mP74D24dskJVK
gYxBJsJdCnrf9UsKYb6Ytgmm/Nqosr+Sbx1oi506KKlMqE54sQL4wyA4QPoj4l07Qbkh82zKGvaS
/rEvs6caLYJUxWRrbiv+UvxMq9eZ7LRkk2ydyMsvDXOfspsSXSt7GO6zDhN/kMEm0y4pnwoZMFjk
huAjZMVtxvjK0/sMxLKq1YObK+PeqU/JuH9Py5NRHv5rgvP0Um22pcc8Vfz2sUiwjqcpfb3terJl
cK4Ozp48XUD8HUN6Zc6jgpydZf//M8EFHrvIEq8DPS77UpiTwJcya8kBEq+CoWNQKWecWtfuZlg5
CLu6oYx1I912eIZBLs9wXq1VS6PbixGFBrwTUS7ATYHWJ5cl5GnVaNUES+4ygBOi1SY85Cwgir1u
USGrkg7nMbHbw9YO2vdt0mWNfeFKf9vn4UBNAcUUC1Lrsa1+x34l9Pl9++WCTBDHF0GDP7tDqhSs
j4kj5DaBW0NteQtM2WiA8JxeGOHOqeLOuIIdt4xJOu/TdAnn6Ym4+mMzvyMfAjbr39VwKX6ReKq9
lhYiEQhDMYGGyovTS1JuUeIAnlfgv0EngmSYt0FBVNRaSRkbmQpe63Pvdn6lKn4kybpEBTjcEawd
quJZ/EdJrIJES68Yb2tRdB/qn9lH99OUnaU3kmhFl5a4S9wa7L5yJxM3IFQfsuo5aV/NYtoNfeI3
k+wVxvaaz/AcJg1oAXgOnlfu9M5AfEOlCcboaw2COoxa3BnhozsGa+IX322pyqfoDF3a4xY3lWQi
Wg6XMLYxdiZ7gQBXHbiV7dtDFq0YHwCieNnP3gt4zXbZrJ+G0frq6UvQUlsSuYQfGhUOxgAJuVxe
90pNJrC1QZkpHtXTnBm7sU8Cp7obrI/JbB5vxy6BLTwM2LwSo7j/A3QJQYrVxeQqiZXGsx/aVbV9
I4XmgzJjIMvpyxqaa3UhCZi8GAarfhkMEs/SANDK8Nw+VukMBOoVJMZwS5B8BpkIuMIXz2/1h7Vp
I88gj1p+LpQJ5IPflxkVZe2LVo/RkL0alYxqRxB28GNYoVd1QBPOg6/s2VNGa2pIrHvDrtpZPag/
QL7U1pKnntgOqybhisAVzuU/lWVlaqWPBPMaebvD1E3vmyZZIsxjzQeMubWSyMBcljtCEE1T2X+R
4GNa6foCVEDCyuSb8JFHTKpvNKnCcbH+ozDB31t5YYUL2lAWJY6Rw4qByeeq22VkV9mFxEsFpxP1
PlQWgV7C1CPfxAG1WZ+Z3UxiMLrvHf2xbJRjQt6zPxdG2FG5eIo3ZYXnvTuhiYLZ0PxTYryAD9KQ
XAtCJ2AfDa99lGP46jIFPWOjOVjJpBsnqkYv2wpKKyopLr69Dv7Y+wszXPgkq7XqW7KQOKVZQLUT
tR+Iqewbaw3mwfwIQjtfT5+06nlVj15vB16/hEnbh6Z+P+Ax3UXeEjv5DzCOOO6hMw44y7FC+2M9
g1pWe7COQM9GY6NESX92ZZmbKCYBSIoRPgNAEZeffpz0ua0zzSAxyNg65a490m/TS/MOFBlO/b9W
+JJlCbnoaTBhBSkocruAgmptHExJpUK4FtQpgO7EKIzKl3mXUkOXmVmpjCBBg2fbgvQxGcAe9Om/
B3JcF0BRo0YM+AVzvAvv1RZHGYcRLUALcOrHwk1/dQPRwy0plb2VrqhgN7hGbtsUHctLm9yJ2TJl
LvoRi8OVEdjlj0U7kVFyV4gODKbpMUKFuqWFUZ/rdVnDAq6YguQxmj+g/zr3zs/a2ae72ysxRcES
80q4AVCHQ6GUW4qWF42eljDTRuZ+ipUDuBaqMDmCLigA2zo44HzH1/w6KPxyl+1o9O35SxcYp+cp
sg7pYxf0uj8fnT3IbvwuoEcafq78Ksj3xXF6kfxWrJg/25c/lSuxTuuYJcTJ8phUyIX6n5mxv21A
BBIzLi1wDxplmfpCT/AxDJvu0Y/b2Qv4NNVPhd5GC7jJ3PzUWYyc2nHAyScbcOcpbN+ulAvzb1Pj
F66czDStzBEL1MHvDDq0cfP774BfQnniYfqRfB1+LPeQlc+eUPK7vXKxF4CQGNAxARsk9IomNS9q
cLy0UPktiqoJM0ezJMeGJ1z8e4FA57u4yjCI4nF3pp1ULS7sDuRiys7KvycziRw7PzSjT8FtRHzo
rfhoCFZrOCzFB3M+oAdpQ/oLE54pCJ5WadNDFKVQVfj3B3GHzCshs5mmmGh2oG7fYe4BElWL7gRm
gtrTIrnMxctn1BU4aaCdtblQZWVZqYL4Ge7Vr0GT0HDTM58mXzPQlI9n41z9XPTaN6adPuW75ax9
UNddqj3WqNhAbfH2jgtXfvFbuHPf5lBTq8EfFUOB3Nn+mhVwP9WH2vYbKutei2ZdMPVoAbKDqi5L
A69DWQHxB8+aMWWfqE8VmCSHbPCpdlbaU7I6uyQlfjKEjgft6WhhtH5QmZgnSSVWmHpf/gje9xqC
boCGkXK84Oe7CVEr2Ppz6pPaTz8Nr94Sat9zf8XAw6f+k2z2T3RhXBrn/CwD/sUsDQz/r2kZLvZ3
tKwCqYYVi05/xEdUzxl1Lj4ynyx6pFvbZcMKu2OBxFfXT311msufqhFP0w9AO95xQ2EOBVhT8CeD
/YMFlYtwZW1N5UEuE4dnOLUEnUmgPkmNuo8MmSCqoEKE0YCqEYq2eBYY15bSvEkUQPDyuKJTUGUf
Ws0JWDcvAdWbN2GIA1Eaj8QPt4+IaMAHVPQgm2FM7Shscn5bGjR3ygzjrkvj7dqtCLZil3S/5s7X
Ypp7Z297BrPdKZekyjxn4N9hEpkMgM/I09ANuV6upmaNUcx6Hnv6X7m+oJFYR5ZF/Lm+q7I07DIT
WK7VHyBHW2ybb5P+gDeWpBIhyj/gRf/+CC5YLUlF8t4CgYDqfAHiLphBU4CRz2P+H9lO31YLFwJM
DUhRDXt8vVpjKS0XepoUqw3dYbf9GAo/nQLyl4uzKHkfiO45tBQwCgJcnGfzfR9tsUsFAgJ46hDr
BcJyM5SxckcSWtkP5s+hg1lzDNmhiIE5tOsF9XTeStwpcBsrgrxm1kbGjzqLR1AKyprBoih+aYqL
KwDAoU/bwNQc1J+1uPjYADXqv+MYXBrhTp9ZZxulM4w4evh9nCFx7E9Bvvk6OIABR3u6bU749aBx
pYJ6SYd6NGfNyWs3d1NYSxz1uJqs/exDFXXRwNABxt9e4uaiyOx4AImgaY+jzr+GHBDbM4wQguZs
kKBqk7NXFK9Jl8guf9FWQdsEWsboqiI+c14BJePUoyr4RgajO1gaBE7Ku23YQ4tcy+4gSpC2lU/s
e937DH2hbt4Vqn3opyDbPqWaDLMkOgYuOEkBNsb/QKzm2kOXelY7sF+B88xo6NF1hjwiaa9JDpvo
PsIhA4IWTM6YuuAiSFVvxtosZh5vU7LPCiWqCOD6WR9CYN4fqlPfTk+500guetGGYthHB+MD8gr8
43ptoMLB8AeaIHE2uQHYHhzIzEqvWtEHvDTCXX2aVpvaDAx9vHVPzfbZzDbJodNF7nJpgduiZEPB
xqrx8TLvobbHMMGgvlXWJxWkEpWz+WXKntXlqJyy8iGnZwUZK7X8vKVMO33GiJvp45UfzQUBjNO5
z+coLbadaex7za+07jDoO4fI5uVlv5rbcrp2Coan2ZbTeK2h+e5CcOM7KQJQWku+kHifIdAOPlFA
2XXmfRfZB0giLFp7uCTBBAC8EvEVlBQLbXc7Ggk3GmB5dE2QBWCg4doKNCL0iSawknUugOYkAP/2
bQvCdVxY4DZa6bVtWQZ8sloDUHW2Axck3JUMniS24gADhzosU4W8XseYmkU59jgVzuKEE1o/rIa1
rPvbaxHFbggE/GuFW0tJkjYD+QC4jraznlihN7+g6Td1BZJRkPem/02j+y1zgEI81L6AiEEVn/O2
el4Xs/TAFUKqe9TzyoWeR7BsAqmXvsfZAKtC+VrHRKHFLYx0Ca36ZPmbinJFxuDNz7omY3Zlv5dP
HDBs8K8Vbj1Y6gYpvA3ONjZRMUIvEeIxSnraetl7XxSaWYkR+hKYUwbm99odHJt2g5NgowqbIJzU
QWsFVvEVoxqNSSNtilAhve0awshwYZG5zsVxJZWTKhnBQerrKUx0fbd6beq7U3qoh+xLl8haLUJX
tIAsY2IamH7id6ymZUs3rJBWnYfp5c46LHZ/rCroNrRFSsIZ/gSBqVz2WGF/+I9NvDDMbWIGJsyF
VLjnbTZiPp518wWDVu/xR2jcmoDQMZ5CnfuaAM0lWwK23MQz9kCEUlRReluSiQm3DMxh6OEi+tn8
CEyagDSaDIgZaID6o5Efly/eBCJvs957dJQkzbwGBTvMEOFAu4YRYrD55uslmVUy9YOCOOg2xM+0
7QC+Sg8vrQkdcYi91kF2Vk+lH41FsXfsyGk/3HZQweFj6uXQ8UVDDHrT3GMvSw1Fs4qCojaF8jsY
8b+2GWi269kJkrSWJClCYyi2YgILRWvV5S4vZ+yWgiqgfJnVtYKuWTEF9VAaUJsnNEJCKiNuEtpz
AU9mpB/olvOngbrWbM0DKBAWAwOuk3Yq1z5QoXGtk+yv2x9ScACAtIaMADR8cG/yFeWydfVGxeFD
uxzTA2mxoKyE4fjQbJJc4jQyU1xQ6dc6zxRQ58RaggoAGX1tyf0O4hy3VyQqzMIzEUsYpS6YZ7kz
PaekWdFewGyt/QEqFUEd0k/0qPrJQx03wbSzTkpQH5XjbbOC83dllQvSSAtypVRZJhVkgeO/OHsa
3rbAzhQXq6AchaYJo7lDh5GzoBRQexkdzGl28wT6GRWKStn87bYNwVWDKw3TwaaHd5bHv4YzaMs4
jYXJSbPNFsjwOndqSqOthqCHFtWk/MbUxJTX20ZFjgFkiAnKB0zMo+98HUzWucjr2nCRh2Iui3bf
C9TxFdn+CK4YNLcwgYYqDQYmeDBuaXdOPuABFQ9pH1BP36npB+uUOYGqPEvZb0XOAMQvggWYjyAm
wT0fy3W0Ia8AY3X1ufSsHflu5Ik/52UAQN87Ph6mgICYZzysf7C8NU2ngl4E68prw08TRd0DhFUG
TbfKFL2Fq7owxT3WlA2yCGaDA0wAClCH7/P8YXUfOtRJ2kZ2MYucHYMnCLaoaqF5wQX4cWrGopyx
LC/9MEHHt6xNya0sqlPi6mJsny7KPxiIv3a7nM6ZMxu4QzBF7Kdei5x3BZ5mDShUbEi/7Un5y0Lx
21PfMRPLuBbxlDddDPfyDm8oNp3THMPDDQTmv01tgCf9ba8QXSFQpkFAh/NB7oMduYsEDr37LEdF
DbxYa/GpGBfIc9UnknsRkbXBRYf30hIXbaeMrCPUqMDsNnSQgyE2NJCTRQ9cq1AlAVBmiguAEO/K
l7oGD0mbvTbl69R9d00JqEn83RDIcXRRnLe5g9vZpVfUDlajmnlQK2UAgGxVpzsySq4L8VoAGmMv
Ykz88v7dNsXWNVjLvERTfWAaIZLCtHgpvy1wS3GNJu1NeFrsrsFPYIaSu/dMtwCR9NsEl9gm2whZ
YUaflOjfssbvph+b7NKTfScu5oBKpcrAZQjugOZo7ixI3h1unxRRUANBHSMph5DxH20Du1kzbyVg
+4CqRDc2UHQ60+Q4u0+/btsRBbRLO9x2dAaF6nAFOxOEBMCvquTl/r9bACk2CiweqqMIa9dn3k0s
r3YWMGd1Wgg8zGp8vv3330CafAJyaYBL4LxmVvSEMloF6J4bfaRHdR2gQZcenO3jTF636pij/V5u
0Tw1QfMFSmT2BmG+72vp+fkpT49NCH5hRUYAIvIREE9jbBT5HsBk3MLXVRm63sXvclww0iovS/ok
BeOKtg/dLDTQQDKCu5YLc3NrLM7keLj7ILnbYOzAtCTnVdRwRub12wS3jCTVS69WIPo0lPkh1c9r
Pgf2EgKp/5DkQJ8bieprAD0u7aehc/32I61DyJDta42GRvbBInddI8O1iLImhmmBWwEFgMfWtU+t
RjPRacRvSp36rNsfs/WXlrd3emXcd4Z5hGCLDKbOVvmHkwHewt49bNaM+9CFuukTCB3BF1E/alq7
a5xfI6tIl3d2+XzboUX4M0ipsTlA4PbgPVwG0EAcqm50sGe5Z/tUxerBPRvhsLPupoMeWk80KCP7
IzkPD9tP0BSGpg9RsFABrGcIzLDcOXvVl0sjCz3t94/i+++LUkJWneJHJToOkZkfkHYHk2ceiOru
6dqHA0gozfG8rGbgEvJU9cujO7hfgPTd3f4+IijA5ffhuyDojAxJb+IKUR7Kg3Kg9+Up2WlfkgN4
J+N8Px5lUslsc/nNx65jIBNT7WBL5oKkmdBGX9idNWKaNZt9ffkyNaANl1QPRF59aYa7t0p4uq5k
+MTL9FFvA1JHuITpAfFpkFgSdaVNNDdALY26HfIkFrsuE7HOnIzcQQ9zbM2PntX98tLhziyswd/I
JxdSqTSqAGtIOifUOltyt4kCI572eIjgRafhVrg23o9Kqbfg+I2psU82J2iHbLfUMlS66MQCmg0o
A4CQKFFyXzM1VsNqc2D6ECp8O28VoDGhQuphRKKZzL+yXpG0qoQG0a8FcfebEioXlFCZGobFxjfN
ju7RIrsy6J4qWRlB+O0ujHDfTtPnFETNJlCD6NVMoCFsve+6KzlhorOOUcN/V8J5x5ZNAGDbFol3
vmTr36gZ+KN0+ae5ODo2vUMb9qfXqAhLn94Z+7wBQs0Mh1h96Z+qx+1O+2rs8qMZ4LX4CDaEvbY8
D+TkyqAnBtuQW7+Fu9k8tcNjx8Nv8bIwvct+ZYH11doBNYVOeBElJyPWdrjYqt0cZ8PdsgemiD6a
d+W3Jaofkr/Kh+Ge7qi/PHsAG4S3g5wwq7n8UCxYXJzQKdvUJEvhTQhvEVhhEQ+iFKx20UqCEkXv
U/PNG3wXDh2sR3JclPv51xARyMkeHMmjQObY3H3k6KtONubYJUpUxWcS5sdMMlQkirC/V4t79nq1
itoMGVSo4NbheLZ33VnyOW97NHpw13+fWEWtWgq2Wo2iNLi9Vbc/D+YFrv92ZSZzbbGdQlb5Vx1u
gRrK5llvn3oodl+b8BSaIMHDz7ftO7U8zfZBcx9vr0L2hdi/v/A3xd7GuWBwZGU64Yz6vSZTjZB9
pz+iSpKhg8O+U+FPBnhBoZ7wi4K9B/WN22sRNb5BuP5PAEOsul6MhmsvnVyYCpP6Xg9eAbT9lof0
Xo8+pXfzM2n9F3A06jv6qN+teE3v6dfpuTjIpnZl35QLMLmamCYFJCTe3HO9IEvLZMk589v/O4Qh
ebhe6KapadeOuA5M4K0Nn4ba52GPDuYDJJedh2p/+7vK3JALBDPU1IyuwMVdxbvlyyjpZwi7Nxe7
xhcfDAiMdilbzPBrvVeC5SPdF6hErb4eNB/xuCOHrrmf6/MqSxWEtflLy1x40LOuXrUWC6v9JvTw
jzif/PSgf+uP7XHee/cYZZshGCfxU/a9buzeG5T84syZU4bR0ARuuoEb2fVrsustfwqr9dVwP2aj
xFlk1rgg0jqLooDwmcRdiKnNr9OBHtNAC7Lo/+UkPNphyRRzIToLJErYZs2OGkXU2pL7QrgWqIdg
BgiNPoxRXPt94Yxeg8Ib1oKrOzsBTWZE2RKUX9Y7GW2a2C0vbHHO0WVVZqc5vpuqAImy6L636f6y
OPvJA1ymWyGS8lWr/awon8joAAhd7G3X2rt2OfkDlQHAhTHl4tdwt4276NmwurgKHDLlwbY4H8zG
kKKt2V/5wzMvrHC+4pjrnKjMM5NzEW4756DujNiNkW6Q3bSTDbQLb4YLa9zd467GYqNajNuf+CVm
Po7OHDbOe5LaCyPc9VPPVPMWlZ3xSovW9nktFYnny7aGu3VG0xra0oMFr/pezne1KkNciJ9tF2vg
LhRMIWXWPMKCYnzORzNK8uOaj7uSRsCSkPmkZVNYQ/LBRcXw9qmWHTjuoqkLO1d75hDlKzmV+ybS
7pRnE5Wf4207/8dpe8M4MngtHxM7snSLl45Ao+oU/L/VaNl6QEY6kqBZykoLXbVeLTzo6Dr7EH+e
n3LNhaBwuzkbpGZqozmMulaRfVKVNqZhB4Lr0KsMGZUaW/CfJ+T37+ROSDahy4sqBSJQsjMX5ONd
40ep/rjMki8iTI3BY8IUSzAuxLecbG3TbYPNE3U0CTBhA3HvXTK34aS8SD698NBfWOICnToRw03X
FGjtvghyG2MzHoTlPy0fBkwyPpsQqLAR0SC2ZWgfb5sWrhEi25aJpzrIUjm/tnqvUCqjhGSj/j+k
XdeO5Diy/SIB8uaVMumz0pV9Eaqru+S919ffo9p7tzOZ2iTmLmYwA0wPMkQyGAwGT5yTkCCUBNLq
hq260hrrzMrXZ1fuyhjlytLIZ23To2vFD8aPofOklZb20/Oaz5tFi1apAfpmjj6UrILw7B6CXi60
bfGMjQ7820ML6qel4ieACdfuLwPV0aB7GsSt1zml9xQCTQRQyuNpnR3plcHpg67yi1gRONdvYXCo
ugXYjoFX2vdgw/EFvCIpiuWP68cGpxh6tyl0tFkA7IM+K3odxwLKH4D2YPN+h1K6HoTqRRXQD/TY
yuxxAV1VSQbH8UTKdzusLICwnt5X4dbRoKnXL6B5FcrEY/EYzr7EAqwxLRg67SHyfWunA15w0DKM
JgWjwYjORfErCxYDFxOhPKAxlWQFoLQsTOoPyxs9iZCegX+g8RVPcNTwgsbPWgimTB18/XZYqmt/
0e28j+6kdaQ5Jkd1hVP4l8iRcZMv0+PgZCj/NueiIeUzSu8L1m1qNiRffxA1D3UX6pE3fdBgao5h
R7ZmZotyEzrRs+xET9J7eByZR90UPx/NAnWY+vEgda4LozzGHx5+uVZpc4vRFLZfyYF1sZnzqOsR
UvFHA9ONVnI/U546f9BcRlL7sc/+CAQ+Gg+1+cdKVoKggwk8Nu0NqDTvjcrcotK6EQ/lqVjmZrNE
EHKEtfvurcp1s+JfH3/CvD9fORYdDhIox6oNPiFeKZa8iNY1KYmLWy/rCjAXzq+mk77IuaXoJpEB
Q6DxKetjnq/Bgw3BsJfHA5qLNtdmqPMKwMIRamcIbyiU80QyWXBTieEWdC7SemOpqynGIT0Vy8bu
8Qjjmvm7vCbaPtvLK88e1/1COitm5wxWsIhTItvpr9AZ94PV7/1t94p/r0US/fKXqakwMoO5Hi+A
DP8dKeg2l3AMfdQw8X1D+lIC+LeTzdwnQQzJJTPYpxav/XKNjYpryuOJn81Drw1TIaqvPDUBjxZC
lNmZPAlNbSMT3UpWItEZG2fuDLs2RQWfMW2LJMknX7KVVXlAWcCeKp6MAbFciYo2nlxL0FqClV3/
+xCtelKR1m7hU38gs7EynhJGrYM1KirgtEI9FIEPe7Wl2obTWNO4WKoQrG1IhRyZz/XAaGFkFAi3
H9cRbDyetx9A64OoRoOVFPD+YBjoRkb7JqrSOejSzWwt2qqlvORP/KppzXaX7vuXDOG7+f0JCZjH
XzA7RjR1Ts+ygC1JlHsYY8CH2ogz2iiP6Ik1+o9KetYaRrlhNhCAPgXthWiLBZPKbSYwoNHJc5Ma
wHOFFGljQp4tNKzRM5mK0vOHLRoE0EKPjAOQyltTGZgk00RCl4B01sB+rzsdOl/04KUXBKfVRRNP
sKRB74XWyOAZQvPcTkk+EzCQPJ7X2UdWNOyhexMNdJBqnS4LV7ljyCdqH7oYslCbXf7bU50it1uo
SrwF/EcJKiV17IkRJnaibEdpzcJFztEoyKD2niQa0OuGKs+tfQT3WFf6CZ2ey2YTfclDT2RwRabd
svtOQqeDFGm3Evp1b/xmDH12tcE9NjUOAmtKMz7zuq/IuQ8Uuai3BHG1z94DUCagF4mTl1nDO3Wy
wCP01NyPtNGs5SNfF2QccjKpo7C0tKZT+W6LAXEAXTAwRINi43YiUiioKXk89aJFqU7ikjs3mXEO
aujpGWiptMM49EkH9DcotqJ3xlRMR+gj49QRG9V5WXI5Oi4gRGb5pXCRpffW26L7ZDWG8r5qwJiW
eHb27f8/VARkYH3xggu8uQKSzdtho8rhZXWDvhxIv9T6LtC3Xf7Us9ga5yZ3amDRJy5c7DjKy9Ms
KNVaNXC6lO3GC9K1mDcYWXEpfBG3pfpzLIU3EMR9PZ7XOQ+7NksVD9xqRH/RCLPiokZjgpcnNuem
xNWKXT00jK08d7YBtA9PNkBXCzT97UwOqsTl9YiZjPJviAlm6LdlKkfNnWfgPQLV6rRnRfpqW8mx
73MoeMEzPDOT3pH1yVlqRaE9NGAHygRG2J+t2IOQHW/tqP+iU4AKk7xYZP9qzckVvIxWn14B8v+i
Iml5NJZNzDm5j1cmdE3zBl4QgmUhonBbj7ae65+5zzMez2anGJ00IF6B6gGQIrdT3HB8LHM+1lOS
S8IJz5GEjlyN1X83m3aBzUdBIQjEiLhf35rphjAXI53DngCvi7Rq6ojwkYa+yNZqQxukK3JuBqmJ
t5/H7jo7PPCtTGy6wKn/vFVfnQXuOCqJX4dQwWv1SW9B6VWrcxluOjs6ME4okBSCHwFxfzs6UajF
WMoboNODINvoKS+ZkVT5tuHy4aoexdpB/VPaDDn+U6a/S12hbhpU2xm1qDmSD6CvgLSdoHvAyVO5
YF22ocGh4rhth4MXWWXQEagmEklZapqdjbbCSTsIRRVjZXmp/y7KS1fecShCZJOWde0t//nkX38O
5enQxlZKNNwAaqqFywakL2P/nHIs35oLhODBRAs72BrQM08FekgJp11X4JRJKs3WjI+hLzeZhuZg
FSSOlbfXxIIUGYtFmXIsoMxR5JhamLCTDVBUUXEQ/d6VLyZhcBI89QCsju1Fn5zWMw70afddHWKT
FVSL8PsT/erEnHjrWOAqLYzIM8ITZNpfObfeo0OKVZOi8tB/2dDR+wXifjAB0H3qriS0ntxz4QmX
CLP1N0m31kEHU7aXx94wawfcPwZqy5AloeU7OcmtU8AQo1Mdxlbv+Y4ebGS3WGkBA800O2lXhqjd
2PdeKriQRj/x9S83fR7L58cDYfw+rd4JMKWqjkMWnQwt+mWA29VQWQ+edA77r0X5OwaZWngQ9mVA
WCbRCUiDXQkeBPwlbKDuhkvrqoeymFnIuJc/HhhdZrmzSuUUbqHEnMRhZOpH7wx/3IO8AnJw676O
748tzewe+MC/fYEmafZUrlVx8kanXq8cPtbRVhk0Tm/wrM4/Kjj874gApJvYeNEXQM0jqqNAXLZl
dApjEy0UIaiVSJkQeZsu2IW/+VH9NUZNX+srKQobMJbrT8lnt+c8UhUQw7FSAq15s9+lqHBazT+L
sndDpCKRF8iD2HFFdGrkfDuMqMcBowhGLRaFB5Uo/dgRVAPJGFgzJiDxbSxyi1z1c1fTj7ErHkbc
49xcwVmurof6WCfvAbMffG6fiaCwQBslciUca7cGgxBEd1DWNI5Sdxb09QBlzcdeOGtgup/IBohJ
7shPRL6tVLBBGsfK2Mr60+ixrvhzU4bkA28KCK5gHaAiUQMWw7jUXPeY1aLpCk8TCX1QJQ7ASsDe
yQXPuOzTCcDPGuHqLQIa+6++hdspE3KoiYuFzx0hjJ0MRI1lqwleyu4lb4dVAqhGYTXN2cjwRvTC
BySTE+IajlLkZpgxouT9ZgCsHw9DYCbAGQZ2yttPybI2yoq8547o4zalsrcT6O4ZIYMDgS4kYsSQ
KEXrJl470KiNu9CtmZgrtMJNQ++0+TWcwjdFXY8LBSjHVfAlu2aVM98U7iOKCuU2DAg3WoyKrlwC
X5DKvhIHJ7VGCRyxpBgX6SH+9gPB8VInYJXCZoIy2LeR2kwIbihW0jmAxvF9jztscMokxaz8ZCEb
r8aX4luKYDZCvB41fzeiwe7x3pgzC1IzQMZRx0ALKd02EGpSBuKVNjhVuA5aqo5XpMRoNduVyu4U
JkW60owOdZS881dRUAjPBi75zuOPuPch3Ml0Gd12uP9N4hG3i8u1CaTHqjE45cGgm9D+xvapM26V
Ky6LNZm618KPILkxpVkiMDnGHdO91g5dK/BhetLOXkWcfh2equ3j0dx7zq0JajRSo7hx2k4mBKJz
dt0QDUW5VD+OY7yJvSWa8+1/bhGhE1yTKL5MhFy389d6QaIHfJyeSnCLeWQ0SCptPcPKGrOVZaKy
HgDnRnhtj4p3kpIKUqTAnoyKOj8SP7dFxR6j9QSYjC/i6fHw6Irjz6Jd2aNJC9w4H4MogD1OMPX6
Uy2J0mx8tPXX+TLJzBaog2BVFxnij2z6xxr4Y5agH11Hnr4BiuQizigk6Oh4mXz46oaZVDHfRpqb
ntSiJsq2HPYt9+l6O6G5JNmmyb+q/JeREP27F451pttpJphVEBOpDzZRlpHYS9ZjyTN2zsxJMH0W
lh7xEc14dJtEA9KNAH1t+KzE4rytqm+Td+FTMn2N8L+8c5WQcqHsulXliFARZgSPGT+AcfQvgDUI
pRtaDSysY0AS1TA7CY2B0oXVIPgv+hwpA1pN453G2Fj3NwuMFVeX6e4NrMnP9fxqCdIGj4OlxKUn
X04v0UnUkQYlz14eLRj+NhMkpi5+EPzg6oehTQnFlaGqKushFOPs1NWfstwRw910FvZVYr9/A7Dz
HQBzpl8qBVWODHCTTcG42fywBdzcB9FeDTZk6CxiVVFooD5gaCQ+UCtePhV2vs328Uo+qkdxHa68
tb4aj8aHf+ouygK4Hqs0jRVLcYQudOg4CW7sU86u6JAfT1D4PKXgRGmrc1AEICu0QG2Ofx2goAd0
05MxoE2xZQkG/9xDH4198oKryS9zL+0RweWTaKYrgDOB5ao36bJeou1h0y+DhbdSHfT5gaVcPEqH
yMkccSku4gVLRPr+aJxmAfVI8G6B3Y2nu7i6ggcFtodZUIWdnH/K4hqXJiLxK4VbSNmpVpwOFG8M
3xMxPHr4aN1Hk/vEYYVOmdvhF2qe90VQKCeFiN/gN4VG6c7bQhDo4JLsiYW/uV9pJBrII5HgIMuR
oSF5a44fdLVqRE49vcVP3oecmk1I1Kd8h6vaGFo8I42721jAiCFPBGkrACtT09OttQhvxZEXR8ZJ
NOymXcVgf5fNgXCSwprGWUugJ5gUSzE6egdVbVGVTRYbp3bZbtrX9FzsxHcXfTL6MnoKF5Xtb9M/
csUwy7JK7ZtoiPFc5cLq4H+7R677hgIXqReaX7Li/vRLN24yzeTV+KhdkjSlV/UVZjIv0UHw6nHg
KS9U0pxKHihw0xheRP8Dr0Rw12WDLqaUVd++u/Pgqg1hkZ+nfbSu0TduN8erJlCx7qlRAHuXNpHp
eYu9+vx4O8wM88bKtFuugoEQu3nSjZ17Sojz+o/LINQQqIun3mQczwNGfGr2wGtqT5fu4DYkJyjD
Lx4P4/76MpnSEMoVMHXhuKbGUcQguOU6yT3xRx719y/DSc/uO7+C44eB6b4aB5YqGv3+AFJW3CNA
7AveJfDugUvldurcgffkRhG8M7f0NkFr9RsDxN/rxDk3S/5XudP32atiKRZjpNMWphxThT9AMAuc
NDzq07dmFZRoR1/2/XMiO7itVCYkJSTw50tQnSgclszujBeCcBp1fwTMSWuX2nBFqRtFlwb+GWo6
Cy0hHboxntyE8IzOhLvUAyuHNAv3ToAGEbiojFfNojQYwWSFSwPa6X5n7Rm982SoWZjde0cBD7IO
E9r0ijGxWN1OX5lBScyr/PiMRzd9of4peeK/+q8cToNt4Ph/lN/9PwN6AAN8a5FasF50PaCcvfgs
fKU5aV+hWFLhMZW0rDeau+BIGaIcUu76wuM9DC3wSE+UkwaBd2n52P3u4gVlg06cxFaLBRwx5/Zg
2EhEH/86c3UodwOBpV6EEn7ev2T7ygwtbR+py+bNSiyFQyZIAEVgmJy++GY/USOiAn0L9gKvGmGy
s391z7FoArhytPV67Zq/j5D7fWzuLqOnrE1reBVvDb4dtXIaYAH3i4l7AHYf2d64Mw4yq91hzpaB
SAFOLhGPKzR4VRAboxAqEWuVEYDvOJRYvobG1JdTZxgLo3A/jYCrwAhYIoD9NWhhHr+XorHzou6s
c3741IRdhcdYjUW0c+/iCA14WsEzJGwBmHI7fT5fc0Xnp/I5SqxWsRVcCjd1dhjl4+Nlundz2MF1
D6cJsrY7wVVZGeI45Br5DH4XocZTK2cG+vtjG/epIaDu10YoZ0+SUS6KrpfPb9En3CE4+U78mr6o
X+1n9PrY1v2F58cW+KLROoIVouN4CogPuPZG+Vw7ffQhf6QtwcXakL4S9xBFKyXvSRxtOsjQoOYt
HCfq0/KlKlcG+iwaUm1jFrHm7EqCcff/Pojadp0yCuEQC/K5eEkGO4M8USiDvgXsZ9KKMfbJKW53
OOYZCCK8Kk8lR7q0KeVjU/HQEzxvOvPNQFPfh2yPkKLxrcDszffq8vn5PZBzQ1g9VHeH5zTpV4an
DXq12b1CTaPal6AX9RypAEeGn96Kxa9Po6RwvFwbAdfzrRFeTkdNG0UY2eXnfPXLXUULA2AsYwE2
bufxVN4Xiihj1OmJFwCUZ5H1nttyyaMw9KSdJI8sSL1GTy/xDu1edS2ONY/zO+XfE3m37eNsNEY+
xERGL9JFNGU0wgtHbcftUFC1Hw/xLhGhRkgdokZexEKIqHC2iuOqfeEYJZb7rJH6feoA1YS+iWoX
fi8ek8IMRcs/DInVgKuIaHaFXZlYaHn5GgdbZl59p9WhNgIOAwMUlGg/QS2L8sdc4jq86frKudyC
CmPjbmvbfYKfLKoNi8J5bsmubdHPFqGRJYWquPKZX/Tb0CJfB8Us7WzbHx6vF01ONPn/jSHKJSu0
8MhcoCFUn8uLI9Wk3vDv8iHdVFZj6cDvls9Ai+SEO1TeP09Xbm1Tx1Fb9BIEWQz5XPq2t3EPBzIu
uA9lMX5LpucTpsGZgHIzVso5wYrtRVGJSVXI6PB2uzQWJTq+GTN6f5Tfjopy0STPhqToOfncmeEq
PRQ7ryDovcCESmb77K+b14qRVc4cBjfjok5CQHvLFJzfyllfZGTb24w9fTcgsD3gSghZKhnVEYFG
TMhR3QNOK4MkCqwGQv4K1ijGlN0dMZMFTQBiaUKq4u/bIBwYcTLdELVz/sZ/a04YYjNzFRmcGKm4
HVk+K1O+8wRI20PsBPcy1CmgvTn9+dXRUgaZkgSS4F3AgiRc0LsO3SlsbqjaaKGjl0A6KOABP7WG
zwrGdwFysoxcD8hgFIo1uvXKlwKvHZPeu2jZSsdNt0Dq2jW/GRN6d8v9sYLSMGjHcM2l00nX9Xzo
kWB8SuE7UmCX6DuuKwAPFnI1rlQtsuKFUHuLx2bnZhWtXniRRC0BXIvUMkoA1tRQQvcuAAyZo7rD
q5mZQ7wu8xdC+CXFI3ls787vJ755tHih/olwDGmi21WsJckvpUH0L8Oat721txLsjlHqvi+yTjbg
/RM3HCjM6be/hOsDI2hl/+Kv5HW/7TfqqtrKDmCZjE18f7RRlqjZc6Vi0CJZ8S+lw4GUCxTc62JX
LiMzt9FidAxWwhrCdyxswH0CRJmlJjGC+m7TjTDbrf1DsJTN9CAc38N9sdIdJiZ9xi9vZpOKjanf
jByXqf4l2l88qM2doePthLtimbFmc5qtm8OaGhYVEwuR99zIxbC4pb7QHNDs/caFZy3Y/NLfcYzE
btYRr5xk2vRX4aRLdMmPUwwr2D8Jr+ln5rDGM+UW98MBFyJ2FnB4NHA1lYxYiXjJv/BmZ6trb9kv
Qf31hDrI4y11nw9g3vBSBnjNdPO983cU/TM1UsvgktmjI5qjFVugzduoVrQaTcnEZrYCB22UyxeG
4XvXmJR/8ICG5hA8+NPXbUDyVc0FUP7H/UHhjJeU+FtbyBsWXfnMlr61RK2W3AulF7ewVFvtaiSu
k9uvkl1tMsa5eY+eQz/N9ZAmt7lyC7/LAnechiTh2rT/aA9fjm4pu8HxT947HsZYxyhrCqlTLR/C
EUB12BsQqThTsxv0RaGiyqQYmDUEjilAqFV09NBg9SBO5AIk/uEFZU08r1vCXn8SbLRknuXTY7eg
6c50wJUACv1rikq6s2DUYkBuwkthl9vYKczY+midhCRLyBQuu5wMB/FJfypWyg9v13Dqv36jg4Sl
Ncv6DnWakqu1DBOc6kWN7+jW8UrAzqi3+hHvX7w52Knj2d4iWHVO8xat4pdwbywks0YvqrZiOtXk
nbeR4GZCaCZjXy90ZJj4kNyqrYqMlcmd6tevd1Du78pF4Li2a4f/GNA1dYZBRW1CAYtQoaC2TJSI
WatAC+/SOkA3SFvfHDeja+oW/1Rs68+1GR7zXfEqsEgz7gPrrV1qByVxOhWzYNf7lNfCRhTwnswz
XOw+tN7aoHZNn/sBcFY/uwYd4eSXarnnxGEdEdN5Qy8b2nDAha8AlI1s9tZ/ODGohwoCQ5dU2Vbh
YVB+uwMreNOUdz+b5doIdbzmrpCXzQAj/EJeuwt+3f28yVdOAIBFs3AX1aJcCuvR1haqk1mZ0y1Z
5aL7ywJ0xia65YkWUxFlylMGo/Yk0MjHFxV8ur3UkigyH4eEaT3omby2QPlE3IRhEYplfGnRyDfk
+0RPzXawuQiarSepzv75iQgBaDDVT54Panf6xSgUtRCaTXJ0qaRj35g1B6id7XUnTgJnmGArgCC4
Cb/KGnFRgvwQbFuQD7YydFPmW9UHFVbmPJ6AOVfCDQIiwfguPNZRrlSKSYOtKGKK3byxUF8drQSS
KXbUlp+PLd2XIbDvJ0IRXMwgDot9cuu13ajrmdrlyaX5rvbCJjG33qr4Ep7DnXBgmJpzHKBf0TuB
p0GQj4u3pvIorPM6KJLLGI+DaA6Zl/+RuybgzAaNUX+0us40yCHX4xYdVNXbIPaDasae2+1Uoc7Q
Ns0ZIS46FRd/VYraFAvG901Dpd3u+vuoqQjUcPC8ok4uUbbp02FrgDnDH9HCzgeWGP/OcCbISgrp
2sKSnv0eQIzu+PgTZmdIBWkzIMIgnqVFEhU+4LpkjJNLritrAxS3XAVCzX9sA3zJk2AfFI1weaSO
uTxJGg914OSi8zlAq6HomUbWGgwPnsuMwMejTRAiBC1FoaIE+jLQ0DIm6aW0Wmu0BKSz+kq1ZEDU
jTUevJcqA9lx/zSG0Av5Q0g14dEZohrUfSAVEpkDq1F6AeHrRASKHviD/ZkvltqBlWDOrBNMaegz
A0AKB+b051epgqK1RV67GTBg5oFVX52fuasfp8ZhuL2WDmWeXtyq6Z4MrhTflCEsj1zeNKY/rSwR
+FbVQbGs5fDJvBIg5AxgrGT2KmoCi1pPhNis8njCgvtG5TPW9v6tRMGVHAhhCe9mCFE0ErF2tcHL
da298LmpA1/io/8L5FLHwvtTo+sYcCjj1LWrUAzO6PgjRQNJ8eriNb45QGXKtSTONiTgHIptyaJJ
+3Hf202Mb0MVC6/lwCKiHe92afiRL2KVK7sLVywLT3By91fDI0SHJ89HK/i4HNLKjpSCJJoTcMHK
bYHbglJjUhAOWiVvvfFWc1vAVrLYURXbT5ax/91AE1h/0sEmhv+7KXeg0glagMzHnIBRTx1qkuU2
h4oWj0e9/I2TQVK4K/LK4t2vlM9sfx/8SdpFGf1SwzejIxXg8I939f2RqYAk+gcvDilQkY6tCKJ1
2ApKd0mARiCp2qo238S8I4fBdyUXIMkW9d9tw7G4ln9Oe2q+UQyV0HiAchDqetRZLQQgPKt5HWDA
/tVV+lXPO5m3ytLTkJ344CBpYMh+MfqXgEO+7JPcEOz8SfqlrkRunWz5c6hZoa6b4R70UrlnKsKT
XwHJuZI3su4oqiXshgAE2/1RG+zcDg6i4UANiOQl6XeZumgDs5CejT+iYT2e0Hu4LdIBYMKxx8GY
gPITlTSmStVpbsl1Fz7yAfAFc5D8BCr3SjU1eeGPu6bIoQhtaUfFVDeKd1a1XVH2RAsX+j7xiR+x
sK7SFDLpqb7+Isq1+1Luo8F3u0sbpERwusKJikNkmJVXm7mRLAYVsucWXkWyrbpS/c/2xfVJyR0U
3kzqN661oD/o6ks4427w7VGzxGSXgpOEswQAl91lFBfwHHOoN55V+6zT/+5tBfB6aDRDrgNK28Bt
UedO1EV5P4p9dFGI5Q720OPmap8HohxYRMl32RNliXrwiEQtkPO0iy6hyymrHprjZjn2utUJ4PV6
7CV3N4vJFHBVaD9B4QZ74DbaFK7exsU4QqWMWNrgtCZgMmC7ZN2R786byYyCeCbhOFVBRn9rptKb
MAYCG2YMIOqRITWmqNesU+2nZnzjYDCD0IFlmhSpQP92a0YwxDzRxCq7VGXPLVNPzsAqywdutBAK
NVPMbNDQyxPXcrkY46YpzViOA93soiEqSVvwwD5xY6DnZgp9qMFM3QEycS6kmoD9yoMqXIRN03r7
gON8n/Ro2RGIJLniucglA64J2aHWTNShikneQD3G5P2oQ5QtXQMFKV/tPmODC12nGVNfMseUaz+C
DKT1Jl8OGouo8v4YxmRIQKWiTgX8Grq6byeDl8u0SwwhvvROvSr2klUtfCfAE124/5SXcU8ahi/d
JzCURWqV1bZpx9ZD1l87+XYXSOukM4MVAtwI1QrOck9MfPFdxjsdlej2najowMZBo0WaoYxyCYAo
3DP2tdNVDtDFEHJrnKq16/RF3lS/fbQyIA9+vG3uC3QwjFZmdDPIODZAUHc7uUKuu4MQJMmlsjUi
r3e+qa5qe7gwgvh0+FAOfWOGmtFY84ekhhrZpTGT5/fzNwtQxhwHdfpVBigUvBwG3IW2qcl2L9kh
Mf85pJGaLuos4rV2zPNqGoddkBBhRid7H4AMk7Esc/5wvSzUCaMEo1sZCZYFIBgHQ3Icj8grnXim
tg7JP6XIgig6vAB3HTz8AXcCYfhbL2hLXi8DaTJndXa9Ev9UFmlfSqK+/n48sLvsiDJEuZvfj+HQ
5UFyeQMHzcYjoZ04DFe7f2WZbODShiCNwjq8+nYwyJHwuDNksOE8YdpW22h7PjLrsrMrdGVFvLUS
6kWBnjJYQdlBII6wRH8noCXPz7n5zbiMzk0asAMTdTRofvAmcWuqF/QoFgIvvXA+ect6MMCHHlku
H6/MzAGK6h5aXHg8mBpI22+NZKUhFbLU4CZF3A/pKV21hK8XZsUg3ZzdqNd2pnm9urE1SH05LoWd
t9Elxo54lzom67POagOfm7RrO5RLZ7HUS0YAO+5RNCtTfcKDis1wtbs8EJ52bYPyZuh7Nk2u1ull
4yoEfV2/exbX431ViDJBxTWu0lASaCpMV7wSF7zJ2dyHZJ5ZT6/TbNDx+Xok02xerQo/1pISCBhJ
uFLXTrmdmhRXWnmSU3L2n1nF07nT4Noa5dCC0ArGUGFQ6Eb4jAJifjMWZpr4B8Oh9Z9iFAvVUsXN
vV7JVrhm/PpcfnC97nQ3UJ5CkhLagOlFXUNAXLFVsi/N5e/BlEjx+nhbshyALolqpeq1pV+kl8FE
wkkmVZPCSrYCemWYdcEp8380bdTeBON422ZtOa0LEgFHDEnkBA5nMbyNsTXpok3YqT1XjnC22urP
EHxflGZgsTRp7gGAtzuHro1kcT90Q4SJK75DR179MTYrNGUqdnQeluJGxNXq5fFSsYZF5ThdyCle
PsCgFZz+JNv1kjUkxrahCYszN+ZdiYeBN9kUlvJXbLJeFFgWqDDQ5QXXjDw2pr7bjE5PcNlm7X3G
OUMfZr7sjXGkYPE7sHMUi9Je44pOGCfmbA7wN8Kgg+42ng0g1RK1qp08eTDbLWiyf3fOeqmb3Or3
41VnBIM7wp7SG+WklLBpLN8MjePWfuZ50hH5tfJJarK6XBjn5/1NQao8geem0OZYCmQ4zPwzseJ1
brKmcC7BuZ5CKhh4oie4Xv4TDCadD90sndFSluUG3Oq1acYmYx6ntOw/Bx908dwumVfpclZK0/aJ
yIe0CS3V2j5HT6xN9PjMRlvvrZnaLcKuHjB/KBvKqwqa5kvGQB5HUZnW84GSdC8GJXwPF9X6rB/8
jWmbOqvxnukI016+OrLTvKo7DvQfF/6bkMoZTROsj4R11D2OCJpMRYQ2lYR0UJFGdSaeOXUTCOAn
3wxMmbSfKe6n2nez5RapzbrQzdudsIqoVKEJgAqmkVf2HqoTiN52ae0qAs10RrieD0R/LVDzlyhB
x/NZnF6Ec3bizHot4aGWxaLPGgY1fUKhdCUPDghk1R8oxTtL6fDY21gGqFSKV/sAVRMYSEYSk5To
X+HzYwv/wdH+PVE0HMNo0C4zDDCx63RLNce9LaX22hxYGOVpLu4DwF87U4C4cmiQ/yOvSqMUNQL+
JbT0p+fYZuxNxpqr1CVnUlWSIeA4ebNBOHS49fY63zGM/IeU7e9AqMgZ5q0ylFqIEOPoiwT4Z45E
i8oK9/GStT2nD340Z1TQjLsykZIaV8NwuwHntKNLpDXfx11qLllVsfnA+XdUVOAUirrtQiXAq976
LSDqmTGUe9TPT7729/epHZ8aVSCUDdZGqNYaEURLUIiw5/Z4uyGJUxI7BvrpdIr+BKbWExHZFSMg
zDu6hOLxxMEHJC8VEUSlVXK/mR4TIeLVrwSiLQE2AnuYyTrrJg+4W7YrS1RYQLdnE+cK3mTFP4Vn
lijp+MSwNv0uN5eMZHuufDo9x/57VFSE0JI0ToIWoxrQ9gIS6O2nacfL9feLhCxFZPj+7MXrrzGa
sgC1sQ7lYBjzV/7ZLJzHoWg22F39OhUh9MLIXASI9PLyMfrklHydH//+bHhAKXSiXJiK79SyFEAF
gwEC6a/VW1ayHJ7DhCCzemxk+pG7tb8yQq1HnhdlLvTIc/QFDtLFM3o+/jsLEpX8lhxakHwPKbb/
NhIIqKCHnV8y0sPZhf47ClplGNSn/5v1nhZHhsfOrvLVT1NBWhwC4DgrTJD40i0UCBLIS8Y6syxI
tydNXudGhOZWhDJg62r77J7+yyFQYdkFyg0YGRiID63ZWTbzCj0fq64miYrGYEjrBl+Dq4Jo5/Qr
Mw+dxW9LkzEOhq/Sz12xUYJqSoaV4fj2y/hEhvn7v9oMdMj1Da4WGhEG/Mu4jBbbzCkXjy3MHltX
E0Xt6WGok0zBE9IlXnnPPBThGOfW/Gl/ZYDaz3qWc0U83ZPkxUtpSRvdn2IGdGcZu5oxEDq0anI3
hlGBbVHsoax7SU3WzXxmsQE3UiBRBNATD0Th7a5IChcXilrKkLbgZg6dHoekHsuj5qbrxso0zKss
L0dLuYF/4GnTlpxfAllBwAJPNQMrvZ/Z4zd2pj+/siNkRdrz02hw/19NEzawfHdmQRSAmwChB3GO
KtAo+kiWoLWoKhlu4o4YA87aF4wln6th3ZigJgss/WBb4WDC/Wjs7uUpd6rn3OYt4cWMfvuEsdtn
jr8ba9SUGXkmjHWuZpc3d+fwhSmDQQOaAmb55/GWZNmhtmQp6l0dV5MdYMyhmb033f8h7buWY0d2
LX/oMoLevCZNsaxcyb4wpC2J3nt+/SxqZo6oFE9l3L2jo7ujo7sLBBIJIGEWTqyHF4sGdSvhQzhF
7SC50VQ33g0yjRZ65ytSni/zsuIHlzKjM81xo/VaPNMBejLJO2YyYSUrogjo8p0bQ9FOR+/MNZpe
ELgJsgofersmOrZnEwnxIvv6ryWyfpCiROZxPfDbRJBSMAWr4dHiBNhqDg0I7JHwj6yEz+oJfXP2
5eEWF7SOpDaOZs4UYjic2ZnYT/7JcC/r1mZBhIoYRdkf2nYAkZhE2/1oTyfkSe4ZsRCTChWxjEpj
aAEPKqUtb47xvjT9e+HzfnxkEGKJjIpbhmKK0SbxJbL2VXDVOzt7+bysz7+7rQACg85rHoOaQDvH
woKfdjPvhb7qNXl+InvH+FRsx1168jZnzwqP4RGtEIfn4WE85Bb6IOzLtL9+mwqNf9CmPJCPdmUe
K/+QzAjM5L2yQqvGGherCjap7ctuC5T3EpP8Vb/rLLSCY49MJ5m8PZrADBme83TGCgn3GNOQP9Od
Zpc7yUlyolckPepHcRdj795HGZMqIulbJWFDC4me+kPmW77ntn5qSsckxeJIl3/19A0258mPemwG
wyu6DsPq3EybLsMGk22jks5n1EVXnC9QLRTMVmJsAT0/VMzeZRkAwCsBr1/BKvaTQu5DixGpsEhQ
d6HT8LSVjH7OiYumox5e71iDF2tR6Q8uqIsgcaI6ig2fnfOKPJW2aEo+yRTI8YY127tmrX6Qou5C
i82NulqBm9qOtkViPgENsTLLxJzrLto2ZfjGFTv/gxx1LYxABGZ+CnJ7/gOtUMLzZdVfMyE/fp9S
fVmXk2ZCx+h5ukKVX0NHV2BmxH3IXfH2MqmVwOgHJSqmKNG5IPkCKI0b0TzWG/2P+28EqDBCjpUq
ktRpLiLx5pt6XTEYWLGCPxigwodBqPMsi3BVkBreynaVkFf3k3HcrLsyf8PCOZV9KPZtDEUOMXPn
jK09Si4r33T5INA1+JMGNuRWaq6BRvt5zDeyVTx4jE78y5ICOPdPCrE0NbrH4yS8+5x0594gZm6Z
DB/LYoO6816pYrtwCTb2HRL19/3/FpNsRs34j2H8NYGTCPUglTyqKTk5hiSybrHTkzWJwWKButxA
0c/8oR6R9+FRlEws7CtmTPWtvBV+cEFdb4/L1F5IZvMR7tAn7IistnOGAVHpqtMQh7XoeaDA7fnd
ca6aAEprcO59izX7evluqDx1v3nk6Kdaw4mUJdGJ6aMToXSZ9n3WfioW+CEx6pYXuaZIcYMzecLb
SoSX18zyoD3sGCHVZbuu0kAzGEHLpUwGM+dtQ1iPEIak6BAXWi0bUYIf5zvLmUj6ER6bkplMZkjq
SzMWtipPU7nuA9jD3pScl3muUiXhdcR67jKMyVfJfUHGk7VA8XIomEIch78z33ObYXRXKWDxF+A+
ZKxo+PXWUXXgI3QSLomGbqp8IsoN6d8ZUdBabzXmMr6pUKa9zqQp9A0RF8XViFUnbonsg4MluhYA
s3PiobjdbXg0FecILOKTunEbjOK3j5/2K3+1Y+VRV03P99fQKoJYPJQ4HjzHJH8prWf0VzOkuqqE
CwqUE8jFPPdLDxSahhgmd73vcV0ve/xV67YgQbkADEMWmZiBxAOOTQWV3COXKbCYoKK9CMUhTm6g
40llOSHRD4FKCpOhGgz9+6qkLDQ8aYNS7HsQUUjQkRovD+PKwVhMfr7MDIsO5QzkVq/DsoG4RvOl
mhwDQxGmrdxfJsKSGBXmVYMe1ipO5byvDg56E63qoWKkp1i6SzmCsOuHOO9BQrtyun3ksiwbS61m
FhfnUatabpQ1zgODxlhnDHDhu8syYhGgTIGRTahrw/6fp7sn5bZ1mH3Vq6b5+2J8PbYXHMjREMTp
DFEP7P2tQZ7i00BQ1kx2vnOZE8ZRfA0KLgi1g4SBXg6Esj85ucJND98Zd/xrO+4vh7zghbrkNde2
aivgtEu7sQSHNxXUlbC/D4XmEDOlXWVqN3ZF7t5ZzfAMTaYX+ily0M4zkLMQBauOyOOuJ8r7Zfkx
riSNEY4dSsVYlKARbXtbf/gjbLTN9PFv9uWrAr44pEFvjSLTQKQ3lRywW5ZgPlenfyRC3XvJK8cE
sCu49+UDDNgp3WLoymS156xVlZdelJ42hINtxm5WOGswNhiH7cxtcy6fYkd+28sui9xvtIX5FbBQ
PsoURLXX9V0N5XvqDoJqh4fjGVOI1/GA6eJhJz2Y5jBY4FOI7U9Mj/5lZmPxAZSpiFo/UQAEMCvh
0Xf9nXynkzvN0v/mxfZNhi7dyt3QZ8HsrJ/4zX78alLBJGH+dlnb1/M0CzJUTDAFWlaUHk5vgGtA
H9z7q2dmG8adWqteLA/tKxJb6DsPYzFqAWSGXtLexvoiDws5gWQKUB7xGJEC1oOFHcPkjAoUQi/U
MBwHAVpNRvKIvCKPFjoulp/8owjln84p6KNylEOIEK/S9D7cPL5mpnbNyqgxbB9dk0t4ztNSQflq
+R2Iv+1s/vYfGaEMBsYph1QZQOKYuo4TvWe1YyZPl4mssoFBxrmzBluh6RFebHYvhyrXESkA1Pk5
B3ic6oZ/Y/gWNKgbWsShygkJaGDzEZbHm8JOfhr3rCTqqqP4pvLLo5eKgoK1Osdu0bN0gz78udlX
Y/Cy/ppfkKEuqKoDfUJD/Ha2RjO4NggWdxNh15zcy+fy1dHyy6kv6FBOHZsbdL/JQScuNlil+uKR
GXWMmDYwNLe7U33eR1vO0Xc10fAiKgDUi4lqxhN8PZW7+AjqzubAClWLcGZWzPf+DRYIqXfwIY8B
4TapxfIl6yZiQY66uVPgYeB1hKLsjyKmZS2hm5tkxA2LrdXgb0GHCvPDNO/TvNbmpx0qE+Sps/zd
9Pl5+QQZN4te5VqlXRL6PIhgDK182Is9wcsIwyiXqcw24JKa0JH+YAQewJvRkgOgIdJjFc1fxfoL
Yc18LnzFmKXBWHazIqpEtjDc/P5vHFDWIRQbjDf1+P0BsyCnjNnWMF+UCxKiHTeGwMcxViChrzKt
8+bb4dZ8jWwWGsLaZANgHv5jSunGq6AXkRXjwMjc1yCaVxNB1y/WvTH7/xmaRXvvblC93PPBUUoA
/Gy2JLh5aDEkzF0F18W24jcdqsIY29HOl0+KYWHp2XdO77O5DD2/wo077qo7Ay/AUQOLodKr7AFs
bO71Q5M5LUfMn1WwrwaMTvvQ7OPtfWwxrfiqBVjQoKzr2Icx1/egsVc32YHfCdZARsl8/bt3po75
XeBVAjqKRj8AbFYc+lhEjrN6SM4AXH7wSQjMFLimy4ez+s5cEKJsmtqlbV3y0UxIwz4XTAey2ozX
FXxBgopHsMl5EpIpntuQBESno12bH4MJX24FhJVlXtW1BS3Krg3NMGLHFuTWxeYJqH54QYSWwYoZ
1j3Oggxl3IxJnwotApmnyZoO1+pVe7jJGWm+dblhayem+KHNWFfw04LW3TRiEUQ2tzp0Tv7avyIu
NWtrzInsiBZT5eYI5JfB+yanzbq/MNh1hHVhHF/keMxOzvgAlEJyPZnek2AzPNy69BaUqFioNDKj
ixRQ4rER+yqwZOxlSsEQSxlWdXtBh7qtWLnachJWR54trF7g4Oc4Ro1/lRMNHRpYCDKPqNNF/raX
u7hPK6gb0CRVc4475nQzu5N9zV8vCVEiyzxvUFOvma9pfAqxMaurrObwNpDSEv9AI+pDeW7Mvzmo
JVVKgDzXePI0QoASmZ5SvCsbgMx3yAmxCM0/ROvekhAVMA5Cxw1j2uZnDXnB5Fk2a3KbkcmuTsWO
kSJcvVZLWlS0mES8nzUlzqxxEMGNtjDfKqe2ClgL1tKKNXO0pEVZV2VsoYQqjq2b0XJdTHLkFuD6
rcs2XGBpx/zvF1dXqyUDi71BpkC9c0YdBq7pFTZVQOU7s7GxhcyHGWTCwrHIUsYWPbKC1hj1bKAm
p9oC5NCSX2UbvcuNnZyGF+FBZe+3X7vUS5FSpjdO0L4cA88QN2HKSfsw2pqjOcZT/xqYPgplmm7y
ip1eM0eNmIpD2eOwkwZdqcBuBSljgM0s9oCQAXZssWGCUcxK+N8vxK/NKlKaqGIiz4rjiDNy+sER
DqqZKjYZ71jasxbUfEsUYEs/tQfP7IhrMCYDJU3eRdsnf3qr3Xr7G4aWzr9ziSfKmvR90TdqAjpA
IXpL7cD5aOzsJGKJBDOmZrFE2RNjigu/z0FqcmSU/7FgCIXtDF2PzOBm/qVLTFHWROFkkQ9KHJSm
R0TpO0eSPkb5xkDxMeOtCnF1Zamd2zcbo30ti+5/DVuNPCoWpspfOGoAN6aUMtHCsArqcW661FAT
kuBM7QIv/sy8fHrr1+4/dL484cLEIOJWOL/9olO/9I5gZ5u/6B8FbCYQsgCgrmPAiWKF02WuSbRh
1kPMPs5nxh2VV/YWwzU9xM5XDbV6XsRYGGVB/N7gah9Yt0Ar4E0ng3ZcK5v72Hm/LLFVe7GkQ/Gj
CPUYdBroAEf/D1btknA7OsZGQPHZt1i9/l8HQCvighp9QEMoy6knghqWCpO3Yf9netix0JK+qiaX
iFCmYvL6qgxms9RjRV1KpD94zlnqSIBlZF3dTpaD1+u1v5Vle/iM3J2xZW1rWS1TLNmkjEgS8mLa
8fiCqdsp+f5+f+OfWsKTU79F2KUztH7Nwy2pUXbEm9pY4yZQU4A6gERG+9S8XtaStXu1pEDZj0Ee
BygpnIr/it66LjC17WUCv3cuw0IsKVAxiCaOfKPU4KGyxBnUZrIy9IFrRNmm5Ono34RmQnrnWvat
4d62XneZ+cmykmtP8+UnUPFJy2nG5CtzyAW8gRiJXJF8srDdWTSoYEQLU+xymUOt9mFb2I396lss
Nlbzmks+KMtR1lkz6sqXOmjYfnpGF7HtWR26Te75vXF9+eBYDFHmI0h4IU9n8yFdOTOZwRxR+LhM
Y/6NC/eZTn43fu7VYwM/iUSQ+CqTFKvbsFuBEWEwdJyuZYvjJIZDCCo91A7gzlNgnj7/jRHKLGTy
UOscB2FZIYJdEpuTGaNjitVXuGoPgBepq4AulBX6SW5EhZDnHZ+fXyRn2sbXsnuZDWFVVN8E6Ed4
wWGZc1hO4CMLbEfdqeYAEIiIiDmp4NVPWWUy16XNJuaXEixoUkY9khI/0kr4XSDCmzlRMaw9R7eq
1Zm8Y5ZX/8ojdVZimRdVnEKIiN9lk8NSRPE+cWJTPXfma2BzW34ecO02DC1c95AA1xdF3GFJopW9
6wsJYJsC0g6bzoqeazPgSX7eRQOz/rEWfgLa9j+UKIlyMozRKIGSIkLjG0chxyG3pk0rMseJWKQo
Yfaamg9CIM4eyoms+HjYAUKfXYWdf+a3jnxzRDlCwPmGeirhzOrYRboYu59lIv8RbLOfHJZ+sGhR
LhEBbVZECVianA6I41EASDnJrK9uQoyosHJEqzXt5VlR7rHulSwFkiZGfYDAJNnpwaiQCGg286sE
LYP73EW5zAw2ly/6quFdaAjlEYHKOuR8B6qSvqnrh6K91puNcs8n93zrpDy5TG21+oh0JfZ9AXMZ
yXFKpHGh8RwfS3ilXG0dtNv1x8OA7rG/qdguyVCyxAq8AtCG8vw2N0grE2FfvKhvrHs8357fuvjN
DCW7uAF0vOCDGfT0lSR4modBDx7RHoBueFlu66f0TYmKKVqs/J1qA48e3k7tj4Qc5ickK8ZkHs4c
CCyeVpVRtH45H46VHI6ZBYR9eHrJZl2rdd/1zQwdT3iazKkByGTXljNYrV3fl1v+bnjtSWRWVstI
X89ffeGU6PoZl2DlRO7hFj9NGSlOBbo7MybG1JfN/kVFxg5zoJ3Oa6Zn87iQncABfDQooXEzlJ7g
PIWW+dCGZuxKbuCIZ3Tmb7vbxPZYSriqGQu6lIVH+4OsFgnoVqhovJT31+X1zWXdW5XfggJl2At0
MUZKDQp774jhQxN2nXFCLB4omz5i6T3KZaCArSup658GD/BwV33t+v3fTO8iRf59TpQBUrLKH0se
tDDAZwm3PMk2N6xpw9m6/NQFgHjLmBEXsPNK+zVxJ8t+k+SG3J6tLcvNzp936ad/Hvflg/0d4v38
TOpglakdA3+SWiCq1E567B2TVXBlCYI62B4Q0L0vQxBvt9esvlTWb1MHqQ5NqrYafjs1mXvCVt5X
P0VD+w/f4FqAabdnybqtLcD12Acfzvfu/e7h8hmszAz8pET5kAKWkOtmEcVkC9TinuxhMO5Uizjm
3W222b9YuG+2ZWP00GZ0BH4Voi8pE+VVPExUxlUHBTg6L/19eK/bqfkB8Omj1V3dBhbWvW9NN7yz
zda6c0+p5Zm+Y2zfL0uAdY6U08HW2IjvKnyEc4vcKMNv/nY1P6VLuZq200d+1PHjA/lg3fKVtNry
x39N2emtotS+r7Tnh9jmTummeEsIMNyje4tjbVC7fO3pcbt/ETj2Xf70VKLgTZUizgK/Zhwl6yup
615yteeFJXT5n395przwrt3USoY3mypgR7MaOy8roErDNo4cn4b9iK9WCCGMrPhKnvKnjlDXO4vT
JjRmHQH6/W1t2GJ+f5PcNg5Sytbh/dACN3TcH6SHRjG1Y/AWDCQ6RCwofnE+0v9+0X/N1fWCN2r6
fMewzNqUSIyti85hzmvXJHNL5+l+JBvX/vxHdaBu9qhpWcfxEOxATMZPSyxVoy72UKDxM1bx23iU
xSWJb/LNzr46jOTWtG5acnBfzfe7dm9urBnbbSdFVsmKYxmfQOW5L9/J3+uW9B968hWaLxQ8DASM
c0zgZ//SElS4I8s5etuKiMT+wBaAy9SwZ++yQnyZtgW5XjQmrU+gliXZWgbZDhb3FpP3GCXT2uXI
tnIwVpiSvCSybMWnIxpklC1nbwNnvx2R3hZ9Ir1dKaenJjNbcX8eAOqPbbmpfVQI75PS9gvbndx2
81RvrnTelv6oNwK2u21krPDdGAcJ+/RIoJMQyyeHXQlkC6IfhVugghA/QFtqsm0T0lyrnwK6KLeA
X8B/MFnhfsCmTqz+2iSHx08pQoleP1WWcFdnVnTdeVjhcZsdisbOHzQnNxt8LvdHf1Wir46IKCP9
RnKwW7Q284OH5FK6EbDv43idz3hpH0d+2zibwvkwiIIJ1y0qZia/K+1jD6Jh7A5W1KKmjZSG8sbb
0364Kkl3d6XbgYlENjaRqWZgFU6kk6dtSbBgGt4sN4cr9PA6XEO2jrKBphqpieeoCdhgibweNi6w
IG61TWjbmo2M9NG48fdFhjLGjb5LbUB79k6B0nnypmCD3kRGaxBM40Pbi1u5IUqKiu/pOrDygWzV
cO6bUvdI0N00WK/Ze9a7gukMnZS9eXjl39LN7rHcn0pLebgSO7sjd1ifllkp8J6kLWfdeLviXjsr
BQHiKiCNsTTI5hAabwA4LKCuoZ663hpd3t62u/v8La1NZRNYpt4CNyZ0tBN8n92YWgEkL8y1oUUD
OoJlAvGE7J23tQv3ricSMHGzz/feEq/c9/v+UZEICXaWuhu3+i0GLnbolnVJ9aH2ZLNTofwTR5qj
STJEHqYM0/UHK5rOmkScCqsrog/NNLbRCa0uV8S+q0hil1ZsAemrw47jx87ssMdpF1ufrQAYKLci
2510NKebU+jwRLit7gNYwDMCX5xHdzpt8T87PSkGCA2Zqw7fYvkmpO+q7ycFnUGmjh+FJDjzKbCy
t2njAJ09wz8K9j4lDnYtPXIo9r97dv7WA+I6QXOuTHorLGwjsU/uo5l8yJurfH9qTXAKQAkNJeFN
iP0o52JjXAvCPiGtFd9/wMuN0PyDdwB4bHF8x6AokQvyzrsiqd1Jc3abZJeTW+Pdz0jwGVrjk+fc
a9dYWV3ct6i57nKMHFu4aDwZbOTrXSJtdlsuszwfWhnYrZkdUfDemMr7a2wCPVa6nWF/dq1V1yZx
EwLR/kEmlNuekoaMV/U+sauYEHdrlwCJNyzMTPu2eM0h3omvCuKOpgfZfMJWAY+UNPv796f06iF1
hpvgGL1a2eBMLo/L0CbHnQr+Lxu0NTerAMhI1mRJxpAvbT7VINI4LvQ69OBKDq7+QF7C09yQkVhN
SvQr1Zlh4I0tjmoXou+b4Y6Y9KmYSphqqUpkowN8pJCawj48n50QePqtg96h63xbIHKWrg2Y0ezI
eEF88UY59x+8U1GXmgYRn+mgXY7k5WwAxSA0PYIspXtZyCvNPZhAWAh5dogLp8HzvoZxcK47P1mh
fQTqjXQqn3BZFKzz1dg1rt/ZtZ/kqDeYrzfJpFY406Igj8/CQ0T2goMLwGJrJf4DWxJWqkiipAKi
7idbYtEFYuf5/dkgqPZnvAMLiVH6/Bq97hHwsMprJoLcSgVg5u2bJiXKuIza1NdBE8juWQA3iN0u
ofPZM3hjhSg/Wbt8/Kzfoj55kHIx6gpEKNYt4yt/p39+xj7UQQd+LVRY5zYH4AaJbeWkALi/JzmD
jMiiQ8XigCDLuToBnScHgGqEHK848+V49m24OuJi2dLD3ubJ3YPLwldc0bBFPkj9qrUtLo4f16WQ
zq8XFLNYrxdWJEwPQGn6UPTc/Hx52HeOE1jnCH0kGXk8IwBxbolrb5XN7iEgJqDi30dz51usdpmv
HnDKAv3gjwrGPVlMymYAf0+Wdbx9v7pyS/KM0NLZ5yS10UTpONDz3Nx3e8/Cqingv/nEmlAcNT83
N4Np39k7eX8H10CuQ+v2E856u/twP048PNSjRI7HACGYq9uXNfprkvTCd9N1OM7oagA2IAoWnCvP
Om6PVo9PfXEUt8azAcNqqSORAzYY5lesCj7jNn29BxYqEU0CllHPaZ/UtFnqJv8uxf24UF/PwcWP
q32QDeX8mLDOPjluZ0lvTPvtjJaYgCBMy6zWst5DvAVH5HTmaE2xTIRWKsHTiZHb/YLxvyTknzbo
f6RCTbhYxMdg74K1fbp99G/k7dPmaG1LU79uiO1uTHKHv2NyBm0Fqm3jA82Ne4clm4DJcFnayriM
dAWKCzRd7eZDB6IiyxXPvNC8Gkj/S1iWipGJX64kGP20SbE0Fw+WSkAY1D/pLsZEOaves055zZot
aVH2WAnQVwZIuw5WM7Q7949H7uazvHxF1oILrKr+5oiyzaMXpvGgKkB4Mo/x7VtqJq+YZmAiwK9A
AMAbLuhQttlI9Do3FNDR8ODr7RfprcJKEKDdZgAu59CSjy2nxL7/rJzLDLKkSKVA2zpChTf5kiJv
+y8afM+d1hNWUxyLjP4zxggiY5zCAuxZiUeklHh/UihFght4mZ3VTA8GdbBDVDS+tvz9JKQEWpx7
g44Y7ShgeAv+oHI5vDgDNAdVeEWklu/0rrZNPmaEhZJx2dcqCkvq1F0XCqkYw3Km3t7e1tvMfr/M
3mrKdUmAUvoxqSuhlkBASJ10tHLNFj3z2d/ytW08jJ6Fo2MtLvovNIEPqYmagF3n1Nnxkxdzo4FL
fTQAT6TuIiTGG3uyzez+r7j7pkT5UQ7bWlspAneW9xBNVm3h8RpbrcvjwDhGZnI1BTTP+v0/tmjn
BwjxrOpCsFVYCumxc1Ig3pbHpBIg/DWgEhEGc2tOaUnvZ+Xqf2J5mPxUAHPJ8+Qqp40pohAb7Py7
y3TWnmKwJN980U8xL6g9OcRzCImU3JUtqXM4u9ijlULcp1jQlRw9xBV41+8i1NDVU6kRllFZC+9/
fAN1DwJsf6mD+SBHJIxiu3H1g2DflW//LFTqPngRx2E6HYc4YocO5kewSse5109/Mck/m+dvoVJu
IBLF0ujGL4ZmFLsUQAu9g+1aGyZH82367UK/KVGOIFR1eUwGcDTvCzUAndVhPB3Tc6d5es5DrBQh
TxFioJJJmaWglCvIeK4yDGG+5w6gK69Vi9v4oChcX1bQdVfwzSBlTiI5yLjAx9MvxcxIvEmAufwa
MruJxFnFLsmRsiWtpBtYuYQTk296ZFSx89cEgDAKjAUCW8P0nBBQo5sO1nOXHLmtf1W7rH4+xlHS
jRcJV6eiJ8O3jmZ937bAjFH9wlIDu/M+/9cyBb6tKosiAi+A3FJHl/ZjUeUcmO2cpxogYRUmD+5Y
vnU9/7GgQp2c2hrT5GMb+PnBIIEZD2QAYqtPaktEk0xih45/N74xqa4c5A/eqIOU00SSUxlq2Tlf
MSXeqoKNXKSzY27eWDmwBalfsz61J4Z+Od+9lPCYjVVs0bpjteBKLCKUHxBUtfR9gDxiuMLYZ88Z
8mSNK9vljXE73ST6PMKMfjezQKCSu5/VjegeYL0zsrtHjtSyMIJqAb3G4l2D2WS/FoX+EADtO/J0
zLL5hCFrXjdL00Avz5t3uP4o9o8FOgCJ6o6E244eqmiXVXjNZygCmkENGcMzWP9O0c4U3o+jCHZh
NDEL6B0OrwUzPPyacKeswg8ilGNK+6hHPyiIlHZ6Mk7yVXvv79RtuVHs8CbGTO/sE0+Z7e4HpMI/
WzRkfWY3HFLoZMSgBSt5sfa8+PE9lP8yYmUoaw3fUzlH0eZlshns7tSgQYs1Xs6UL+XCUk4rWrUG
Kcub6zAxMJDv74xn1otpxbz/4IjyXzz6bRMlAJnjm7+71qEyPVHty7qyeoUWqkKZO7Et+VIeQaO4
9g6VLTs3eMMzQnkWH5Sxi1Uh8vkG2ddjdB3af7hNhSfY3/jcH9KijBvGeMSo4sFJadd2brc2mrDh
3lP2QuW1MH5Jim5oT3xhUOB4+zNmlIm2l/Y+Sm6n3GnuiyOLr7Wkxw9ilJEzJvRCyxykJ1wJTzwM
yXGrofopWA6GDV/k3Xj0d4mlwp5Yz+3WzF4VNzc582BLMoFp84hZbnfBUUIdCkUw23NOO7d7vqxF
a+mvHx9JW5ygE4tklog+YFjhMZRQ/MKss9Y7eecG6qaVSC5ZYbUBZnwkXIUjmRQzmMyKN5PU9iIU
j9A4PxZ2FFjRtKuKm7rc8MUd4zPnz7hgszTKZkWQpNo0KDvwprdTHv398FX53Nj8HgDBbkRMCOjt
vQQgSug8MIivXzVVkzBkIWN7DXWQg6qOSh7gIEezf31CrbInDQrmmRXu+mOio743mcVE7PAsX8Fz
tfi3Men3hlVYjC+ZKf0SA3bAqghzdPHXukxe5CSfw2ZJBMZRh0S5gDI4qrcf5fZ6cEOMMj2j9nYX
EXmPKTiLNdS0bqm/iz88ZakzqfKMoMOzSmrN+AOLR9MtLukdg8tVq7OgQhlpPy5UIfMhbt6s3jkz
fkZWnoWLu+4JFkQoE50AEkrUIxBBJPGgYkgnxGuwP/Pk5vKRrWRDlvUyGs265Uu+kgvQAebwrXgn
4QXoXqawbtQWrFBWeqpSPW1m9YRT664+nhM3txixNVNclI2WFIz2VhlojNicIbjFvtvV72a0Ye1B
WL1q37x8fccia+0HHWpmXxoG7R623K3qdMhRXZbYutFTNElWkSCTkaPFNVtQCWU+zNoi7pE2BbaI
92DEprRHrwjCat1JXPN5fo+J6M6SkSVQHqrNO0PF14PMxRdQOi4Hid9MUtCfn4aMAErQ33V7A50L
81hdRPh9dtRPwKHE5uVsw3xNrBrTBXFK90dDkrkhBvGhxZD2NiPewSadbTOM9lpbK/qfNVWRsfjU
MGSKyTAKWilQqh53TEanQhfiTAGmYQ4ZdrEdQ1felUSZrOaxjUh9xhbBfVHCbPERwCLVx/gOf3UL
VtfYqnVZfBTFPEo92qQmHeIm7GxKYlM+3wPwv368rGLrF0YXJAy4CLIkfO2iWagYds1kYYIFIudx
N6GS9GzeMwsNs/h+OQMdboDnVUwb0KvOPSxFGAJvmDnJntSXvXyTXKnb4XZISYZdvS83rEbatXyC
gpF4CceJPJCsUQeaY35d4bykP4ef8cO8d3bOLIfmwXn8c0IVxyfaUbiZ0HdzF2yKiDBEOvt4ml+A
iqIOoYuqIklUxDvmfD5EfNrDlI6Yr6jOsQ3MygOP5a3D5o41qSzMRuASOcqshrlQhHpc9oCbwW6I
8uQMgPD30H1lchuFBYf2Vev7RU3EXgVF03BdaOweP6v6MtOhL5U1ONG5SU1fM1VQS1zbPDw/TwgG
82ceE9HvDLGuqZG4oExFN403eXnY1f3/hcVHR9VhzmxgBe676IikRIaP4RLXbuCSIBVy+qPk5VwL
VgOPHKVDQpSE8E7DMvJrVg6qakiaNmuNSqlLF09TUgFAHN1sOpGwDrDMzFq+SQvsMOZfB91ROcPE
qJ1pAOspP3nJc8q5o/YaBSLpil0uoL0x6zqi5q4QYJifZ3zgyqyfghbr7w+kFKwW81Aq5tuEq6Q5
8c4n/vHDA2TGs2/yblKyYT/XgpElRcqLq1HWSboPyUtAvit3SQ2rXEtzFyLnPanq9jQdDRSEArND
jA88Ciaq7Vr8KsIm8oaqGoqqUR8QhJykjRE+QAFe5eHWwFDBYJ44Zh533VJ9E9LnPO/C/Op9NU7N
rGMPQHbHUNRTTGTbcLI7AdjlOxmaYJ1exX1hthmJdsZ1c2TluNaqcDje//BKvxqkTuxivsQn7Gc8
827bf5TH4jHbT5t0+4opUqy3d+3IdqONd2IlktbCKFFWVUxXCpr4CxB3SjwxSYoRT+pyzpqh14/Z
z7IyHA71XdCgzlLWE/Tg5aBxbK6z2JxzKTsELpt75CUJWmg4i5XyWL8x3yTpcpUnlEU/9lOPQrSy
T/EKm5tl7WsAtgdHzhK25Ruz8LfqdBYkKevoeXExehGcrDWvNatvsLEbmGMYNYbWsMFgVqkpEpak
KqpsyDolU35KOmwpkeHSt07Im5kF+CP1qj80L9FuZCR3Vl9zyJX/f2K0y/HaFPgpNYg9aMi1oDYs
YH2TCGCihBUJrmbNl6QoKaphEgOrVuzP3qZ5B4BUcBK1bZ07+KO0A5TjhntlMyHt2LeMSstaiRPb
c7+5pLyN0Saj2qcg3TgauYpEu2kI+iSSmwY9GegKZwVJq5HfkuB8xgvTk2ZlGmNfyZxjigSkGGHg
ALNGOLQu/o3nVtR5oZ+ka6JKhbIx3mRjaihzAAgoE7RTzW+IwfwjWm5gs/sKVh+aCBRkEW8w/KlQ
2inFKscBgQZWZZDQCKy3XDcRvoqnKzXFDmTStbnRWEWqAYS088qwJE1SCRUWIeqtanut2HxKnCb8
uSwGaSb7K3TCyK0+b0k2xK+Wv4XA+SnmcqGPh3OCJ5tsCu3TKO4SiQxtT4wgd3RgyiQvPABYBUzW
6LfR9KeNSSndJCgRJU/Kq5Ggp10p3xLhRsyIOD4idWfX1TGXPlOxNBO0ZYpvcUFiHo3hJM5Mtfo/
pF3Xkty6rv0iVZESlV4VOo16gu1xmBeVw4wylePX36XZ91x307rN8j7241Q1BBIEQWBhYT+3R1A1
mIakIr/puEGQgygbnFC2qEupp8QctXT6hJGDqfE6fOQlaEm/Zx+159urtr2ZvyWJhbnapFGjqpCU
Hm3Qf6MTI/oxT6cMs7Cwey9JvE+R1RqPErEbBVYd1bn/KPjejnixWWu0FoGcbEKrIwXGDnU6zT11
0kz/VqSzjk0GVMPGfFZTiK3SSVuIghrypwSDTJf79lGWC3t/bYhWdylBOAyWppQZ2memT2YJvKoS
Osbsz37D0Q6SnJZgsp3hyB8q5upf1fiYx/uwQl8LhrMkTj8dQM/WuqrmEQ2jRcczQT4thbUu7lwd
rWivnDAEcjDuc8vrq4MtfUptxcbwiRrRGAWiShedojaSrKhwkTZe8XYeFNc4Vpi34rvV63CWh31b
Vn0pTnCJC2djo7Bx9cHry+38iYMSzPS/rHURy3/7iKSpNMmxZQGXMoUczxzqUwuk+oi56cgjPoAN
rMR8F+NYgLwjyLzSQ+x30GWUPJuB56VY4YnMq75IlgViS3BZgw/iARQKcEUOGxHdM2+NjMhhBKCx
vivvGi89lz6qnJL00pZHXJMuwIAZJsaHC7ZZ6n1YWC1Z4QU/cs/0F/d7vpf1W2zmsC6kiLk6nuIR
F9XaiKNcOz8eFAclFBej+jqn+5gF6Z1Zy1osNgPAS5FCHFF2ag6KKCg2++x1+eTtXrwhYF70OOzZ
IfsZ+xJvtRWPXcoTzsmkcAIkJ+SdK8xXSir3dbnPMOgbBZn1ffZLlv7ceovrYHKiFAeTYDD3dezQ
KVlVzANCMjaEuRebeKFOSZe7ygL6xtu6bdvIb1HC83icQ6LS3kLKe699bXWnNj0TTVoKyHzV3cIk
0javGx0Uh8wEebQFCM21ZlFnJGHMoJmH0Lb9UJ5CD9fLB+MuleIDtxfxtyjB9/fDrNAxRVg0Y9rm
dJxrJ/SALkAJjfte+1E5AjQgM5Sth+2lesKJI/UyJQA4rw9b4vb3kf+z9xZAJ7i0fM9WGxAvngtR
4iOoqcdWUzSIygvYRedSFnu54VLgsJZT1nsVz/3811ScyzJx+97r/HH5mlqLM4KDjJ80drZHbwyR
ITwl7VGPIpiy2/S7sHftl97+lJd3oeEP+c8u/tpWZzv+tYDAhB/mbBeDYyzyS7y8mlAPRvZA2vt0
OoS5ZJzp5tsSSEuTmrbONLAEXVsLEseWlYOF+dPXuxdiuCUQnb77ZHtvFdrnPClI6T3qENf0Up6w
fSHRynbQwgnc3DNQkDa4Rz6jtOcdPxw/mO6j/+WbOTuu7uaHU7cHPwlGJ0cP6EX4dftMvgddf3wH
sB+A2amabjLhO8oM4265Nc6fvn5FzmIBgSp4/ZYDoAoT2kacwPG/p0ATDPuPlVvt3zBZHLXIu6fb
XyHc1mB4VxmISEFeQgxDV03B6QEJnc/ZqKdBZSL+HVzshLt8NifNKYrFVRfbvS1PMOj/lQc6Foph
CRqkXm/23E5WF2HGQGBnzyCW3aXpyUIOqrckegl+4R85GlbXwuRXS2eiC0raMLJmOw0U9hYriKyA
cO1UReIKNqWAft02LBSWiM6utYlYNnZDx7OgbPOz3r+CzW4XLa+3l0wIbv5R5ULI+hEXUfRcF3Xd
L1UWMLT7zvUbQcs2e1wKj4+NxHOv33thkn+IEq4kRSnqqZ2gD6iFMcK0J6VEgHAR/SFA2BbeZkmP
kQ9ZYIzaFwoWPFC6+FPDjiYeXjFhRyuc/CQ1G+f2Gm6a3cUaCj4mnEp7ijgUi9rwV2dmjp5MvxZD
uVuIVktMXEyA/KOkDqMjpomnumjjDRiCzAiTjYOh81n8RCaXGI+82FnDA4++WxR5iOVsmrFTGeeI
fI0KNKcpozvlspnBm+Z58SFCBKVXtjqyER9SJalL1WfVyJxq2d9e2k2bQU3KNEy8yeHFr83Tzqpy
jAaYJ40wwAUjneLckFjN5u5diBB2b16G2VAGWE3UxveNoXtm0+5ik/0qWkOyeZtLdiFKcMphXbJx
WLVJ2jdSgTosfq1M//aKbcvQGfimAS6l4mtcrxgdydhlQUO4aymvjYXueVndWyZE2Pvc7oqqx3kL
rOVJCTOHDOdhNiWrtemaUPL9jybC7TEWM+bW2RCiFhjUW+0r5RNYSt1lKN0y+vZvVg2VSAs1UBU1
pWs7U8kwR10DI1izTHXzXJnMaTKJpW2umqXqqG3iqYxxO9dChqQYh7jqs8Bsw9HhYFU/WFMZ7roq
k9UMZKLWv1+49bHMKQ1LrF3IP/Mes8nqJ0x9kvi9zcNpgfLHQuoQgH5ByNwA+xBqYxa0jfk8LtYr
GHskNiC+0/5xd8heEaJTk9jikKXCjA1WtHMWFGbUO1k83FNW3PEi96Ku3yVF99jhmKpDekbrglsP
vsGjxG+T2Mu0KBiNUBJQbi7sxfcIe6jSbAhjY1p1np1yfGr11yr7fNsYNzySTtA+TixAxMD6Jji9
hg/Qs4ed8L4/TMRK94ZaIfObI3QcieylKOa11yW+Eic4wEq1yyGasI1FNe54A3cx/qALebbI+IU3
IBvOjxk6hlDe04rC5xXQalSyzRuBoo5xM8QiUBhIGu3aXJUJwH4+Dwh10sYhbeHoSg9g4OLHKp4a
YH2Y/v5euRIobGNmxGS2myULOlUDd3NtIg0QcksiZcODXUkRDkiLcReMY5ROMJdvVgo2F6rvRyNy
qsy/bTHio/ifPbxYQMF/Ic7o067EHs79h9h4qhKMutDOiPf1xwxnhWFcfHPuMBOgHyRO4P8RrQGf
o4G0zLaEvWMkt0jWarjUjI8Zbueo2pmJQ7J9RhPf0meMEA7PFnhyDPUeEaBE/MZ5xBKjBKxqmgY8
hxDyc+A4Zp6pWbAMhZd1eLZiHFL+4fbybgSWOtFMHVVQ04B1Cve2VeWWRq0+DZK3AkMLn0J2B1S2
ky+BimivMF5vixObzv7Zzd/y3juyL7x33ZZRQ4YhDeJiN/JjHGSH+KnPvX58QJHEycGJM7206qcZ
6Bxa+hF7bdpfVH8Ic5frXrSyzvj0QdmDAua//DLh4ldtnXaZjpUwcmdRHe1buMdVlhziwP5YfYqQ
kd5bTxRk17ZD1nqHo8c+IY88LNwDsGnf7OPtD9q4goDxg+EzUIngiS98z2SmnT0ACBBU7G0yXkpL
shWbJ5jhH2YAA+MnAs+UtIfxxSQNMKn6Lh4/J4OjgsdHf8Osj4fbqrx3fgrvoxWvaJkGThHDjXrt
BCs1op2a4LVMUexTvoyFR9lntQNNU9PC9X7CMDUvZ2ZglRG4iHZ8eoj1Xd30noLw3zBeJlnBc9Mr
43WLDhJmUKYLH5TgQ+PJxgf15GQPe6MCdxc4zneR+tLzD3l+V5uoTVger/YJe1a9qn9Z2CHOU9BS
5ZJzvrnRukUt7IRt2/q6URdHwiRxtoDZNQ0mo3R1/ZudSC7dzTN+IUC4BZdGo9yeYElh+7m35v1Y
T0fNOun1z4ZZ3ybtcw4C7ds7vum7LkQKboWmsINqgEieP7PkFAGIneSad1uIWEX+x5mgeKWaNjhi
1PcI62Ll4DNLmhYWpFRp6efdYvgZpjPuMN8Hd63ddbsw4YsTkSnzEnQZ7AeaDJKLcHNx1xqChpQJ
MOfCMS2MsR7jWIEDrb5rX2BFPt6tnGTADC2uZT7dVnnTbnGObBTs1sKaem0rA9HCqAih8cz0B3gr
b5pnpx0P+sBP2eNEOmmDBn7wj5N7IVA4KCEp40abkA8aunO04AFBZea/uYCodWq6pRkW8pjXKmVJ
RfXMSrJAUzInzb8XvUtbl/8wMj/koDTQZbH9tkAAq9ZkGkCuwr0KHgM8lDScfVOP4cdZkE6Lz9Lc
jwrFTXWPET9mkXt740QgyT+2iucRMrVQFNzX12rWHfK1aRRnQdyNuVcXNHHNqTK8HtWafdGjFAqs
8+IpublvdDs9qObcfJjtKJHY69bJROWE6jbIUXG9COGhxu0uyXp8ByjxcG256pfbiorDa94VvRSw
fsDFoYw0ZaRTif009ppXfI/8cU+/FgdzF//sQFPzqXRTgFgCcOJ90F1NAwVidp8egRxoH/K/HPb4
x7cIsaNJ8jZPY3wLQhpjT0viU+1t0Mdd0Tw1/QsNgziXONvNoPFSf2Gjp2VQeAiSyuA850719bw0
3oyqCsjU8J6DWwCOWlZQ3bpBKOr4eHojlwTkwPWSj6HdsYnkyFlkphPXb6rx7famijjf/13I3xKE
Q1o2imZk60L2bgyMLwommAkUaAl6UpOD7WuHNnSSOZHcIhKxGhGOajeTvrHaDIm4wUkZ/66OPlqJ
++EbL4fj1D2ouRNNnyP+HOWtsxD04hoSh7u9naphI+luw2WI3XCsbnHFII0RGF31mg28csyZ7vIU
XWjd9JCb+R6t2nqcuEp0aCP1pHL1IFn89QoRfTBFnGZpGnZAFUG6c5pPFRqBkZOn8WeeFo6Rwjcu
ilsY6kFFkxlRJwd87W6fKruJ/Rt/eSlesK58IFgAC1eAbgMLHFZurdcAPtOYrSgY0niamUpu9k0n
daGxYG40TfV6qtZLtf/OE/RsIhEXEdn83K2LANzkIJdTLZNRMXxIeFeSmYZpEC3gUCVALMZ+M37V
ohdSBoVe7zTWSHIsmyGLRnBOkb9cJ14L7jfL0MkbtwQeyWwRInztJtvL0q9JgVIvx+ze5hyOy1Mx
jJL7Z8tFaAj0mQEzwsBIQa6JFsYaPMNIBWeGY02IamXP1dWXilbKTPD4E1A2oEYlnNVhpHObKXBC
lX3WAOQrks/9hJpc9Hb7OKz+85YcMeCK1S5WIiTnMUHKy7swcbVcQ+Cs9rhWcMPiPZHJeqK3wq5L
3YSwq1uqhlgVcqhLtrPqz9Mvq3zpPbUZnXxo/8VOITzQTDQvWkgbCesYNRjaM6YNXG35poTgx9Vf
bi/g1uHCuwf/LTw4wGpzfVvY09Qo5oI0+vIxbc/KFHlJ10o893uB/Y9dslGUtuA0CTS5FgKizSiy
cyQvuqRTD0lozd6clJ2HOdKK2yoaPcxjpPgTTwBuG/IehEQddRu91h3VaqqXfMieMtvyyigM3dgc
12hpbvypbCw3bJXCtfNIk6z81sIgKEJMiK8G5EtYmAyNWGlCFIRG3eRm7dGyHGMwJCuzKQRocxR+
cEb0d8DQRXikoJY/JFmdB0viVAWeui+se7y9wVtnHRcWzqBKEBOI8MGkD1E8j5M8yJHxp8MbL2Us
XVvnAa94eBKAD2CiYozTthWLCZRArshV8PYo2shtjTPcda+iVjZK3Obmol3IE6yJcbxfLaSEgkh9
agq2G8rRleamt5RC5I9YB2UZhuT/tcnG+qBz1WzzIFXRU5TBpdDF18nk26TZ9WV6YK2MaXNrpy5F
Cr5MH5S2TIcmD6roO/LUHrFKiU1vxi+XIgSjtkmud0045kFfD+YezXaqm5AYjdd1He05XnZuU3bL
viJmeVKSCskXDeZSxMD51p2NNsO/t83Lz9GuFzlfcqU3dWgc47WXWWgBlyEYtm51jNelK6vferGv
tnRxwHRrZLVZdnnQlU+4fkKPpmcjKANFd0PJXJAts0RIiCHyNnp10ABxLaozrDAvhioP9OFOVZ9o
Hzuq8nx7wbauVRMwZ9QO0FZPbeHiztAb2oR03b/SdgeOyU/asadom5edsc11w6UDOIuJYoXo/foG
lHQDZ3mAI+Iu07Jn5CXVX2Kun8K49JrZ9ONM9vjfNE9cE2St06wz/gT1APIBMRc180DFiGky6k8l
H90kRyus9mkcFl+bvxRm5pop6qTx6IV2LXs8bcUTGEMFvAueTzZ6cK83EdfQENIlXPWOF2ctFznG
wlO3m6zTbHJfAWf+7S3dcDQGBsnRFbyoGqoleLOFjWWpTgUqsgo6FvM7s/IG9jAvmKeYvySy635D
PwOK4UhgBqZhvPd5X5yHkPd1PObY11gN1OwLn34236vyfpGV9rbkmCsgCiwTaOV9Z/q4kJPxzEQZ
2MiDkd+xMMgM/WFu22cdZPyGSr/fXsKtdAoCCwb2UIbSKTpCr3ctsxPLHFZprVmA+GOglVe1YNjI
mtRGeRsIPbsYTmNudi4GTBkuidm4z/JG2d/+kI3jCfQwMzQwEq1hjrCXdUUbQvuiCJSmdofq59J7
FqLRXtYVuHE6wa2BSoCGYdsoSAlW2tEy49NUFUHDkOQcO6e1jvVRs126OIy9cpBs3VZsczt/CxTf
vWPZ8jqmq8DaS0ofFfblC+lONPdvy9mqDRiwmnW6t7mWSIU7EGc9HJoQK9imB45hCG/g6mFeF7sW
8MMfIqQaviz76Q1TG3T3kIOzWRItbe7ghXzhgqzSpJgSHfJTA28H8lGpEo/ag9Oli2RJt849Zi3i
1DNojLLatc1qER0x6EXPgzL0FZLushSdNLoR78bSPvC0BpmYrcoOynqhCoG4gUvQQq4PcDuwT18L
VVcOPSvsisAE3vd+ask3GhoAT9hhbDtjXlauVWXFLswt/b6PlmqvWhN/njIee3Y6Lj4msOLxfXvP
N+5NA1UksB0QAA2198N94SrYGHLVCrMi4NFQ7JYi790khkMyB1UG59kyYwSp784PUA4RZdVkVZOC
VDYPzOXVaObTQE6jh8fcflBkwJQt/BruEIaheehPx3xDwZIrqiV0SHgR0KYZ74fYDP2QEArsYRz5
4AxIDiUvLT8BIsCd6QjMB24Jfxr7ys/HpvXpyAdAIch4Ny2YA0HaupQs/OZqGPDQNoY/aKibXBtD
p/GCzHNToPpalvusrLS9zmN7l5VG7i86Sx5ZGPLj7d3eOmAAeq54OhP+Wkw9tF2iLR3QmMFiAvRt
ao/z/LUxSOmQUKbfasyiseMuB5uGxlSGku21fjRPkmjkMPaqOenGU17KjvCGLiZBqWIdWIiiqdh7
wDUMW1gibHGlfxiSD+hoGilm1MiGSm/sE3iJEVISZB5NWMG1Hl0SIZFCZ+xTjPvUQovT4uiT4sxq
d6ynn7f3Z2PRTIDpCEJMBjw1EcyW8sKOjJjiNPKHtDsXXDbLdksAKL7xsIZ3h6ddF/XiuE8tz3Ka
Qpu2rCw/0yhm1bSdub+txtbWgKwGnSjrmxdVlmspGRr39SGElBcg6Wy0kaVOLuvQ2NqXSxmCJgav
Vt7HVROghZDiyvwCXfLAAcjA/RsecmXe+T9lhIM6w4znvIegHiUDbVpcOj0jgfn37uBKinAhkXaY
i7CEFKXfT9WpiRxmHZfSTUpJIUa2bkL0EqpGrYwMgsZ5vxBXe6textkzZKdz09AAZdGRVzGQllj/
fmFow1xrms4tDIRmqNQ3eCT6qKKpklXbMjQdHkAzUK3XUBa4ltIWU1+iXF8GpA2/2+FjGJu7MbMO
UV5JTHrDCgDLQTYVzwTNxMjra0md1iQaxhNgf6ravGtYCz6+mBWHhEWa/9enBwgEiFhR/8hLCe/y
urEm0O3aRWApaPStn6viTWvRRNFIko9bDz4Ue1eCcBtDZACsutZJL3hlZpVaBGve8YPCPvcGGOwD
sHo6o3JnuYvmjt2j0nm39dtKvKNdRIPzxjxl6Ch4uXgK1+hCKwJSdoc5znw2fLD5eDeCwsSYonOp
N8hg3ZmGIpG8YS4AxuJlpMP9oS9cvVY46u0QJSwY5frC7ZjmROW3CePZ1OfbGm7KAS0OOlWR6FfF
91elNMZUU+xgVKNldHLK9tQ3Zy7D423ZpIolxPwftL38cTVFLaDZVZ/wIFff6vFsTy80lniLbRHA
ONgMHEZoBLhesX5BvErMggeT8sLNlxi4sDF/ur1aG67CUm08INFtsKKsBDOMi8mKU6N8V0NHGbEt
/s12XAgQPHhZkakx0poHjX0GwntZ0ADanKXVkK1dXytYOFMAoWCM+vVaVRGteKpVPKjpGZhdzfTw
QgtljmhLCnIIDEUr4AYARruWwsk8NOA55QEd7jBQ0mHZjyH6mpRfb2/KphikeZGDR1YZWLFrMcqs
kqbuex4APbwv/BYMp7XauXYt8eBi69xazrb034LencXFRTGbWdYo5QAL621HszofAnd5ljwhaGyH
u/Xdk4y1k+uf0hxcmUtkBFZrnxYQag6vxP7012oDzvMeHgPHhEDsWm19odXcxaiccf7Chm+h8UEx
HhP97y+TKynCZR9V/VhSjkJ2bo8n29czsJRWsobZLTdr47mJjnlgVtGbK9wj6CxTE5OhegXERTmb
GCSJtawJGEnzkw76kgTDCjUuIYTYcBgQalmr5wMqSiSESIuK1imYhIKE7GPQ46XKI+0kF9eGba70
cchSUB1zYcVpOCjXYkprP6PFi83eMIJQtSx3GRquQvQ637aH1cyFV8yVKOG02Q3g6bUFUTM5G+lw
l2CyYEOOyHm5Cn+NW36IqH9b5Gpit0Su2l8ciFDjpJ06YP+t6bn2eHlnmobTgneQzrIJzTLtBGuP
mwUMrSZEVboffp7r8jE17nj/0hiPdfYttCvJam6lCm0kmFHphGWAGU+4gHEowmamAMQv7VNKVKdR
YnDx1v7CNG+OY4clzli6qokHQ1Fbf18iuBIunAe8UQuqVthLlb+NKnWo9mT0v25v3lZMdSWEXe+e
2cV6bFmrhsifpZ7xXaGuCWY24lixYxNnVkB2uK91U+JH198VreZyZQVDxSM5mkcO5ehQekPVe5FR
S9Zv9Uq3RAiGOXdLGJEQeIk2dsc9AIgGWMnao6zAL9NEMEqTGsCJRTQLxtNukoQz27+9zkvE4ESk
OIVbDR2UbRnaWCXkaNVAdnls3WXY/P/7eZGhqmyNgYZrpT0/zs9sX7wWJ9vNPwLB8tD4p1JxZ98+
rkTxt41OopUtBB5p0bfVyJBJVLqmvW+jsPVDqkgJJtdMx5/7/1s74fAWdps3eQHtgBMHZfQ6K7Z0
GQbYyqadbbmlFb+rU9SikKYQLAAkFh2NMh2Z0TMKPspdDFLl1kP5H9kXydLJRAk3Mco0Gm96iBox
glizRzeKLY82SDurX9vumPUf+CzLjMlkCkaokLlp2hoyS9Sym3EHUJvTpLt27g/cvuvJq60c/4WB
/F5QMYcVqbECp8ygJd1n3R6Nurd/fyvdChg0Ag08RFYCWWEZ46psQx6iO8fUXDv4UN1lJ8U3f5T7
1vmpgVbrAzkwTLO9LXUr1LgUKqyjxUelH0wIbbzI/yDj49y6hjGVF6lLBrQh+qCvHbma4OWsMBtg
Q/UbLc+EkINRPOPxk6d/X/XA++q3JGHxQjOmNE6BdTFrr0wm50cN38qK3e3V2rS6CynCauGBNeBq
CNeLCcOix8qd9LulvYuyZ5Vjilaz4ixkSa0/HRNymWt8j/cd3qK6oBlXo8QC/TsqgwA87Cgdn8aG
yMxgI6hYpSA3S9R3nI3g/ow5B79bnucoj02Gkyu7dHBrTd+rA3Xa6OcMWjU+JXfD51CXnKs/A1FI
Rhr9PZkKCLuwpoivjd7iwN4MFGPWVFRMtNSLJYAbiRCRP8VoqwTxNJANTD2Peb4+XVvtOWQSMRs9
sFfKiMW/fEpIvqgA9uQ1OZTR17Sv8LjM/Ayw0qb7otbPFFkTewrmT2mxH7gJ/AOtDrNSSdq/Nq0G
GT3U5Al6rf7og1MazWgKKGwU9xqKj/ryfPsoSASIjW9aYTdVnZfAcYDyKeQvqazvc+PphbVcyUFW
iOdaFr92Hpml9UVjYi3VGDxPrb6r2kdOzgN/TGdMg+enfCJONMt40tbzdH1DQ+yKO0faHTen6IZn
3V4jkAlicx9PsOaXqjwWSeF3xPKk2MXNVTSQ8ABkZD1+wrGbUsqzYVqFxaZjKo94TEti2j8dPNRZ
iy9oVMOT8p277OIllIa6Gi8xJGSxgQgakyrQB1mWshSETMyq6IUYJNAA81zFFIBYrYQJLT/Pev+v
lFmRqxaIzpCCvJaSNuiP7sMFNaSiXVu60U6pRJLwdqPJGhR5MDl9zW4C+iE8cdIcZU9GMqhyzwoH
TQ92i2fjfdrvmfqit5obhZ0bzxn4ScDZLEt7brqQS/HCSmYAHidhgYNlYXqaad4Xxkc1SVyLnJUc
g/4GT6lAl9K/WKnud2p9MEEWWYBDzDGklB5/Xt9YCYqMPTJYxkpQdL3cmMxqhQXDCWT7uvkZJQ3a
yV9TdJbLF/3PuPhalHDLTVGuK2kNrdOG70MQkEf3c5LtynF2i8QrrcKho8t//r0Pu9RP8DBVaHTD
PBf5mpg12XM5yO7u9QdEXwJcBLocEP3gDhe0qhtSErIAHUgIdtD06+RDFD1H7GDsp2dFkZyOLc+l
qSr8PRg1wcMiqJMvpOJshrQkGuIdrcC+Ec7KDMFtdjR6MwdZKxr0TTP3bq+jRLCIrTEbjeugGMeJ
Wesdh2j0cvpz0vd69jEGCvS2sNX+/1jT31qKLtNq1Co1Mggbk19WcQ5nye9vhQoXqyjCydMcQNK2
WOOR0nJ09hzpkYPhcA7lkmBy29GoAOqtqT4DQKjr42WCvcYk05AHM7KIY/dWRN19FZ/bn6VyUrWf
irZXtdAnYCActBMY6W+v4+amaWu0h9QxQ9boWvqK2iv6Hh5bQy9rdEQyhX5ovc6tx9fbgja9yIUg
Qc0hVViV6UB8NtPrwFwjSLnfYggJWtD/O0Grxhd3UFrMU7900Cj9Fu/iGXMUEjShSJ5pWxcdwBhI
m6KQCcq21TwvhKi1mVZaBW2m4gVt7El75vHbbT02LRBFyxVSjwtIpGmwyniq7EJFxI+paIVLXVmI
s7kjFwIEHQaAZbJJhYDqSEEBHrmJSyTx53t7zB/H9EKGcFUrxMynUoOM8mQ4z8zJTgBqnx5tvzq8
Nk7uhhiZ1fqN+4vjdeu6lvtV29X+Gzsoki/Z3LCLDxHsnCxpnmozPkTTj2l3T8YdqT/e3jCRFRXG
gNvrQoZg4qC+atK2hIwmUNG/fFffZd/jn9pbi1GhPgind4OrN071QfloHWqvl9ARiMMd/xAvGH6f
WXFBF4jvfXMHu3cXpziBlKCo3OWOOYpjuuUOiLnIST9XfoMpuonXeBjstqN7/n35rP4oflCfHlX8
5fbKbDoZQHBWGgBAGEQugL7ItLRXNDjr75qnA/IY0INxNJPDfydGWAAjJZEKVloEufmpwPS88a0B
VQw/aPUvoGr/jQe40Em4ZpepsZZwBZbrU+R0IUYcIZWrScozm1aLYaDgsGc6+JQEq2WhnStWDyFm
/Iy2PcdQPrfNsLu9bBuJdtjthRTBbmmBtu1UBVrdxN4kvdeHB40Fo/5tMF9Qeq07ywUtXgbYaiwr
Cm06OZtYaFgEwBpUA9d+VCtDnightiyh/bSPFo05s9VQjxZNzZ3a0mQA4I3mWyiLEjxew+/3reD1
mBV1Y8ItvM3Z4vUYez5gEBa4U3XtPFYYeFqXboNgX3/KIhRvMqAomMRyNk/DxRcIPpGCJC1SenwB
cUf9S5PhPPJ9fgJ4w0xlweD2+v7WVjAg24hHvCRCuKQFHCXx65R9VEJwgKSfb9vQVogLog8MiEI3
L15M4mkwdWD7urQI9K8xphWZXmt+4cn8qEcPatf5aq3sbgvcaMjHTEbcioCOA9eDzrZry5lUHTxJ
eQwAit2wUztqhdNpXeonwzCCTiwrwA9lLDs88ZNjP5exj+Y95WB3bf8wZpXm0hKTfsYuVD6Vdvid
m0WPcjky1no9g6cBfaUOB7GDPxQ9+ot4b52yuGHAKE322aKJfQcYa3S8rdPWZq3U3Sgxg///D6bI
PCqVFhDSPFCsdodsrFN1iduRzG+sv2cyweoxHfkGvEnwylWvV2/AIMnMANtroONyUhs/4rWjEMke
beZuVmTk2uWjgRFSsIq1KTBsYziW6Wf/gt76co8C5YQIE5yyrcRVbi7eb1kir1TZpQw0zDhVSMzz
+qSXJ50eiS5L7W29UAGRRUyG9xya1gWVCFsMM1px9Uukhu4yzpFXWcM3xpfEtcvxe5r1+Y42uctY
AULKYfZv28hmivbiA/7Qsxo69IUAZV55SOOg/+WT6tpfhh/R4CijN/ybjA6ojSwMHUWd+Y+5b6pV
szIi0LfAbMnSnXe6LdNoc0mBoQYfC9pqUfS7tsWEGVVbjwp8VOOB0W2564pdzs6x9mR9yTBU4dvt
FdwKe1fI9n/ECbddOuUJ8NxwiSjS/2ryZxoO+0itfKNIva6TBGWrOYjxL7rc0NMDRhbjD5KDqeuq
xjaxW5riLnyn/Mzb6T61jrqVPgCl+mUqdcmh21QPbbKotwHbhGj0ejXn0KyHNh6KICs6L6rvjB7t
ZWgBQfUvziQ32VZ4wgA4QqsR6DnIexLr4hXU9Jk60wwY+LJudrVS+aS0TyUGpfyLHbsQIxgIhjYy
q0j7VQw6hMp4P4DnBMgiTw2XU7JYnUTe5hlbEUtr0yCYuMUJjiQOwfVpoktILT9P3SEFgWXDmwOL
gFfHRAle7lG8iuuvXcskordig0vJQmyg5jFKqEZZBEPktXqOOWyeHk37rlVOMDvXHp9uL+3WDoLD
TEV1GAGR+p6cuNhBmiupWjO0TtD2iRuJy5NzUsookLdM8lKIEHIZE8GsihBmkpuHuKROmpbeCMr5
bN8XMkzfpkK4Phl69dBpIHarUKMpWR/rQPwaBXMHOnN3UUB/aepEptamKMN454aABiL9m7m01OyH
EWapDRhmQJfZK4l1VAHYl5zp1cBFL4I2hrUDES8BFGqvz3SpzcYyVyFQvlblKP3k9fFnAgqyrPL/
3hxg9NAFtgCvpV0LwvwA0O9raJqYs1MJQl1yTP6NKhcSBFvoet5ZswagdNyey8wfGrcIj1yWvd86
Rpd6rFt3YdZpRjBMjUKPRN8pS+aNwwfCnPrZCrlv9cOn26u2uT0XOq1/v5AWgxG+N1dAO56Ck78k
Ghole9OdKjPeMRMPqtviNpSDHVAV72m00QBEfy3OSEedpwx3ShtPzrycRuMHSC7V7sTr+yKTOIgN
3ZD0B34T2D2krkUSJrvsy2rs/4e0K+2N3Fa2v0iA9uUrKan39tLtGdtfBDsea993/fp35Jub6ab1
msjcJMAMEKBLLLKKxVrOmR1SuR7rPebBA92jHY9FY8GWUMnB7Y/+yi9vdL2mGOMPfoausr2IaWjN
pGW71QSewS74oSshjOJQXBg0ZZ4GiDOnrejYHQC1nZWAXOF48SVBqLOBhHGG7wMmyfVqlFGbRiuG
vaJyGPiqIwyvupCQVn9FtzHnNCxtEJps0fCN4h4appmjLstjKkTgbpnjXi92onwLgMep48S9PCmM
6oxCi6V6gpRU2mqgrRaJXD5EvGBzofllrpNgqBMkYVAeWylphRJYKVWc7VMZRV3lbJrIWLUqbn0j
31u1ulfqTwENZyJq2b5qfsaiugK9FkoagbRTMl4RYCkzAiwZ9FsAXGgGXZCvN7LJxiZTMcCIepQT
DAExTbSRCtVByn2Qpt2rCVUsu+2efQtM2on067ahf8HJMH4f4tGXiz5gzGNrjLNUhWYc/BoN3Vkc
rgpv2/ebUthVgYCSX/eAW8f16xH5mZpWQytSLXvqxRLsAYdBB6jCThN+eYbbxqu+PWbo6e2lbaf8
ypDUEORdKK/SZmPycH4WIHIA5zA3G2AyUkRPMaOyKhWFNphqtO4bdhKidqL76wQ0cxjwCShokzRS
+KMjSBM1hI7gqzqR5OEx7g/SAGa0yVjhuXrX17wX76yrb7oEAy4wA1QNUFGzV71w0uKgd3jzoklb
kHPfGRAkrwq1bDhl4wXLN0Xk6zHKrsyDHvP/v5DiD2oVWEWIhrRkKwLYWHnDe8ky7nkl8IX5cgwU
IHE2v2Nm/G1GUCt5tapVQFuwTkG/7YK/jOwlAzBOrkQ0Ee2qn3ZD7d9Zb1H1q0l/BWF3auWK4O4z
xHiN0XTOU2DBQcyFEIwko3kIY13M9/Q4CgZayWc8/pg2SfvZTvJqiozHvuC58SVRQHjEPCxKZmA4
Y7xr54WTV85cBmkY22awkUHlCXpwamW8rollSXjYYGAHW/oNtEqdQlMt0Pb/3FirvjwW+vPIa3xa
qhoAsfO3ECa4QwlXyPq2RJu/bNqJZ1EheRfMjGq+djSGj3oVacgmjJ1rKs0p8Go78NaN0rk+8sHY
TnSCCfvm3zfSgWl9nmpFaWseW2G2MxJMvSomNARO1bPkuWG/1YuXgTe+tmCTV1IYm8zEQmswI4iR
gFWx5hzI+QsZezcxDo4YduabBkzAtSVqUldPjYcW26beYhA03WrWrjJ3n7dd9ELcAjeH6W88EjGd
y+avR8ArobYPADrUAc2pIOjlIt7jH8jAdWihtmSi05oJyvUKnf7gq0GOXD5r0z71MQXMGydYOunz
dOl/ZTA3zSgmqVdWkIHkLhomVRrFLmwd6JeWfXs1S3s+M0sBrA+XA+g7rvcFjqIr9ADNoGF+VEPg
j/s89J2F+Bh8sL8lMKfKs9C/n6aQME5rcUBDleUCBQpjAxiM0DTOchYVh7FswLVgqBVzNNfLUYYK
iuvQJhQ+aqEzqkimgnP7tsqWjjJQBvD7c7YbAL/XMtDVU8mjBxnSs2G+l49G+1T6mPjkRK2LersQ
w6Q2jQxPT6OdO+1eBXR7Et0DGrx4Fo3HmhclLKTFECOA+Gjuu0HPJ3PccjnzzSlD33aW1HeGWp8s
XzwmOuovZqSfJUFcYXYfAyzpwLHXhe26EsxEywKQQZKwgMeR/cGuVRn5/ZoAg5aoYsVxQEtrnLlu
Zw4CtHKzmWJfnQxf6IBvOiFmnKSN1X8UdyCVkJ4UsaaJLru3T8lSSICqwT8C2VcHciltnDQICby8
lO41o/HdSMnioz80qZNWbeRWidyQNpYwPeGBA0pB1wm1hmqkIYDASN+FnTsiYX9O+yTUMaCoZbkr
AyTSBenYwCnILyXZrj6XtRyAryqmDwBWM1X2gfUUlOF95AF119uFFqlRu4lS326HkZjav3/UWrPr
wYFGU9Y3eogYk4mxHEBTGl6CjTSSTno3RZRXdYHju+XZOTPX0MwehJDIBBorpn+vbdfLstIoZAQr
Sg2I4dIxo4YMmmkDLHWt1Dsl3fngokNNkNZmtooCIhluVv6VhevGs2yxWFngQByQPgZI+diQyCqe
lZZn+UvvnIuv/IbO2Yy1n3h5i3mU1OnqF2TMyDjedUrrCgDJRSP4zwBMklm1qbuj0sb3t0/uguNB
TzuYB9F+BAxvtnFMngqhDGKEWcmMHPagexkVCip1I/E98CQb0v8ojzl5SdHHwtRjT5pwjxkjovTq
xrc2RQMCVBT/hD8Sh248IKSjhv/16L14E4RCYA6xAeUCopQI5pOg1EQ3eiKA9EOQz61fc+6kr/7y
b4fuC/hkHs/HvX596Ao4s0wbQS6j9aj6djFGEqOQBEqzrQQdLKHg1ASpZ/ZURdU66UU39AxqltNT
OnobT3pMp32hKABFju6a3M0t11fMH7e3fMkPg+d2vqZRpAC31vUXmnrpG1WIMRq569CfIWCwXzYa
t5BHR5+UkTNut+SKofpZ/Qi10YNyLS0ojFbOQZewj/PcUcEPn6EPR8dMmeLflyDArWv515Tp69tr
XIgN5z1HgzISZ3Mt4Vpq02RAY0KHMICTzoKRkWlYG9PzbRmLesTY7jzfhd54NmGSiyXm8UvEn0b0
1jT6PNEwQ5WGPIaGJTl4CAASbu4TQbPg9Vq81K/+AyIrR9vCGgnIy2nWurrPS2fNP8Qe3UtBjL8U
5FrJfB2BaB20blr658F8AINJpzarofIcpfZXtzW4EFwB0wrNU5hVnxvwmbOB5pa8a766f72nwVcP
mXoQO1qYxjaVeXB3i7KAwoqKOICWAF52rcVc7Du/kTCOYYYqMN771skBV1pYxyYO12Du4uEVL96x
SEL8I5A5gpXXJGOqo586TD8mwU0C9UkS38HYYOctHfyHKVJtD2YONOI/0KqOEuQMRwESE+bNkiVW
Vw8tRqTUzE6IqtAxsFPeU2KpddbC6wvJHMzcAa+U2TtAMWt1pKLVszIsf90Jc1t8XU62MbUqykum
sMp0L9llcenvdL0cnMjsHgLJt05hKWsHCdgIHNe7ZPPgzp3TsWipwuDI9Q7XRhdYZdKjV77GjIX1
aVYPg8+LLBe3FeW6OZmFPzDwdi2lbAy9axUJHURqf+xBSJgPhq116VbydfzZrOTQsmtB3WrtQ9xM
7u29XVY70HTm+Qt4U3aoNJuUzBh6Aw8FPwHzmyd3djmGiSMWAR6PfdlRuL6GqnHm2VE7mJh5GjLa
6Hi4dm0h7MUJ1MK3v2lR7+hhQ45JRw6cfVWK6ZAnoTb3kbUJiSODTONr3PJQrpfsFztrSgAcnMn+
GPs1raxu834GHa1Le0LzhyNGhUW8sI1WZZse6/Th9rKWBCLJhXM0w7jiJr/eaEsHWHHXYR6vjvRD
2r9IIkafD+pUbfUw3tyWNX8863kvZTGHarJ0b5jmQas6mIlhZU9w/FE1OJfi4tkFLyR6GfH+x6t5
vmkuoqFcNZPet2CzkVUWLgBrIicITM8FJhyYXMd+WGtiOzrKIGWOnkyWRLLMq/ajmeqr2wteumrm
kSjwB6DqhP28/hIlr0a9wxz2Xp0K4PB2aDj0AYztdn480EQJGlAYWOc+bDqOk1i6TBEGAgALs7AG
XiHXgjO/DNTIg6Y75bNCwt5SD3Ub2eYf9Dwj/2VBDHIT+jcmiEKO60H1sEC0DCHIMdV4jTpBaTej
z3vQLy4JmTYdrYYiUCIZfz92uATqAjebpqC9t2oOsQLq3/gTz3+O91mydCRL0Yo001PB618rTy1U
r6/ngYW0esSQPgnB8iWn4x/4ExA3KUD+xclArvlaCkbKARTbocaaI0o/4Lnw1CiBsZ4s3yO3T+GS
5hAjIpctf7XkMSYu54HlayYKrNHszkti5Mch+UsLOM/tRbVdiGGse5yyLkxMQDyigiuHn36vEYtX
dV9cylwFQPEHRAPs5BEa/ePmq3/Rqh4Cr7ABu2eAVy5I326rbHEtv+Ww70UU67LKzHD9hXU1E1kH
IP8oYo53WHKHeLKjjDu3SGosSh0cUxHjIoE7lBRAJaW2h8N2ex3L+votYv7/F66wH4VMaDI0YRbe
KvNMW5XvMUgo/kETOR4Gv8UwZ9lE/FfJFVaSoNNCemqtTeX9ur0SnrIYVzpUVZv7mCjbS4FJhLKk
vmhwnObypv9eBWP3HjpTBLWcobElA1iOVWCbGDYDbvyfOBgLwQ2uXB0jjyzHB7rPLd/wIKhVY1eR
35QY8zHm522FLW09yoPANwOiI9Ies0Ivtj7Xg8yPe7REwRwt47XWBIJxH3uIGs4xntXC3uoz6hge
vxY6pVl3GerF6E0WAAJ1RIbJQ9i9Yb4+B9NIIPysBt+Rhn8dsqAPHKj3aJzDf9/6EcoYXR5GD+OM
B4x4jPeTWRPRRy+/HG/66uXfqhGDa5i5+YKsRPKIOXfxUAJwJEO/QJ2B6PJzzPdF/+oDK+u2mO+R
AiCdkaqY8YUl7BbjPIVEnia5QoJKXoUODrdTOBJNODb0facgBOE8xiDAYaOyyCJibqSWVaFjpAe+
hy7appi6VVfgghsBe6RT3CBgWR7Xt5e2EI/NcNVAcgQsq4HsMWNXmtKPfRogFQ/o2ihcacqn0nsR
QXMbFQCBE6sxGcKcxtO4F71/bdOQjcQjrBqqxdT2tRWEiYgsUIJKDS7XTaEAJrofMDrKs4HvxnYt
hvGzah42qlnMj9GyJlHqNsj569Kjbrq3dTk70mtbu5bDOFpdK6VswhD23uxTJy7RftsfeqWhw3ju
RR5N6Hd/OAub2Q5xYBA7MBGXVE5RJPQBIq7sLknupLoBCgIHgY596Zkz+Jw2ox8omFoGexMTnGh1
a+ZW5PXnnUhLn7THwAWfrutTUIo9DKvP2/r7osW4UOA3cYydNeIkZnoJcT3NMXhDDiAtTitaORjX
+CHuHfnlWCE9WxG6N6jzFLqfPUnd2N7y0hdsLeXblzDazfMcHcCj0J8PpmG/mr/iB8sdPPJoFDv6
9Nm8jXsaYHTx9vq5UplbwUrapksLSLX9Rzcl9VrDFJ/sBGiC/yRo7JA7kq2Cg8HZZrZI8W21jB12
iVaVogm9j08I2xtho4M0Bzw2dOiILj7n90NJw5fmR/NZjj4FZ0HoWudJ/RkddRBY0yp6v60IxhV+
+x7GYIPICOK6hh5SJKrJSnTNdUELygmJv57rt44bY681qjZ1V0FMZ8cTzTbi1miJf/wRkbfOIaeW
aHc9ahCPMh02E6YnjddwlR7k56Porl6st4pUK49Q2n2Kbm8fX0RXoQ+8+jI7Q/O3LkDhMpdIkM1n
TiKoeOI4E/3hHBP4R4q+NweYPBuf/ltQsm+SmNMXen2aFyMkTa49nCPk7eL7hsYuR+3sjfNNDnPa
DHUwQ9QjhnNbkdduU2A2tQ7JNrbXPEYGrvKYg6SMdVtoCZakH+Jje2wP09FaFTVJVjzbZfvevq2K
OUyVrqdWVGFVhS2g3mKIIN3pyCBvJINkn6chWGPEqtimKUUVqDRJqW+ikFYgkUZ3AuciYgtAf38M
qg8a0KjnxoTri9XKkA2QDZzsYn8wJ4py/qMUkPhwb4wkdz/NNZ2cehPtqkO/5tzp/8+d8Vs2E5Pp
U4tHdQlFDJVtvg3trrqvVFpWtHH0c/6guQ26opEyvO0ylsWCBwhhBOoUSL5eL3mIdaUDIHV/jmMw
lj4YzSn6SH1lpQDTvgMHCaBb/1LQSKUVG94QBRMe/kfbF6KZFZtFFlbqOF9b1lFoqRmRYbQtbTcW
YOnirHNZlj5DjSN7hMj+epmaD/CzocPONm67ncAUScpNan/cViZPCHPtq5bXgJYQC5K33sraJeRF
+pFyFrJsmxgN/O9KmMs+bvNcn2bvK/dn3G0D2gbv1HHVpNtx3Bv5k+lzrtfZ2L+5+wuBjCedrCpQ
8harKp3iQ9lKlIc2z12Ser05zWTJFbg7+7NG7PIRsSZ86OAMq5hj3yw60N8n7rfuGBfqFUqNMiYE
mSsN4/oOplzajL7IZBthfPtnT0zHpLfPBDs4/bdMNIKAPgnzNSazXylmbZDQh8yeGi31PjErHrzE
zn3ylhW71E6c022Bs8F+367f8pjtGgMx9roA8hrtA+Xyp+IVTLLdk9WUHEH/j+v4LYnZtgDDq3HW
BcP5+d1HIZreq/ZLsu7X9ZrHysRbE7NvVhZGgRlZCPC0n2GOTkGP1pwO5P/nEP5eDXvniWquNnPA
IH7GT0FDMiLa7c63BY6TWL7HkST574FgPG4aVXIzjVBb+PkMJ+tuQOwz2jLZ/ZGnQOsMqA/ng8ei
IIyiCJgAL5+vVnQzre8M+jM9R2R9+7wtX5oXYpj1dIqvNpEJMa0GhGGqJa5A8pV+/hl/NE76XAtE
3wNuiHQrYfuJkcpyx2NeXIx7L76AuUi6qZL9SsMXRHj+0IHUQOYwyZvPU+jsv7+Z1oUc5s0fRX7R
mGUxKzSgkevdI/e4eUke+jWv1YazIva6ksw4UrwaknLHPwb00VvHG4CLc3wTTwpzX015EkVtBSnK
KTjrNLJLW3Snz8/bB2TZA/5WG+sBMRYaFVMMMd4v5S4naCr+ZTmm7bnCQ+IUhy0PvnnZMV0IZFxg
nha1r6cQ2LkGucsPzdpfKdvjSKzNTtrcXh1Ph4wTFGOxl1ofsqw1UGtw+DRnrz7zSJN4UhgHqIWA
wDJmU5YPQkss4hPxZBxMknOO+Pw77AnH2BrIX4BuMGdIrm/iXmpqRR3j8dyInQLcTa+yuzDMV13R
W5ywYvHVjoo/xnNQDwdm2Lzmi1xupk1dIoJ642wQf9fdF3cAe49slRgryck94hHdDcjOBOHz6x89
cC5ks9PeIFVUVTWBbDe5C+684L5z2p+iZZuOlzu3D8ji8b+UxViZpo9hbRWQ1eY7dXpNPJKE9thu
Esf07Fi819HVGm9qW4b1qav/UTgTfTQeKtNAzYYj+fQOO1sHbLqPJ/kcX6EzyLEeOPKWgsXLxTKm
N4pR0qkp5FU2suTPoSNQcaM9ZLvEQz7qxaefuUd5YGyLcd08aoJ5E+B14g11fZRKc24lSOYr6PHg
huDApI86CTsq26fTJ4/CZzFSuJTGRAohKOWRNoQ0cCMdi5jWKx8Jje008kKSWVnfrPFiWczNWuV+
FOt6NpxtZbIrRyYyWa8/PUc/8p7hbCfrV5R6uSbG8AsR6KBhjTU9Z3uDxEf1TUltk3QO74Dw1sRY
fayHAbwMBO3cgHY/jV24aV7XtkfRw05vH8Ylp3mxJhZkF5zz4KsYIcr/4Zek3gu2zdUbTwZj3GMd
JGHSQ8aPnj7v4uOrYruBHT5pTloQekIy7MftRX3ljm8cCpWx6Mk39aTt4E52dzWNnff3kmwO7qsS
OGfVjkan3QOO7uTbazoc6DpDam3zwePt5hmcypi5hyZwxZPmXTwUbuxTf4N+c7pe++7HuuOBBi5G
zJcbydyxVVkpVTthySN9Nkhyp9s6mXH9DJvXGsfbTsaRaF7SiGUJSTGxw6Nq+xuTfCicm4+dT/2P
sRk6MBDnqpXKIreYfZEkZSXBrtW35i6Rnfale8co+h4P0EeF6M7aPtV3J9rvkHwCJF1PoFdeOnHx
qr/4CMa5NEMl5cB9x8m1D9U+uJdct30rSbd5/Ilkm8/r8FsMyvQLeYyHifOuqo0I8gr7xzM632j5
15HSB9665p/5Zh4Yb0Qh2gL2G6vbdBxrpUg16BaBhdNvAkJ5JfXl038hg1FdEUfhmGMq/mynb6nh
dGvL0e299LRtye6QIyfD6YRfzLijzfafRTG6sxqrGsQQAsXXV4PI29h3ffL4+DgRVFW36epucw7s
EpBK2/L0uX7I3x/WgUOfqDN8do5Pn9b09ADfxzvI8zpv6Zrx5UlsorGgVHFpAJF3N25ue7rlO+n3
qr/u4YsAMQlyzUgL/DwGcP2Vetpu1w8PD5yId9HiL4QwDjztDAl0hxBipyVVbWDYUZzK2yuZ/ROr
J0METD+AoAHZwka6YiVh9kSfcPSDRyWW7CKWOVfdUtgFxmx0gGPSDbE7E5L4eVyo0ZCO56yPXHB7
Ua0EkYiO5mjejcdCk345LwOE7jOEBghi2Xo7EN7aWkeR73x4V/RVSIyGpL8e0RjhWo56v1pR5yT+
/Kxe479otYqcT5AqgpHd+eDs29dI+DelXnwHs3FtE3Rt2aFG/GwfclKSu3iLAptK8CmCSMmKVuQE
aif8+5kcejJ0zo6zrdJ3resYXgXVHmbjEXuyt2APjvBO9Zr+DA4pdPVuuz3Q8yJS7MJ941gIr9FR
vMYcFmezvx/Za7HMdejpVTf1GsRqxMMGmJs9Ro0c3lX4xWF2rWCIgWXAaSNJr7EzEhKwBBSvHfuz
vgIdp7f1M8ci2WmyUQ6wiPUegaHLVmmxzyxbB5bnm/9X5pOqJmp56H5EPOKkBXdw/T2MtxGaqQE9
RISnTGxpnZ0bpbWRWq3/LMRCBWS+ZAw5qaSyPFtjZwKqVjFCIvatHBJPzTFI0qtpxnOBLOESzGH+
Kh3t9DDtmQoOtn/hpFIjkj0gGyAXT3IiWEDqrTAxe5Tvavv4mdGn7nCKDvnP2w7l+yV3LZQJv0QF
GBaeIaEGsCqfate7OyEUWt+WsXTKvmizQakzGz1TMbFksxcwIjOfstGJncDWVqC5I7xjthDc6f+h
5/5bDmPHSdqEdVlATksbN/wxudVP6ZhuCtJQXmJI/R7zXMtiNkuKRyOycsjqt9n+DFrouxIdE4YN
DFFl8wz3sd35RAO+cgvu2cbWt3Jqj07+uFn5gR29TY7qTtQJ95YTebbx0O9HguZrG8y4B5ubo/h+
a1x/LLPJ7RCryYjzjZOVbErncDZtw5E3OtkWK49y3OnSibrcbcanVOKkJegbnnf7GRZ+eMsod0Gz
dlmHcimDCa69qJ0sQYX2530G2ChK8s3aoMJB2Bb03+c2r7XH3IilMZZB339pLyd3zc5zHUDDcYLo
pQvgckVMIOiVeo5WRQgpD9IKnQW8LoZlG0QDEUaB0EfHNnolft/0wCmaGzru/F/O22e9+/EnVv5b
AqOmth6EMR4gwYCVR3axNklq+zbXTc6H9fve/5bDaGpsdaMS5lYZzb17TuhzTlzzpfuRutzgfPYX
tyQxsbLvBVo1JF8rugtXkZ3SjOAZ3K+5j+BlA/29JuZCqkUxUixQmZ9rJzqXBMF4T9STTtByE618
u9zx0CYWMk/zof5HIpu2HMu00CILWvxRP5T010SP6Z1vc8KLxYv2UgrjkaNAjTtLRyVMI5P7Htji
i7eXKNrGDDvmXGTcFTEeOdSzQPTm3UpJ67ioyH4cBbtd/5nmZjIkhGszbiPjTHVR8GtN/mozefUf
cD8XBB3XSL8SXlfYwusQm3QhinGlfTYYZSx9iUK2ws1p8BPzXK5w9Dc0W6U1LTk39fIVeiGRcay1
Dvz2IkNFMdoM9nt8GLYT2ux894EX/C/6owtBjLcwvDqr1RjZ3dJ5BkIIiW0geW1ue6TZE3yz3wsZ
rKcQuiqMrHhAvfw5gTUlW466eItgHISWo6nfK5BV3SWbad2ReIPKEA+Y72uy99YyGOcgKZPWCi1U
lT1X7khfg9OhpmiYQ7SBrpqtSKUNOBftnBTokZM/1BeD6kR1Tdd50Vv8pbbH+3iz1TY9r59jXt+N
L2Of1a2kB3lZ4rQc1O2Eh/VM9MEjtfx60t4SwvgQa2jaJlUh5EeXkcOrRxPELBp4Ew7mvafaAxVJ
4By3j8RywpV4trNfyYpr9Jyd/nJ0F7F5ZYReEltfjswi4uGAuhkm9NYv6eb4RHNgdOqPvMh8QeTM
OICx2hl57jvuYzLUoFNo+/Pz5CLB3axrOz9xoo4lDzPXzPAPKK5nBCzs8MW6DIAahd7cxgJeJxfp
BLfb4S6gwipxAvLp0Y/bFslCbc1vHGC/QRga7cEl923WO85UYcxwlne1TlM8OQ9ujq5KBKQ+AC9c
iaZ2tjIf04aIj7dFf+HOMufoSjSzVEHOQi1T4UzLTwwpI9017IEFM3/Bc3Ao7Fc02BLhWBL8JbAN
2rvyvXoa6Ft8Go7qjtJ8v7U288nz3WRl3HOip4Ua5rVmmGtF1roKoObQDPq8qYSnAzACj5rTR6R1
T+bROXpHbcMrOS90XMxSAcKCsUEMRH5VHC/2P9NqsDyE8GAKJIK1BPUaNwEDKdrBDIoC6vYEvsmt
YAMzEC823mlYCHuupDO3jZbioV15yJGLK3l1kB1pjSjeGbYFMV6zVf4z5x33eY/ZM6BjPA6EyejS
Q+/+9XGPvaJrPRXL1UgFyp12hXcD0bbCdr7jeO8Geb7DvkkDnMqMzY2LXGMcd5W0QxcbKG3gyWXs
XFdx5a1BortqF9LoKKwKx1k/oJ2cOPRlJOAXIbeP/KJ1z3guf38Au1wElXnQzLWVBm9PCZFDugKb
7SHvyRFQtUBdIaj//UHMh4k9tEsjmQUuRXZiepj0NCgUE2lQeYspYtdFYu94j6qm/9ft5S0UP/Qr
SYxF1xipiULFQ4llPaAXJMEVOLklmJoUn4TUP2don57ofeg4wmtEfVv2SUoiujbO0j23Nj8fHXaz
L5fN2K82imOmdtV4trxh2GZAuHpV41IlRdkFuyoyQuqZKYY3xLRaqUWhrr0eLe8cjfA+ggkYMcEe
dn4J3SunyNokGPnvCKi+OrfV7ERzvRcDLHSkTWiBblIL7eUugJBEOLVuc/tLFh39pToY025lxUja
1kDlpLSFvTrQXFkZ+VqNqW6Lw/YQBXQcj4a/CZtdQuWVSMd3Q7E5X7EQAV6dECbKrBoZEASShQAF
J9HWbQwV7D0wbXVU3yGCeOCVV5bu7MtVMxFnllZqZAKaAQaXIyL6+dKtRsJb1ELUdbUoJurMkK/F
qwCLUmQCJB1ZKgAc5oSb2qAgyUzTmKjTvWT9bK2PqHP18DFszqJol81DqrUcdoWF3Pm1DTI+LsYo
upZks7VPOTmkZGrpa3iMNodsE22qD98xnMKww42xau2MvIDI2HbMlNq8/MZC9z8+BBwnAOUA+Kv2
bULQa0RPC/3x/GN4fjUPr6idW2/J6mgTRMNzRBzavCTgUsb2SiZj84UXGZ0YQab4oMGxSKdDuFYd
8ODcB3az7rE9mJbyKC9dsBQSX8llzFzox7+PtQHgVaNeC9baOBnZKzBSVUDTVy46Jzs0SbppTMtk
Z2auYpJKflKkrRARJf2JAaKgdq2eiNPOKGpSNocm3hQV9U+3LXDRAGeYEoywWTNM7vWFW4s6Kitl
OJ4VV6UCtbZHXpaGJ4GxhqmoO2Hog/GcriPbosmRWh+317B0jaM49c8amCMuAQzDEqt5DUR5p8OK
d4wWncY/v4+uo2sdeZGYy82IFdgTlFTcNeSFeu+31/AVyDHXE2Ah5tIhYD+A+cj446REbQYPgfFc
b+WV6miQ9AjoYvpLR3tc98ANPRa25Uoe43kntdFUWYA86zRn45Edr9EVqm/8Ve9aK0BMuyLaIc63
V7ngGQHDBeYmtHjgqcEO3cQScN+rEYW8Vn7IBAwZWUe1kkjbrDMf+fWCQ3i0sHFX4pijV9Z+bjUR
xCkwQ8E0iJo9tKZJIyknVvrTs1pahD9uL3EppXYllDmNvlTqAVo+RjQ/5D/aVXtI8TT8q94rTyF6
Dm8Lm/0Ie2gu9Pnlcy9eB6PQpFYSo0Ab+NU5zgO7GoP1/yaCed2r7SiDExIi0hbcJ9V7lGz+QAB4
ITG6h7OPs3FtXZaR1347nwkzRiBq5KCvsW9LmE3nm5YuJDC3gCmERhh643j20awe2D3HdHk/P2/S
xSYkitkqg4IFhECFlWPbwkUbGjyDXbJX6WIRjH+ohbbwjXkftAQ4OG1GZA/jQJlFLUCh1JyoYWHM
GEhKF9IY75BIiRFOqTSed7vDV8kdOe9z8tc5p2RD/tp3zj7ekxeMdNLM2Z6qQ0azwwdyxuR/2znm
dvIEecijEJ8hTh2plb96EE83Je8duGhFF4tl3ESdaBipTsTxjG5pVAT93h10mXNIvujibh1Cxi1E
VgiKPbxB0EZ3cPvHEJSKPrGOA4lOj49KjffQPiNbcgozkt6dPs3Hz511/tiNq9saXcrCX+zsNxxT
Q2jibkhxWsWH4H7YpI/dnbROP3wkyXmYqYt6BdXB3PsGRMkvlVwYhhqmrSjL2D2vyoipfAQtN9Ba
vFAuRDCmrUVmqKcjRCCkQlH+cDdtzpl7HnbI/a1Wzr63C3TSNnjCn6zN5wfH1y9a/oV0xvIDwJNo
kYE9tapnrfyZZU5ac/ZrcYHQHhKA6PgBneK1cxnGSBvCLpzOYDH5S45Cu7UG6g/1R1uKjSPF4IPw
QP1++5Asrgtc1zpyE/oMwHUtVC3R6DWF8XSuyoMXH6vmXgK47v8mg1lYmzdSmNfJdI7M97ztiCVv
BZ/H38xbCGN0qpV4iWhFcF1VRxVl0xWSUyL8v72UxdgNdBYAcwHWH5C95Gt9TUYxtdKUT19VtJ25
EohEBOq5GRFWuQ2UQ47ApcTVTHX7hQ+HlxSLm4rExGiYQzEh4j10SOOArnRfneUf73f5g0tKe29U
5KV6TO8rMm5OGV0/3F7xUmbn6gOY+0HVhqZMk3o6756HkPiI5O5H5/BeuG5KH0Na2k5rFyXN3pyt
bFeoUIV3KMrycjpfRfFvTvVCD8xBrdXJ1xXAWZ5//DgU+9eavI859clKoCsM9fn3RxmjaLEdoK02
wrOAY/6LtnkhnTnC5iQI4JSppnNXPKj+qQdPklg8eVrhyB2CWk9yOFqftXprucxxHkTLG8UGy92h
dWN0Xu8s970+DGTzK6QrJ0IOuqL56fQg2A+8m1hZNKXfi2URxbQ2blPZmmXvns3Va/Txqj5NiKc2
ZOV0Tm+/bN9O2379uRUJfekc5ykivGLI4n3yBRAN0kYAPjLutlF7P0jHDPqWf+XCY6Web+uX9/uz
Ci7uKz/sVaHoYMZR+hqbTzoPbHDp92UReNMzCQwg05hQuorkWhoafTobev6sBNWzlQ9/4LmBYTUj
y6GZD6iN10vo426aykCczl4ZEmvctNqPfLRvq2kpqwL9/xYyr/NCT5Nq1VGkTbA6zdWpmGAQszqd
f6ay7d83Tu+iG7NNiXHmiJ29KHv6Z0BslPVVCzhMjLH/H2lf1ts4knT7iwRwX16TiyhRi2W5bNkv
RFXZpriT4iby19+T+mbadBZLedEzjQF6MIDCkYw8GesJQY8zqWjx1vfxdRFbvYn+bysMzaYAo6pS
BWTM6iiwMhlg7GuDaW6jWNRT0lzRuUnaqEzdKi2w5Pn+3yXN/F0gqsS2bLqUCyPezN8Vaf0lRwuF
CPRfSNYZLVxutc22TyMqCYsfKLnGZG2uQYWy9rzWe/bui5+LN9EEjGV34NLFv7D0ZbIRZVkYj+KT
fdoqVrTGKgVn/XngYN1c48FUDLtSqDKSi6GO0LJyMoKenuwNK5Ff+Z02FMOYr/xNDnNJAjU9D1kP
OQsP/tx2/+sKSiFrXDoAN3I8eLw3ZO7xRqsI2jjog4ZNB8yVkcOwGrpKFZ/QNlqQ8361BJhuBNdZ
c+7mn8+FDuvADCT6wrErTWCujYF9FlXUYuDSdmsyvG6skefuzDj330UwCBYYQ37tLymc+/XoE2ez
3h0HjrnPGMJ3GczTH1bRuACdOuZGURmurBXZDLbDOaoZo/4uhLlTUgT34gxm7id/QZTXHVoILBst
LrxXjXtgzBO+ENCkCC8USemtjDmV/JE3mc/76MyTHQxNUbYX+tHrw3A6ao8cMOb8/k3BCRab2Nk2
jgV+v0YomROrWR45+ELt//uF/PYpbvYwkRDJHToCOkhQCZ2Ej6yz53nvvC/B04OC7ERKWI5Z1an4
EMlP8ydYy3izHzOl1u9qUDUnAs4x1nSM6ApG/K16xRJHtYZVDeTAY/eZaab/Lom552pcIB+tQNK4
355a63R6O1vevrB+7bduiWGeK6Yt9/DSOD45786wGWShDC+1Si+/eHp76AjZOE5MfnBu5p/wTJXD
FAQIX+lSPebC5LHWRMGlwEgImjEAzAgwyPh63+RmyNa+C2EuzWhW0qIW8xtS/njcg2jr6j0+htu2
sR83h2S0zZKEaF1FVpcjmaOewqT6zx2dg5cg+bxpH9HzsqkrcnajZeMZOFLxcUNenGKF8dwf6DPV
Xz/DEbNWhiVz78NMuezbGdy6ZSb2Wi7A43QRcNDPxo/nLV4Md0UedGtzcV6cncUz2r8A4T/flR01
rY3aDM85xFUVqhsoxfkH+19B1ZcI5gZeFQ2TbTQxblckKawX0OLFvLWyM2Xt78fGXD6zwTLgHktJ
n7a267of0sPyYePQMa/Yes443Srcb8Q8t1f9rOtDiUNDTm90966Ij7S8eLm3Qc2mRAcon2PozzDs
u37M69sJ6aUvUUN5Gv3Wtcyn+/b/F5T8+kbMu6t2OVbEZjU0OiW7LaaOn1CaJWev3NncPpQ/o9nv
qjBQkqC3LpYKnJ69vYINInYx9GAR5xihw8y0eQ/ATCH8uzgGVIpYqQNBgWX4fkbsLT7XavXQWcuP
xnuEd7nGgLGJAQ/ew/YXf+mfI2WHawahxizSAmpmoaW+rWGKBhrFao9jjPMP6JcYxm8usHNVxZg2
MqEFEVba3vZ6XmODRH/jT1fgSwbzSA/ZEF3MM7V3++TWFrpZkWvRbOI41rFcYmKTF3TwlGIgQx3O
fTJU1fCk/VARZbqrzPpQ7CWG4F4x8so7Qu6nYsBD1sRGL1SYSF6AmCzc1qc1pusPB86nmmkl/GaK
7HYD8SyXYUjlwAyBGagDoDN26ViOZ66wLJmXp+K9pyoDGrFejaaQlnhLMjTo3t6Spw/yG/lxxFSW
F9r2OwdH/uxz+q4hgyPmWVEiLYTEhGztflu7eFP2NkcI57FmN2TFAVKxbQnrONnoYXsiK+T8MdKL
2WHfcHj3eCbn+l0lBj/qpJZ60YBKPsS9Qd7ZfSQfgbt0cvQH4l5/Ht7fBc5arlm4lyQDC8oE7My5
Ba8TLwBDVDX8e1iK3pLiBCrV+0c4f6Mnv8+8YGU/5AH2s9LWiWdMMLy97VdI6CkEzUAGjtLzeDea
3tg/IGQikDHFK1gDRCT+ccVQ/gJLGQ3sLddwutf7mtGrek8OY4CpirU8XYuDUz3F7l/u//hMBgy2
MNGCebpK7ZLpWJRJjw0EnhiF3ohr2Vp75kNPuK7gLAhOhDGG1+pDrWFxE8rXKdIGKBLyEhPzePQl
gW0jCNtwUegx1CmRQ9oD1j8oHCF5AEoRHvbNIsNEFvNOdfKAJsgAH8Z0433podp5Jod3nnPBuTe3
nN3k3jTpfz+/fARh+/L+55+pfnz7/De8nfx6WAtdm1Jn+dn/v47Wt8Rzn6rlaolE/Ga0etvZ7TI7
cz1EeTzVZvKN36Uzr5RuDE0jmThBH03L4yoVMYV+wfC721hW/Qt0id67d/wh+NyRIHpn7twpdkQx
Sy/YWk6Do7i10uC1IRcswJTcs8wBPY7B35B4crxmvsiTEDzLT/reWKnImnJscN5vn9ggAw4XcVwk
TUFP0EYtA17uHrFVg0JGb1vrwePVLXhwcbOniUKXDuzUoKimKTMd4wzu/4Gs7ajW2v5XWYCJbgxa
qGau6LlB6SEwJaBb4vLVWh8ODQde5+PFLzHseOIFmxLKhB5hdCUCTKEHYyFm4CWdE5HPcMl8s3aW
X783q/8YnW8LjuoF6311+tG9YYyJ+8LPurcTnRj39hqJhZhV1Cwy8lyRZuOqG3gVOtLBIHhyktOa
G3bTn7xzpdjk8wAqXNCH4mshK0Xsmlz9y9HEdkW6XPo+aM1HxhPtGNioK6nN1Bi3CtEPDX4+wGYG
58WxvE//wGMUmE+CTaQxjoVgxKOkBlDMRq1g62YOWodWj7W9fF0764EcPYQn/vt9Fef9XGSlQFai
GNhpz7wtUnfVmlJE9CqDN3FfHp9WiE+kFXHw+TyMBX9+9reMH0fs/GPzJZaxm/IsL0pDuok9nfZY
RowtBA6cekvdUafe+kQfb4k+c8FDWYZXVJypX9AL8iWdiZEiNPGn0qVBWcxqNvHT23ZFrhbkP+12
PHauv7iLX7IYG4qxvSpUR8jyn/3Gpp1hEXEflw1KDcBOB473/aP9i9F+CWTMqAqVSrjQ4JlGnIBN
0LBq9hL5r4O248jiWg/jmsqZWWOBDH3VheUJM31b6gwH7svS2f104A07tsfRjv7in7f/SzvmHeqM
Lo6v1PvGS04ymAxaN5Y/L0suy/9ffIYvSYzDWmUCVs8tAG3PzW+dyLgdq2XujfD0X7AnZLQUF7RR
HPX+8sx+CWWeIv1c/yeZWjuN7Z/RoWJsyBKzrq1lvaurQ2i/P/M6wjjXAXV2nPnkrW2as9KZ1Je9
2PZJsLa6t0cfdW1fly1Hv7886//VT2d3q0pnPcsyGsu8mfvAXhEFOXfrFlHzGs1kelR/txRdYCCm
iXpQHZxp8Gm79p666I/Z0o38NyQ5kYGBfpuN44mWdfRs8Kx5kX1If/BSaPPZwX+gRmcn6wHpenbR
6QOJu+8+RQT5GDKukT/gnu38W/x1tgzSdAt9IesXarBgJsCgZe4hwDZ2nBdD44lh8MWQQ7m/9BBj
JMQ8Y/rsNFjy74w0dhrhf9HRVwys1WSVG/gzVr+Xy83reo246Og4ZHV2A/v37xcMsJzQD2seio31
HiBoXq8dhM/YQc8J1+cTVJMPwEDUQgvqOKDZbRu0euUKU84LuA0HDizNh2hfZ8/AUoQpzGtAkw4F
Rm6txZvgWgePR+pFEeeeRTOIpIt5YYQ0hB5XlR0QynV6X435hM3ksBj46UKpkeor1EgIkoeHE3pV
KHfeI6bMSIOrunOs6AHUkseDz2WpnU9z/HOEbFk2LtXAFGiEuIXU2jId4be1DhuOT8eBdWzo/g52
iVEnMbYw4pYgkwgfC97qsiMbJGQv1hGkELwSDgfSsRr2u8BiuCLyjZFy898qOooNB+vxQQODk0Q+
19itcIyX978iz+Rv8cEEz9vyinamWy1QWwc9EQ/AAbVHvGH/j4IYxGnOQjk0NKwulsErnntsN/CO
XMO47yvqbJE2Fq6JIV9hGM9+CQ4Ucye8RsfUOtx8w/sa3eLxO1fsxmk3ObpuIYWRuqDW8bzdinjy
sViHLBMr91AbPlqe/KrzDITzTt2ezInIRDV60cxxiP4ZLb1WbYdPBx483feasOTluw2GYLJvkgxq
be3IQ+pjn50+qxcs10BIwaW/vS3FuXeIDIqcG7nPxRwWf3XtNx9zk9v90+ox2n48pftH9CYNMvn4
IMSq0WIOJjFz4x+T4+B5vJPluMI6m6SLa0SnOb16F9s/ve3dpwfs7MGjfzzoq9TiOMO8a3eLBCYf
cpCjMa2o2gvPLc8k8GTHoty0nI/JeQXYPJ0axdgnTavcoMLtbGVrlGRMbYF3t3limBgpboP/FFxc
V/VQSDetR2L9XKOGj7vHc0E5d+AWGk+Obgz/CyT+FpXu4AGEcfcvNs/xZBNxXYMsT63hlg1LGwml
/Sp2G/83UJ8OOvB6vTmIxWbjrmmpjsYVlhCtPzAq/s7RhfdpGGdDLTM5rGgN3Ub7Nn1O0D6+dOiX
QeXtmSOM/tidy8wm4s7XtMdrCV3ARPD2hLxpsNncyhx+9ouXTvpL5uofH4Clgh1KM5JLatttZgsq
yTUvVr30uknNo1zB1itlmTePAwbeeKvGOWfKJufyLhGFToSafv8pvV52n5xbOzPfPM05/LH0sm2j
NM6p25z93KL7PLGWK3erLF2Y4mO4RPmZ7BwMMvXkEw1WHOvnCmd8kHKB3udLDe0K54RyxdOba/vK
Vqzs3hpLJ2gPxt4aXuyD93lMt3EB2PL/R3Rk03ZNG2ujgU4JWv8BKTO8ZLR7pPiHo+tf0qz/2NBt
Tm+CJZdcFq+1Qr9k9BNtZLolndC1xpHCMxcmCEJUFxdYYIven8IqPY0UTwOvZ5yDiTITuAxn3YiE
BG0riMqjtb70eCjFi/vZ5XZibsZqWEPCaZvtBOuNlMhJgRB8uVhxQIQDiGwLXCsrTatRIpHewuaL
TUiS5ePyYXd5ROWeI4r673fw6pYWmHz+MGmTvsdz8mTbvUZG9JCTn8hknjlONscAFCZnki6qtolG
aIRgsgCtLYIVhVPT4WTXQKL83WuTF0JppAOSpL0FYht7j42tIflAPE0wRbqLb20INday8Uji50MW
GRvZTBVDdMbNcCZnKIVioIcUhk3v2U2cJ83+QKLGQdWeZkv4PcWz7ulEHnObguviXMc5vplK/Ktn
/kh+3TeK+aBvIoC5Sw1GI1JMmMPSMQXkvv1C0IeqY0rI6w61soP/76xwIpB5onNZT4w2oCdIVqtl
4KJrigTO8Hhfr9lrNZFCjXTynYwyy69FRN360QZPHA+yZ5Mak59n/fgwTc9mRa+SdoiWKbmVBDhA
yrM11kfHRon/BAsnHyxdtDn+A+H4xrpY3hGZIZ5Os1mGL51YJ70fZePc0+z4efMLn0bHHmhfA5eL
aYuvNa8SNwvhE2HMs6sKZi5J/yfM3qau8NuzefrMwt1EBOOmp1pimtEty6lY4uMLsvwIUHnu+S3s
/QNUJ1KU74bWpl2dRTJOLbXfsM7n4wr6KwJ6HrTwhKVz36i5whg0qMJ+GGQDwuzT6bLJiN9bCjpD
XeVVMPbVyqtblyOR/vn31GPhocol0OhBYgKm/GJJkB0mKJh46opn7bzPxeAC9n3BlaYNvSiiY1AH
LVFLFSXnDYolCEvNVY/B1+f72vGMkAGJBZpH8qKht1i5kEWC2RNuyYl3fgxQyJFZdiY1wnwVba++
aV3RP/xJnbsY/+WY/HyO5ssYWVe9Ha9aZZqQ9rxFXh9HCA5Z+xEEWPgHlSfKsIC1Ai0RUJK+f5Tz
JdqJaOZFTqRkEQ8mDOUCmlJKVKojT9pb5rHch2R4+N273Xpcy9swgQvtefelz08rTKSzcJJURZfR
flX/LfuoXRUWejCcZx5txnwiYyKHwRRlHEKpGHHAMglAab/LeizfWXvHiJeMnU/QTCQxuBJJjdnH
CrXNLW0PBJN8gruwRl3N4/G+zHdsTWQxsKJkcqYKZ/gAF/vUOihz4WFuCFZRYEwOJSDOt+Lcuj+8
9yLEAlgK/TZaH3+FcNxWjyiEoHUAG+e5+Mx5qVlPXtXUYNEMkNZa24qEjrjEghvOvZsvZU0OkAES
HQq1Fc2ct+t0g7UHn7KvZiTEwr4dduh8cn0onlIMqlzbQBAiHfJu09Opbb4tHu5/JZ5fyHrxYyJT
pSDC3WcOklwd+Y0WX4PskOo9ePLTfXEcm2D9efDI5oYcUIW2qS3ucqI9cjMoHJeQHUppo36QGnpo
6LIjjx90FMFBt7JzuHAeTZ4gBiQKzax1vYSgLTbYriIOmw7v1xlgKGNZkg2asPY18JnWq/sfgoek
t00YE8c5lcwyryX8fGv1a/tKF57/HtfVyvJ5Ljq9FH+6FhoiKcWkC64ZzI5UdEhVMWI446O1rcLG
LgfexsXZDJ38JYL5EsFCkwojhwhX9KWHlEhceOEpwXyNesS8bxbAa0HL83bbvsW2DMKGl4HkS2xi
QzcU8kWcLzTvKH0pxaC1YST9RR4gUnpLsUZ48+C8ri3OgzofeyhYCgU2WRDnsnMm4micxa5sqd+X
kcHawh9Dv0xDMP+EOUA8Qxz/YRYAJvIY90Hs5ayho45P4+8UgzvyGrjJOTeeCMbe5EsXVZ3Z0U8F
PgG0ke0xK7FCthH5NjysCa8aMe+NYb+PbMomyJZZLjK1HpRipPSgrZWRqCajR+lEqFf2draNyA9+
r4+Y0YjcfCvH/oHXwDZrmhPxjPEPWpB37Rni9+EBLspnyHnI55MwEwGM7S/OmtGJAWUmJefN9mzt
3dhuf6zIo/COTsDr8ojhq/QHLwUzn8WciGXsH4eth8OoXZ+u9kiyH9ESfbZ1A6+Wo9+svUzkaN8j
u9y8LoTMwO6852cdX82wh331wrHJ2Yd8IoMJemiLYaNX0MW3AzAWof0FZW/19Z0jhn6JP6B2Ioaa
ygTUsZ/1clbo3sHqMcKylsdbDyNKVseBpxC9RPck0UOdSEK5qk/1DArFHTjJmtoibvIRLkN1xQut
bqWiv4uS2N4sSTXOlTbC/Hw0hWofiQS+ayVaXkJkz4szweYWyvJ9doXdu33QY8xm+yrHROYdv38O
VmKbtvKoqetBxMHadloSgga/nOSPxyN33Q7H6iW2Z6sEF0tiBlg36Jedj8pZBuzw9NWBYymz3sVE
IQY0+jjtFwlYwZ7i1A3zkNRdSmLQ+HYrRSCiuI5sWfOD5vRjMT40stsbK84fcN9U/+S1kJvzmMf0
q24Fq3yto10K/pFBR44wcPSSF7fOVz8nCjNoMqJgeBFNnKsSrQwhJ2JitUvp9+W5lS1BIVFFrsu1
9H71R0c9nzRenDfroUzEMyBj9nqg9QoIlbPPKCHRwzrkPeXzkeREBIMxIfZE63UMG8VcMWieEh9P
OcESG339U3aONncoi6cSAzaJmoeCntIvaPc/sWOYpsd7++pciGdxgE3iyWLgpguxNMeIIOvZpnse
Cge7X+xit31rR8s4kmK12ZRO62p79QLygsTmJR448tnOrOiigWS7hvXkdvNr5+AZun8deAqyPVlt
VpW9mdBH6HQK1qvIAX670gqFO5risAvP99aa61k2N9VBLe8OvLLNWVeQXUcFvRj2tnxfXclT+xES
t/QCxQK1tqc+3dd0PvD4MlO2NctIYnQYXW/yCtI7Z+zFSDaamyNNxpF0/2GX2BpOGanY20oxjvpl
g4UVtJvS+50S2nG7+1lgAbbN8W7n80YT5RiUKQqtKJUI17xwnpXPZl2mZM2d5brv8Em37PHk7U3N
qG6VEQ4fJuAXvxXrus467IW+f3qcB+KGpxMh184Yy5jebvfx8/4vz7c4TA6JAY6y7dOqpOsMLnar
20NkJY+6srwETleR8tncoimq9QoeDx7X8BgMMapFkXcNju18hpNHloAr9H4hsccbmuHcKLae08qX
6zWh3yf5GR/Hn9794+NAEVu+kXMtkoUBH2YbLF3dzThQyzEutrfK0JMqUugpoe8vQWH/FaRs9xXg
WNYt3JhYljosxLAsoECwwvRHvb7/65xoDASo3z1TsWu7Qe/p7Tht+zXtxm42eeTWqQVCSbSaHo6W
5bzuHpelygOc2Yj9y7DZDiusIZJMtaGAsz4ZB0RKZW+/82Zh50P2iRRqfpPzU8oO418ZFATLsui+
UYKDJUiVUT7BvhuL20FIz+vO+3B7uSbiQB0S9VFCzzO1Lw2xJIJzRLYYhUmum807QAYZxEWIOawF
kKG9kNOpyI6lFz+PwfHMi/l4QM22WSULrbm0FN4ubr0NkOy4LPlEFPejPmz3/v6lJLEIQpluSxmw
aOml2lYdsQ58MZwryw475tdaMloJsVi/3mqW8ZBYHep3mOcabJycLz9w+1t58RDLXSskspBmCkTq
HjLGDsE0g2eF7juvbYv3VrA9U6YqxGJNr1Sv2gXW6O6O7+o7Cmq0Tvg/xkRs25Tay8JYNbC+BAWt
6LnDVr7O7rBKbADH24UYzdoR3PtodfNB7tyuG4Hq5HYlUVKEQQqZcgvykMeU/G5A1QTqIc6rwQFd
thhTtLKkLGIsVTIbEgWk5oH6X+IrdJFgU4thKuyUTxV1XS6ZWJoCthA7dxePyfbVwt639TFybS7/
4nzZAqSe/xXHoHyrF0aLDe+0kEAnCg+J/2SslN8RVhWatreOiXf0Dpyn8S8f60so4921pSCaGV1K
Mu59d+UurPERy+w/uQhPg+8/jeJLDoPw9ZB1cregZ+mDnHO/Cmy0jFNGqgu2tYFHjytwPpvzJZD6
HBMrbEBlWZ4DCLygHZLOv2FAkxJoUk8Z7wqeFYzT2xzTn3dkvoQyYC9gJqmVDZjksw+R7rbvsWvz
IThKtgA6fetQ+bzNoX9B/S+RjAtYCVVz7gV8QBDM1MR42FCqO5B8cTSbfzL/EcNGi2cw6o0XGng8
p5vtYI0u8kXFdojommHuOCjHWG46T76dWS9kVYoXdDmY677lT8rPJCGB+7NoHY5evEvHhophIjS5
QldUYW4o9FXXxei5tyJr9Bocf+zalQzPgNfeM+9Mf50lVX+i3qIUA8UoYCWZbgdYP32OOFrxkIsN
E/UAq6f1jkIJdq1K5KQsUdl97o2l5iKdbnNeGZ5tMBhSmEnYo/gGIPYx6he93De921t/BzrY2LAL
5DBP1BtE2SdpjS3aWDL6i1JuXTFxElkNxss32Qq9PSnot+x0ibnP+38C9zwZMCkbpYySKzQsN9nu
V24DQ+rN5mWD58DjtdXOhvi6bmDLpYFFp6yzX2HNqlSWMfpDa/CXYZOCC0oTZIDvqzTrYE2kMN8s
vfZK1kvgyFw0Vqo6VeGoWAIWr+LSzxqOOc42qquarNNtR9iyxrL0g4mgOmsDnZa3gVHdr8ICfRnw
39x9aPYD2pNDt/VDV9u9hyA8NRzO55u7b1PxzNuTq5WBOhfEY4dqgc6s88f9s5ytJk0FMOYhBtEA
snFUAP2t+8v90FaNRxt6UdrMYYzvzwv3vsDZjPpUIPPOiHqWa32GeiB4inzFKb3owfOf7wuZs5Cp
DOZhuV4bxRQiyDidXPsKfqq44kTNs+mLiQiWSj9pLn0s0w/jb8tj/FL9Rn9GWFvv3KXIc+/yVBAN
0iaI27ViZ0SUrgFjCsE6sB/QIJSSDfVJPc3hHBw1JxavpsKoZzIRZlzbqxxdIax2MK7t8F6P2UBF
l1UVxP8i6ttstkQMWxG00wJtc9AxkS02xADx2gW6HBYlwegFR585Q5jKY/TpJLRx9xHkyRGJX1Jy
PuTgRb1vbLNXaCqEeRND8dJfOwlCLu7Jh7fWOm/5a+RIr7VJolWjIunfQ7dPLxCseFlxiSFurwj7
1aZ/AH3kJl+tD5tIUxcjQCJBfmX7q1oShIHikoyO54mcFiXuN2Tgt+4XKgobUBfCnK0NbnftiSbv
BmjJQb9ZF19XJNSWRU2XJYMJ2WVJXIxVT78fFDuJ/wHBeEeGFx5m3ML/P05xIou5aAMGDLKghqxn
XyfuW/mge/H+ilqcfQFdm30MHDQBHi3NBU8gHjVuHnn+YCd/AGOsSYIJul7EH2Cf3gLwICLC8OAN
6zyfZ+6STw+VsVctzAo5KyHHB/dL+RIe79+H2Ts3UYOxxiJZXIPrBT+fIk4SVq3teBcux/NcLmeq
A2OE7bkoQKYh4qzQ7fW2ItGysxR785JjmtZqibjqOY7ibOpjKpGe6uSSjWFRVEEBiTQdcXLdhVO7
5HjkzkDxNGMe5Guk9BI2xFCKJ8x7m5BirZXH+59o9vWaKsM8woo+XMUUeWvq1WBkEwvpFSK9cIBx
1vWcSmGe4b4UxxANBJBSojt5hDlkVu4vnR9rL3R5UEFvxx/XFz4amqYMA2NCjDCtyDFnpcoQ1tAl
Go6IwqcHQOScHDWsO2LYJKIZmLEiiArE0H6m09XWdwpBdzlqc//q+L40YhOJ9TVVA2PUqUbuNrdR
C79YDxY5w6V+v/5/9OXPo+1EIANA4VlKJDWU6HgXRshOv2RbsVN0nn7yVJttW9cnkhgIylIhNpME
p4irhGzD+aEGq8GIFhL/QUDlGvgaHQUfct81h3eROYbC5hULo6yNoNJAsW8HD+Nyc1x7n+rKsHif
j74X9yyFgSgw0JvJ2EGO369NFyMBL+NBtA4qWhbv2+S8AzI5TQaaokhK6srEaT4nyNOjwc69Yp7R
tJbL5Q537fPgGdZ9kVxTYVCq1JriWiUwFftiq7fGvqsr29Iqf5bsNe8kZyFxoh+DVvJZCo1zg4tg
d5THQN4Vp4UKlOc2ePMuN4MhyqhVeWwA4wUkHbrVYpf69e/dZ4/cZcXdksP7bArj3HQLsYyzK86w
epNfMPelyKRxyA9nWcLBb0CF4RnK8oBEO6Cm4maIZ5/pr0Nle7/La6xE4gXSn2sHK8XDnbttl3JG
sHNqPLwKL4dnXufx/KszEcngSwBK0FzA+mDaOgbQfHwFan5iDcQz90Ny7rjC4EuaYVa0qlUcrUPp
XcuGLBzlxXu/fwvmQrMJiinKd5cALZGLIuhx7yp5GTXLBeYpV8KL2Wzvi5n119CvjYVj2OSoCsz1
hmNsGKNkoPN4Oe48/mjo/GF9/T5zl5NGkLROw+9Xjg3+aLoso3UHG3Oo9/WYd3AnijD3OAIJRReY
EIQmd8tOHsN1uB0FS2vJZXtA5X+nPl05bft/Aaov5ZgrrXeXNBZlyFRBvk0EB4ucUYT+bZD1uSLv
71xWgVmb0GSYsSDi3AzmMBUscu4CankXeKa/8n32Q8VcRYNUbPOjtELQWPNHLqkOf7w0mmkY6OhH
7u1GkDZxTSWMJTRmgP2iIFMA//eCqN5ZtKTV9YIFOQNJXO+QWpLwr96AiVjmOp8vY2dGUjzCU8Ud
E2Pr5Yfltb4nc4FZpff1nobMfZYb7OKRYoiytbeCyG5uY/mI+4ghiZcPFFgfnJfXwRWtgPxYr9fo
OD3R0AYuDKpf7+/gcrN2r4ilDgAazts7b1+TQ2AwIETCPzEK/GVb2VOBaDssUARdhrji3B36O/dO
gPEmWgE0awL9xlBtW2wlmYQrq7Q+5YfC1xyOsNl3cKIUgzi90mmVlEIpeJ4nbD1CMmEn4gBTi5ee
niVFxMq2f2yXuS/BeO4MbaCiwIJjLE8ydlKEiRNsPMrs43kWyG0bovUY9MeoP/ULsVgK4x2tj3ic
m5+ahdrJX8MilH4O1VTA0tyT/Tb6cuua1u35P/9QQsKdWLq5mvc+KgNOzUJvREmGOFqlHe2zu3pc
nfdGbiErFsW2B1AMLEPySrBSwIyPa7px6vDM84hnXYEvrdlcptDLZzGJYFv4BL3zVmNDWLCRl5iu
R32T7vF6/3dh1EQkdZ4nkDXWsTGkAzQPEuJWayEmC/ggSyfCtg5PfW253QScL6szYBUGZ4zbLCDQ
V5ZwPsQMNZe14EfYQAW+indeNmk+XTBRkEEsJcam0LGj8tAmHx+HveeBzJODPhzg1xnwScroWqg6
hKCAmoFCFGVabv6ZA706AzxI1Utx24R0TbHvmq4qWA4eMvC+8jgxeFCqM6jTLvB2Lmpo8wx/FDtV
riQEDz8deucc2y3NfOfesbuxs17v0N0b0M6B3oo3OuaSgDrI2Io7AdTd9erzgFJOYGkO1zPl4LjO
IIwatLWwuOA4EyzrsKOD/EjnLjF+YuUL8r/BuM7AS6xoIS42lXUh/mkr5ZbwXqLEjhWmRLX/XUz4
ZfJssrbM80bPE/pIv9XL5Ee4BQHjEfRNPVlseNmeeTfrn2fDYPAjys9Z2ReArC0wy/2VI+LNfXCc
RkfP/5ce8kQzBjwwkzskC7Dr0CbG835ESI0T5A2O8ezfYCDjejUlowgpDNvJ4aqjLoIGSRv5At72
Ca4kBjfaXjKk9gL7x4jVLc0I/qMNigU+F+fpydy5aQaDHnoSJnKsnEcUlNA7A2oqSsINv4XXM8PD
W4MBDykv00Usw9b9U73tSO6VBHxEEneeebbrYuKwsA5+oBR5nnU4u2F5LgicschZOLppBZu8IeVg
lxeikXoDb+ndP0c7s7Pu3+pbM9+9I2UQZKGbRRAPMBMkezAiqlmyj03KqR05oFFbBZUVgOzY7dEY
KkVOaBkeXtQQvgSNd/hMSVxbYkCmFaUs0Src+mHtupVlDlgVD27lxQoVEmxVvK/8fEr56yayG4yT
URwLWYA9IUG5xcKoFRiet48vBsHuMnP1zpFGjYY9akPBGgxNNrCH+xbQTryUqpXUbtRTuIOyXWxl
DAouvWifW+/x9h1hDkfa3F2ZSmNMeEQSr+hMSMNUDcntyHoZ4J1wI9S5vORUDONxj2nRoSsluzkN
C5KAD9IbfvFqTLNmMZXCWGl+zqO8V2/+Dxr8I3C4gZwe1SxugXy2AXsqiTHAoYrFpAugzwXlwWbE
yjfMtVu00RHxwydiFhPrRnnfai5Cmgi9/VETy0jVPBjOKv1WJ7sToN/mTHkSESC984yQJ4p56lRj
zEGxAlE0uXuyTaQvelKflAzSnt/T0/9mhezEgS4ie3GhHy5Yno/ySLQMdV1abYh5/B2z3VHTQ2Qe
vAtY0EOjhmbDssIIme9istjA5gv0OoZENe0KXfSW4FPx+kpHi3FwS/py+WVm/cHpH8K8h8lZ6s4N
vXn21m4aAulYU47/fCJngATs+zPHAZ1tgjEUw0R0p2ropmNuxzlbqNGirOFUY4Ia1vpfpiXOt6R/
95/49SWGuRqh2bQLo8uBX5jtwsA96PJ+0HIOzxvjyGFvgyKOYmPQK4g4JDyEWFcUgeyQ4ODuKzT7
+E7O7fYhJ9dOP6MhIJShEN5dlzItXb0reOCRzaNvDtICPi/HOzvHORVJUXsislSxx8pIIRKNzaCy
edvKbrZWt+1KQCUuwrtq39dxtit2KpC5FXLXLYy+pzqm+wo0yt5hWHJE8L4X/f8nOvWDMqZtW0Kn
07hJKmIeYnhLtG/UfudtERLnH9F/jJAdw0kVLRGEDrb+fAJk2Ro6AkBv5IF5gaMVteY71n6bXJ9o
pRpCqElRReNHW7D2Z6uoyMVTnvT151F/pXth/z82w/K0Y17ThSpp4HGC0HH/jH0ONMUc26WfbJIn
8KrwWh9nOaOmxsEAR9gUUZ6K1BpPbneMAxtuHlZ2oSb88v75ySXun3dJvr4dAyBCHaICrUAc5SM5
2fA1Pd3qn7gAMuuTGLIERnQT/pbAGORQZ1ftohhIJYO9rD+ojrq2YslNl9z4e1ajiSQmIGmlRAkN
KIUDVF9iDFBheGqxAk8BB6rmil0qOmBFBYteRAOrKr/fMemc5U3QKLjGyvKp/GU+9q+XCm1Dfvjr
vt3P1RG/SWIchOtFWyxyQ4Uk/7R3fz01L4+m8/GbINIHiX1q9UTlesYzdw0zb6IgGqZGiyvMBwuE
c1EVoTk+acjVPC9IYVW9ZYBM16nsH8dyWy7/M8v5zgOvOX8PNTCQA0i6rAhoJPx+sNEwZGKiFAIA
2Q3WT3S9NXkd7N1PbAHhcvvdJpoYUPkmjYH/sMwv6XBthVuKtsBKMtzwn6Zbk18hid1H8Nikt52D
rz8vO8PFyF9pgX/F8xFq3f/Mc6GPJkFxCSwUoq7dzGACb1Gnlm3enwVUz/yt5FQKCuHwqgVI9D7N
FV3ExJFIwYTR/ZtE5iM3whBdr1jd8ZQ+oDCs6+BbRToYPU/DywF+9TM/0TLj636TyNzOoVvE4RjE
Ai1FbmU7eKLMZ0i3cJcbz3kS3yRRXJ+cZp5mI0h+E1hRh/zsfhxt6f3Fs1rv/7H2HctxM0m3T4QI
eLMtuLa0TYrkBiGKErz3ePp7ivPPJ7CE6YrR3BUXjOhEZmWlq8yT1uUDflCmAIM2ukV5XkrdcBi6
LMkWXocB8QQV/kq4KWUFaV4GhdLI5A1Q4uUEOB0Xq+4NAg+Z2PR1FFUZTArUvvlqoivgPftm+XYy
2eNxh2U3gMS2o+fqwc5vH52BVzbcann/8oXMIQxRPjZYiYUv7A94mMCqijP0bWn8zgVWIERjE9s8
5SrR6K5N8x2IjAOv733LfH75COZ86lRN80iEmABnrREM7+JNwjNJwg23qLz/UPLVeTAOPElCq2ys
Atwi6x4e5df84j79qt956f3WS9cXjhjXPS4LQrsIHPUHx9lZHYDH8Vob3J+PGlFIhMHGykvPFqYK
ENH6WOF8xp4SKITwbKQ7m/tqvJX0fPkexrfLKTyxPtBjdpx39XV51x3gsADtsiMDRh5pzegYWJwC
zlbOt6bKNr0IbSC3mUSpHs/zTXwv14AFjJw7de+HpwllAmzmityZYHEE2vfa40fozMf+nWfaNg3N
71Nnu18SI4wmy8RnzHhERBXEb3aBN2HLqoXVaxwzSgP2KxrGIu6NYZlZelaL8M+47kHiDA87FCa4
g27bNm3FFJM5yH2kNkL/SchDWTxTiBSiLD7ZAsY5MNBhg7mw4O4a+xTWNQYZk5YCjEkshwoMlmR2
00NpL7uQvN96UUU0tN7cZBkpHQSplf94mHz7BphNdh8DDotaWJrU48netNNvf/N49UXbGFNWteVi
RTruHOzpC16vMOOF3Xp8v8UxIp9Gf+VNjCQNgTIByQf3s1SRPAiJGfzKnTDxovL7GJBwcYSEYJ2G
dZjVN46CbcS0X7hkTFhZWeogBpA/ilGiLcSe+qHG6BJdSo93bzjeS2WMGAYOs0Iy6FE7dHGoG2Ja
/0TTuX4X+TyTSb/7D71SFF20TEnWDLbxSeiFvh0NSDWbPYtk440efBePhuH+jfxWdBj5GZMUQHqg
8+w5QUJQJRHRO0z1kkNo0xKsCDHSG5VptKK2odKjDj499N5rBG9wncxWdy3Cw99yYyw7KoadFgQg
09ud4803yjEAuOOJ/NjDsxRk150/KxfZmVss2dTE35TZUdtENcNh6EF5wlq0bz8DL/xIyDLZGQwQ
dw3b5qVbEWMSgV4HFoZkUXMnu60dw28FMDNYnvTIfc3fyE/XEv2MVlb3O6uGCOtVwJdCzkcJjeya
+9r4vAIGT3qM/daMQNPUClSEW0RXr5iGRr8L2i/s6/qxVdL6wg1rr60GCLBU33XDduSfgQM8bbXC
lHK/F5zdB211iW/v7zlUN13u6rgYW2zKRZ2NMZXhYGe35qn35JfuxqmefgnOR+Rz11dvPUF8YZMJ
IXMzl5rKAEGAEkhOe+578virf4et4q4dlzbt4oo5xoS0bSGauUZpYSnVW028fUgyYL09cuuDWwCM
X9hijIi4JBhCyEGqcjqPbjmNaxuDxRbR7dQVHvL4uNjN/a/lafdY+L8M2jrE8QKUwhW7/Klfq9uA
LUORZVH9oXloaes/nnkdaFtJ/prJz/+vSJhA4cjrDiR6+3MDMLJtYcFo+68d8DPtDx7UzXbohLqT
icxalCSTuRJ5qgntiFmVi35oKjKey5/pOX/6Ee0OXeo89rfIeY/0QZMjya2WWF1e0WUuxWT0iVR1
oBudji/NBQUp5YBChv2IJkLOBdwo2XwhxVwHMZyauBVAKiXZRbrBc//jB+eKb1rkFTfMLUiDsKlM
EyQq53w7fDNcjMo97jKfVy/cTlFXhJg7YNZipvXqjMig2aEwmZP0F16FMLdHewhltzGJ9NC4vZNe
XLfCDLon3I9I88kTr6d56yooki5ifRoekFCawVVZ6WlsRGKg6QstRlWprdTE4QVBm3UfRZaRjUn4
o7JQ+m2ahq3YmfS2eQ/B4AZo6m18+9f9iCYUjABzznAr6FqTY0SraGUyzyXIpcR5e1vIrQ/06Yzc
PO24HUObKeiaFhOoCLMAJ95S1pADn19uLx7grv1gpwLhBMVzbvy1eVq/RckmnxkKv6aW/UuUuj3l
CIaQaV9Cf3IBsfpxH/FqKZ+5HWsqVxyyeWamBAtyAwP3OybKe7ocBMmNsav9YB4Pro/xvp/kFJCb
A6EoQ7p+uHdQyvvQHwCL9j0EOonDOd0tI7D+HhqCrPRVNhuhlqjExdxt2qPvP0TA7/3xas9ohfxl
d7L3V0O8+pomE9YIs5JoWQsZHF9eIhSJybebg7wLbjjhE481xoSbipA3dQYyuP29hNVW8XTfyd9D
wRYb3zJO1yXJ010Wsd9Q9DBEhx1u/iUkdBGaayX23vcJWsCR6hV28hM2vObi9GxFGoqMhhRJosVg
nZHmgLdI7A0JkKwIQFYmLwCdw7RjOZGptvE0w1OYrZh0TY6Raj7AO7UtyCGIGk5TYic7+z7AGNv+
ujy3r+ZvthhHGBhlObRUMY2HRzQoYmL0+u9veto1I4z7k4MsBuCWAEacSbajR8nXXw7qO/be78Jb
7nDXZoy9Jse4wrCT9cSkpgZLcTPHqdTd7IW2O3uv9f7Qve244+NbSIu4Zr8lyBjuPBlNjEiAQTxU
Fw7W/2AHEYWM9O/o7gCbvo6PxHR7ors82W6lR2vSjB2f5TSUzSySLs+zD3eM5Y3pSHSe6nNUhG1T
b0qzVcoKIu0eRwfgFGgw4JiQzcx5xYhBGV2Zx7odq3nBmhcEMBSqEgDnNh2mfDBPAI/Abr7vj1jV
/ME9u603//XZsd3pyhDPU2mGEKDTuwJODlU7nxe2bz0ef6HCmI5ikbVmKKAhz85blhDsaQ7vRPIk
EvROhA7djsULb+kv/un+/tFJ9plwMqdKaSzIs2+IRIL9ktNeDbwg4M31F+fwNp8MFOzNwLuKis4a
FqonWRq9nrRcuvSz7YhPEn2vuinvbNPjwfdtdZvqa1KMMRm6Th50K5OoS3PEcB9jaNLtbw+z5HJb
zTYt8IotxpKYctZhf0YB3XhxUrfZKbYD3DJOcrAZ9a2IMMZDH6dRbnsQccyaiD/03WP+jWOAqaf4
QxdWJBgjMajVkqUNjmeELuxC99KS2jb3xptkHzqdC/2yre2/6bHmoq5EuRlNnBHe05SjtKvuqtyu
6soVLCfKj9PiDiNpPCt1AKwvV5jcVBK37O+us/0Znl9hmzUpRYGdGQqKppdj62LUvRpgVejEdB+S
58DHjAMp3h8e8JjsJJ4GeCn9Er9ghmx/cOu9XpJ+jyif25OzabBXsmHCQD0vql6bE+lSmSQdd8ti
o9Q0k196znHrvJtiMDbHqjVcFQGnUMhOZGGsdBfd7w5Ph7oiXOw9qkHXRM3EKlrWG3k8Q9S0LnI+
7xOAnQ3EP51eDwcuSuNWD9/aBrCDMbGw5Cjlgtp5igl2XSa2+hJ840HIbVYmFM1QUJsAtoXOrjvX
+7BT+qTEtbHDG8Wp/WCvPBS76UGlS3cbJLV4L8P7ifKREv3puvJu+8MVcebOxsmgB2pRS4hiAG98
vtXtW0S7Dx1qW4072fR1fueoD3/lNn6TZUE2qkyqO2zDki5atSt2N/YU2uoRbRV0uchfPQCvBPz5
Yrny+VMgdUogQcBoZDkPXkmwfssaHNT/j1zws00N1VUUmYCPh6YdRp6aAvCJYG6o3/BkV7eR8D78
IFgndnj8BaDU66e37RB/U2PFGMtB1edzK6G4RB/lwsP0TkdU08pBHwGH1qYDWdFiIicrt6pFU8DZ
+ZyEjj66qowm2tp76t4eU6yF8Xkea7susqLI2LCkCQptacCdQgavkO3TAfC27uTKFh5vnI/l8TqH
nKNTGEOWNFVQLsooXbzRL3aq9yhytmtzj4sxX3GeLkI2gkIjOPNdB3zZFBt09kfe1OC2TV5Jjsm1
iihRlb6A5ByU6WIXj8QYg0S3PB8cfTNkX1Fi4qSuBXaB1k4SikkvDs1ULxK51E+lvTdP/nfbTm93
j5n7iOiT12ezbTdXpNmwqdfGVB47MHl8O795l7km2KRI7GwXEZH26t/veGaLdweYIGpJ8ypQO3AL
uWqSLdYkfiqOdPr/ce7IY3Lo38v361q5+fAAVIh/WxR2u3wkGZFSWaAp+sjQ0Z42uvHZamzBt9vq
kNn8ItpmPPqbIltE65WxMCINavoM8J7IRr/84tf79t3kpZWfV+oPf76ixNiUpPm3PLUSqBR44fCo
dX4eXtGVdC4860F7+PlwwVbJ/mnaCREahMq9PuL1ipffUjW99iGMqZHLTm0mieoSUB2a28wrAOn3
8nmoFOIUvRycU+XcGxa/xAibpswS3NAOnfveW7e3SIuy/XFEpOEd9He80nEobmZqK1kzxidr+thS
pp7eVOkWC67nzxY09bI03Cxb4YmTsT9yG1miuYBW7TYeXQrxUpxm2wQ2c0kwRCf5AHF7nVz3m68C
UgizNViIi6cfy3GOPEHzlJkxUJqs6noU4voUJ6pj762t3za4sNyMkfJ0TYUYcyShBT4PLPAMIHvV
B2wiUNeSbxV8ZOHa/6u+MoaoCySpUAwQSzL7fPTea82uKt+8cdCVmtjx3yBs6ysjpDJhTUmxG3UR
6npEdIi8LiaWDQ+5C1Btuq6nn+HuFTmyGzKrdla1MqYe5dkpD9Ftm2Dqa7+/LZzaFjTS+TaCxGNm
R2cgbmbnD25X7OeGjWtfwFilMA8SXe9nuGnvfMTWl/Nta7/HJD3sKSi8m+0OFZG916dH7tQZJwTR
GDMU5pNZDCHM0NlBP277jefAtmBW1uf4+f9VKBwMEla3SgPOcfDO6FVTvMorn0bLtVx0TiFrexzf
C9se/ANaQP0fg333cJf7PTpSnyJg+AChw1988fZmcLHxPLN3z9PoT5yEerOyijWsOs2G0MjPdgXF
bWcI9SxSSyXsMMCc7SenTR0t9oSMjHvr+dBg3frxnldf2nyTXhNmrvA0RFYnhZ+ExXuNFDHBwMfL
WZwBvnDoX8X6jNF6XklyMypcU2Xuch1mllQDbOiCyuDL7Tl/SENbytFNp3Ku1mZYuKbE3OI87nQg
JVFKFvrcVbvo7AGyPCiudDZer9/jzT7QFTG2Uwi42r1apiB2xAhSWHvpW3SrX/LI6fd2acDn1O4O
K8Fy58a9UexD4e5wsXWD8PwefaBlb/P6O5jbLEZIvMuGMt1EjvCQzcSuDhTF6Dq/m5n0mg5zd6Ww
qKfcWsAvxshub2v7AVuvfMN2yQG+jc5nJzbv6XjLXqxpMilL35VDVC/gbertdy/BYwAatg9cjHSe
in424qzMRq2m/6eix+5R8V8BOXhv2jxPTQOQawfFBA15soQ6DgsCtG7P5xSz2OjYjSza1vrBf7Ok
x3GNGhMXJENZ61EAakFDMF1/OAz+9+pwz9G+rTBvfUCMRbHioSu6UJIucroXHvAevUR2IPAmvrcG
hPQ1GcaEaL0lD4VJde8ZrUm3aE3aP5C7by6glYAodOQDUvPOirEkyyQlbZLRszp2jqMB+OEJ/dW3
tRdp6L/lVlW2YtcVf2wTxjRmGSbAQQ4oSpZXHDEigX0zaI64foc3nxB1HVNPuqbKksbGHtKiRZIC
BMNLuewMWsZN7OV9jJynA57wE8Qe3ArOVqS8pshYp04qhaiUFESNxwZNxAIaFpBMohJ2fy9wHrQ3
dXHFHGugqmjp+5EqCaSoFrYGIT5fF+CmPVqRYOxRow8Ctg3I0kXoSX3WvgFxp7djLLz9K0+2IkT1
c2WQikXMkngAL6PtZHel3TSEztEeuahsW1H9+nwYo9SFkTEEMc7nOAQEUfbhBtud09v7R4oexH0J
2tTzFVuMURIUoUsmQYWvMn5UrxIWQuSSk4oOiidc3ESe5jGmKYqGTjU+1eHovd0upIY64AUZ8Abc
7IHHFmOearG0AHAAIVYOUIoWp/SNJ+EAM8F7IKS35Q+jvpIfY5ZEAESXZqfRiuF5uEgPB9l5op73
upZvVp5WSqEzPWFlFTdmXIAMCsqq/3J+e7vdYwwDq05PLl4kn+xj5F8nybNMLALkkArFIKbQDCBA
nhuksrIbNV5yc6wSgmTofxSkztiK0Wx6xRJB7vlFIOoe3QXo2LjOEsccsW0ukVFPnZSARJSQ8aeI
rgl7kHkase0Z8WJs0JlqQ7MYixTOWCSTAvEXGVXgwzfuvf3Pu9j24RgBvmRjISm/frYZca5oMsYJ
GxzVLgp13GKMf70Np/lGAMQ/L/b7DLr+VPbfrDGmaeomOapbSgajm4D1W0jlYbk2alWBzWuuocbg
Gi3GMOXNOJg5socLwPilh4AcuEnftjr85oYxR7HcaFJUG9T0ITd5OdfueYoA6quc1Zf8tvJ/7fhR
zLZx/02TsUvYcdQAvx5codz40siki4jhZt/DijyiXs3xjdv29jcxxjYtcqdHXQYGKbFzvL9+mzbL
xPo/SqeLjE2a+jFJUgW8GN47WqkfHvbFjlbD0fdXYr+bzSG3GT6vyDFxS2WqY7BoICcgmngZ3eox
OzbPwHJxOIS2TLqBx1EKjqyieZPRC3GMimxGNwbGeJ3g9S53UNjH3CKHypaHWlNhNGHCFEGa96CC
pwQLRX2VuIqLfXgcbjZ7Ctd0GCVIsnpU5hp0PvfIAGzkskc/LOZ9v3/HInVeM+hmc+qKHOuoUnkB
DH8OcsDecbwQ8cTFuzVIjx6W83yPZgWD3NJRBvLQvs53lUbu3PnUYGkqRoJ3xfm+/ga8o+ui3iyy
rL+J0ZwcK6HrqKUHOjnnCybsCdbBomkIFhlgpB/WiXPv1C3btSbI+DJtMlIFb+wyog/ZT2eiviE6
yH/hhWF0z7ckPj+UduZd9g8PgNOf7OQZNT7NBkJ7bqGR1ZVctyA3Nt7OeCh9WxZh/WGMb6q0SZCb
Eh/23KANxOLjDW7ZtzUBxhHNRV/2U0VF7Z1bOxOJ4v8L2VB65XmjzfLHmhbjjQZrKlqR3lM0rWJw
EBWQwtlfAHgrvv5Ivumk3FcYt3+uA14LGk+K9P+rVEDtxkkbqI4r2Dlv3WTudX3drEauGWMMkJxn
UTt/ntLx5S3C8ucHwz1BWxNsmueWJba8oGFYlmxhGx3QAxgpGp0kzhNClkvTH4DnJHsdPTQzPZkG
J4jdjCjXpBi5DWLfzQVGYi5HYAy+vRUOUG1cy88dTC5zzCuPK0aEgB6OJq0AKdF/Pr+rl9Tj2NXN
Vp01M4z9XrQOY+cZKFSPg4vJAgoowdGDbRfx+2gY021RgH4jBAmH2g0sbN2jQYffA7uZXKxYYbva
pqVSlcQaqD573ny+RLc/yQ/a4YSZ1V/zbpf4vOP5Dyb5H9bYDrYFGECTuPTwSi9nD5iLsIX+HUJk
OrjHq3hsvu+s+WPMcSCbgz5J4A/AGJfyPiThIYvQXE/wFuhj3aL9WNXkF4DPhTvazfzB0cXNWuaa
PmN16ZRPssigP/voWIBRRLMqsgCe76XqwEbMazKM7TW0zgiWDuqCuZeWhOeOvpdwdPI/GN3fB8eY
i8wE2kRSgxeUQbA1m6Q9QCUTkntO5Xf24RfG6O5/xdgOwLkLW9HfmjnGdlSI1Zu+BF2oC2y8+Trs
xPf2nUeGJ0PGbszTv03v0THvXyxy7r93O7VDV1qCUwPysE+7Zzi8bWVva94YU5JLU5TJMXjD0oMz
lv2VJPrOY4wnP8aW6HqQVhV1liXJ7lS8gHwOrvG0Yzvw+Uc7WLhmrWnS3lSggtBzzdu/pwdMDSwn
hHuWjesdPdwc7P6oHuUjZiQ4UuRwyMI364UmwOLDpBw96RgeLLv2Yu8IqEUOnW3v/5tHxprgqVju
pQWSPOIlc+rIKNAmCge1LEBovucdXsP5+xg3JzFWOsICOS/WJIpWD+4oahp6jz6BCrH7DOMYP+78
06sbuZ/DGC03UeFcCXaMVay0GU/TVK7T4nh7tBYCdeNRuKP9/UCs5r7G886RsTDpuMxGqUC+aM3A
/lhlhz3srY0u/1e6qyH00NmFHdTXD5Xnj1io50w2KlQ3wCRmgwEDCV97+ekDMufkYiSfJ9JNaqYk
mpqiSshodZUJIK0kF4KUsnhePJSI0G1Aaueb5h/AIdpuCYe7LZGu6f0h0s5UM5oAAQnvgOJhSy5o
DXdmhWj2jegdbAwqWmiE4dVwtqIwTD8bsqbQ4FKTvvIpZ1U0zNjpDKX1+jcDDeoV79pvaeeaBHMb
taSOJaWVoJ2Oc/s+eo8c47wZHK0JsM57sUJZy0AANS+aZKAtA/kz5p9czJxgnxGH3pYFXZNjVEMo
h7oTYojMbMgQotf8J4fAZo/rmgKjDL0WTRj/AAW8GuPl7p3kNAICiOB1pePSYTw24MiGoB9AB5n9
C5AzI/viG/cIfYBfwCFFP5mNfNYsMV47iucMZa5PlhwYxsyTfKDm4SrxKmqbqdmaEuOq+6aOsFd2
ocYJ3YJSC4h2taOWPyIHIPs6fLT7reBgTZFx3KYxlA2KKjiumqgXBHR8j8a5pmzNpuyqKNVGkOhp
gx5iR0TjqFh/Q4/E/a/n62fF0W/2VaGoaiUx4gkCnN0o9kyJvxB629r9Y3XYl4RSyNsyD3BGWueK
zXOa+MZEIsFuYruWgCZpZI7sVNPlOmMcQ8Q+LpTNbBUjFSLQOhLAUh12Nm+bw2Ytb6ULrN/ICkwj
417RisfLi26rgKmEKTq58eUGW5m52r75lLGmx5gKtU9Tc6DGyHmRXsRfJWn2t+hUzX11tBeMF+0O
pUSe6ojcP35wrxrvGBn7obWLuowzJe6M2N1EERt5dmMrlFvzx9qNqZ4zWYSmYHSifWhtulYtv7vZ
YZUsupw5ms8ziDpjO4Y5mOUsohrycp4AzehdTOfBJ5P/9MEJZzaLE2vGGKPRVgW21iq4ZUB3V3bt
D+3147q2b8ajKwpszWAZsDIBu6XBzBl+V9nFBMPBjw908gRtC+jc8x9HLFs98l52OaaeLRwU2rQs
UgIhxv49txmSZ97ZmVlJGdJa7PHrz4724xjtUa/Ga+RwUTU7ywB3hzIP91XtP0SD/9grdpwtygJT
E8JPn4K6GFaaAAj2PXRfgdny3bXbPc8zc0wwO0CrAHp8MhIa0TR38d0jD0+aZ6XYIbZUMpoMjTpU
z0vEF6mb71pyJnFIlJCoA/Di+xRBAO82c+XIGIwqTScFkBBUJbHletlFDl3c/R3Lhnf36Nz5H68z
u/BJHKZcXyrcAMQ3Z09yLjX2DWvYFL6HqfrgmSqOj2Z3PAXaqNWJ/HnfNO/8Fn2E9+ldein3sFX/
Hy4CY0AqXQ7zeqLkHASJL+dn0X+xvESyw5IED3gQi7F18rpJ4V0+tnhgNMECiNhPa4zKi3f74KsX
3z0cPgf0uEhvHPfClgtqM1bmwgCHI5pqXs7nAM/MpbuzEveet/+CExqYTI5S5123qMrn2QV35Qnl
Ad67zubL/Mocs+WBwSzRckDTIKDFI1kGovor3rYe8VzA8y2b1dQ1KSZDSfO6mtUC1ww9XQAmQ26O
8m2IJah35omQ0yv2pGBbD3b10MVAPCghnnFhlz+hmzgKZQmMAhDCy5xm5/u2iw4pZDC0s4KTxHwi
J1/JLNi6wKAlg5bOINfbKFSjNI4N0RPBiOWdT76diu+Iux7nb4/ZfUWR+bkTZ5sgDmthMxFKlhv6
ZBign5ICHTiqE8TkF5IADp+8gMFkYhOgzsSCoFDbibf13I3Qa88rT3N1lLEpsy4Y2LJEdRQpxrJT
/Cd0jjhcJ84LTdh9ThJKnbFUg07jvaB5BHnnJcNLdOA87DuiOgSPq7Zr71LB5hUjeOpiMQWPAZij
S6qA9Avtw/He91iCBq8w7ehmWX+6DzxfJxN2ppzsGww+kPYonD6ykfAqPozFMSQJQGYW4L1EVZWx
HZk5zjzIJjEJo+ykljfyYmO/j/A9Edwyt+eLapDrhpsJyf4gxp6r2CyVKYXZqUrEB6W2iNnVZ3ls
OUEthyc2S80bszTVEjwFGikXsohkxvaezA4T0pQ2RvT+J67YRLUehCAXRXCl9xnJ2nMl3esGJ4pm
8o9PyWFi2zQxJKerIuvUe8yjjNGSZycx2Ynf2zerR8PE/PM6IzwizPF0LVbvZgqI5MqApbcPUp7a
upras/UXB6SrhmQBuM4AqihTKavBTjVkZXYa85bo6X4yiTb8HCXtYAiaV+WyneU5h+YWc7pmaNjZ
gO5A1Bi/VhilRjemZaiyk5Gg5SjYV2boxUPitDpnYfqWkq8JMYZY0Ud5lPM2O2G5lJ2KhzL+EHWF
w80mER1wfOgDwwonNlCwtEU0NEpEjiII62cn+1Z4uK4OGzQkQAvKWF1jKGhyYkxUq5h9IrZifjLU
xCvqw2zhRWHROLdn41wkWVIlUBABKfZpKFctEs0YZ7NmqfmpGIV7fSodszVtQ3tNJv86O+rX0h+9
QiBkYGzLMlRVZbstg8HsC6wvzE9dP1F2aqPiUKAnuwoB/kVBxjClaqkmdiww98cMuiYZKyk/Se19
Ola2GTZ2Fp9rK/RajQO7vXU48r9pUdF9Vedp1tMhEXE4RWa5Y+J2qupU43+vylj4AWGJFmhJCv2I
1dmEANUagkrJT61udKdCKTNPaAbxpLZD6F0/nU1+4IWwkAzVf5UFtEsKsRDkIStOseh3Xe701j5G
4/x/T0RDbEI9naJZrNBiUzOVrkiKUxjfdzWAgOi6NUmx/4KKaqiQnC4bJovVoIa5HsGxFSdHaHfv
Urr/i5/HCIilqpIIFB3m5AdrbPqqLItTE7mSdjYKXy3/4ubDLP9Dgrn5nZGoc5qAg3Fx1eWlyA5m
/+svuNAlCa3qmikpImMlU0DFiZUCEnG12IIIy6LqtqhxFHjLuGg6cBABSC5ZOhusJoWEAGcAlVbS
nTFWiCDfa9qrkcR/c+YW9kehWiHr2A/09aYADLwy2lAqTnPpWio9lKH4fl1iW9ZF+03is6ixuozG
0NZqlsrFyQofNPWpVTR/iXUiYgJUECr3OrEtwVGpWSbiQslirXJmmA2KM1ZxmuJin6iJjfsolYUT
LQPn4m+Z5TUlxsb0klAtYa8XJ4m8jpz7zuOC/n8lsljPFzWqjOKkYU2uem4jt83PU8OR1cbBYMcW
VBhrkTBo/gk4sKKSSIVpRZWQnZbsDcua9lKxW8R4l2caSSRO+rXB0RdazLURZ90UIgG0xoM6x04n
2u0pk3javEUFvkXDpBlQfy2NkVsjt0IpDEV+ErEjk9RCiNWm9Q/MTsmOIeYBR35sOY76TerK/iHH
MLXMSZQaeglyb23UkhYF9rzx1DAgXeOr9UWbPrSGKDPJE88MT6qvC047niwltGFGHHHeCTwJUK1j
XPmXT2LTorBM8sSCBKLh2BenZbyN9N31K7ah+CBhIIZD5ztaMuSvyrlkjWItZpWf5BkI0uGD1Dxd
J7DNw28CTJRdZoM2RpSAYbQkUfZFczda3v9GgzK50v3aaJS5FZr81JuPQ/g0mgHBFbtOgy0H/J9+
/GaEMroiIvXqgMVcCENkTe9tWYq7R7O1TEfXAM01lXV3q1Rh6aW6FLlA+UP1QxAlL1a7dN9NVoZH
Nlmz+2JIH65/GO8EmWsS5qFppFTApvlYzB/C8P6//T5zL2Kxm1WAmucnPVtcS2uPfZRy5i43dcSk
mw9N4GRqbMvOIrSp3ouIiKbOHx4F6XD/FyyYukTBEjAkoTFHN0ypEQopfl+K0MwYHaaWd1M3D2FF
gTmEQYkLI5hjIKj0jZ3HGBvgJQ6bMkI0L/4rDWKjYAXuKdSBt3cSku/xdBCLt7bg2AL6kX+YmxUJ
hgk8wOnF3IBEj5G5vLJ72RMfZ7Pl+MMtWSmigk0RWGdjSSxckyq2Q1L3SFDi/rvYvbXKxCGwJaoV
ARadaQ76URJjJHOWWvnC2J9zXQQiW/rrulbxyDDxaaunYTLqIKMOBumMs4Q3e8O5ToMjK3Zv1jyq
ijAtMlgJeyKZF9n8uE5g68wVCcA1yBJMlCSY210MvSYOVFZoPt9JlvxTF24qI1ywRZzXXbXJi4wM
HnUJHTedSRmkQjUiPCcjj6uepwHzDhpvOpj6Q1aBgYbyDwXmRIRKsyYjAjPBUv8qjDTFItV9WbcX
Q32Z0vNiRDyKPJ7kr06hyYelN2TKU5YSMXvKep7bod/8J0+KpcmaaplYNfqVQp8ngD4Zjfw0hNng
NFL005IbZ0lbhSjYdoJarGg6yaK9lOK8FwPTu64f9Pz/JA+IOqxvVQzkxF/JF3O1zJNq5ggrK5Qv
o+hQD+rBKJ6XUfUbcSo4Kcy2QH/TY0x1uFTIn3R42UF7Sqqfw8BxBZv6jq2p/+aHEWcr90upC/h9
T/6lvrxyfn3TJEDgqFZglNb8HLRaxQha36kKKlb5aRI8zcT+MfGYlTyd2zwSWp0Q6e5XKMbXI1FC
JFylERanfE7e6wyl5XBy9XaX4bmFV/FlEYQ/ox5FA+4qZsZRm2fROqW0D8cuRkVkzIbID9Q5JMMc
LrvFnAdb0oTAFlNNf8RIOboolDLxkra+r5LkdTAFrHesFtUewjB0JCuxdmnQZaZdV3FsW/3Ey+E2
ha8jljVlIDRhHPKrXHK9avq6S5FnDRppfyZiD8n892UPGb2hGIHA1nq4SiYin7JSNZq8QCQRBra0
WHYJWlPyfP3SbSrpigqTx2NlvZLLKqhUodNhyEm9WZon88d1Itvi+hcrGIZly1CJZEkztlAWJ6M7
dJYXj49dwiFxjQ9KgrHHop6MaUillRbuVB0K9VxVNrckwWOEvQ+ogwphBCp1/z5XT0Nz0zf+/yYr
JonREkExsI8ejMj3eMuxpMOyuH9BwrSgXXgWwHwbIyu1KMvEjJriFJjBjTJrMTEEMSKofznXCW0e
ioVkD0uIRBUx99drEgZKvQgF0slRbTwJuM1FJBHMW2B/Biesp2rK+g6aupuGiUE91O+/UhKTThal
DrbD6ApbCD1zdMzgQ5h/jGayi/LvsxFweNvyHmuKzPXMzHlcqjYvTqaIhabWc1CXnNiSxxNzNc2h
wmJgARSEcdo1wx0g1kmnH2pTJm2D3lo3TV6vn9eWuf+0NpphSUhhGClmYSIWqYV7OonIX8iMUVzT
Kd7U4HKdzpZeoMiOCjsgvaU/FFAZy8WoaijgYu6q5DY79ouXphwiWwekQekAbqlihJN1J3OeJ3m/
qLBsxk8lQct48hfXCAUw05Th5HWLhQpve0lPjArOcYqK/NXI6gaIaXl0SoZ+4agC24Tw6Rt1rIA3
8GSkKpbB6IKhYLm9sMAqaNiwSsp7LMDzwiR2RflUidL9knWk0X7mJi/Z3DJ4YA7Tr6i9Y/MW/f8q
yqiT0qjaaMS9qme3SiLbin8my39ffVfwII+XN6x8M3U2WjeiZAR6xpSeDC3TH5sqnDxlUqZD1Q0B
L8bdiNsR4OqiSuvWKp54vjIEsJh+DM05PZVx4NVRfKtEWAsud85S+5NxCMoJoYY4kk55kifdNqzh
Xh96Upz/H2lf1iS3zXP9i1SllaJuKfU66vHsjudG5VX7Ru369d/R5HuTbrbSLPupJFd2GiIJAiBw
cECdmrWpljPdAVyvDLpPv30nLj5sUeeznSZD36qp06e+pjlfIqdnMTovSZzsE1tiK0XmwUWZLkQJ
h4pOYzAKd13qp920LVRWR8d4fu2owwzjk2bsg8onY+aReDOmCdxP7P3JUh0TTzMHF+iD8vNsqaXV
q1mATAl8dcOm8JeeqnihHXQZuGxFebHOf+UIJhr1wslpiJX6+TAFn9ohzw9WPL00PVhvb69oVRLR
MQZFxQ21VUEStWbFGqo59Y2w8CzrPYo4K0eyvS1FpBX5++DOxAhWoK9JkFW6nvpkdg3biV1kG9hc
BNtZ67+lvQkbUG/Slp/60LxXy2FrO+3O1EeMSFbnDQ07Vx3sw+2PWl06ri7MuAOXIZLRckLm2h5w
ocCux/RDEKQskZR+V9wSTB449UBDahmIWy6vxpwpJXBmGu6sSuM9L7iXWeMr4fVjrnZvmHqjShR0
VSA1luBoqdQ5wl0cg6GO8HJL/VD5HJWWp86s/AI6Ky8df93evVVzdCZJuIqGhdiY1JA0TS86+FsS
8EFjnBmhSPZjjOLwclvcWmbZQGIP/yEpYsPqXm5lkjpJVCdK6g+JOoMyPU82VgVOvcxQQ7cdswBz
zdLW06JgRP9y1h/AgFvvzaoAajhKvwVVO3oRpk7+yf1xDGwENUzLEbOydNDH3lLxWU1xRJ2Z1TNn
evd8e/GrmnomRNzrqesibQ4ghCEaNP1Bc28LWAlrTAS6NgpjiAmuCAsLmvVVotmpn0zc8czpsVsy
aWH1GKFmubktazkoIeCFLBOWHAAPBNhCqFZgdrE6VrBtVmG8c97uo655uC1C7MpYzA1k2AgGEUXB
aQrvhKTse9UusGHtXB8KmrOgx6ObMKdJ3UIH1qd+K9O3OQeVN8m+6EPihuPo2ShADFrpFhPKVq3s
m1YO8eKb9EsFrnULhToKDg4nNf6a43mfATRh5uhfMtgwPuc6mIK13uvbe84bKLP6NdHLdxO2MjVj
STCxYiYuvkWwS20A1LkaAgcHOKF5IH1mMzWdqqPdVQHLZiXfjvk87G6fyurB6ybY05AUAEGwcChF
HFVDO+BQaitp3Cpq8PrQ1Pn3rboJ2Mg/UoRtxvTainahg5As2jnJJ9IciuDt9kLWYtoLGcL2DXHj
ZLTC9uXDa4yYSkfspfJfNPwVqNTlU+NGtrFXQFJzW/DqNdWp5ljLzBtd7M9JO50XHVBYvqnuSH6M
+q/tq9pIhKxZWqzuXynCOVUluIDRppX5SmzpgGGM7SbL4nTPq1bLvLjX5jubOPxzMiT8UHWjco/s
FiZKKzUIp5UgcWnSdKxMgkAS/q0r0L8fJhxt1pRRMZRJ5jeb/kGR+LPV63m2auFMSddMAYwgYJtq
wRqr9qbxZyxjy5EdoODEBjM1Gk6hOF0YbsIQFFrTrwZctw6NJH5JJklwGWrROlGhAFg7j9tQP837
ft5z4/efPxeasnzEWTjcNunQJSH0ceyOdVh5JDjQLJXo46qtwgPO0CwTpUkqhI5pVyPXvWB22yRw
rW4Lc5k035zsWJRfb1+vVf36V5II19Lzdsbhw5dr9nCcu6ckJn9inM4kCFeLhMjbTzqMk1eo91r/
UMoGcS2bceVczwQIVyTM+yRpE2yWNliwrsccfZy5/ZCoL0tgEpqcYcDM7V1bPx9LJbYFjn1NzLST
UguSaAK+de7zZjc3QfjY5MEudAKWw1ghiu+S19siV+8qhmibKFE4CFiEbSxhBqEQeE3U5pfUuWtI
wixFhkAUG2X/DiLOpAh7ORMKDq2RwJMMkW+Obpl4Q5Gx0VRZpY8Fm80Gs+ab5w4BKJhOIzakDUsL
vFl65HGdvNkYFrgZLMwk46NnAJLVWl7RBci1dM+2htaP27uyEpGj1LGU7w0MZ7DE5Gg/9gsaCN8b
VxEjzeQN0XfDOGbqX+2J2LKn8OoZEMSKloFcBMjvL+9+3CZYSrfE45SfVLilXdvpbm0OjgRHJRO0
/PmZkentUW3zEnEToAOuZT/aLV4a4STZvNW7f7YcwZRFOoKzjGA5qboHlL6TxD5iz8/fyoRDwUOb
ovT60d9ytgqlAfIs4VhFXRy1unC14pAWndvmKMG8FDHxwnbzbBey9+D6shwTsBGAaFFvu9y8Msur
BnFn6uv6o2mHJ7t3JE55VeuQZPs/CUICIbPtEb0I8AGdU7LRsJkeq+9xeKdUdcZo5I+mLJBebveV
jTuTKDiEqQjialpaU7JI2Vckylnfb+yuQGQfMowM2pPhkGiqN0fZ56aWZYBv76h1VREy9UxNbayX
k+Kgt/m+rCVeddV1/7M+SywI8aRB6DdifSD5ZN0cPtDY/NSahJmJrDdBthjBxHVRNzrpspUx6jUn
2bNV9utCSNUprTpnI7aqPo67/W1jt36h0E6BQcUonqBGcqnZfayUw5zi08u6c3nS7/qSeNE0H4pZ
+ysuDXSABu0zd7rniEd+1MlQ/auLwwRh5FRNzJgR89p0UGxFWxpjmilrmI52laei5uO328tcA1wi
fw10hA4KEqxSsH6OHuVGlhSZj8ynO6NaPoLKfbbwagx1t6zuAKFrp4SZR3N4idt5k/bqNsiifZsa
DICu7aTVB55o27GO/SEiX29/3tomnH+dYDWrtsiTeMTXqU3GwoayKn27LWEtoMFrXl0mNVMEeoIB
MzrbSKsavUB5dgh5s0nietsPE1P3iA7wnu/3hZl4t2WuRTTnMgWTlhJalIq97Hn4NelNN0zBoVK9
BNjOtPl1W9aqHmvodQEgwtHhJoRL0psZT2wN4ZNtvOUAEOa1cyjD8UvaW+5ckJPZbzQebsbIeo/T
Uha8if3ZH37pXPxywmd+iZZJlNNwynz0kZk2TXco3aNdrd71tXpq26dQibyRALjL72pUiIoh6hlH
8sDrIi/q+BYgzq2D2GsOZtcsZLMm1ny/tjRmULoAj8Uijha1Q5Rb2Bxt2pbxff6SNpLoYvUtj8EY
uo3VUSBFhEpvmhKDlw5eu2WNweZB5PbNk2aVbh6qTw0FtUwQbCgogZReEnGsFTNQhv1XsmDBtAxc
o72uwvgOM4ubiUXDfdH+HKuf9fjTMGamFkCY1XcKwkotMDeNzLj8x9rR3afa6INArfvy8FU9pGUP
Yge/UyvXrh9LWiyAXLefZnfWgVl38mPY3vG4l1jv1RuGDJCJgW/AuYl58Ta3hr4PB2x6oPu5hb6Y
xnC7kjObNrs6ljUxrqrRmThByQHgyDi4YxExhE/pUO+U6NGR9pXI1iRY6jnmRCvNDmkTA/Nsa+fE
ta9afsS824OW5pvbZmNVGHqw0FKIvLMpEhPRcqjRJQfd0bnjxsOGY8RMor5XSOTNscQHyWQJuwfy
MlrwJR8UF5ukwXuu+TYprMPrh5h1JbkVa8GPdrYwYRerdIRPWYRFeb9V7COar7eA+7oZ7sLtLVy3
vGeiBOdlxL0aqoqOxAL5lvPyLtXvAkvZhEnpTvY3hK59Aqx87VdVL4nwVvXRBEOsCZSnftXgOiuE
E6eA0dUo5qIOv3hcu0MlEbLqOfE601GWNh3UKy8vN82cUms77KQW0R0Nj02Se2kPYx5s2/4FqUTW
aqokV7N6emcyF1U68yY20GUEXI+Z7/BDrr8XJrqsjXwHOv6n24e3KghbB0yBjVr4h2U7E4SmN0w4
bGu46GycduXU9wiDqtlr1NBhbVdK3hyrB0aRHfy7/CwycURtyOt2gB/Kwpxp+msfc0ZkycGPWE58
2GgAryKmNRHTXnWmqZgm1lawioOTeS1tukNgoxxrVZqbd5Q1JHvliVqy+XvSZLsKcIpe20Z5up9D
r5yorLS1uscOHJSO1m/ssXCYvFWzrnOgpby7r5t8ZrTsmGnOGyNBEHD7PNc2WNfQX0M1ouJ5LChr
aAVlF+gmoiAgTiGq71976Y1fDJW4v+dChAWZuto28Wih+z+qPF4cc2C6bi9jzVSeSxAiR21IBr2N
CE6wzFy9+6H1O8yiYy3qvDqa/24LWzsf3aQqhtKg7ggo7eVlmxy8tEOEbwCflG5dJMdqnA5NdG90
uA23Ra0ej6VZhkFtIJw/+DTPrlsFCAmCAJr5KUlcrntFA3SVrAVQJkSIhHO7nfKIYPMs57XoMRw2
3mR59j+uRHBmZqANdmzY4LXoj1TRXFKcFC67OauKdrZdwskUKZqBKo7tUgeX7utcsoZFi670GEB3
gmNH3GYJa5i7JLGcGZ2FPalfkF51+Zy+dp15HHV115TV9zByJCJXFRtYbdXCU1sFwu5S13q9V1ID
b1E/jmvfIoDWGIe4QuUQSGckOW9r2+r2EcCHNRtFb7iTS2GVYQZ106Zozldb+GLVHnY0MSqJr1pV
NzDY2mgGRb+TqNN9bhSRMuboG0ydwk302nRN0mnwx0Oxu72g1ZtKKPrT4azQrS1krEYlcSyuokXR
GcxtZb7xKNyOXcrs5P62oPU1/SNIHDzYArFqByXa3CrMAeH9uHGG17QjkvORLEdkm6jbBm+muc59
yw7YkNNvnD5EWb3JSbi5vZ41TTDUhfMG+UXrqoE+ncqsMUmY+2E7A3FFQF75HZ0JMoVb024Trh0h
GVItqrhtWW+YXUfgfYapv5sUuNgqrH5GnfZkclTG8+D59rLWNhAW23CWVnegjAUFp0Mehphml/s1
525BfyY6sidKsy2Gx9uCVmu555IEU5HbaEMY1Cb3ExDtuPoUATHtNNZjY1KyDVWKUa8Tbw9mmPbo
w3B+diQI3c5QFXDvOH6i1MRtciP8g/tw/lWCNVFiDF0cR9yHyniz6Q9N/YpyXpTLCNTWbgO1EEwg
wkZrhiksXh+KPAI4EXYkrTakPS7eZGhlnEJr1hgUFcDpAue1YLgvrRXJKAUpJxoC9bIJGe28sCvf
7bY+NrqySTrkpGNNci3W9Ad3At0CFgUU6mNm8pk75lbYFqgj5miknA0W9Q+6QV2twxCKsZOZSZks
/XJ5AJS11FraxYC2+auIN12WeCESAkEwe7eVde0WIs2HrnwAdnRNBO0gcipVZbJy39BHP7E0PwC7
lda0uywj2ypLJRiYtfcRsGSYDA4QNBDdglE2NW5WeQsQ9JSDSot05L4Z/zI65y6y7gxAgPB/HZ2R
SCy0ODfkI+EGHJtO0P9kg3ZEuPtmlJFRidBma0XIKkXtYxA3nwokCXJq7AwLGdu5cPMyOan1cEfm
gMVD8wfmx3GAyEZKTVMd0dzpUxJPuo0+XGeqj0Ntf84Tw63Sfm/XsurQqvYgcw3QMo4WkK9L7YFO
pqVmobuhmCd/dIZ7G+DAfrJOVBp7r4hCNQZ8QRTgfDzrhfMs2gKs/BOA5rR4w0A+l3ejVxc28AKv
t/V0VRBeggiEQPGFLrbLNelaZRW1jROstZNFrYci/1VMR4XYv//otFR0GoBIRNOQ5xCyc1ZDU6TF
0EVhKuohBKwxVxuwXkts8YqRvJAiZCFrc4wa2qNzokLaKrEfYwsc0OUfhKwXUgQrYsxthLnBOJy+
Vz71wGQS5VlX2qVAWLSxF9ite/uQ1u4ZJC60Ps6HDxBOqZqGwYqrpYPHJh3LSOY66SOx3iYCj15t
SsxKK8Oe1ernEDRzaNA53P6AtX2FciClj7w17rug+aVTKP1Qqrjn5siq/BceGn9C/mOdyxCemw1B
ZUTvICM3K4bSuEFNZuWSGs/qQlDjN5EFgM8R8R1xlqEWWYHMJtF/2QVSEfwxcWRgi7U7pasgMKEo
jaNELuxWN9dqX5dZ6c+xWe66iVQsyI2flVp/AqMWl3iaVWmaqoHlABVEiLu8wV1ijpaTUvSGhPOB
6y0L6/q5MyKvKGSTT5YPF95qFqhDYGqBjkGHqKD4qgXSxtgMSz9yXjGZe84PCbmzh72RSILytWPS
4ceQrUEKyRFbUWpVryoSKIVP6nJTBO0R+eFT2htPv6/W52IEczEmxEFBNi39ZsZLaYfxH84g6SdZ
bubVlp2tRNgynTYjmM6T0h/6jGn9r66u/2ivwF5GgZTBC3DRj7P4qWsitbQ7LILUbxBAnFe1/3V7
n1aii6UX/B8RgkLbY0vnGJ2wvoYGZBZPPWdOOwOesEnj8c4eTU+pqzslJ2+35a5F/Mj5okdIQ2nF
Qmrocm0giQ/b1rZAslFyY+dUebWrYqNjcdCCB1+lML0ItHbjqFtvg2GjBbmy3bRIjA1NbPOA0mfi
qtUE0srbH7Z259CKbQP1jU5HgM2F7+JDNDjI2vp6Pe0sx8ZjZN5OxqmcZXmxNfQ3ZtOAA28J6+Ci
l6tydryj1jd4EOAqaIl1mGi9ndODUdONPTgubV0VpdQhdvZg+nHDB6e1toE9eFMZPwx0dHX+TEwZ
WGpNpUFMYKMDBPQAyKZefhGfwB4RxmXpF7VVM8rN0I3MoJf4vDUTcC5FuDh8GPSyN6Bz49hw2E9u
uXoEJkgaTNX29mmuulf4VzQRGpiIjUzN5YqMstRjbS5KJIN+2ZjAMQBmVsVLkXJQwWB0V2n7Ub/D
ZEi3cuwDqcc/MOHA5tGF8gyNJh8t+WdnXIV5QvKClyhdHif9mL83VcUkd3htP/Gus/EUMTDPScxz
TEMBlu+uxqk1ihdnu5kHXjRKniEyIcKhWWMO6ggbCykBb0P8RTF/T5eR660KQbIBrgi0nXiDXJ6W
owaNkdkjhESPyAm4NT8V/fAHRwI8DECgqDZhvwTL4wz5XCLkqdCQ35TMzk5Vn/zULXQkZn8SLgAh
RUz0sBoUBYPL9TQJaOjatq78hDe7pFC+Tfp3LY/vcHlv6/mK+4aHMA1cK1TRML/1UtCUqDF4l9oS
LDltwJxK2SpteKQ2nhbJ4Fn559viVs7pQtxiR8602m6DHHmwpvRpN7Gg/KqlqDOV9e/bCXTkfhSa
KAI7ET4bjHmtRoEKvQYmuGibXbiPrVTixdfgDYSih3E5HxMdk8taz9YSqBE0eqwqv1HobnDMhyh8
rbr4RNC+OjeVV5ZfAaV1i4SzJsD0mUJx06yV3K4Vw4tyGlhkP1hEAfC4/Ag0UhRZ3DWVT8vqUHJ+
LGTUuysaggY/5MQB7VyskXC1ULXosi7JKp83FquD+8jchWHBjDxiwShzbSvLQbIaYQXqZIZNxQYQ
m4QFtbOpQmpEM2YP2l+/W1GEJ9ttPVxbFKrqFs4OQq4w3YPZBfM86bAXTovRQLVeHMhQJNu+MDUW
VOjzo3NkStRyZXGIxVFhwupAnC3S8ueo+w09SNp8K6s26dxhZkqi/0HrO7bOxFEt7ZGG+CxrNYxl
cUanQgeGQ3dtpaTHOHKUo1mOjeQGrGzickpEX5ppbEvkyS242iGpi3pJjL+wxXRp42jWXczITIxt
UcQOs8vWkCQN1jYRApFFs1EcAp/qpcKPrdMpeVDUfhbwr0q0QNSdYHdbO1asFED3aHhHpg6djyId
YhxYKh8js/aj5kRBvcEdDEpA+8fvS0GOjH4ALIGSEq5uagVJUdoJ9w2w59rzK0rCXNn8bzKEy5uE
o94YScr9rDTcXY3+Py2VwDDWDgTIAbxqES05RMyAtf2kN3SIObxisqcz/5knf9LEDaom9IQBJocz
ER+ZRqtZvDMqjk5msgttxdPqcNN1wf72bi26c/kwwyLUJctt4mkBQuNL3SpK3sxg8sQjnYQ+N9+J
xhnHbNQ+lhFuyiQtV+vMd7RJlcG7RyVaL57t5EseoMeOfEqVL7cXdH02WBDsAI4Gj7Wrs2kSm7ST
0cO7f9Mm1sqe5LKfF9IMFXidwg4Rka+ktmfZXpESyR2RSRBCLrMmcRh1WMCwaTCj6PbuXF9zPFXA
d4/wCk4HbLmXhwDAwtRWBJ/Pg53tFKxt32gksZGrMpCrRdbAgGKJKG61LpAYDm2cAH+k8Ruoi1X9
9fYy1vYINuQfEWKArfMmrEcCraUTK/o3ENDdFnCtrGChgsFdrgUcpngtMDYnmjJTK/20GTmLiNr5
XKtQla+qxB2VYZb4yY+Q4vIeXgoUbkc1DmhLAhWNz3uXTruq8prXvt7wcKsc4+Kk9RJFkC1Q0OOw
KMxRRb3SJ2VguNSsg8OYK18KFcBUg+dcYjEXpb1eHlgg0MNtI8RfDvTs8ueBEhWdMWN5ijF4RYtW
KxNxgDbwjd7/qI3WG7VSYcE0SOzbtcNe9hUAFxXhlYX28UvBfTDHthHglQTYTl5t8yL0MBMgaCI3
Th9v68zaGpf6wcKpjgYqke0crWNJV+gIsByb+znY7+zyGGB2A823epCwktqMyIK664uA7kJQCsFL
wGkTcURcmZYGghy18Q3jZ7tQbEug1Cvbd/H7wvYVemIPqYHfH8YYiYf7gCXhpzJmKZVs3oo+wtFh
2xCBACsmUkEsFJ2OMesNgvofQ3YPXbDQk5dLE0mrC1rEgFwbcY44+yTPG8uex6DxI2LtKxu8KC+d
Urpz3R8zS1IXXDZHUHq4cAhCoIC3kghDLye8nnU1buFbY1aC1saM8Jr4clvrVoVgDsmS91y4XoSQ
ipfKHFITQkLsV5m89d02a95uy1jRbErPZAghlYK590UXZi0IZVSXZsmxBrh1xJiIKVY3UfXTGFI2
tnosebGsKje1EfIi1sLNEpSP92ZApilvwT7yVBSPwyDLGa8qHV6zBn4emTxx+lJGSzTTlU3rq/VD
NgbI0YweLNKo65vbG7iyEtSHbZRll0yhcbWSolaNaRg7PwaFw8YY6v7QtLEjcyKL9xYUDrgavFlR
+QYCSvRardJGgdOZnT8Vs5s52VsZ0VOvadshbRnJh6epy5/MuTha8Y6kR42+kf799kqvVQWwK8B7
FjZavPtEQw//iMomMXpwpwTFJgKyYJsoOrLC+hAwrqfZJgpRmsdok4M1TvnhtvTrA4V0JA4tDLVA
Lkm83W2FsLCtae+j4c7tnZll6g7unVVE8iS7NiOXggR/pvW0CMLA7v002RfZdqi2A1p7wpNCZGe6
3N/LM0WlHY4L1UZwFSNIv3RgTRxw2pB+8NshqVOQeGf1UTUKuilAnOvGMxgsHScPXKDPOavGUNsq
alPubu/rtZHBR6CbBg9evEZQN7z8iFjLSdJCg/18DrwxBINEMjKFm5ILv3J8yMsC3YOLgqKhmIAe
g6CYrAF0jHTYJA9NuLRK+lFVSMRc6+jydgcBKKZG4PFjLZ9xFow0qJ1kdsrBKmjV6l1ldPMpUtDr
ZPTZ19YGKzeZ1GZvZtMzgOiGJCARByMiUQuaVnTngGIOoHBbXGQ19zMdS1vzLRAXTSaGYc0vVXbK
fgyJl94589OkJ0zt3aDbWumxfcIP7abgpf9VmM9pcFBJ7Mo42K73nS5tzGBZRF8iMv/Lhp1tSK4X
FjqKI92Px6baTFzl9qNTJH3tWpFVojGvQkVHYhJXGpVArgcin6VhAkctlof7Ts/6NpsxzsjumYHW
s9zBIEqbMpCaMrN2vDKzN9OcbDj5fXOMoi1mhqD1EIkwdOldrjfUkqxsMk3zjVzBFLyUWH4Tt/XL
7UuzsqsAAwHJhecDuE3FXFGd8R749xC7WsTaQe0JV1iJdjzWGXhoD6AikBil61sKH4Z4ECCyhXtU
zIPVyTxSG4NufXRX6qDsI+DS+pZxi+enZCxjKtHklTcLql/OB18YKvxX5b+So66RlI3mq8TLa9e0
Mc2NVYYH+nwMeHPuc7ThjL9t4S9lCqGImgQWH2ipfZBhVMND55VW7YKD/PbZrZgIsMRCK4HFA0sJ
1S81JK3xqECmT/Pt3Oy5O1utlrtZyQu8W7K0Ll3gdTE3hFbt7IXRjBa0XAF14+2PuHYyiL3/bh4B
B8QVrzMGl1FlVHp8hKLpO+SYqDeC82yrJdw+WHO8HTozllzLNZlLDA5SNuRPUI27XDiI8ucR9Hqa
P07Un0h0mlABZKXhcIz6UP3QSSSLXNtpoDVQ8LMBnwPF3aXATDEaswWXoV8Uw/coQrMi2Cb1HBBL
0E7uiyR1lbJhdcol2rtyWeAFcP3hXQGDEfG6Go90Ho+weUAJKhs6Du3XUs8dt02afpI48RVLAAIP
OHH0/wAjK7KjO3mOQBPTDMDxFD61PdrY03rTEXARITa5rTPXkSa8GuqnSLugj+CKNDcdlIr3IITD
JAAz+loT3m91hauSzVuXgkQxQJ249yIuL7Qw/lmDBfKBq45ZPlXdPq0GGVJ87YjwescPQS1QGFy2
9cwtDUNbDpmdGD7N8tlXje6XGYWtWwNJKbEq65KWVmFAb1EaWW7FmaQKNy1N0szwg8z6Ng7W82S1
90of/Lx9OKti4PURfCBEB2fapRiUo1E+zXIDQBsdBD5j6OyWbMm+qtVZkoRbXNhl2Ig5i+ABBpcL
xohdqfccqZbShEQHJ3x2BDDKNerPNVfdvH8wFGWHf397aajIwWpo6FqyTXFptW3rUQcgvt+NX4o5
Yw6a23QZbcy12qEKDY0DAhO5S1ucKa2aWWyBIJyARNlEi3o1fUnImEoM0qoQIK5QaFlGGVDBIJUx
hz6PIYSYTad6dV2i7DfQisZ/Igjk4LjkFqpJYkuM06VVWVg1Wcg1a1cvcsQ94Vy0P373ZHD8qJdi
1AnMOvr+LpVOnbmZYMgnwUDUJlc3jWP39b6fEAKxrqi15On3xUHvVNTiUBnBw/pSXNcGHJxuke1n
Nu9Yb/fPZkT35PepOoC7+Tv4WLpFDUHM3NUDSKhj24+U2l+kgITtt9M3DrCeyKxhWg9ACSK9j5Pl
pMyU0Pb7Nn7FoyVAlc/+UWdU1ol37R4WQWCt/UhSwmhfbpmZoPwb0NRGUfG9SZWXEiOOcnMba7IE
wZogC/VseAYT06bECal86NSgikDhTErHDQcw9IZoa1fB7Cw7ntuSrkZ9DoBoqp2K4wFt1kZv3w1a
eUMHNkwq863XAQsClX/WhAGQl5sXtbWDBykkGcFJK/k9uJgqpbnXwhqPVEk2dH1VMAoYtQe6bvEt
PtS4xnON/dOTOHKLUI+2vIofyrws7graSC7uiiECuAw4C6BMAfMRV9aBuL3L1QFRQ4TKPFO08M0G
0vn77fu6KmWplAE7gghM7LqOU90KCr3WwUyUVDUrDJ3vNAR/v+36QBP/AdvG9iG2FHS8rrQ2rHIQ
xLd2lnmJg7adTFENtybauPmDFaEFBNQr6AMB1v5SI8pY14qhaRHZmXHvgiO4B/+HTSUVjdV9+xj+
DPMAA778+VnIANrdmdKoB9VFkjtP6LBMtqSIqHd7LVfaDeZeGG00sNkqEogiwlIZQMQXgvTI7/KQ
8cB8wsA4rzHgzm3z2SgbydaJ/HioIiw6AGcNsCU6rEQYACr3Kc96TX9JmXc69YeafTu8HFjtsYp9
ubdcd694j5I1ipmAK6FLWvNsKxVDqxy9hNDo0HpefOS/jvu7H7c3Uri6VzKE4xqBTkmQjNFfvPfP
kmBYxE1e/bYQ1mmtHadBht/ensbDp/CQsKO7DzYSMWLi6EqMcIV6RQ8aB0D7l7eTxUr2aWSH3fcH
n7n3++e9J9mvDz99FkBeSRNC4jaYObeXQ7nz/tK276fh6dPh6ftuo+zuWxfUX65MDT786S2JS0h7
pgYT8jBpvWyjd9K2/DB775F7OBxYtd+wgvUbw31N2PMv5yBZqpjHuFqqYDBmU51SlS+CQdX8eYaS
D3vp6hY/9N+ru7rJAfm/1d2B94p52xc27g+J9/Tw/fO0dV3lyw/vtsavnyBQvMuQemTDiRAiAXLf
zZwo+stfrXfaNuzTU+Q97b6zTcU0N2DHR+9N2Upkrq7yTKZwlTvga4MgCfSX4qDOu/vJ/0LZ/ab0
mk9Hd2DPzyp73r/dlilCw/8+vjOZwtWOs2E0HGTaXrzoAHyqOzPzh3Ysf0BZ9qH3+Chr/1i3V2cC
hfseDB02fXb0l8ENTaZ73j5wfySSnMHyI1f6ciZEuO1JaAxL1Up/MV31IXj6XzdNuN52SYoEjwb9
pfKgjem86V/Gb1Pi77Pd/tXlr4+ZKxMpPEmvzkm438aQK3GL0OBlcssMmf2/vrtucbIPj/sjcBXb
R6k2Cs7zSqBwr1OnQ5InDo0Xj/zY/3rTJEkDkdtF/H0RzWbPEzfVGIp3d1JY45b4Z/dF944R23sy
dfjoX7qhD1ftBmmoWv2M24zZju4pZ6dPnz69HJ7I4efDA3M3X79C7HFg3g9ZKnTd7/yriSISLVKi
xlA0SL77a/ROkbs9HB6YT9mX0HXdHxItEckRrzZVsCBa0zWjpeLQIv/Oe39v3JCN7IG87NqJufvH
H+E36dZKjJYIouAcnQ+9SrDAuy38av+cec0u8lCG0X5NbLjbp88TC71kJ3UKkksuolM4LY0MsHv9
pd2+nU7Rwyndb7chOzyZ3s63d76rubrH3f2Px9s2U3IzxGapEAx5ZZrjKn57iVnIZAht6SEK1gVw
BJ4Vi+s5eaO33c7saffANpvN8fmXNFJZD7/O9FOwKzbN47AYoDF3780jBhM+eKG3l8QI/3EJECUi
/+Sg81mw+XOcaImhpQZW9L7NvBlKeXiALz0mrHIf94+PBrt9RGLT1/+/CP9KFBwAmuRHbVok3mWH
9/5gFi4Cr/40sf2jjFThP0KFf2UJ58XjLhw10Iu+5OzNe9e8l+0TLMv3HXOzzevz4+MPyXZ+IGSv
rdm/AoUzC0ytCGuSwDR737qnTzNoxT2Munfrkc3sgMk9zGfj5mv813H/HEbsV8Syx+XpsZ8fUgYf
JXnYr7umfz9H8BTOUJla2mD9XrqfBpYf8mdPNv/pP/T0HyFi73dbF0Het1hzme6rzxbfsv3rcf/W
sf9tMR+qfBZHU72z27nEYqxv6YsbuB2zJKGl2Aci6uaHPp2JqEyO6et5ZLy8eZ9Ishm849Eb2L7/
f6R92W7jypLtFxGgOPM1k6RmybIpW/YLYZfLpDjP09ffRd/GLSvNVnafW4V9cDY2oGBkRkTGuKIj
HEGZ980BXPJfeseiSiZxGow5Jhldmaj4e+lsxFiLzrI47w73dpTb6KNN0zoMchDaCk/Bk9fYHln5
T6erSLYcUv/NU/6PJ8aW5D1g7q/hJPz7Cxamk4GCrYy8ifZbco63vnvK4SxTGh9e6VPImZ75Tkzc
UT02E9M1RuKJ1XVSvYvz5qzdb1u2JMRG2HrGe4e/PHmZf+f+cczYl1b3q1GfaDb0WdtUinXYwF0R
HrafK667wjTM/JJNxrRkQ1OEUQ7Z3G4HuncE4jjrZUuWNgLIDQLl+2aaYznYvY5d0RVDaIKaFXhk
caqfV188jniiKU8c/9A2NLIAcUacOMLqgc1+6gt38y0G8FKFZzu4tCZf6SetDPXffjFp9t7RgMFN
YX8dweXFULz3lM3fD7Wn5dr3LV0Gqi33bx/EJQ8vr6+d9Y4AnHNLXLYYrxIYIoChiyahX8DFMxAb
0qsVU4vjV30XCu8ol8xYkcYM4lT8fkgu+3z99iEQxPhw6IhuL4lB3kNyDuAwDAQuA8fsz/p0SOqr
QECYJrwYFlVMp8mykskIECp7PFlbzu9Pb+Av1n78PsOahiWYCXDR4ZibiECQyq+J+DmseTc1q74/
yDDGUYEN9tSJjWc4w/r+YE/B9X2dnQ/cftBgXKvWuHpVZIKVhNQOjMTeuZJ2a1ytyA33wTK3ek5n
DpciYwD7yPf8NEmny5GWtXUxCWa4e4qIZsV7XuYdxx/cMQbw2tQ6Nuslsls6pTXdVL8rY+v8tDp9
8bKq30O594SCcZyM0U86RcFJNqBjOYGl7Wyo74nHFEf42CqFpIjKqGjgKcRghPv01RH/gyMUHMH7
9kR+Wr481bs8AYnnvUKLc0tizFQbDteaT3py58i+TdUPOlJUYAu0DzrDcnvRlm/JRuhJelitCt6h
zTtP/ySB7XExjTLJPBW3s9+HaIK14VV0pMCTy8378Q6PMQ6xJxSAswWlwr5YR8fpyWO6/RMTGx4u
3T5nq/uXNf98/OCMsRLYSIQlozkOUSYJuSC9uX581OlDTR52r6uYGpR7bVO29N61MTYjKsa+9tC7
4V6fNWHZU3u1Oplu8oJ2Pk7kx2WOMRZZ7PshZvsnYwGPVyfgbr18VKYqjE03sBicV+sbWOEeb4zF
KDLvOggaCGIF3dt2f3TWNRkP1R+6+jqd/oOTRLMDCmboT5nKqGwc1HomeviUGu7MBHPs6EQ5BYXV
ShsMFBgv9wXlu9h3y9otMcaf6TBE0C6iAlq9vSB9hcTOerk0T6iZ4A/nhZzJRN8Sm2Toh2qbQlsA
dHwihhQnGXfYHxVYa2IfqmYqCfHITSJ3jzfmxS8qpWzHDuSwgL22BiptCgLUYEvf7zCs46o9YhjK
eZ95NBlF95V0iMJrKbvo2EtSO8PseCc+oVuXc2+/vZnbo2QUPEivSdwvwJt1QWQEkJerXQ3OJrWf
VqtR4Lq9v+3XLTlGuxehYC66BmxtL3tRI+m7uIOi3efp9xt2S4NR67Rsr36HKTi36CznElDlQcSy
KErvU5l5/m/JMMo8lH1mAHxERnViKwIFyM58ktDhqDS0WcDh4EnhJGX3pJBxAXQjrDWhAj1LPu5L
NxLIuEc+jGulOJLHRkHDiBbZUvq+ouRveeYJ3HQsd9hg26RyuBijVuB2ooFcIARQYHhOfy6tpdhJ
8Khz6HHkm41/BNOUxnw6tf3z9T1wuoeUZ9Q59yIz1qH1owoTq2BoOF22oat0liY48XOOxMKWI9kz
7u2NzLFhj6Be9WQ0QOt5bwlkT7x1SxFiPXWElzKfKb7dkmIMgx5ItWZ4ODh07oc1aR4C0OFlg2by
k7dUGHsQJJlSZwaoPO8vzfPbYJtkzDeNVWpT4PhkU428xoQchNftfisc91uLFkfUjVH5+f99L1m0
Ae2aAd68nwT/qpFm+RfAV3CsVvw+DJ7EMJYjEmOjGQc8zB1FTbAL1zoFpleqEYtaHPHn2EKZMRrN
IvSr2m+RoyRbK28Jes3/RE8808RRMmWy+j/e47ECAGLXTWKpkr1lLE3y9nZ0yXKJtdEBeeYY3kny
7lgQhXE10tILIuAayu6l922VlDvLJD5QNGz11AZ7ft1D4dBjvI1KykopADgYShLHoNjsUE3VqbV4
MK2Gl8CbKRDc6AM7WCcWUiXG00niUfHe4HJnxDmuUdbx19f1Dr1B3NeS946xkKx649V+0YE9C+b4
uCfJvltTruvLExHGnPhVYXj1CCoN7TbJQJD0qhNChLO6hKVEoYFnljmeBtvUXg2DCWxySMl4fDZO
BUpVDTcVNBP43V4X42qUQVZ7XVdNDv3FGpHx6i1vuY8C+77I8w6PMRgjljPWnTlZyYSM25Tz6zxT
/2ssLQ9KsW3BRfKcacTYXHNaGWsFs9SO+Wry3jDOxbAIymlVDUD0/z6z1hKfTUf6bCQiraoVr+DM
E20WhC40YsAYySBl7eHcLixH3FdO8YqXjJcUnMn230gCi/TaDOUV3fQgpaFn4KIBsRJ/j6hyVWTt
b8SnMrX7ZQH1/eKGQzyjwTa4F6lWyUOO90RGmWPvSDb6ua6IiJK9bpvLpiVUImfa0NxK9xxjzHlf
2HUaUho1UTI9ZXFtKyN1BRobljryoiHuTTLmY+HBJW1K0BkmRQsshF+xg5wlXCwORzOpttubZFyS
RTUOidznMjp2nvcYoW4e1cP4hmSbj9IbN+E2U+K7JceYEKnF5FkxBWBoitjnHwaZnLktt8o9ffWd
R5Mdwcf0f5KIKsh09PmiHx1LsrvGRjFqtO1VrdL7Bmsm03HLFeN3lFI2RNoUMj+rC/j32zEn4rKj
QB+xMWFGSUhWK90yeGSnp/8OlyyQrx8rCTCjpsPElqXco1QkkfXlOzzveN4gAxcP85+oA7DtwlHW
h2UXDXCOG4rNAcJJqSjPqZrn5R8Nxs1pzUUzYIfjZLy2/YuNFAf54tVR/pu0zT8ijG9TGEnZjx6I
XKYu0IquE4qmowM6jjbpcvUfxi//yDGxkh51wDgZ4AVs95d9sqeVRZ+QRuQc3WQMfkvBPyqTQ/fD
HdW0VNZGLAB2n3ORAP6KZyGmQ7n3+4wxamvJiBYlfj8iz3vZWhwOiMFW3A6teZX9xwZjiIqs7b2+
/xaA6t10xu3ewR80mdafJk0PxZV0Ozqs8JoZDv0KzxwVnn+n/5FnDNOgJ55SNiDvHB10QNuYAOa4
AjOdyJOV+EeC8WuuaaEFijpxeMEDjUbko+ui6c1f2miCR1vp5su0vjjCMW9wgXQy4WZ8L/i7lQ4h
UjqAPI8IiQIS7qJD/Cr+VY7NOrWxD9h7Clfc/sWZk8QQC5aoTBB2ALtk2OzVxPS9dhTdwatG7OWS
/Vc/qrFoPsxF1PjGq7TLDHNYXU0Jy+gwCnqAj/S/nLJCuR47oTAgr05Dkdh0z2g6+sQWqiBIoptX
pzD2iZzaRvZyX2ZmIqWphQSQKBiimPaT3h6tfvUGMasKye0jV1to5AocyvsUvkd/GN0DiWkw6P8O
izFsGComDKSilODWR+QSr5G1f/NLeoxRY/QPx/Vi+yjQZbravWiks3ICTiWn2VW7g31ul08cYZpl
GBjH2CQ3wV6xYPgRgJzVtMnRPBwgZSAXllrxsDrm/BFVBFwNoCywxQnAILeHGieYd/ZrH95dTS/A
LQ2IqZMuJ1FHkKjdoIe+Dy3t4HFOesaIAvhtwu6VZR1w6MwL7huSrzSlBLKKTLJ21fZAyeN66JNE
MNcJGEEARQO7CUt02bYjzAzFfpGZsADH4q198XbCZvMFfH/1wbovOHNqf0OJeRQitfPHPACl0tnq
JHRNO1pYkbXaNsSgpXOf2lw4gAkR1cSihGkNCbvhPIsLBQ4CLFtEIrIvUruVyOgjMSKjS+axpQom
LarxIOx7jbTLM0pcFkc054ok6FgRJ5iKCX+LvcDB7/tS8QS4zBvp8NGv6iu5ruCg6+IyWdOrk1Jr
PPJg4GYaQAxQxYKXxYSlCfCXW2kNVbEeBzFRXLlch+aq6TQqAtyPho/50tR2zUAbHbAD5P55zwXi
OGtMf0FWMZvIzqKJHXAhdG9hukiM2+1WWhfrgEgvJ54t/+4zYgR2GvOd4KWAaIM59lv+EiHU0r6Q
QcgaBmoV7+LUX1A+x+SorX00VQokeW/x/+T9IqAv2JRcWPJGJGgnBS7d4oH3hs552jcfxJiHcGGm
dSxIplvZ/mEfO9dNRd/8lUD0QxyT9hDaWUBOvM7E6VfvHQNjHbwu8FQfU+pufCXmY7SDIj2t7t/p
jI/9gzGgRN+e9KIBcGIMbGp3aK00AIb8tt8q66vK8+Zm3KwbOozEGo1ZVQsfdLbhurEHk7adYx4U
UrnUjlMLA/1kg7XG95mbiZtviDLPWFgrid9gxN8FzdEGIE8rWpn3XvfoI1Xd+7Q4IvILjDT1I1Up
cm2SWWnTvctWV5HQSaiqkcNGprZ2ySxumva+hGgiY2+DLhbCMcGxWuVasHt6SKnPsekzyojlQBi4
B2aWCqR5dopSqCohzjrPdGVLJukSu3x6a1yO1D8Lx3rdvqjL6hwi8lSJru79CAtLnSiiPgp06/Ex
f4tJWZModn11yUOg+M09QE1FLK0B8pEI5hmhEuveTzCd77ljYWkVhnGTdaaY2MiCNuE4dnQemO1v
eQI9bJMAescELaUxsUKfilhMUkSeexFt1w0oKhcX3mOtTVd2q/S3RBjbp6Hl08xLEHm+HP86ztag
W+S6nIW1aEmyypZ7x9ruMYZwXGOm1V8Fx4fXzcYODu+Hw0HeJA+Ixk9APyebzdWhm80Tfeclb77L
efc+cbqXH6Gffx19zVPxiRY67D8+TGTPWytDO/O+IO7ysEHT1LjZLOhor9AqgE0ivIdoUtxfHwA0
CxM4BmgRZF/d8eqrUll6HqqBo4NdwupqXHWv+UDiVXYUXnk9LLNX8o8cm/BIADIWjaXpuYqR01C7
qAUHnGHG/cSl/6DASLJfyECHaUGhdNL1tSJvBRHtYlNQkwYH/zUn/XNJJY7t/26OZo8R+CZYag3Y
MhGHeXuP1yI3+jRLlWkqNiMFUejxSpxHskTf0Q7idEbHDE94ZqZp4EPAF50ASYB98l19/Sk8VeyF
1bVTXAQVCwsNpWjPKSzveHjvSGY3tg5f7un9vnH+LtkynN4QZTQXs+zeQqlBtLSgNRXBWNL1r2et
nf1l+2lan5/ZyuraVZFBbTYppScNa6NycvrfP4O3zDPKjX3OrVAX+A4FiSAn28TW9eSfvIc1GS6p
rb0oH4J7n/UZG3nDOaOrkmioQ1g0ipteyVsuE20NFGaeFzyjjzdEGEfFD6UqzlQQsczjm/b3EZA5
/RJFtNN9Xn47Kzenx/ZaBVWq96XUKq6xDI6PD/JG+LxPgCec7LTJcM11TzRBYTyKbzUSQbKFiYL1
kijWrt90l5jQc8exZjMTFGBLw6YHAIcBGoGd2IuGBLC38YDTw6g4Zhh82632LhGmYcHt41KnS6rS
J3E7kGtKvk7ymsP07LH+oM9k2gSlx95stZ+UI0ED4lTFcQrqwnnZryP68DLNWB/OT8EmsJE159zp
THL0lntGNeGhpdcQ+8jd9nJ91zbQzH6FhksYdfvhZZetDwBqCHhtCHOm7+bMGUVErI//PJ35NIBq
OUd15a41AXNwj7pto6lk8zV8TCfuWxa3ijWrLT/Om1FJeag0pDNAG+0YPkqBz/HTmown204e3pVd
iBQ0Nf+Tfojbc2Z0FJtPW33EWjeEME5quTB+SwUtmK86T55nYmJQQgoOi06RUQFM1u2zopnXMPWN
BW4U6vOx2K6XMdkBiMBGPeJqDYTXfTSD83FLcMp//HhSsquv14sRBLfW/g2lQMjQo2E9atYSLabS
5LNSJCC41Z5Z0/qDz8lt+EkW7Qpo7gdZ9Jfsc2ehrOODtPvU3e0pfpuGnngFkTnH6+ZkGU3VxyTT
zR4UG7q1nGhVLNtV/5JR8/EvuoeWNSpN7+dzuY9wyub6pB71tWHHtnLgGPx59fnBOqO0Uh2oiyDB
h0ToeNk77Rp40xgMWV53u528yckms9BZJP4P6rBzrtLNGTCaW2Cr2kKNQLqwn9HPhrmKbFkOcHjF
1Yk7fzXj8d8QY1RV8eS2bytx4jN8aFO3yaiqk1K0I+2oRZxwdSZ7divHjIpKgixkeT5RG2mbwg6K
T6+bCm2Op6kqat03+7yDZLHWAYYr+NiRDa3ZI7wwSIsKGyZ6pnkeIIZwzPxMG/gNbywQnVFi47Fc
wugZ+2IDlBdClpgmwjAbxo5pal8tnfOszTRc3FJkzFAWRNE1qkFRRQHpzVlG6xXnBGcfzn9aYDB2
pxrrxIg7UMgtR11hR+/Btg8bhDvwfHjJzvl38gcxxtpcZbWU1RTX1VrGpiIStdxv/+DBsJbCMl4l
jmAJFm/H0bxz8oMsY3ICMwmlRQSyCdnu9xgmgT/krA2LkD9k11kI9TYr3/lc8YZxeCbGYExMjPVR
8ZCB8PNlC5fEcRawMNlZsMnyz85GVLl5EqyUxjSkPFmd7u1XtPCDZ8bEhHVcdUoH0hkJHjS6IJhY
wGOyQ5uk/W7TJ6T6TsZ/EAL+NDXswo1kMELkskFUnEaqcLduQh/XS89ZHiR0VXFEl8ciY2rCIIpN
pYGp2W61jpYoEE+V6P9kPOJGCdmtEbVaGlEAYH03eA2epE8NNVThtSPbE09Qv9sf71waC73bmwtB
EyMZ8hLs1GN0wGz1vnkudwvrYz3tdyCPj3gfdwcJo/gHjcCd39n68hU4/tcJ+SP6+P87YTZtFvrd
YmwmfZXsBcF1kogud5jaDWzl8T6pmdak20Nm7FCdqgutb3DI0FCBiO/OuieEXCnE9dwvMaN5+uKp
yO9q6y1Jxhq16PeKxVRFzJI78RH4suIa/QwrKlim1W2fgLvjW+arsKt4RYjvTsl798wYpDD01TKu
wSw2T1rYlE5rwXp0kJxsloVH0N+LvuWpHoQuWejR1to+rZ7o6+sLXJORvh7QYnT/9GfaxW+PgjFU
WDNXBrmIV0DbF/aHgMhlvVi2NkX2pCGf94nxPEC2MmKIeRUMFc49+gLiqY2EmwMsrPV1uUiI9Od1
GlfUd0hmWCv6jnwwDOX9D5hO997pMw6RFkRNOoQKHtWPPxFvlcFMgen2KBmrVMmZ3Pkd7jaE2hLg
s9mHd/s+A5xgARsTbr32fqyvvTjC8qn+1ilIhLUaDwHFWImAsqFAumaJIKx+DIldmCuRpGeO6kwn
9OsEgX6oiSiwA6FycUtf9Br/GmLxibtNd+qH8geoURwKs27JDwqM41MOco2eAFCIgpOU7NrGGgSq
CuT5/knOO5A/6DBmB4jSeiCPkEWRov5oLx9eXhZ0ar6Er8oL2OdF4wcxxuAkNfY5T+GWW5ukzI/G
V5ucsd6Z9KlducO2QUMtD318Utx7N8VYGtMY2rRa4ByvX5cK62eETcNbFDUfK/9gizEeZRBW3iIx
UMkllwkGa8KveDyfJ5AkznXx5I5xasS+9rVqwAFur6k1bhVrNCyL66XyZI+xD6kUhdiGo0/u4gWz
Rr1I4o/eBjzG1frqVibAjJ65/YjzNHVkVLAKUDFY1AoxNPEUKYGKmS0rPsIQ4iH66rYIYlaf3IL/
pDy/heL/EWMHt0q1FbIuClVEFdbeirHgwzIIBXYFl9LsE4s9Av/FFjvDVRjDQvL9q4roAoNIJsku
XBzH+YjzBw3GVAwlVlirkvedwnhrA4LmiaVENgAnipcc+ZtpWoBx/0GLMRfZiNW2gwda5mpvyejL
cqR1byevh4Y3Ki7Pa+6/o2OMBVpCsKNKEmABcUlTaertuG/sfG1V1HEfHx+XJs3t3XL32uwOQLHY
fH0BIZA7ZzIfgf7gmDEgvekFvldCME0nnabIvbXTrKUtr4lwpsPv9mQZIxJdlaYJPR8KsG0tIEUj
QJtQOtIt8kGoHW3oU0pPJ4sHtDXv+fzgjzEpi66NPXkAf8+X/UV3mv14Opwn8aHc6GjOek1tPtiV
LSrAs2dutG3aQva6WHWrDcqhGZYaIT0iPF/XygWOFpzNz611/3mbfpFVdGzwwAoFCblRhUU28MUi
L8tEVl1Fy7BL7Up6XhvP5M2wFLDmEF2CqL8BYJ4RDzX1vUwXJ55IviAloe+Lv7w3bNbd+UmEkY22
CWLBaDMV8+nEeqveo4NIL9vka3/BemcZqR5r2P0P4G/nzORPsoxoKEqmefk4kd3XVnCdBv8rTD17
bk0qawkwKLumGwjl5/1Lm82S/KTLvD9K1oxCNyST0dTB7zdYEjAld/YZuHY8p2ROKH8SY9xVMTPq
ukxy1R0bahSHxNuM70G8NC0eIsWspv2j9MtprSu19bCME8d5QS+0/BLtNu0Z6IM8jmbTdD8JMd5p
m0Rq0EyEIlSCgCDsIJ8OdN/lA6YYJEflYxlNP/jfKwH6+PDffyTRQ8WolWa6sIgAiRBd3vTrk49C
wT1A5vHBAvA2rhCwgkxpXYyljnK3jjaufBs8+iGxLN5Jfg993mOMsVhj6DeqjF1kLnL1l72KVPVF
WIkFGU1L+0Ot1fOEVTts8M/yhEnb83ljj/QljdGUTQFvw/ue2af+580y1kaWi74dZHwPqk5OYmfL
/rG1V3LHDQvmbhQ7cYHbhAoQVpwwN1oCD67pkw6EhJTszYsEOFnHR33giafsc47fT0rMpSqtYJhh
A0rjE9xnIaY6MZ0WlgZtoDCnUyKbQJg4JmZO639SZS7WlIZE74tedUOTDJGVLMUaqbPxAfWeCQ1L
Qvb3k1dvmX6TFSbsuTDQmKwC153tdGqxKr0uB1V1L5cF4JYyNDySBQkc1bTyVVFaHrFVZGJPtFkl
HvBChyWHad4HMJeK5aVwEyVFddGP6b1j97DktisxoH7yrogU/bUZJgmGYilfOZRnH7CfrDOXHJa9
IPQxWE8rq3hGhVZ8Nelu1yD1DFeD6MsXKqIvMjiNvO3oswHuT9LMTSMh62txANL5H8nuS1eR1hpa
3RsPfXCdJb0ar6ZJRW8boVs83mSYKeOc+pyA61NXMS59geWKDO+imYLxMdCRiAao13H/nD36pyAm
53P3EqCu+Xmf3gzgm4nY7B89huEkwTxHo4PeNszhnwcLqlkt8TAImL+gnRn578HZAZfZ3KlALs3s
YDlg9Gsl/weTbSZaDiVFkbDKcfLCbl8FvxMjFeB9uhtjbklUSKCfOkfd1FNtZVh1H6eTMhI07vD0
bEa3b+gy7kNS6oGH6TYd4ThwqQGacSkw0up+jNC1R2WtuH9SIP9uxrdNvV8J6y+dOyvG+wLGpyiw
PW5IJXyBv1JfMIb8gZnW0/NF2Vy21ebTd4YV59LnpHyaDNCxkw/7mzCzc3vWQw5cjQRtYm4XPVxd
yUJBZ9gmzpTGOVXbYKm+3peyb6wOxpjdEGRYHOL06setAClDbzc2EQb02FvXldjawjlZv2+evMPT
xibB83d9CU0DaBmoAVgdYYaA8ynTo8d8ioJ1nZgZwmwm1oQwn1Jhg2VvdpXgGr4T9QlRdNf4KIVl
eX1QMae0yDed/JqNOlG7ryRzouYUdtbV7MlVzEkuvRf5Xg1LEsIExkACXUXhrsMKufTYGrTt10Lc
UMlwS+EQjHYB2N+/Ca9fdC6s/snCd13khwM15NlQ59jG6S6eqi+5XktmAMjfxtx7Czs/CevCo23j
3j+3OTfxhijjJg6jtuiMpBBcQbRK+E5O+CksbHU7wp1xKDGOdLEX3bOIXpYTrxtzLqy+Ic68RXGQ
6EFsguO0QbPxUxSLlv+gyY9DbmUF1gYLj1LKSXvPdHdDRf4JCgsZUchGofRGLriqRIvK8Qy6kLAW
7m+7/QBksPy3KNfNH4/80VUyKrCJRbjgPQYcWVUY4zzGAibfJJy5LNFQon8fj1NpMrd7wcYYKfZR
rDiXPJ3jjXJAKzCXZGBhKLbY/4I2MxpDFMSy91zfoM4+O+RPih06uk5i1AsPNm1tdPTQ5MhRym+J
vUeXEa4yN0I1kEC3Wqzrl3KLRXIAka+ovEIixXL3IgpqsUOWlbN0U8tZ+ssQ7nMYrJ9i29TQvJku
Yyo/3D+N3wno79PAtA0OAuBMrJlUxazXNE/y3OLZvBKjikj7geLTR5FYpfkkiA3Rco7v81vSGZqM
eTLa2ksDRUajtf5H3ponlW7OPMir3yWlWyK/MpoZsEMxeee5SJIlKzx6Orlsc6sNbO0hWmLYxnjQ
PVvF4mTAAjl4gVHk+wKMhDT+ryV8+hK01mOjtCov8C+3L5FZDG0spRrYlT0U/I8fxwlQOqys1MOE
zSboOZL2O/vOEGTOVyzUMkha1XP7clXXaLZuP5u9vh/t8nBIXJhs54rsoLTi0P3tZ93SZXdtpG2e
ejhxz91GX9tLdMhIYmNZbPTmOS/RdWqWQ5fBFL2YD6en+PR04sjyrGb/O2id0TAjzuKFXBmem6lE
rEgtktoWTskDvBoY7PvEfs+PTMxiXhV7XE0NS4iZDFTjN2YtKoHgbpWldwof0p1nDyS00dNElQ1g
wtFniqUY/nLEPNBr0k71ecxyPX3d/47ffg7zHYxPid25RpYtBA9wAsuowPJqW9rRyLpaV+crtOuC
fG01+z7N34O0DE1Goo1AWGBdsC+4FhZUWk6/c+I/rnONiLvek+5Nkcm75qyk7WZ4Oa1Wsa2/vw/W
+xleLs+znUSZNarYeI/2YmzfQzzBvB6mX/iVN8DTwezIs48k4Oi2x+CSHBQabYxlt+8WZBPbFUJJ
ZWVu6rdwU9JNsSAWb6pt1qr9/BQmEzHIfSl4DT6lildq/dKLVJW33ZO/IGGPaXthff8SFhNrDOsm
oDkRu0y8Y9Dh1qzkRldj/RC0HH5Kc4AdtXssukBNKkCB6PM+sV8Rm4k1Q3gtdV3DukMs9byllYh6
kpkahEyt6QB8unQrGJiFOpjufTq/E53fhDAhidV2Mm6VIVRfw6Ys9BAOCbGSx+atjZBe1Y7q17tk
xXZ7XiHlr3PBBH5nkW7Jsk2DbaRnSHlirWeOlBnOUgnJrnA0B047b8XSnOGY1nYjIMP/SHBAbs8y
6jszCzPQaqfejlO7cuRVd47e3MleEDTzYPWX/aS8ZEfUq9BW8wG16bYN5fUXzz39Nx8i335IZhR6
k6X4kEIjyiE0N5pnS7Q3To3+p6ZJQ/KOs9fgd/ZwOucfvDPqGuWD2I8RSD5v972VfzrO29t+u92u
cqDZVccUWqzR4/DXrQrSnO3EXUxZgeIVz3PKT9LOahDKaYoqYycyJpVuD2CxyCIUYFTBjX27yYFf
tRX9Y15jqbnTmEsjplp/uL6aPe3aZWU6HFGfjOQv/cUTgnQpmiYwf8xQz00laJoORlQn3j7FjNKV
+qHVORIwfT+zaScID+J8lmFcgYYpZGkhf5uUH0FVGgpRlDU6ttcuji2OVsxSng/wq7yLn1dNJDkQ
emI1s8aeae75/dA0wVkyDmgyoEm4lqNTLlw0BeC3qSPQxNYAB+D5z6n8amzlkeKAh3yjSls1tEfT
43ibs/qGeXJdxmQ5IAm+Tc4PprG2vsyu6Ok4j8IpqNd9cVK6c9+/VMju5dTIqFQ8S0NN5OrSSlY4
6nY7kvE57N51nbaYUdb9zJJHksd/hY5ezSsdM6fT9rpsYUt8ea15/uLkObCCMS0Fx4p4BUtF2VYa
X889LNFu/bPs6B52IcQXRYfDWKdkbIiSUUO203JZ+HRAiJY8xD7Hpfh2SNkPAKCCil3nEgAi2J5D
ve6SKi7U4JykqOE9GEDgt+DHpevuvVas7n0E8rRVPY/5flG81jmAMjQgy+sfWUbRuhIWoaU6CVAK
HKOmjTzlNhU7E97Hx+KcmHThE1F7VExytdvBFlU70R0smV0svZ1pUNPpo7X2ko90PFzXjUcwgb4w
rWwTaI6HCfVPD4kIt957FCuHwoTIAmmuVvDeYfeX93lfRWfNlSmbioGWpkmqGd8qqBpPFT0tOAsh
DY4FCS8SNTYBjS0HiPAUCmTZ6EdMycNRseJVZNn54yZy3vX3lb5WrdoxV53PTe/MPJI6amVAMZli
NmCZMIY7kQJF9wcFOjbuFzm5jjR/aHSRqKW/Kop9u78mVIhJ9mRkViqsVO+p7En7WGu0UXja9duk
4FskbCGEG4wsPusGD6hypeMQXs81JpPz9bCw4nfccPFXDZ0h6kkeuaVPpYUlqJvJD+pIFbZkQEnB
v9pS7AhrU6VpZC/al07geYe/jRESzPgDXYLfgmr0rYlN8rCIsi65noO1cAmczHuowpX4VSH0PngF
yTFUnZFI+DP+TaK3UNybIYYFxJX0v26CNvEdCkQI49VYSyYz/nLW91pZd+X1HA8P5hPUR90lZ5QZ
muEkNFeg+DjlXw0Z+NESjWXxpLecd3cmMgPQDCosi+mZw2Y05iCuQjKWi0AIzwUaDFpajTTTafa3
8l4yWxi2XQFEkV1LyuYAd1UoH/vMKXy7M0j24R8jde8JcPucKjyGj3VJVU4SYnLqbu3N7ddNMvbD
Qpd9UI3y9HU1xnUDGl7xMMEEj3sze/RE0tbWfb2eCZB1vAioCMjYpDwhu9wSLMqxGeoxSM6htMux
D+Nd9OwmtApxm+09z4GJubpiuVrIJDhnIR0L4vM6GH4nOLFpGyvDAcwjogK2YN1ALy1DsZWj9Nws
U2y7efBe0eIF62p1L806Pos+51mZUdQbeowIJBqWbHsh6KXil4nnDp2T90/1tz8zMaTAd4cnpWGB
+O2h9km60H0zTc9Ar/SxEPir+/gfTKdNXhEjKzdUGFlZeJiq1PwyPbfGujn1W9mpt+YGyWq/XGWW
shUaju5MssASlE1DxxIEdLRIbFIB/R61IMtBdvbKrzpw+vq5zXb3T24mdASW6A8aE9M/FCC7Trtx
C9DI15daImK41VxhKW7LAVWp+7TmbklBcAVzrSuqbjLn55mJL9VtnZ3hSzSDjWxX+n84+87e1pGk
619EgLnJr2wGUdGWJacvhH2vxZwzf/1z6H2xK1F8Rcxg7+4OZjAqdnd1dYVTp8A7XhrcK7PYSTh3
VteyJtcsa/IgkoYyPZM/bQG7o7Ebz9uGwStTHeT3sqZlY0ap8XiBM3lWOJ7wb2V0/uNV+mWiuNrM
oM6FRPVJdvYwU36AA0Hew8RuGBNjhz1h25R6HBrsk3DJo0FDPrsKT269Yp5ddctInz4XaDyn5e5K
ARyr1aRA52MaJStC3ivmtS7toTSU0m58ZFvWPTwTtOj18BMDmtYvzlKu9F77kKPE4zVeK7jT03g4
S4TG89s2P3u+LkmfabIT64VA5N76QgRyCMggyDwi7tEdvdqvKCkdxlGH/Ay2b63rXgrADPwj20qr
3k6e5ePj47kvOagKCN4EGexS8BuQubgVBzSc0LNsmZ+RDG1qjXC0sb3C8uq9bJd6ceSOEhqz1TCE
v/lXzi1m6bKNduj2QuMDcJtVZO/gr0xpL4IgbmPO77DeDmA7UKK5SP8DOdxqzc4pqfpUrzJx4cW5
5/QaV30ldJKaJF3LAr0JobvuxJ+/ze/gJRr0aMOBcWZdobHDNCixQHLyItk0aFaPN33uiNUxmsC9
x9yx6aXPysYRuLbKz9KgZ47WdooVdkAVq6qefPkVlUqWPpb4y8R8t8syj0WDAIQDb+DtMUeqUDl5
3WNGky50Zoq6YpJwGscbyiV/rUFVlGuqkTDUYfUoMTjfrFOtFelwBM5G8ze9TBNU3r7yADlcvtfh
mUVoNSowNMijRUQHl5ZP3U+S0Q6QkdrOwH7r03rYdd6qiFfyN1/ShlnlmZEhNllkzrqfPYBAciSd
w8IISNqmSsR1vK8MjVScPUFjq4hGxVsQUzc3i7CnQvvppxbrvKqeGX700rETdbF9EX5QZJIkkPbT
RAWDmykohhqvApR3SgCuC7sBjIrXWYSiKIWRldrpHtnUnJ6qJv6mhHz240P6bb6bHNLNKiZayeVR
JrOSXJzR0u6rOgHgiOwEsHIN2/IyfAMtgRKQYyU/mAXufgyKHQQmRyynp0RZlQENhzXPWr3ey3pQ
rdrEUoeniN2KjJFmZuFQ7ygJh/SJfPpHITN84c1tMVESheXecA/in8oxSLrFjETnrWM2hSXIa1l9
JgjqfvLAKmKd8V9D1SrDQ8iZA7NyQpOXaLFPEXNn+z7IjLDJqehpg4VGCQ+/4q0ZSQtkKkD8tswN
tjC5hvbtk/dde3qu8kjl4M9TC+yrJy1s531v50QpxvfwypL6VSnIhSIWZ34d2Dvm/VBbca5FyKVZ
rA7yTk+T4dpqw0+Gkb2IXo3EKizfXCr/S+OxTY9VRtMAvEsQoXC/0cDVd+QN44GYTCnOwqG9kD/p
Pt9XtmdyIIFwT/HWTDBr5tDTwQz3rkZ2khXsMUEV6flzpL1RsF1iJBGLGWToNWTpK2b5nleSxZv+
IViIHmdSkAp3/aWTwKgvUiEsGVKcWVLSpLyM7dryS3KULJxqaHpL8u69n1t5k/RynnWCULjYGe5Q
mCXqNePE2gG0IIrumY7tmNxePESYXVwvWOCZMs2N5Gk5UkhYOYbNgG48h6/uppGOw4e4axValppc
fwy9Db8j1YNwnUpQDf7l8VXnZ169650WJle9DWUH6o+dVlc89V3aIekMNNC7i5ug+SZqcrpgp5uE
Sh8OLdepkW4EewSnPP6O/49uyiCTRTMYiPkmJyChEtrG8fgdm/xLfi5pt0n0YjB5GdHnBteFHec9
RnaWaPWFfcueulzPkWjZV3/ZgKp/yCqOY01a51baGEGoORpTampOGTAb1eaoNeGhPTGc1Q5bh1Z6
rDd7l9fq7+C5gRFZh7pDFtY0477jbIkATAHQFDz5LUVf3Teu7SM1Jn557lvd6+A8XuRUpUoSrWp+
y7I5DXJmX5B/HDVDKnwo5BQUFcmXyYkqbBNLvuRAl0XDibT6tes8jXx6G7d5kZcYXWeqTaM0gjS1
gqCZ/Nq+qzXmIg9IDhOUZw/ZnfLHq3hTrnZF+gZgkJithuCP1PhaJVg+JhbUNIn4BY9i9upefcAk
Fxd4tdeyaViexdCOABKF221Xoa2Um27BSsyk/W7XOrFK8pAUnqBgrex6xxyC02CyXwdQB8k0XlVj
KxsyftXYtk/falD5xDZiNS2iCa2Mr0zLzUtkrzA5AU8Vdc2lqGomIrg5iMkFQseg0Mfi+HGhzWWr
OBA1uTs+vqX3hFF4yQjSiwgI0Jtyd0vlREbas3J/NTooP3LpFEkr6RCH4F8lZ7nf5LXFZCYBkxAD
xMQur5CnNaruowMvYm+x/uHxB81kbMYPIojp8Dmo2IyZvmv1U9yob2ScPsETXnv7zmzh98FrqjAD
lNkOGOEjsVRRAeLRGOcpotLfaJ0sATjndBChJVgZZdw7MCvffgXQynKWSxV0EJz9dW463uuQ/nFK
AAycbiFOmZOFPlpCyDguWJzmLvMsDNtW9qoz8NjVHzgyDDLcSBai/oDM98L28jMegzIiUwFSIXBq
JzGgR8qmS4e8OgvtRuHelQsDzmFCQP6jha4lSCVVXCMvwzUfLqRX5uJB7lr05F5zchZnfpJV5+IP
9x0KAhV6XZRoWikgj/JpqdWinr7IktXtS9GnCVAGabFRlgLtmRIwEGFXWzC59GnSphhqXFZnTBa2
T8GLBDP3QawXBcniA9H5hSs2a1Cv5U3ucSNmbsZykOewawwbDPldjhmzWYCKy3PV2kpNuVBjOUqa
FTmpzYI1nfW8VE4Ycfe/D8jkxFVhcFKmqqtzHaOgkm0y0RBz6nS7rJKMQg1oyaENINcc+bSga+Mv
T73Ta8mTA++TWuZKtBidg7LV6gROMYlpPBgui0rgT1jqQ/WV5H/i/qWsN7xqu/1bXNHu4/Fn3DPA
jKVAeMgCbArLCr8O05VFCTmvkyKCDejhBD+BBV3U+YTmuz7Q1HP2eVH2zxJqOL7J0bNkxxvFCIxa
K1eSzS9dgXHFdzuCMpuITPDIWjnezqtP8UK/FvIUJr0JP/tdkxtIMypjZqRvMUxz+GLSTSjaxKP+
O3dQWj3NVo8349f7u/sCsI4iQaDgdSeTM+HHset8GZdn7j01pKcWCcGKjzSRNVh/gzgFEKfSAl64
7Mx+A24Ry4lQkg9+KkRb66JAHcx/x8DdnedSqaPEtwAfbNrnx185ZxGR0/vvR05uaObkvBpI2KYi
1fqc+nhd402eoUzrUniNj4Xdt1aN+qHymHwAKnscy8S9krgY803LAk8gBUGWrNkD+gUQaOr9e3jq
bc9A6m+hXjV7M65ETvSgJkkI9qqyPFchsokIXD1nnwR6QBaCgZkC4u3axmDhSuGKOkgxe/x3bSqo
RrJtjbY4QUfW3kBfhA3m0q0AorPISEAp/XhfZw9xRPT+trSDGPJWdJREDcnqpjwra+7QuhEtBkgJ
6kNEFh7Q8TG+0+krSZMD5IY2UyMPkqoERPJtwkimW+Zvj5czU8YZt/J/65mcmSsEXCOCTO2MlNqZ
+ZYvQb5KgOEQtnKisant7UpnIZk44wGCq17kOJlTJR5zOW63sG59VySNBHrqyjMC2MYw+5CEBR35
DUgn23cjZWISaqdTfJBkled23VPRqH/ykQs70+tVblR69ORuhO8OSTmOsmZDffyvQFu7MVi7Qx9s
tw9flhDyM6oDrQGh71gtU9CDd7tutZCQuQ2Y8hy1bz7BqO3muUFbqm8KiKHbpvs323wlbqI/re9F
+cA45TlPfuoUw1WU7yz0F67D7FmKaAgaj1PGnJXbNcEDD4YKo3nPtUpD5xIL6KYIlwDBc0I4RcHL
wnJI8EuTo8y4rmb6IKjPrmO4IibmViA7X2orm1UYwH7QzoXyC69M3xCmkEUGnmJ9LvTI7nROF388
cJAOaEst0CZpKLZPY1s5hDZCRu8IlnHQG1LhAGiFIa54vdAuj+/mDPIHEH/k+VmkGlDlnebB1NZR
1DxN6zOXaLmVn7lvttZdQ6WlWSHHRSiS0mg4FlnQeOjSdoPGK2KKdNOgMazT8k209NDPafD1B01O
m4SDWidiUp8Jd/RlmkYbpl37oa8rgeaKrgY4GtIZZqxovNCuh3fekjFs41XuF0zj3AOAAUYq2uJQ
AJHvApmO6wqlaYr6vIlRaAd3mN0chhU59oce3dBIrkdGrDVbPVtzu2LhGZ+xyzeyR229enwcIVea
kMWpdCiqD9yu6tKFt3vU56npwsikEeiG6SWETGxyP4hlFg91fRZiAM26XZVtnHoVlU+iYy6o2GgE
rkWpIw4HPYyocQDFh7+4XYzfcAqpRbc9u61evQPOBEiWBWBFAvLHHRo5+60LNhqFtvoKhcXHwu/y
Tqg/iOjbADIJKFKFTFGrQ5eKQxblzSkN7PcBV6z6dg4g+2636cJrMFXcX0kyqoQYyoIc0HTKZxPV
ThoFfH2qI41v43XWsjsvwCQxr3oOehvI2YWNnSrJfwSCrHCEzaB5b2KyZJ/lg6pQ6hPDIx+MvsFG
LBfs+6yIETeO0jswOVNQDkaJR0mo+s0pilHp5T00v/xD4/67CDQfAn4kqSiET0I8WfWYJPaL5sQN
ssmoT7kQaq6bL6zjruwwigGEBEcz9jmyqnCrg7Vcc80wiil02Sq2iqWslXX7qqzdFacnOmMQw8dM
m9zmqGqldravbW/Fay3s3YJCTh+a8UuAlhNZEWUxsH5PFswNSjnAWWpOKLT4K0RUCugItJjBuKSN
x67YLZ/a9Xe6KVH9+OeiFRV5GQyxQGIG3zHZBDYKlEINu5OMSoJv9LsU0+GDfX0MxRepPIm13fA7
mX+SEiPYg2lvQf7U5GDlCrBVSI8KeMQxu2giXs28PEjz7uT7Hs0Z4B6VM6pRpWiXZCFyFcbzvLU5
oywBjR3AcQAfOjlvpRWZ1nVryCKshqdVDZ7FZieiWMegpxn2HNUv0sR6gAhOJlYserSp/jqlIQuF
1hdvXrkOs9e23ETodRc2IWelieEEWlZRmVsDhvvCVWs5NbgQaMdcXHp77k3m7edPTkoqnJYpCLaq
IjaPHlhOQ8XPPYbqJQo1VdAilUaf/0Y7OIBqRYApoKATxfQ90Qk9r+lOoaJX5ao0hHqTbZo1LxrZ
W8q99OBJUu0m3EsfNdCB/0Y6pswguIYnok4dV/T6V4Qdqu5UF0exq2mB/uPe0XCdNQewR4HT+GyV
KAXyMDYTGFxK0/aVU7qF7xg39lZvVPRC40mElYC3KU50VAZiBoFlx57YLGRoxosxfM0+WTACY/Rx
IwUIDgCtwfjPok8EVcjbm5CnPNN3aMk+RUqoCdGu782WfeIC4/Gm3vXq4rZBDmrwv3JgxW/lQI2c
0Mc/PnUH9SUttHLd2SVFOfjkbBVGK1ytWcfb7Udr9xtv7XMLtv3uRfwVT/DwAkg1pkxvxTekwWS9
FOKlrdvt/NbI/I+GQzmRGwG5w8Jq78qHv6sV4cXCvkoiEJy34vpa7hCNQByXnXJuRfJVmRixgDlM
geaXhFZDtvIwRLmMs11Q119+Xn5h/hUNeitfMvOzJwzcpCxDkRDIT3ZeGMIk5cZv6QqQF3eRNQS7
gnkKhcVVj5s41SXAIwWZR58dzPtkkwcpF1E49bmTVBpi/5ycxIQqzDE+8mN930MMU/S6Wx86htMA
YtLDMF5w2eeOGY1IwM7wyFWATuB232XFyUibRdwpai+DalXRM19DJAv2+egk5eyC23OXlRzPGfuq
oCkEcwbku2cs7ZOwcwgLokHwoWivG0yw+Twc7JPdgJp6+1brAHtrLx6aKFfPr4+v1Ny5Xsue7HYs
lLzqeuPN7fZ1+VpscoD+q8F6LOUOn/e7REUCrA3O3Vhjut3SOoj9tiIJd9phbWCHFC3EORhvp5kp
tUD2b1khGKLtE6eFxqCBze4sGPjzNXbd99plkULoLnD9zwfBhwKrD456io5qiBNEueywJ70BpXJK
T5+7z/f3XUgHWputlevRvrA2q5eX/f4ZbFtvj/fjrvAwiocNw1RSVcHow7uu2RZg5C4suRMpjfIc
g64hkgsqIP8eJDnGHQoaDw/yuRk+YpKs1acF8XN3jACRh0cRZG13HFxx37hwLQvuJCClGQHeXawK
LwJe6VltPrs2RqPyueMlo5IwrDDUhfaUx+MktMefMdqM6U0fuWN5WDdBBDDgVikI2pJCT+y4Ey+b
aWTkLaraX9krH5pNe/bhzDwW91uSn8oDFB9GDC2UqOZNbFhRS0qZhRx3ktN9yGEKqjV0Kl7jPebD
Vy06AAZpJUR655iqo5fZOXgVMfFODq1OPgmxJrtbWaIdhg8Fg8E2FPPh4uIb2K7ITrvdUCZaHxvZ
0uC/u5rRqCpwLnFYsEiI3/nbXeq7CsweBa4OfAXvfdj4KIqJKw4MWy8XMCE+3qMZxSCoBAKXPE7/
vSNQAe4tjBjMpD0J70Cmg4P65/Hvzxz5ze9PjmCQ3TwR/Aoc6n+R/pDQq2s3G0WyVo/F3HnmYw31
f8uY+iMqSitB02MZn4hB9F6vF+7vwjZNgTUx6d08Z/D7nO7o6o77ePz5d4U6nPnN90/OvJL6hpUb
/P7ID0nw33Yvrhtb83yaLsiaeQBuRE0CC1VoM5KpEOXsvn1D2gXPj9eytFWjg3qV+cl8RxL68ff5
i2eiVr/YZ7MkYPznVwL8PqxraVSpUEM/mjZsFbQb6fUWffeXkXdgmRVuQYl/KVuvJA6Ol7TArokY
P1RiypuqHTgNERjAIX+ApTN6s9uvLksgqhmn5OacRpW/EooWRaGIYywTwytkynytlOPfxyc19yjB
xiC9hPQgIqZpjBkychl24/CsHbtLXjiarhutfgowRG7TLlS9Zi7ojaiJVgS+3xEx6THK7SPcEEP0
NX6zRLS6JGOiGGqDbIUnQAab05Jq3r5e2rDxgZo8KAqiKwQE6HxBTD65O15E2IqJuFH1gKijAA1Y
oKjttSU5d9Hz2EJ2JWeyW5gEwYsMntGTi7K1+GW7tmCFT4DQ7pdYHsZferSiyZ4xYeYUiY8VgY3f
WQhFZ8/jahUTHxABkpSGAX47LjVgY9vtYj5oaZ8md0RMpSIrx3lKJ8x1PQI6LpoC+gqS49JlnLEA
NwcyXtaryygD1l4MHgRt3KP5HVLBaPUF52jmvt+IGD/hSoQroVshYMDtL6937sbRG6O12YVncsb2
X8uYAqwCsKPKAagQT/6xtqJXVV8ayzkrAC42qIbgY5Opm0sCl3cArII7oXG6C+DzY4u19POTABkz
i7JUjPHz5SV4Sq2hx2j0xxLmvC9gz/63gslLrDgcXzkwAGPDfqpBq46d9rNWrZdVtHDgS4uZGBPS
p0nTIdN50iVkT2qanhaWMns7MGAWlUf0g9wlaaIw9pqaA589OFxTzdd+Sp1fnOs28xqPye//Cpkc
SZX0eRO1EOLpmaH+4zTiaAivfn1yGizJpbyv8espImWemqDbkTCkaskLvivww/+6kTM5Czfwm7BM
wO+uYyrw82tiSya34tpFMuRZO3K1nolhbwehhdHCekbfJcZE+FNm6QvHPmt2r2RMTDrOg039AGt5
fUVaHsgP+CuY5V25Gr99fn5egqreYfumezfq+ZXhUmW/cjq87id/Ze/IkZ5fMCNp877Xt+fL46XN
msirlU3MfTpkReuHKlzL58gU7e0ADrel5Szt3sTSi16YBkqF1QR2qfnb9eX58RrmXP0bVZvY+R5t
yRiji+PZbdx9Yp9Oxwp8D9qCmHlFU0F+BmpIHjj820MZQiUpKkkaJ5Mm6I78QWPMOV1i2ZsTwkko
q+GRB6vcFF3XgGUkUFIPxLpUsXqDQ2QEFgCtWPAj5gzltZjppcnQYdbXmIigWP4KsbrlLgCP5/Tq
WsDkxjilS5hqgACgYC75mX//E6z7pWs5Z42vhUyuiZO2Vd+xEMJGmMdYasJzassHbu3q5Sr9F+/8
tazJRQlycB3JHWTxFrd1Vqm95M7PHwlqgAS1MCAvJlYfvEdgde4w32NQ0UeqiXYwwCdauClz6gXi
CwkZRGRw1N/2vCvDUslNEBaOICACehf04i3ZIBtDM4qcKKzYBmNRX/+NRORcFGDPkX6f5vsH1u2r
FGMVTr6W7jR3nXZWt272dAXk4bOk/2XMmnaHpdO6m4ExWlAw9fxX7EQ1+tQJHCZQBMyi0CVWC14S
tL6B3U6/PIPf7XJB5yH+U64UYFMlcJotebe/2dhpFHD9ARN9YTETtSEpPgA7PZh4Al9fKz3cEUN7
ejoeuf3LxTM847L6+3i/+fH5vpM7QlTQNTt2nUxudtI4bcxmwfgcQjJ6K+OzDM7cDNTM6z01OBy3
cwpQrwOGWFtc9Vw09wtS+X/SJ9deang/qHhIf32F9I3JhdSxZdu1PtZok3sB562vJ9YSwG3W17gW
OzltTLXgKrmEWAe0YMrfZI2BpeMEl8d7O3t5rrZ2cqSdn4msW0AKK+uHkYW00xBGct6CEzubQ7he
zeS9JGVVM1EDOeUanIiptmuP9U6KdGCrnv8u2FBx7nG+FjZ51cIqrBgpgjBxNybK2kgTVs6TevwG
w9hnawRvjg53fez47rDiZhPLTyk3cjBn1M8wxKnSmKfkBxSgrv5yWZ+/zig1LDy80ugq3uk06q8o
A6PAI8kT01g5rSyFSvsfF+/9PbIJklREU6yRD7RbjUdxsm3xqecAQWdpGBvanz8hyMoxBrhYZUYF
uGWpB4YC9V+v/l7GhJZrJvSSWZfL30WbN298kPwHpEEComMKwhF4N0r7GEmg0uCfs22HYTin1PJM
762wzdIqNdd2/iSWQNf+AfyKeqqjZdt+rKx3OOxfC3j1ERMtCro4DYcIHyEcoq2AZtboJd6FZ3WX
Q5prepv8aYlacbQtd+cEkAJqjuh2Q4h06yHlLSmELB+Q0s2ajI7EUBSOVLZwDWfdPYETWPhgGEcF
OsBbMVmrpGjiyzE56h3Nr/ZgtyLgGTrAVcaC5s064teiJoaFbxlBjkkqngBRG2zpLbE9yuWW+nkh
AUCYvAaanYtiurq8QH005z9dC57YmkYBIaswZOKp2PoGbh+V0TCwZNDugXCYwIVHigc4TWWBhZrE
aEUZ+MAekeGUlbkm9W9B9dIHVi5K1lsXAZrMFZqYLJWsZpaGdiHUvwHAw/9PobtJJ/ZBUzXsaaNK
Rmk5f0AblB6WGLpnXqIbKRO7FolV1vCI206BdHG/mJo2mPIymFH3t/9bga6CeItVpvunF7d97EUB
a7Ek8WRy48K4iYiAcPSUYdyIEwmmOryWHmrtaLdzE5o1xQvA1qVIHens8ebCfb9f8K30yYKzKq+7
vOHaE9voA7of8kowndTXMtHOKpHKZFWE/AaUTAty7x8QyFUkUJkJYGNkxYnD0UZ9rfRKClhSb0bN
miGlNqQDUJuZIYZ7r78Uqhm4oA/rNpKEmR0qOQLKa1UpdZq/Vb3wns24AvgckACOHcXAsf6+JVce
rui6PAnVojuRP6X4PBTP+bBKmc/mIjegXXjBG1qvlughZ8zErdDJHvgi/F5OBDSLYStD4UqjqLWm
2+YEwymDVd+/MxVogmwlbb9TvQ8OLQdaQsbXhuSrF3dVcl44k/FBvDXEt98zsZBs3rQ+tL87Dbne
JxsS4mFMDTlBs+ezyz31Gh+k+iJO6te3vBcLkhrQJyDFNG29HKI2zbmm7U7smncpEY+k7CyXl6wy
+wyUD4GYuRzvgwic/C8q+hG7dJeVdjjYQrMTIhrnTx3XapV3EnpLFg+Kny+4VuO6H33g5JwaDy1t
JQsEYNAK75nKeJZfexsm4YeF23jXCAxkLNTwf1sxOQES9h4DOs/u5BavofNCwPeMLCj68MPMZOQT
QfNgrwuAPWEL4nWRU97ZMeUx4J6L6IXjTdb9WNCJOetEAONDwwSK4WhYu301JX/IFMHlupMa+Upn
JHEWUlcMxS+1VwYzkfKfCtjwQyHljsFy3YYJgJJEGfurjZR4IQk52qKrc0CbA3jzx44KEMlh1N0v
yuD6knqlVxZpUW2jyJTy1WcfWs6qRB+MaPj/MCf8Kwv9isDNAIgESPF03Rg02fVOVW9DltEiTqVq
otLYFN1+QblG5ZksCvYPkBAQkI4ZnMlj6nQlmlI4vt5WdfPqKn1sqiojLAhRZ7YOnLcydhA7N7Yd
3x5jPdIJuHU5bAspZRoqC32EroOkEb8jJ8oqXQqYRNh3GPIXbQL0rhxVwVNUK2zkiOxSJ0Ubi1II
yqCJKka74TXq5L9ClUmZ4UjE/1SkgDulDsuBZqhTK/Tsl7W4F9o2rPWc4fJjXCTobq2yVH1NO0+4
pH2a/5EqfjgASByekpAvnqOqZ4zIdTDdRCRC9tLwXSNotZBGqZ4NdXsM+jo+oCcJjI4BUZnaaIQ2
/8Mnafgd945/ChwvSjQpydJnJxzEiGaDJO+EjM09o29AMkDzwvfevZBnUWNrUElGG33bm/xQNqoF
RFwEItUmDf2TmCZeCjil2u8KsWBE0/N5Zg1cjvAtOwELzuK0EljwsfrRcxMzQ7JPfAZDaAa2dyvD
Q1IRDAUxyIZd1g/fB9Kkny0piR2wef8OOxiCYiOok5QKSaF8JUEU5UYZpw14O4H8940Is7pe3Jxv
WLSmoudNjyUuD2hVJXiaI68qYy2vefkMIseuNsokSIFvRePcl+enUriqux7dAk4NCt6GDfIYnK15
lepqiYDXCPNAdTSwKbUffuKmg11j72RNalrMfek7N17Cbk6DxfEuoct1nLuJYdUgXxxtzNW99fnA
K/m2a7cgSk46yvVNWiLTKreeyQ5qG+kOjMaxLlKwg8WR6r9UaUV8bIiAibhNneIouFxtMLuj5+Iv
J4uAHSIhyCR5DEgBJpMDuSN2RRJlnc9kpTEisO2GNJP9GEC3kFQ7JSRIHPk9aAaoI5CRxgiP0Q6s
drFRZEP+p3aGItdVbqh+mMxNQj1pFB9csi2YBEdktrdBeyMMsh/HzIqro7g20cRfdFalFkAoClHU
JRrwm+TYlS3L6kwvuSBQ74YeM8Gl0h0yDUR5BA31RaH0C17/eHknJgSNRcguj70xoJWbmJCgbzIv
kft228oZrVpLFjyzyX+YaAlsPM0xjCcJChQk5DjQJ4rCNERVGBTKatbttkrgcseBkTtNVUvZBDkU
i7chBxi37qpAyxMFQTZ4kfTaIYyZkj5HO6MKjlMxD5aaAWYsKLgEJOS9wdgH523iwnZCF8qVGHdb
AdlpKhCM8Itk+fL4IZz4q1g5IlNsL1pA0X4Elq5bHe7qukxrXxy2MpFMjEKlHqnWdSkj+9H/YETv
gsGeEzf2VcAblVXCTzHswyA3Yjq47DYFMvhQOyJG5mRQ3rjom6c0HggVMIDeeLzGez3CEzSWKRCJ
oPlo+khESknasmOGrZ8FqiHVdbzCe1uv8ZyneoqGmIUgYHxDb/V2lIcjQwyJwR5kordN2aU4VI/d
eoFPqOuK2U5tmAZV2IZZCOwm0ePv8aGDg2VhotEpw05cONIiQVfwAbtlJae3JTn54iultTof1Aui
Mwz7ROYqGnFMbj7e05krM9KgoxsUL/yYPR8DsCvjxzKYU5bywrDtupyqOW+wSrNqa/UZXeG0F8F3
2Z2aCuhXwfbTEjPBBozeypwlMNg0szzuwEi9i0oTqv7I806+Az5nqTZVwm1Bz8/SJoV7pZFWbjAu
IwEFAiYHgpS/kClMJQjiBx+ZmKBBc6Rfh/hXOleL2+Yn94lIa65KNnHNMjuWHYZz1ZZowPbiQkcx
IrKTolNXSe5lLyhIV1qf9I6ZxEG+V9y0enm8ufc3H2saKaAEFU4N2g8ne5v5fFbyNbsVun6f8flb
lQniP1dSGWqqYtsQnqDQcisj6/0Co2eGbju4VbXjMVFKhz7734Sv1dXj5dzfByC/kAvggP9EVmXa
YxELjZ96QsZv0zAXNVWq+lUZDzEVu6pbuA9zopAHQzIN/Fl4MaY7l8hp0MF72CKZIre0dCxAjx+v
5t7lxJaN1RR0BI9o64lZxrg8b4x1hG3B+vmGr0q0azaSfEyAfN/AIwC+t5ZBhtnJLlWHHnPjH8uf
xvTQ+PED0Bo3/gGT0SQZVqhRIQmoWm25zpTCttccFfMewm9GFHW1N0qQ2ogD+F/Y1mzclCa9/W8+
ADTtSGoiuYkR57eqo8SKoMbyuANirNeda2CkLY3YfE3E4ZVjzzmX2wkRtgGjHNi21Bq/XLDoM8cM
1wvhG+STcUD47RfkNeT3DQezl8bNueDEdB2QSBFBdeEgS/d4vTMHPnoHaJUbr4vwm+64snStQIIq
ECt2G7NCkcJFHzD1qxFFk4Rl+9oyvmOUfBOaCUF9SRiQWngs//75QluuIMCPGEfmAGV+u1jF6xgH
2sSCc5hTN1LvNwa0vIRPK0efScL8wy7dUb/4X0IfDiVKBewNt/IcjmGHXJXYrZ8E8opwSbJ2HSUy
FZdvnqLQifeM0yIfkZJ8KcE8LuX25cT+Yp95EYnYkTP0VjQfOUqrNFhqxHvUSdXnPuhf05Hqs27R
o6Q+e6l3KgP0lotLmbv7l3QUrSgIJ8cHbfqSggzj/0g7r93IsWSLfhEBevNKppGhbKlU5oUoS+89
v/4uqi+mlUwiCc1Mo2eAKaAij2GcMDv2DgYT9i+3FLM5KKAe9y2PXFWPbeDMTlgfL5/qsto8b/OJ
wfmOv7tWSohmudpi0Cp7Wyi/xWZ8qJX0AR1FG2K2mzAIb7ISSv3ekDZsr3w+MNHonC+xGAmBfGp6
ihMl0IVSdvXUTHdy7Et0ibqUW63FG6bOnzJVNVSd6eu5zU7V4dTUyCAr0PlMdg9In2wEk8uy0ryF
7//y5RsWFsyzkfHL7pDnJOF2NrQ3ZqbfTV7yWwzr+4axRCEur4syfO6nYC//7PvuS2TVsEQJey9m
FkgEZh39lUuoZHv98fIRr3y4KqE7UdkcdPIEnq7dHHWjiIZGdjWF2Vk9d8Lye5T1TgzV0WVLs8tf
fDcnlhZ3qZ381Mt6LBnBvhCg+qENGSS3ny9b2VrP4usE9KUjCtjLbhx3O7G7a/Tm4GnXhbWlKbVq
iJohHp6WDCTzpxsHO55VD14lu1lt3ffV96gpDmavMRW5ARpfM8QDirIHrCbMBy7CBS0aBsajTdlN
omSX6T/yQr9SlH4vxMbGXV37DkgtyeXo3ILrXjhVyzPg2lF9xdWiJrvyjfQzccQWQfdKaIDUDuuB
jgBGMnTBTjdOAnAv+UksuUrt+U5vtv11nUj+ZFe63CKMrk17Hdmkq8qcRVaQNt6PhKHwx1rNZ0s1
uo3tPV80La3Zk9Or5t1cxrFNIKhdUMWiW9fyZHf1VB9pQsW7y9fy3JshTYywAtkdVPAQK54uOo4N
Xk8O0k276HrSvbumaa99fSOyPH8fCGBxlQriDVQlluw3zZgKsRhMkhvLsJohd1wWGlW86RYtsh9w
ij0pWwSi55eTthlyeVDcI7CA/zxdV6pavdVRv3bVLJueJOjXd3Hm6Tem3k6u0Otb/D4rp0V3XiGw
owfKKhdfnUDBx8ynirCukbPbINfRctEDZqIvH9e5GZ22GLn4LKkDMmcRzkQVDeRQHFQ3T1XEjdS4
Pva5//HvDeAYYTpQVzqr3IvTzUuEKu6CGiuBmoJnGqjo5G1qbnzV51cPKzOvJj5qpjVZfG+TkWbe
0Ciqaw5e6ZI6wg1E0PpU1vUWWO3cxXONsTYLajFOs4zK6lSawiiJNFcomuioFSkvlpiJV2kiK0da
yONrILRbr/fa+ubJPd5ZquwQZp3uIiPEXprljeaGlcr0ZNBGEUq3VJhVW61zX/vw1WAEHkZnfD5O
kuTm1FyejW0x9aXmTmmpOWY3tYe2brZIYdYWNQulkIpSLzhjbLGKuJtK5gtcw8/sfHqwYhhOInnD
K62dF9k75Bp8SrK8HLVPVRgw5SbV3dAMERHo1ORaT5T+yvTy4MpqaAZAYOTvL39bK0tjsGAm46Sj
pDEJvNhAVR86q1U1N9aLbmcGAV3muC/sUbKaDVMr8SsoiZluktXNFCKLw1JGLa5Uz9Lc0jSSY56O
wi1MOPqVLlWt2xqVf50lQXs1CrriqL0c3abDKG1iNuYv7DTyQUlUhCpMpZAJO9niCwyHzhc7L9Nd
S8zICoabRvX3avZNT2DOk+xcgmFZp3NhK+knYzNpWNtv3nNIk6AwoO4w//m7GL6oLNH3JlFzg9hg
iLcOhp0aoEpG7F1s7PeqKXJteoUQzJKjnJryB8EQ2tbUXVNnuP5WU+qhf4zGMEFpXegGZaMnee6l
kXOhIK5Cm6SrxhILkyZJUKoIEbhCjhJzlRj1n2LwxI3s4HxRsxWiA41eITHLIqKsJ13Au4q6K1dm
9UPuLOWQKLS77DCut7AQqysizpPhTsGFLonOcwNgXyLAD2k1QQ/XqFL3CDCiR6tuPAqrhiC1oJkL
kxcsDKcnJZWmltUdJ8Vjnb0mnpFeIRVfbFBKLJlLSH7m120mJ3tDd5gLGGAd0fDJ9dBzNd/Kv1pF
atmQjQsPVV91N22vibf+MEk32SCM+wje+UMciemxTtP2uZSSazWKEkeMPWSVo9I7mkKnfheBP36J
irF4MIJe33VVE/82aC1uuPmVU0dFk7FQjgLis6UeotFXpP5h7blG6ntO7lNO1VPtk5ZsQuLP6wl8
nG96gsAlqSssou7WGOjAarLnNjxf6MaIQfBV562GkjQTwl9lrpcvyKeWqMvoXYDSZNznr12sSVtL
XuIP59MiQCUc5kbQEl82c/JEhj8vCkzXM6NoV0Ti8FIJgdXsTD8+lJHhXXWob+/ilLCugtlo34ze
fZha1UMf9PFdEpuvahUptwmOfyNNXTkOwhfiMWZ0ubBLxTVRajuraX3TNVt9fNF92pJ56hdPE8WW
jU/j/FEkm0PlEfVeiIwY4jv9NJp2rnJlRXzXW6mjp78UZoaqlllXNBQ/KnrFlltMHkNRBHUf6Mgl
k+So+HWr5UZ6l5v3ulXZ0gSP1fePPrhzy4HqIFV0/NSyGMxS6K7F0JlPGZ3ZdJB+q7CoObpPzeqy
pbNsgHFg+pOMQvDdwKOwcJVKbGVK4OfJncdj+pDE4Vx6DQwn8bTohk+nO1y2Nz/fJw/rDESBYIkD
ozuILzs9qmDW6m7prt9lqah+Gimz7Dq1ZRo+6P9MXqOBTmmmnRQo1rMsDtmG9bNsC+sE7hS68Q90
JxarbUuvUaqmy++62FfvogwqpEIehmMdNH9iIQgf8kCsnMCKpU+Xl312Q2fDBLozMoi3Ytm7U9pU
8afUyu9AD1qTrSg+Kl6C5/nwmMM6MhzSqan+RMUwfvQrxDAOikozuR59n4WrChHF6DIpKO7aKQNn
QkS55zqFtpn0zcarex66zbZgcQWmiAcGdnR6tpGWQeqmwPGklb23y6rCcpuBME3KJelxCsTgrwng
/sZrBtBphh/Kj5I1ZFeXd3oJEySm4FfMagw0EWelvfko3gVPvekHQBmK4m6SKv2TKgBbEbVhRi8Y
qP3KqHBF/ZgdREg+P6Vaq/V2CNHY05g3iT1ZsX4DVN84NJ71U/an7DBZ0CToFVpgcVP8uPxbz1zk
20+l40DjhULb0nsXYadZRVgVd7EXqfsEUeqMKPtYZKby87Kls+ABS/hhupngBum5L7Jj2j6xpAvg
4CZLCnel3sFvKw7phh+eP5/Tj3v+uubZPaCqcxvwdOtDs/bKUC8VOqBeE+/KLpOp/lZ6+tTUYtQ7
etZow/XllZ3vIQwQ8FHNAexc1lj4fnLxMeGr1t1SnfzpU1bGCM1k4IvKh2LI0fL6qDmVtrDIzeJ7
Pif90lqln5o2Md24bwFaGXRtzTtYoUXNDsXArz+M1pjhZ3xRs0Ifr9iy1lWoVV0Ko2m4vhyjfeaJ
ZtQdMsg7/Y3I/HwfIe2ZWZZgdJkxvYuPlyszVXEWmu4AxM9h3CIIbaBi8afeC7QtYunz63hqbPEK
UMELtAxqJ7cF32OTUcFxOkTmh709qRsgPkpCoG8AB59eR7POgyntBMMNy04+KlOFtDO3qLNDFcB4
36PsoGsNM6yVoscbIKNzh08YSsWLzg/BAiH1qe3ai8aq1wLLncxhV3TebTiEoAPql6mTjqXwcvlW
ruwn3GDQo0G4zpDuslbpN2PeR0SIblsmo2GPmpgITmPqsbURLpzdEtivyHGgUQWEOZeMTpelmqVE
DlLkrqjHV6HBey23krC35K2+2ZahxUutl6biZVqOAJ/eIX3xN++fjCLceCvOto3VkCGKGnyTtAXe
ZmDePRWeN9ZB6A05sKEmOkR5/pKJbbpR4V018ga3onDOYPP85++MVIGQCJ6JlGDbhQAZNb8N70U/
y7IN57tqB/7afwTh0V4/taNZCSUjy8zdwQ+96z5Fioe+8hZr8PJe86pzpwljAHUxh7Ds8QVNas70
ZNqtPjoFg4dtG9letK+M8Tj4H3Tt2AKmB/GaPHO2g+0/XVGvj4ZWaJ52m4iPZjM45c5omt3lL+cs
XHgzos8NP4sCCDCSUyNjMs6VCku/FSNdAMMaRK+TamSvHSnRTTla/teGXPVmAqN39JUpdEylVr+I
re4/6UOFFp9gZnal+vVNViSVM6Tqrzy3FHTzItXXNwKGZfw6/1imLkjO3+j4lyku+Z0XmVOm3/qv
RrE/aEdp39113y5vyXKyDgAIvSkqDSiy0pCgPnu6JYUyjZWZJuYt4L7U8dQsZ/7SEhx6PtWRjuCw
y8YKnYWhNHeRGcb3es0IgtDomU9JsPVuctks956RB/dGXXt3hhDmL5WYN89Jaha7fuyF4zQFXrSr
al/cNY1ktbY+tjOPpgG+2w4kEL0bnmsZm7AoGAwNoGVgPqmbLhwK4Op0GibdvFWTkcTwKMn1tdB+
j6lvXN6+LUOL+LMQR3AdtWHedtMt0Ab0VhU7DR/i7vW/sMMzSoWQqjZNzdNTmuSsaUIVO4Y22sKk
760s/F6o5X6YjMNlUysfPenhv6YWrmXU21xMA9O8baz20Uv1V6M8NONdo4m2LPcb/nLL2OKgBAOa
NBkmwduYZfm7O6F6vmq22DLWDsniQYRsgEyBMtXp5slJGyodqG9YpqfM6ZU0u67zyrwyx/ZeNUZp
46yWvnm+fMA/DObl54nKJQm62CmBJ+WY6ytrsGM9a3eVHGYbN285GkQGgRQQAZxkMBcHtcXiSsTU
vCLLKAO3l8MCDSLN99DMCZruS+13BkI2Ri//qPt69qVjEgzOUDM+44iD3IxOnFvtS2uKWbCrfCi8
berqiq/YYx6riq344/Sz09PkSc8Qyd5nsSp7hE++Iv0Siwq9DHFsq97c0fQhnQ1lv9zqip05P12i
Jca0Ly5pRoYuPqxUUYdJizThFgh/+bkzbP0KBTIhQv1pYyPPMlk2kggXovR5/sOgXHF6PYpajzLT
bH0XKsvmUN6XdvZzHn5NH4qt9+fsagDmpXEpUyoj+T6DY0tjG3qGNPiuFYHJ6cwnEP1XaoXMqpgJ
diN970rUXZSIzlj6ZeL/ivjc1bbbj8IWdvPsyzv9KcZi1SnlGikPe99thJsUPVO5LY8J7Lc9cl9C
dvygT3kzxoQUsvFA0Jb92r7JRy1oRt8Nky+hIuy78W8XvCSojnTD18umlrEkp2mIc+PK4DTnoZ7T
0xSaWAGOPvmuFJU72bsZmHMYgw0uljOPwkQqVQ+eF/LfOaQ8NWJpeSeLuRG6VWretd6rJ8XHPoBA
uN3ILM7gSSwHS6yF0Vt8l7lwkJ1leV6ARI6rSsKtZuT9XiHPaEol/9SXDPXFQz7sE0nzD7ovxY9D
YNaHMYDvvA/M7sg8jvwk9sDWc4nQuiRyefQI6x/aTHnOOwZHASj3myzzK9uD2DrxL0Nb8xHMdcF3
UbDqMTsS9mHkBozeqNeS7w7aNf3e9NG6keKd9qP+7Xm7g/eU/eE3Xz7/+e9+X5bAILbJoPG/HM6y
mqpnXlBLNCbcFtFu9INzd3qCXsGKjkOPkM5lY2dgmVNrZ5TFYwiEvVSwVka/A7+8DotxJ0/qETdz
MCwmkcbbDqL/7Au+NDGmjbWumqc5zCTArMBFPeZ0o0vGf6pR1CJXSjtbLXNAaR7tS62zGVWyS3Hg
WdAeNe2bX31pa3UXRCD0Lm/Bih+x3v+ExaeQS3GsxZrOfo8//OjVGBv4z3ddIzrKFtJq5U2YuaJA
ZNDnm9P809UGg6HCrcVqvfGqL/8OHuSm3feUKUfZ/6zF7UaOdX6LYQ1iZ+cOAJHD2+jWu1vcZ0qT
VHIbuFLodqbuVCZMK2DCtfTn5S1ceYGwJJP+AO0Cqr9MS0wv9OWICNrtDhoEcuVdYpdOoCNxVm9c
2HPvSNVs1kIA0sLbuqza9kIhmrmqBFS05HniAkWUz+mWkSWdBKEJVvDCcy2GIt2yJRtJ9UQH0Q/d
fj+43o3uPOvq3t8Ju2q3pdu+dkjvTS3ihCjJmA1NMFXmfwTB8Z8y67apNjKxs0GVeUEAiqGRkom5
lGXPSY/GOsyzOnTlY/msfBX3TOPZlXF4Kn8mw0zX8vnyjVg7pvf2FhFrXI6aHLXYy6XaSYpdEtB6
GrfKm+eu8nRVi+8p1sYaDTushNM+3B/AOEn76sn6s6mzch72gK8nzcQjGxRwlwG4YPiK4elayCzK
F0NJH0U/P+ZG8GxW8aGYLCfMaqdSv1o+XAJmUz1Mo/C3ZA5VaK8u7+uKwySDIjEktQaWwPJPXUhJ
GF0YaRq5xoP0oL+av/Xdr3wnXiHgyT+Xja1dzfe25kN+5z+mYSysGW7l1tlNITPQZPysytbuhy2O
qLXbwvdMhEDCQbI7+813hpKwDMrE7CNXFyInQ9Ku1WAWijZinrP28/wRMCpBwR9V1jnzODUzwwH8
rJ4il4bzU/So34AJTZ/TZyQBXPR6d3kM1/xVu+Gx1nZxVjVhnICyPyXPU6uBmgvBpKqR64utjdqQ
zbizTY2mUzdCrVWvNeP9ZuUDOHCWQapBHi9xTUP3q3bQR3u67RHvTvb1NQnQRjy8eg/f21q8msUU
DVIiYKuH+NKyv9f2F6IESAkbp994oNc+vvemFgFxXUGcRnU4dOu9tv+v/nKAU3SUQeDwep2ejih1
cuB7zDjUUQOLVdrbc2C2+/iHBCb3P0YWKyA7lPRpqAgnUcLWi+ahUHI7tp78aouce3WvqOIbFmka
lbfFZZMhHLGsuI3cyEhhmRGiB1GAj+vyclafe8BXBBWIZlHGX1gZyryoqoTvdZS74VgFEs+kNWm7
CoAw7Qnz1ygoIj1TLdk32WDtvd7aEuw7j9qIkYH4QRXBp0wOc3pupPODTv8QPxhqwU6wzNuKMfR9
ICp/x7rQdoNKbnF52WteysJ7MCEMjx5ImlOT3qRWgxfPH3JkHSnWTFckv7ETwWq7scErLoPoBpgD
eD5msZdtcL0Q27LP/NiVtL85+0dIoMSVMw/SfnhJJ4YWB+kHbVuokRC5mpzswajfeL3mQoixv2xm
5Z2ec03GX2AZmUcgT3fOZ0q/S8M4dsPeKveFl/m9PU7WTz1CVJJmJPLXMELbTWb2PlP+/SYEauXo
Tn7A4ugmIaxIbvLYrSXxqyyIx1bUHpJRuPJEvbcHU72PdOVL6ZdX46xZRosT/GRUwj8TQek6JCmy
piCTd5e3Ze1XUWPD7dDmZnZ38auyHCwe7A6xG1RILAzRPpmejULbqFCuXSbabXSdKetRJFrksmWk
BC0Ytnnt9V1Z/giUB0kOrywKNR9fDnpolKJAZuKwF59kSB0qFK2E5SjVXlIZDzZ+1uWHWzoQ8r+3
snTYrWL0Xp3GbrvXwUAE2Wep/pMzY/358mrmO3mahs9iNmgCWmBrwU8tVtMrnRX11ZS4gmxlTtUV
OSlpv79sZO0GvDeyWMyoNYXq52LiBgnErnJm/xfft0G5jlIYM+CEP6cfXupX6DlrBc9B/VVOXiP5
qor+Xl7C2vWiE0WOCYcsNAqL/EUqUw9CiRIT/n3qPQ/xdevt9PT6spW10wAEy2MDqADVnsVGla2n
VYOGR1Sgp/7D8FrtaBpzzhuOdy1PAhj7r53FS13VRS70UhC7xdeEaFAIbA/BY6/zbNFvnKoUj16a
3CRFaU+jmxjBfSapG9/r2ut68hsWh5bXSVsYIr+BIlj2m66V/sf8VtxW5i7I98HT5Y1deUdnBYF5
jBm8PPW50xtCVhjWWh/Fbi64Y5g+DAnKlfVVH0NFW2yNZq1cdwqolApQ5+YRXSLz2ypUfSOSYiSz
J7vR//qIOyWGtvFRrdxIRnhAz9Lzp4ImLW5kJ5RB71UjZ2j+FFEnFfwDPDQc4haedXU5FIOZDgOx
diZ8FflmW9aDzDPdVrac+8403YzZFuZx5erPTdR5+mmeo1QWy+nLLKwjw8Ctmjq30XfEuvovdoyj
p2cNdkcFXX96CZK+jvym1mO3rH6F01PXwUQGK2Bcfbp82dZOhsE8xqa5agRui6cIUQyE4zSLpRAH
K30AT5DvKMkRqq6ND3ntaHAUM3aThA96jNMV0ehBKLT1E1dDkLhVv1gw9RjRxzO72VXMON6Z6GSJ
cY+7svPSrsaIHtq+ubf8Bym4K5MtdMlK+EQraUZyzc0kELaLxTBVMtQpdurYs8Mw3ldVeB3rJfKr
bpf7N0Fr3jAIcbx8WGspHvaYbOFa8KKfTY+lbTVOvcTj5MpPTAy0tnjMHkzYVXbt7y4GkrdxaOfl
0Rk/8a/BxfUoxIgBq3g2+CLvk53wedpne2XjJVkzMqPTQMORJDFWeLqZsTaJadqNiTtJj/GAcL1c
gPc7/FaLLxv7N0cIiwhC41WkfgjOn3rv4quKIO0HuqgkDKvY6d5ELueAKq/xOv1B4m7c6lmsfVvv
rS1ufCYWpUDdlMvY+aDKf6o+fJNi7WwXR+e/6dK6Zof1rloz5b4UaILKDra3k5FcDd95GrN+3+hO
HjtdfBtGh7rYteVNfLi8pbOru2R5/urfWS50RUkHS2aq6a4I3GFf/65b2/z5vxlZfG2dP02hb3Bs
Q338Hv2Iv03Qkj5ftrHmnhiEJnUm+AeysrQhVkFrjUnq1k30O2f4pp6YZtLr3f9mZvF0CLU4BKOQ
pm5Ra1dZFlxPyfjdUKOtsGltOYSAb2B1soylIwTq5inZFKduzxS03TJec4h7f240aFvVtLXXkPcD
kNPMq0hofnoFQI0AgJKy1LWUSHckj0FdHc3ry/u28i0BuScjA0dKYWgZQQx+ZVn9hI+gtuwEGkQC
tezQGgUTt2HpLfVdXGkmgXF6Es17mjSLz9YwSzNpzSFxo/amrQNba+7l5EuZH9sC5MUvsbsZw5+p
/4PWcylpzthshRera51JfCjmzDw6i8g68qpcGXquey5eGSRtRXjovdDxt4Kltzt9tlJ6KoR/ANeY
mTw9uaCG25F/UxfuxYPqTLuf6Q2iT7ZC3Trba05Me+XyMa5v7juTi8syxf4Yq32Y0vXoDuJNvxf3
oR009qN0U14Px8zRNiyufAi6aDA9bpEMgfmYb+87ByVJuWZ1Iq7RS9JjDh8Y3SkheLy8rBUvCD+L
OpPHzee1ZB5q9YK5j8ZLXATsGN09TonkVMpT470K9UbJfOWxJKyFuUNl/gSep4XDbWBmLrWYry2D
/MbuUj+CEjBKj+moDtdFSz6ZMoN5FzKB+V/s5KzePM8czAWFxTNNsUaWU/7jGqrbdX9aN+o+DiBh
3Ay8Oj1+XAnEaaeHpXReXgR+ELht87MAhi9qjEK2NymjqxaN6MuHtnIzqMgCHAH/No+XLb5zOMxq
XZjG0J2CwsnKm9pXEdzeSOZWvmWiQ0JoALyk48u6LCSfqRxrKv0w9Smd2p2o/dUtehofR4/Mc17/
2llci9AICAxV2mGG9qx7xq4VfkT5M6DuDe+4ctPx8fTdZtfIHVwEhKakDRW0taEL5eneJGHYhZpE
a14i+Ezj71NXSBvHtLqD/7EIZvj0Tqi1pBTMHYRuYSSOSvovR88ZHKs6ckL/xYV4Z2npDpMiyqTM
o6VYe0CpepEF6j+G1thIUlYv3js7Cx9oteUwUwaGblrSwVOinZaSRm4Rg8zfysK5E8hQnlGBDlKg
W3xLzK95sWZmgCgqbThaUnzVKf1WmrpuBGQiwzqgEpeHE/e1JvYR1Sy6sJPu/4VR+/flQ1nxdyzj
XwuLQ+l8P24TCQuxWO8T9QcMvk4lGleCdAdvwY7UzrlscG1JZMJ05d9S/CVBQmtFjADrGKTV+5DB
jCCO1etlE+cXQJlfW4BMM0SDzTu90nD+eIOU4sOFwnTyILab5uew1Rs537jZCNRwMxsw2PSFka42
4qmlTu7mhXdILO0+Uj6HunobDMNDkDbQtRhXl5d1/qUC7eeBoJeLM8Knni6r8gTVAsOdugxp2x0P
0fDomy9d9GGHcGpm8fmorZU0QpunLhME8Csb7f1U3OtbKLmtxSxeh7DwmqDKCt5ZfZ8kWmiHNRXG
tEzsyvpzed/OfSoLmhtLdO8M2sSLBcmWkJiR2Kcggh68sHht4LYphpplgaEN9N1la2v3AqoBCuiz
fBmDCaen5ImtQKOASDqI6OyHFMeE4bVUG6esmr/MO20XZc6u+/z10jIjmp2HFJfseYJvNIM4Fa2r
JlG1q4Fo7mDqyq+UdtjiCloxRewAcwO4BQL4ZZpggK3Kx0Dq3Dj0kEoakq8DyqyHydDa4+VtPHMT
POnAImaKj3mUSVw8hJWny0JZdp1LS3UnGMUuSDbKIvPfcOLATy0ssRGpl+h1VbAWvlbBblux3WOx
OkxZ3FwB3oscQazkg6rV1m6IB+nz5QWeF5tm+zzx9E0BvqLWcXpRAjOXMoLQzu1+qfKT6lxLBpJI
GRhPmDOdyqk31nt2Md/sUTAh56K5s5xzMtNcj0uT9Q61k/8JQEPBQ9/uJmHjmT/73BZ2FuvqSi9g
5FPGznDwtdI25Bd/Vyn38mZTfvU2Gv+uaPGpKa0ayZ7Firjx5SvEstfhHwudq2ofOp//irv4sHFm
W0ub//xdsuP7YYCYDgbvpl+PwQ6NxY3H8cwrznsH+zeVT7rGPGGnBojY/bov2bvpVx46k5PLu/3l
a7dlYeEM84KKYzrfglq/TaA19WoNalMYkn9dtnOeiS6WsnDwTG+3cqkpfF7hc1TvwupRVe3myvU6
u0hstCG+DGiPa0gf/o+GZ8/y7pAKrfSnxMew9iBbBTK1/SEonS/9QRGvtJtv1Y/C3tjT1Xv47tTm
P39ncWrKWAokTq0RX2PlTvVfE2WD9mXLxOKq514ojmGkspvKYzf87M27XPm+sXFn1dvFiS1uN7jF
KU3nyxcH6Q7aLytw1K9Fbce75tnKjp684SjWXDyMiAykEz+Tky7WBEt6pMC92rliONiix2OsbKmk
rW3bexOLJdUB49SRH/auPNj9tX4bbjz2W0uYfe67k0eMIcMGS2ii73LzEHXPG2eyZWDxDAaKJNSl
GvSuR/WhuGZwoAzulR/9S3dn3ou3n8OHyEmeLhvd2LQlxXvS+EBnDb93k6zc5VLp5OATsy1tt1Ur
8G1AdDhXW8z5z99tXRHCPZBkHI03OLINEKDa8KVr7x0kU/8xsLhekOj0Sd3EvZv9BrvhRNpLnR67
bl+FR3WrFbHq7UjR0AUxafZBDnO6miBLPBkmod4dpe/iTEN+oEJlBzYSq6ajfueQNla3Fr38x+A8
I70w2MVDUxmzQadQHDF0jJ8NLC090jJUyDau+fpW/v/qMHb2LLVxb0Z5TyFz/GvZ9vD3xwaSc+U2
QIREjss8BuHxMkY3W6NnmI07V1RPWfSSBHdj9HL5Wq8s4sTE4kHK86IwYshOXVn6lie/+VzL/KFm
/v9Ryjc+2/lqLULLE1PzV/3ubsttwdQxEi9umtQUOn4o5rcBBRFpKwddt0Ozl1bsm8bFqZ3ZufWd
wjfEFbB608lMCnkow6jW1g1YiXxY0b+WFo5uZsCQRoOPqckjJ0avR82Efaw4gjfY+sburfg8SKNN
SiqIaFpgeU5X5YujPJpF0oNxb+1Mneye6tflu7C6cWj3vKXR8BkunI8mKVMTF1zoXrxJS/8AZaKt
6lfqkF5dNrS2bxSs6SgzBUNffnETzHLQejVpB4b+WzscrpPii5l9m+trUvvx+J7yOO35WT9ixoGc
bluSR30YKvkATr57qQU7k/ZF6YA3iT8MTYJI772lxaKQzfN7Ua0HF8UDmKiUKHDaKttKpM9RQbMZ
oAb8S+eQwPh0QdA9+YYWoiDYKE7hinsvP4rC1aDbU3Isr/Ot6dw1//De3OLa9SYSp8LAUQVKfKv/
FmR/F45fZH8vSUdQxh+kcyHfO1nc4rRG6pLWELM4rYt2aS7aKarNH+Q+BKRGQ49XCbwwQBrGOU53
MLKEIYvqaXgB2YWeoJap16avbzUuFht3ZmXx9mVxkIRKgqae9jXqj1Cp9BI0i8+I6gn918uf03Kg
YWlrOT2nR5WSCjW2YsEV0m9mCinZd/27nLkhXbWms4P4KrrPh0/yeE9mu9XtWqLl/rFPMxYSKzL3
s+ZlEJqlAufb8MJ8OMxyu7Tb23DMadfRHVO/5uH18nrfcEjvXpIze4tPLdMzI+SQhxf1mDSftGnX
IaR5QLE5o5eXHfur8Sf/XoWHkf8WrpPjTt9f/glvMoSXfsLCV3ZzzanWkPUxxW+J+dAw5JNn3T6P
rmpGVqNbg8GLXgof2rjZVfk3vfkxAtqbsmsaho6Z38bBn7zc64gNDrdN0RCdPE/ZMa61e1NA79Ds
nUJ4rJvyutGlm17tnXGjH7B+aUAsmVT9wR8svb3X6HrbBsbwgrqE6HjH+Z/qGmFY/jdwhuowyMfg
Znd53xae/5+TA5L3xlJLS2fhvYrRYsZSFoaXAZibuivykoaOP6qh3cPkvPOMcYLzjaH1y2bXb8w7
uws3NpR+o6uxPrzUMtl9twuz/qARH6jeIw2eWI0PvfBFKo5+d9da170PAZhlh7Kt99ou0L+mMahf
rXdClDiz23zj1y0Hdv7ZFYNOLqyYOknfImxNTMS3po6jqNTI1sPfSXFPfS8x6Tpdw1Fk9IJd3Xib
TYcla+o/dmfmnbmUCGR3kQgmgsoQqs9paEF3iHTYX2Aa0T0E3M1s51mj7fsJsnd7wbutqBlId0Xx
QtVCggNiakM7nZRbA7F0/XHMbwqYlS8f2tq2kAUBOqOsClPIMuTp9D7TvcJsX6rhPkW6qAifuauD
Gjpxl6ET+OIXdj+6W/LoK3eUES0FPkDGWqANWu6KUWaopAndyyS+1lJ+nPRjnZeHIUv3Sv+xhGU+
AWxBXAZPCa2dJVDAslJGHVSze1GHh0IN7K5/jYWDLlOVv2VWRn3e2NJFNeMfezN+FDgLvHNLetNO
FTJtkpTuZYzb/NMw+PK+wC4j3qojMia0VxKEbEIO85Ps98ZNkqFfefk3rDyMkPQCAIJJk8RmKQpd
qEkiV6HVvTybgUyFWbVFhiiF38lUOcnWVO1bw3Hhp4EAg0nCx4lQSS6eimSyWiFL9f4l1sfsflI1
4TkxGgH1wtjXoVBp8puh5cYrRTXu/Aa25Yy+fzZa7T4cJ9kVJhORRV0ZndGDZIvwuDi0RmQ6bVO2
t21ofkY3UtkZ8qg7kwHjd+cVmVNaODNEbpu9gvRnJdXFUWgD6SD06H6qY6PaLezdB1UcKQXXrYK/
0ZRy2nDxaxcZnwcVCD0QAL2LizwEYumHaUxZJMm+wL/+pAo/jf6pK+9r5fPlQ13W7d8uFoBhEAf0
F5EaW0Ruidn0cLPk/Yvq7S31Gq3Sa0tCbyso7KL/20E6CBrsy1j3TmoIoIq32uhLWNH//wDCYuR1
aQYuUZZF1/qTIZT9S6kevME8tmVwmCVgi3wH+eFtNV1n4U1KJ19Xf4ntp7yF4LjUoYv5mkX+4+Xd
WLviOnzOaFWi6kAaeBphav/H2XXtOI4syy8iQG9ei1aupe4W28wL0WaGZNF78/U32Iu7R6J4RMzB
ArMDDKBk2czKjIxIR6kVpbw7M96vovkatGOUk1ImSvawGqDPUh7/jBuFJ9TCAdwGovraFsjGki5I
m+7M1/QTMEwSKTJisPAof7VMrkMBuOFX0EDLi31hc+ZN/bLn84xvu7PgMV+CalPPznK4UH+bxZUN
eIsxNGDT4XripaPB16touWkCb041+li0qdTMgkX6etBjXoPNkqu7cyLuRLopmr0UH6LmCLXe2gx7
PUOXTpnvOIordDTSw7jGxLS4whcfMDtaZZMU4jDtNiFgTClOSC+llncSQR7egFpMScWVGH9txNMH
XSRP4MJlSmUsMx24h56rNkWi7aVmLf+46HNxgP+d2dmzhekgoaZRzOzAVA4XFQaLV3kub0KmJ5Cx
Q7Zm0nsLLCqRRLLvH5v/sq/+NT7PsXo9r3SDiEHWsXWQZT03kW1X38zRfa6claBreQWhjAhXP0k2
zPYw45VIslewpSTvBevU0XMKfOfwJHgv2oqp5UmdiAeFyRrendeLFwZ+z4ds2Z279HcXHmQwVXt4
vacG2teQC8s8609W//lfJhOdWOCrnsjxb6KnrE7ZusUhbeC7VNDtWBKeSzm0lnVGI63kqE29aWon
+H3f8A9V8c3hvDA8cwXQq1LjTOpwOEcw8D2BqtIdWcBNctyBuAeDSb84o4QNIWbnQyZj03WHvFYd
DcFdV1MdsqQbKp6D4lSwz7zXgP7YRq6rR1Kt4VsSiY7arrwop/vi3ifPooSq6Oq+yTBX4BaKNyoy
bH7n1Mxaz+LS1CCtBpbLiVMT4d7s3gr6LmtGiFWcqXaQrMBMG12ocpK8eJIt+5C3NmLwAoB5OP6s
XK08MykaH0aPZJp34pkDXvBydgCR2bYE9uTUj3YnOD3e9/dXcOFoAL/DogkIHOt4jcy+Ep3IAZcz
02zYybjtvUdJ2EAE3RjEYyGtMRwuG4MwAeiG4S3nfRheOPYRk0g4hykIkB1f6KBMQOToi0UPftrS
lehzYaUxtv+Ym91vgIxzoHIXu7NGyr1nW8rwP03evwbmAAraSxK0xtnunMeVXrCyOaQf/ta3pRE9
bt0aMf20MWcb93I4PzfPhVsomLwTqwHD2UmkXZmqH9zKvR+fXZFiLtRR2uLHefrsAQjHKxXyLeIm
9QujFGujqo9MTZR6o+KkeD0LoiYRSJ7yWHrllg/rQzSspajn6c8p3MGA0WcHdB56kebtuOBf5n30
r2FvstlJU7z8IRjiSUG+5hVd7YboveWk3wjula1EqzIlUpP+JfD6n29AnyQ+AOhXaEFdX+etmDda
IGDL5sVjwD+hlg5pcNn3dZHf3D+JSx5xInf519QszqBFn2mlION0FMqxSJ36rUA+dAirPctsw69S
MujBAw+Lt6YCv7ix8HL4yQ6guDW7EYXI88qSY2C4yVTCaB20intar22xhbBmevb+a2b694v9W/Vp
TgfV687s4KjhYLXVLtP7vCTNu9/YZXNsdupIQE0UDyCfTD+4lQn+aV672eMXHzBbyzrnaBlLAZLB
m95qz5DfCElkNnal16ejZAnWL4aMxoGyZDAe2tip9d6udbwiMudxZa2ntbz5FFFEt7k6pR7mtC2+
NyQNqklIyMUPPXTKgUFhQSZaGnH5RqmN+I9U4lPxVlc1EUbdGx+05qnWG+/9/ofMCTn/2d8XHzJ7
UhRRlo1JmCEtdGwz8ob5556qxKkViBPYCZRFY6zIk0L1Fu9WvtuP0RNXWvWoV1Fj1IUFBpDoGKBD
Nf1LOql/vgzZezzwpkTznMi7QgisqWHYn4U2ewu14nuod0HycX/8i+uAfqyJUh6M0fPHhSrUg8RR
rEPacwyyuiBP9tjQkMvUzLwajJdr+MHFszYVEoGbhsOdn7UUFY8uaWh/BtkH3QrVGH0MAU1X+skX
j9qFldlR6zXBixWuwNxFjbiHaLG/y4UgsDKp1p7vz+CPlNDNVkZpBcGOBonzOUWK2rBpGdaYQsRT
rVVbw5a3eRtN8y5jBXb+ht1i9V8G3bDbyhyGY2b7+9doM1jar8byN7nZWJzdWemf4ENS9KrZ4M/W
fA6tWF8LCJaCcw0P9X+/dXYDgJ8ViIIcNwDlA5INpOeQFfAO0PyJeJ6oheP5T/Xhf8nEXZmd3ewe
+DhCucZWZvJDyP7KvOdW2KjpUQIMLDnlHG6Z+4uyuP4X45y9ILNI5aJAjfuz0obDNuv70syattzI
arjWdb2UjMHgkMKa1BlxTmeDK8HynPhh2Z8zs9vWFm+nJ85gvuTnaXVBi7+XrdSunPsDXDy3F0Zn
A2yZfmpLSHF/Mp23gyJYqOdlJu7LKpBIkAk+AQBYWQn3lj30hdVZQJmATU9NAwyV7zKzd6R6BLT5
WDrQUyvTA5iPeA9ZXZNJ1m6N5fX8d47nj0quQaTpobJ9ZqX6yOPdgAKTynQrl+F/OR7/MTN3BjGU
4po6R6FLQ5r/FGmq3rLb0CO88u2/t2lAFO6ZWYs9l0oTSPvzE5ckWqelOWA88fiIa0Cjdw5Zx080
XUHOtA6hmBsauIw3Uj/qtWcBnmyXqW8AgWSI3KlK37Xqo1A2zIfP/OH7HTjXdFlce7Islc6uPm62
vbmSadNIwFFKPNOndtU81vSsisbQbRK0BugQL88MKdrRRiU1KI60v0/sXtmf7XQm1KBvzWDp89TX
QzPJ9pFi1nmpK/la/X/xvQS/K0CiDgxMc9E4RkjbVizhNTzxjR8cuXmXGbDt2PeP7n9Z7v+YmYWb
nuyn4wSeOFPGEkHTgFKIqD7XyRGtPmaBZiWEPDygIqoRY69J2BAq4GoZ4o9Ecdjs2DM5icMdF7U6
H3IrZ3xtDmaeM2TEQuXbuj+DI04Xo0BPPUtissdmlQBx+eK8mO6ZM+q9TGk5toFXiDKLhvtIeygK
+p5rJ406qZ/vRvZdGJ8Sdktrx2saA7yXW0bdF9oaYH1p0KArgMOYpChv1HxDNah7KRtwvShF/yGG
7WRH7I0+l7l9myTS2ixPm3YeM1waFGZPgVoTaVAAROA/VPJJYGsCItwmtMJsm/Br5YIlX4HSIgtS
54klcc5Aog61wPeZhxP84WefVbBhQRfeFIrdfd7f2UuGUGNHsofX0BI877ryGKlTJyazc18Uxpjj
EmMaNy87Z8zCoyqu3dYL9T2gnJDUhPzepC81uxmGCO9zr0VpdMwUO2rcrk8g0tbqarMVtJ2Wc1sh
/KOlf9nV+hOXX5qdOUGfq4VICpThHIIhpNqGxVu0xvmwtD0uTMxr5KPUD1nKQJOxrd669liWPfT2
rDAWiRqdy2jNuy6tG7KmHFAIQGSAA+B6NzKhVwhMxgznOkAaJ8KzT3nkG0ftGidApfBvNwka70H9
hvsPxW4o7V0b89Wyp0EAFUwRgJXSavkP4VfGEyVa8Ru3Z/razvyIqRGNQx92GG1bK79G5S1HL+jT
/cHcvmaujcyu8rqNIcBIgYwB0qHQedFjt0w2sNZ9KwsPd5iBeNpU/UE2dZ7ehtjhwLaAyp+lntN7
9RPRT8+Dk9YcGcOvIC3SbrI3PvxmhpdE2inD94AMQh4whgTUQCFSJ6i/gvC3CGjDsE3V3OHFDZ8Z
PjxN13RQmliZltv9e/29s7kHWjyUlA6osyQ7DeNj7VRGKxO0ssj+Cmp4zdJsARIAVdAuA0ulsgnU
TSQVZuS/oi9PZykLtMYKZm8BW4ORwUEgHYb+UnRpX+9eDIoJol7DyKL4ILSBU+Vm2T73Qk+KrnlO
wRakWl3Fki4aCUAlVGR1NNiS0LNrdtO0Opd+0BR8hB1KSht+rUn9Nk6Wcc2j/gEOMBXl4dnndS1o
UvuKH1AH4TxTLYuBRDn4hduI/l7Zkwvna3IpCpBw4Ia+4bUSMk6tAPPhz2IJF93rHHq9MlMZnjXp
CVI3eXFs5YBEzHPpS+iCJFL2mDOPNWBG4R8q7WhAvxL1W0HfGzS7mzeIUDKNb2X1ygZZ+cy5TojP
5bjCPJE/t2LEW6CkNWulCLdIuEanYKjX2kF+OA2uPTv8HwAuE5XpVGybPSFAwRYnEbCs511GkE4r
yFHWPz8/Rf3ztH99fX1/f394+Ni6SLGRPx2J9e+/XhbYRx4H/X0Tz868FTQPZLkDTat0DvbAWRDZ
7i3JAiPSwbdDu94JtmcJT4k9OvKGM7OjbLK2Qkm8pe4qbfetf55UyJSJfx2yGzet66Hmq3IMzbOz
BGACsWoITvkgt2LeK2cNoriQKkdZE/4EDCQTVHiuPMMFVAnLRpHP7DZ416zRAanLQ2rK4Ai/P8Hc
5N7nCzzR7YBeEj0rN2m5gRWoMDSafM7IcdDBDK6/HX3yWySFcdq/bwPSkZf7Jn+wKzcm0SYFDpkp
fpuTkilojcjBRS6fjd2hPJ2P1i/rYMT6oGsh+bQ2R7ROk7NFcK08VSfHcXRna5o2oRi88bhb8asL
D0JM9cXXzOKfYETZnM1y+ayQ0Mxao3IB5AvP1NH1Yt9vY2STtmvQpjWjwqyqjB0NIdoeU4AH54v+
a/gsYlN4FfbjAxTN2pcaStLP/vPKvE9u6s68zwGcbEjxBA8KzLtxMH4djtbxmBrWMdAZ8qsgn9Ok
WwnU5ki2KR8MzPszJfoHT7Kj8yidGuKsbIS5rgxCz2nqQQyDV4o2ceNde58yjWV/6Cv57B2ap4NV
7uPQ2r/ylmba6PvRud+PwHf+GbbKGjxxcdNfGJ5u2YvSBVSAkB7mYXjkDF7PDtpz2dpFhPe/VQtv
96d9IcuEUYIg6qcvWkRL0LWxHvQdWcjWOGEJGfet5nYjyDtOvX/wXpVQp08BhMdWpvY2BAY0GBJP
YIRCmwF0iK5tgoiY6cLeV885VlQy3dzOnJVh3frmaxNTKHMxh2kIJeXO85Qza4tbAG5NaoUmo7fk
9RXVNEd0VqEYaxZnJxVAhEaIfUY590ZrdLrvMA/lLnK5J97ILGxQJz14K9fjT1VidmZA5AqgpwaJ
YXAuzLaozBUD78cVRgmO/HYX6JpZ6J+BAb5yPSYo/1uZlZKnwi62hV0dgIawpjlIbJ+w1lNshA41
enKS7JJQkz6CJZtEZPr6Bn/L7dCICaO/Ar6odztpEx+YTa37lqcHmwI8+c+Mpa6MaHFnXAxothvl
pExCRimVs5Fb/qObHdf6+H4KBLMpAyJdBT0jCEInRdrrjaGgTF8nraKca0PUhZ13Yp5yi1qYMXN0
ol+BMTr+trK518oqibrLrGAXkNqu7QiL6D3xmAeQezveQ7fuVxeuQNRq8HoBtnKB7oGqbZiqcaie
oTJnNuavcqNY4543iX+OQ917vX9GFlJjwEZcmJudEZhL4jGl6rkx0Z8OaL6lmMgDEc38yIzQonZg
IqYminHf7rx5c7pYr+zOTorvVYFYChimbKvbepM9hKQnLWgEXotNa7cPnnnf4MJ9+oO21iBaAVaS
ee/mWEKIm8a9evZsaghOvcPCWqxTrNw5a2ZmwagA0TBkTWEGYaDTb/xHzaZOrivv90ezAJ6ANgvA
4/8/nNmzI4bEs1J0nXp+SzdowLGiRyBin/yDvB/tBgoZClwkkprv3Jrh6YfnRwfMc9BNRysV+Fpn
A5QRymexNKjnel9s5Q95GxulKRqKPTxHX9Lp/jCnzTc3BukFZC9EYH6VOfsOS72C69pAOwuFGYoE
NxSKaD7aA9b0OZaiWWSf/2NpNp9+LQQQw6PaWQvMTpcC4Fr3lWBEzbNsdpzOr4R00xV2OzAZ6hZg
F8K1PW2jC89UoXWlHpNUO6d7+iw/88aa5NnyzP1rYF7th5AgN3iTAfnAOECGP/l71hJXNvvyrOGh
Aa0sCSyB8/Q9QCma0sqFdhYP7Eex5b/LPyAyM/knfuVNuWgJUcIEzkGTKpJY1xPWJJ7YKHWnnUGf
UTzRLwXyaRaKmWB3Hj+UlW23eDldWpvlOOpIbkPJazSk5ya4GJpkskf/kTuUO+WBjfTyF6Qn+YSs
vfAXHN8UCv07yJknp2hg9ngOZrUjeA2exW/ud7PGfrx0QV3amDlXLcsVLoxaDQFt0JLuAx1hx/JP
ZtUr5BkLtQYVPhy9P3iNovFoDjvgQg8qTEnqnY2oIvGpczf8aTB0Sa/2nLkNj7F7/65YSBTBIABc
HHIxaDKes0jGbJsyag2D7FYhhR3gSSrtGvjPAFVh8MwT3kqAARB0CJbqza77XGVBWZzbiy+YzS20
h32IWeELSgMNXY9EMQNL+KxsefP6wBsg93iPXWqviSve3iXAQUzFM2BKwNwkzh5qg1omHMigvLPC
jpbHb4qS245/mLqz7k/wkh2opWNuwZQ4SSRcH8FSLqqqySvmzGr5FnHoVzH6igPKt9bM+Z5dCRCm
X7u6IUUkFzhkMfBCABvVvHlsECLIfOQRf44ZXMJRV6ZGBnUGkxcaYSXeFG/WDWl4UNahHAX1rAlB
ez0yPgA8ZhgF6cyMD1yxZfOdSje5RhR0onnMq+d9h1AyoQcWMBP/eexPUkYk3kWUpiuC3X+z/kfj
KN5zHuujy6GCjf//Lj+yzNHU567UWfQ8+buhh+KYZ3m+0VRGjeYFGdJJ4P9LSPMaxaRuTblAYJ6g
Bub20U7wVxA6Ny4Bo4QLRVw5CRve+BwR8ixJOr0o00D1zKIaIHSqII1IQZxgxiEtnIDPfbNoBm9l
5yxZVsWJ+R8aNCA7nnbWhbcTpR7sgEwpn+WeQV93D355X+DzTdVjkkNJS2ylitJHSRvWCv1LSzt1
KCExi1AJxZaZ3+iYsvChoCADfgOcBEcYDxob0VZKXYEj+SEJrCbbgihdpofR31L1mGqRXnAHttNZ
zgkYfQRZ8qc27MbRqkriyyeuARoz/8X7TqSaAqiaK4vJXuI/YXFIag89nHYTv/uJ3kqkiXR1x7+l
W0l8ZNXRCinxOqtU9wL+dv9w3sbxPzsYrGYSUn9oLpwNVBbBWVqPSMdByvaE91MJ7DG4JJsi9528
qgejbGPeiEqh3RRS9VjHMri6huLZl5PG4DlP1SXNM7ok/ZNMI4ReTKbXQqKEhBcSgRTgwyNtqvSb
+999CwCZsHYakGmIZzGEeTwpBHwnj74au0KlxhtQ/CUPPCNvghj6BiEA7G0PxTzB6y0tx1lDSJxb
UkL/Vtwa15UiSZApxmNwyiTPL7c2A1CelqN3zimkHGoue6Q4smLZEVCYkAIrGcn1KVBeQm7l9rlN
vsC0ipc7qMYhisHOY0HRk4WCLVnfTTLb63TB6TirZe2uNkK3q7eAY0reb3G1y2raENcXLMxizJDN
wTtYmkuyyFEmsFGV+i5tNNVkGZSLOo/1zCFrA7sKOYjytlXljIEnbvmAaS30lZCGjrmhQrjd1Lqi
Xgsnb94WIhhVeE2Ctiv0QRD1z+6JtgbvOq18t4xEZNpopctsJOmTWLZVCtlgNYAUGlFdqLbmsyM0
0arUqkNKN+rAryEUbpME+BqQzaOsDuEaXB0zf+dTNsxBseG73LMa6El0GP6wIOYadTSUUryzRKPr
zDQ0Be/IiWblW4DmZGJB2OQYZ1/8nkf/d+4k0NuKCUV17HtobYluM8lUuJ0kGJr2ori+qCvM2jxO
4elsaadkJXpz4KdBbD35u4v7NpEgzpAlHXbUiyeTwMd7V9gnj43yUIgaqeq3rPs97OhoJ/K4cg/9
ZGhvbOP1iQoV/gSTyLXtQeh4aBvkvsurD7g8PMN/GhhA40iQbxtV51snEk+1ZLGewRvlR/zIPnUv
ojn0hkR3nK6YIk+Ek3ROVKPzjJYxNfDvr106tw4fS3vxkXOH1BSSEhSZ74IuUTsyld0LpqBs/YOE
umF95ExxB135N8F3lEcGt35pcDorrSzTT2FoNlVgRsApnECsE37jeqoEdIZ2jaT6btVFZvY4FC9p
Yfa+7WW67P2umX2b20Xzno6UCOI+GL5K1pA5WwEuqJcIl9rIMbQm9BGhrE3Y3IxbQ2TscUBrwkMc
m9Q7QShDLE0mchqNcLEpPQrfqJB6z9pTTTclqCRqJHeZ36L8GICCoOEOzXas3xWN9JB5DTfhczRA
jiXd1tIahvOH9vze4Gd5BJFJWjGBUJMrHyrZQrMjqfqn0D9orR5tQ/paFCR1kugVLU1w2mjOf09P
NHMiyRiDvV9bsvTK98bwLfsbn3kSgQzPtspgNLixteooezERyifcNiTtXbShD1P3iB52J0W2wGev
/PLEjdK6cbQp0iNQhsGkQb6XFUscD2m+i4ErDUnLbHxVz1E4zl7S0sgVs+h3pR0qj/kbmlTue8IF
D45CkwyAPkI05FakWUJ8UKraZxnZd+vIkgsd2PjC34AJvzUA1ooJH9pqrQ+HrEa7mon2t0pP0c+1
lVVdHg7imqjHklu6+pwpqLu4ROIUYkZd5fnucEhEtP1aVWR0KKIHLMmCl3rQRdEU2chQ+TU6jYXT
eWV5dn01Md+Picj4LpOSJInBc5TrWqUQSbbArFSmCUHH+crs3z75ERsj+sdlP3EIg57qerho7xbE
svQDt2YfGHgeOvaHwFdJlQNPkU40iWZUDQTMSVsOQXOr4jgGw0ZTV2ntbt5Z+BLhn0akKb82b7lO
aM4XYiMEbqZKHUj6Qu1BavjeLlqF07uhSveVEqvnjOtOfs3Wu1TzeyNLBpCCBRz/lsmNpg9sHBl8
wWXfOeOtQb1vn/b4QgiTQmWABwke6Peu5wr9SEqYVEHoNp7glCE1NKXUAWWvFDuvrKBpzYrZpLSF
ktwTZV7icq+VVqQArvx5/8zcFilR7AbzFsJCLJyqyLOLXM5FYZCTLHJlOwKkiXtVrOGAyyoSdd7b
8JJTEv49OoIqyL1v+RYgNFmGmq8ADwsIozSLVVpgMfhKC2JXLh5SzSp9cPI4WXRSPFeQv6hySCri
od2Cfahls1IrI/XYt5w/92AMCNJJSiMD0PStY4Gsjj1dzcMtTEELsNYF6TtQwRUTrDwAb9JLs0+e
woaLE82Jscgg7opcXk4Et8c1ZNGuqoDiiSEhUtJUF/ssWPG1C7sZRThEItDXQBJ3np1gUmB8Q7aM
3RKQiH21Rm4zbbWZG7n6+ZkbCfmuBE4dP88ND8rw0n0rwjZ/aFV9LbH/UxO6toQsBPp1AEZC7hs5
puvZU8rEy4Qgit0hHrc+PYjDliuVg9fsC7cYRbPL3vPBaXXEFgYjeuf7++02AYr0DhAu4HKB6CAH
ZfZr8wnPiI0XeIFbchMNFu1INKDj02rjQ1pSkpQ2u9a7crtfrk3ODlc8gCuKa7XAncREIr4hscCh
Aet9HKXfDJJM90c4DWA2v0juKqh5gSwIlHqzA9UnWQ+mSiV0haCLjaAZK8JmrM50SqTft3Rb1Mdc
QhYSyD5NwK0xj+yzovJ7TqHUzdLdID/67QjaH/Sa8b+R0ZE+wFcap2ZhcZR0e1k9arU1HsDPQ5qK
pPwuWqvg3gJc8D3gjUQKHezTk3Dh9doqdU4pz8TUrZlDN9FL8HrCPEmPnsWMJE83yVFFSXIg1Ulw
NflU9o6fI80HWbl0ZWpu60rTp4hIHwAuOhGkz85TzvZJmYEryy3F7zw/t+VjxZyEBJJQgemHRPbQ
1E9dqTcE1IrFrQe5PoSXfMNDmdK8v0xL22+6MIC/RO0HzuZ6VqKs6DsOShxuIwgIh7QmtUuB1sDl
ZqNDlSI2ECSsvV+WjIKcCZw+WAt4lplRKaoCLgnCyI0DVXXEtmI3XfPO1e0OKKQRTzyqrbyYFjIg
P/wJWHkIjE9cEdfjHAoP4hwDZnUUv8RhMygcNBnw3hArkjz3CMar0OQaU12DBS8dOAm8PWjBZ6fs
2CzM4rsmp3iEU1eR2/HAgeEkStDrUpfjyt01+ZX5yVZAQMUhwQISv3mzjdB07KCoQYQEB+SPhBCX
14qTWbqc+UsT07JeuDYPdzO6/GnkBhVHODUizYi4/VsAdOGFTd8HgUBTqor2tCf9Smlqacdcmp4F
Q7IvaAiHishVc0kBNUvP6DTmAEnKFTx3lUwF7VSS2H9/NhS88NG7JAPxOI/AxiDgRlarIrceKBpm
z55QGIHg67TPcR6TtS1662UncSQRAY8EnBA8+Wx6szYKxgxjRLsqZ2WdykNFvS+2Izc+QfR8UnJQ
IsNHrOpwTQ5kGEWrrhg0oVEzJagQ1DE1I2DsraaSvxU6CKC2YsJdMvKrLe3TBXWz2VBuQqIb7V1g
8Ln+1BrEGHkycliOZNdISLuiVY+owkMFPbhxi9ZUtrKjNb6exf2HKQKvOhTMkPmY3eBsJg2COEiR
qyWVASpv6J4/M6OepGfkuoXSavBC79VdxRro+WX9tShoOqrzQaOHbqqNaiDVmLPN1KzH5yOfxy6b
teGByVS0UKtxfKJi4EagsT+mIxTcJNVL9CHv3v96LyJ/gbobEJpQl/+J0S/OniT4Ud7ndeyCmgjd
tjtBMrrCFFNQsvy6b+m2dRxb8NLU7KoEsyoEoIQqdvkDei43b0ps1Z752ryFOggEzNhCE+Y2j3QF
Un/JkUK/y/GP8mo1+jamBeJXxWUGKcpJ0Hp25CHHK4xRGCcu0tOVkfEcGMciSEz/vQO8MjO7oAs1
ixPaRYmbjBRdyltwTQX8Duwx/Vquc+EddTWieXDLF37ANipMCc+8PWZEeVXfIZ6sQgVGr02kwEKr
7whqX88rK8rf7lxglQECRCQ2KSnP4g3w+NO2DPPEBdzMRML9Y3CrA7V+02NFLGqoAJd0RnWSdxB/
HXbwH2vB14JzuvqA6QMvd+8gh4AppolbsqlGBlmLTT8aUuv+OBeyKZjgi3HO4gpfzIDcz7PEzQ3Z
OzWdAeo4Hmq94MK0GN6pzny5lVNnxeqCb7qyOrsMZbUqoXiCwSnH7/IrIahNRYb41uvIBG9KXdjq
5vD5eN/ogq+ATVBhg5oOD76fRMvFhLI+74PDoE5cJsKLEtSon3AaULJo2kgP25Cxm47vdTHN1gCl
C6nn6TkOTA2AZcipznXfUcHxUShqYjcGO9+R1n3OwRX7YqP7OcMBjCUVo/o85d5efDYaatLHWSnt
8yyrMz0couQl8Gn7HTFa1X7jvVcNSEW3DQNKDk0tA7SPFGCSLTkxLw2Wysp48KURPCJhWeUyihGd
9sVAOliy+igTM6QUNcnk4j74FPrQD42mp2V0gJB3n+pZKsMjiFKddsb96V88yhMJGLw0HCCKStcb
ms9aSSryInaRSaiZ1lArwvmgR/AeFU3v9hIK1qoehWCD6nT096Kz9f4H8AvOCCpt//mA2ZEWRTal
EMXCQ5k6jcQCQtqEkKaOthXU2AU9AuPsF9gpe0sFvBSlESuoiLRjGjAs139K5i14wSzH9VPtY8ZD
oiXPhXxAteV/+ExAnUGPCuZ5ZHBml3iHxtchp2MM9rDf4Qfr0D0TiCDlLa2wMdrOkkvSqgSPJL3w
G72U3hjvIQESu9W1MtZ7BOfRxvNMlCkjXi+jTdtvyhAenxQKYdd0FG6pveD5RJTPgfEFWhMvs+tV
bZAgZ8aei91scAp51xQRiQIL+UEBvcxU+N10oVkjt99SjrTR2wAGem8bQoElQvsPCpjFRhVetEGX
O3SzvQ70aQC8ITHKgiHdWtF96QbAGwoPebznp6fb9bcyQRl2A9ViF1X91vAbOTeKZPCIhik3UU6V
SRwnmVOWzBo71sKTZkIKgjdpasiBws21ZWgreUUki5glmfWdqhcqAA2G8UFKinzFOS/FACg8QnoE
0Tc4y2Yhca4UvlSOIS50gRPBZ90MJtWyF5R5tmxUrJVLFv0HglqoeAOjj/9mh4pBfBk24HFx2QRt
Tpxm0YbUoMWqz/JgoR4QvkajMQRrbmu6LGaBpXBpduYdPTUIPVo0iVvIRC5OinRo2J1q4YAy0S7v
7aFcedjcoriw0UHei8wyiq4AkM2WsJeKigsg2ecOLXIQQBZBLeuTB1i9Ig3/imKIegoQDVGTGYy2
0hWLhScFqF8Dl/X4hxu2nrjySUv3GfAyoLlVAJ1Bhfp6U7EFx4QNwyA2CrR2Cx5aQEdq6ZlnKukA
Eepgx2WFr7NMEuoNELsrz8ul9ICAK0rDwwulcXBlXZuPFC8Ap3mUuhAlIjJ9UwZU90SHUbaCYKd9
bcf+Y6lWZrgm9bYYbcMoL046EMg9zm5IkUuAImphuZNIXzxWbGpoEAbxqBm1iV6ymV7Jr229Ry8/
8RNLkitcjXgL5iba7EcOhbwAIp3gFXvowxc1NlhPBwvf/Wt84RhCpxUhOFKDyFnNjyEz1BLlEi51
oVStM8LGr1pwYhy0NXzNQn0ICCa8uLUpPSkDJHK9DEXRyGoeCakb78tnZpOQSod4Fnl64p6+SsKv
cTku5QSv7M12XTembV0GsJeRQ2CJf6amjaff48Mp2svkNYeeuVtBLXHVey+c+Cu7M0eTplyljpRP
3fYL74BI3KXBR6rYUpaDMgMqTqVKPOkAji62f66YnYfPyY04Mnu0DjW7LDezeAVJunD+rr5o2gIX
ASUzirKHZ2fqokg+dQnkRssm/0fady1HjiTZfhHMoMVrBERKJjVZfIGximRAB0RAfv09qN67zUTm
Eja71jM91U0bOkJ5eLj7OQe7fiBK9NkMq2QhV+2hVU0GPyVAnUt2oXHMYqspYW8cAJ/cINlKtjyI
HgasOTrrqUxoeZxRMl5XUbrpifuR78OGPP+8s/92Six87xyb/Pd3LI5f3gFyHDnYAXvQkBCHaCgI
E9C5Yt99tr+Cxj0UaGktye7pof99d7eWfr2WCj6zv7jGm6LTKqWa552gnRUchPUBrxaeBMOOhxh+
hEdh7N6x3z+P+1ql47vdJfNQPLZgmYgx7paOBgHIHo9smoWQtwhcbfuzsSsPpDNby2tV7+PMjjBG
29p3YIFNxG04Pg/sc7Ux5lqK6MzU4irN7VTno4Zhaacc8BpkYoAM7vZNj6ctqfWb5K1Hi+IxXMto
X/dc/+6jZWHFYAxBRYQTPSobXpGWU/koP8vTLv1EZ86UuhJoV7hXPajmSr7mqnP+Znnhw7B9+j6b
MLuydmcqaKVL/AHCc6vB8VWfNaeyQfKKxoklm0bdm5JuMvR0GtJ+7nk0/FwB2AEM+FsJusPWXNtJ
/fpdfZGNlsq27yQ3yE/mKBI69Rp7+bxlLo/tvx+zcFdFq2TRoGCdk/LYRd6Ad41EoboAGHyGvp19
7kprebHru/hfk/PPv3nI+dELchnMs2YclMQX4EXVX9FXrKxSiSwPJypCYPv/pg+1WNJ6GHpn1MRw
UOsbtNSYFI/K7kbOj3jESZ0nreBklk7owt7iOupDxex7AwJR3OsAqk9O/Am5CzckgihAH0bkI3ej
o7P52S0sroD/soqeUPD3IJmwPDK1gga6RtTDYaz2cViDKBi5sOpXXREt/LAzX2+jlThmsYSzRQvo
I7DNzx2gCLnPl3Cq6jRrix66W251LMn7bg3zOC/Mt215YWBxmzSa2UlSPAyHXjtyIyJ1+J/P2dkI
FteFhqSzrLcYgZkOXp8mtC0J2AdSQyOZauG+KFnp/rxMi+feckx/N+u3fT+AhiRtJZhUKmjxGUc8
DCDGsbIyS8d9YWVxR4wsC51Sh2oYugB97VXzxe+DsRtfhRciG8lffh7T8tr/L3N4cECkEwn9paql
APVxrvfY8T2NbiHttYWsJdGJETS+EehujCxpE4Bc8XAzDZBok4BFzQEu/vj5M64ddCzn//8MZ/ns
SAD6skuImR/SZNuNjEyaSSvAFbrWJGniyqwl1kQ12VwJe+Z9eLlP/7W7nO1MrlPWYfjZtnzsvfBX
eyjv5ZW9urwTF5PsyIvLGAQryZQ7UNOzG1Dku0pL1D6eFdzfqvZVi7kno8OSO7/11CAj0kAoePXp
Wgrh+vb9d6iLJ0UIpl4QnmOoj7d0jURwZRshbXTuUEJe1GC5xi9nqk4kaBeDjMU1o6PAUBOJNojj
J8sN8/sq8kBzNBV+Ay2VimToVIaydxt0lc+7cKunJZ2mAOgF4dw00Nz4eZ9d93vIoqGANItTLW5L
9Kd3o3BwhFs5aNDGBti1g9qiFyre/83QwsHWZmLXIErDKfahd7XdtZs1Yaf/YVP9O5aFi5UGaJak
EY6MAGNDglOr+BZR3Oi9A6XhnQvNb/rzmK4fUuRKUHyDNh76R84X2VZYq4eJPBxiBS2KUF+oRU2y
7rNFw4YFOHV4kwi/jddaFhZx3T+n55vZhaufQIlh5BHmcpAfHMZJ9sL0kEhs7ZRePSD/beci9RE5
pi3XOuxozrudBdmt1AXjE+CE8w6OfnXsrXHLTiOTUPG/MV1DBV8JA5DDlBEAIBmFxq9F6kUtDZYA
JwMvEcvA7EheX35Bg8OfQEivxp0vDU9SuF1Z0/nUXzjAb0YXDjBre4EGKBiFVvOdLaFLMAJGi+/Q
y2AYewayPfVZt7KtjPMaFXgV8ZWYa9ke9c/ywr0jeWUB/7AsoSvQpOrVSYHrN/Ii0MRjq6WeCJs3
pfJ1ufNaa9xWfYXUqhuBuq6AFE6qPHQAS6kR36YMakhvlnNss3CXs5XrYZkOu/i4ec98u/P7Gopy
4LmDXzMN3whzVzi3YRtogxvWxx5Tcq+M2xKC9z8vy3ySLlZl5oKDU0aktnyUFjnPw6mfzYaMTiwQ
Gs1ydqwl530aDM+2pf8w7/fPQL9ZXOwDbYzUemph0XiQNo/hrbIbdupt5TrbeCXkuO64vpla3oZ5
nEXVAFNN7in+Y+iarhHceBB9DbKbwxoTw3Wv9c3c4t4rqrhI0PY8HCTFHScKRU/zIH1JuVveFXQt
nbNsVr6Yx8VFGNlOGgNuPxzKwthOU7thFTpsVWIcTJBbRMdGV/CjZw3pzAIZAAYxRBRzJlxHtfa/
iVdn/CNIsxwoby+W1ISCGC+Zik9pA7U7Gupjqa1sm8t9agJJB1EeG69hANkWrpk35aAxroyHV7RG
ePCIa4HFpU+EAVTqkQPFH1BvPT9/09ho8VjCgMWKR6mmDUjokM+Ida+qOJSjf6lltxKLXh3TrHUG
Hwxw2BInE4KJUUyo4xy01x79WwmFbMFtO7d3/HzG/+LLzg85hvTN0GJ9VFlAMm+EIZxulYrfSDFq
m/FZcxUS7yxv8OJt43/WHiTQKgARXOe2//2wppF1fbRA5qHQh8vkbyXom4MDIMAcjBoTrJqU0Zrq
e8lda3q4vMAxUChDzlhg/L4lb4MTVk1hZuZ4yG0aQvHDrjwlcZtVwuGrY/lmZ3H2UkjjTbVujIfk
UTZJUQdSTuqXWr5rVb4SCy2r/zjn52NaXAySksWlkK3xMPgpsT3hg9sngFjuzqbjDZlAMeXMf9Ha
AzsKTYMS/m1XkF1NZ3abcDUCvwxezr9nEdlWqcNTJbfxPXgqZYkfmg0U+lZGfd0IKCYRMIBkYdk7
Wg1dprEeRkzdFyjzjhNWUay4rSsOex7Kv1YWsbOD1r/SlGBFT14K674PCggLIwbKtLeeeY6VU20w
VkZ2+TAAehBiz6D8w1HAOTj3M3pkj9DigU0r9RPnT58ElrgpHeoAjPzzsb+ySVFem0mU52lEhefc
0qjkulY21XAIU1I/hqBm3Ieneufc/mzmylKBYs2caaHxrodW/LkZodijkzbpdCgTGXPWnkrnMMWV
97OVK/ERklbo/ZjvGBhZXgBtKcTQT8l0sPiJ39eHEqPKy43WErQBDiCMB8F5hn9aMXu5XDOzAAgo
sAkV86IcbiFgtNICo7OPEjkVW+HLHvcmPIIk77P1tYiOoP1YS2pdLt251fnn33wlkD9TXxqw2ugG
Vfm+QE/NQA3tkSUJFfFmZZBzYHJ+P5ybW+wUfYaFGALmptQPo6Neg3+mfuz6XXifZkFrSZ6uedLM
shxBzrD7/X8zv9xBLDWhnyjy6SD+2E89Oo44qsA+NIPqgPkglIgRgK9VD1bWdUmuKipgP3hRTIci
Lqkuv1bmy/gqIxfU918/D++6Jci7AnGN3hF74S/1ps1wW0jYJu1DIj3J4VtUf2nhJ19jwLmS0MMy
zprk6C/AZv0r6vtt19hO18blGE2HpLXcKom9tIoJLlwJicSm8ytOyzAD9PgwKtJd+daJZoXTWLm8
f+cvgCyVasw9ysuO+ClDs+4osukQbbknIpdHG/Sq1V74EN07u5A+gNf4LvpMX36e4svYbTY7Y17Q
8g++hcUUq7ksZIdh/47o5jDRTxEoE/QQiBAZraydev+zuSv3xrm9ecm/TbSatyKvbfiiUT5K00Pz
zinypwAxxzYppy3yJSuXxvWJxYSCnR59QBe8raCIyLlVcnBY+iAs8I71CU2H819bnYTkI0Hxlq3c
jld90DeTC6dgt9rQsL6cDjJV9iBC2xlbi6xlIpZtMdgrmMp/rSzZWGuLpV00wUrrFSeVPk4kotPm
dP+7I78Y0Ol4p9MsAGOfq9GV8PvqZv1menETW8CSilSGCxBTRWMdNeipBinICejXlf1yeUWeD1Jd
7BfHFIrBYUkHYafKXDOfXGPyU/mRZ6+gVSojA9TfgSozWpbKFi8FOjZb0a442jkqvXDz3wY8XwPf
tm3dFHYzONhETvgrdn6nw8q5uOrpvv3+2f63329PQDFFUTWvZV7e2+Fzpp3Uyk31tbfvlUwOkClo
Ucd/wWKMd+e5paI2wiarsWsGH5Quz9NmIOVGbDLX8k8F0XYKhSPwwU8DcMzLqvVr1+V364t57Fnb
dFIC6+bO8FE9oDmFpMKx3lheTAeKD6AhrV39mIBTVN8jxU5WUlnLLpq/xwatZHMciUer6Sw8EOjH
FM4aTLXwG086oefUY77hNl65VUfkZtEOKSyClLOa+dAD5XQ12XHNPYCvDrA6iNygNL2YBJS/xqaL
uunAn0VL0/v6sbhV363OLW76F3UPtC+kx6BNuu9Pazht8+oCfLO92GiWkdmFLrfTofIqMqIHuN7W
t8M2/ALT5x3SLrqLPqKA0fdfJX028Apq6QfIPr2n4ObpySYxdeh9Rt4Z/RU8NmQLqiMioe/Jez8w
OniHm/pG9Q0qgoenfm/er8WU1/zO95mbvcW3Y9JOmaXyHDMHVvWD2OcHiHGsOJx5/y9POtpF0a8O
Pks8IBfxY9kU2Zg1E3w3y44Gj3JQHjX2RpLlDJ2Hk3TMe2A+taLpKDdBsGHxapvXbYLyENP8nz/m
mtcBNg4vEHSXAV2yuJyF3CljFavTIa7+WNGpyFa866XXwSDBuoomCXStysuYI0ODX6hHhn0QOkUT
WXsoQBz+8xCuVOvR+K+CoBHbHdmnZYARq42eWX0SHuyn6lkG+x1aBGnmD1T21e3omgQsfJnXv/xs
9oqbg1lw/6HfXVFmzvbznWJEoP5r1Do8+GXkTS95Rbbdb/0RIRVEcoOSjFv9Be3+oJwBlYp0O6y8
7K5czrBvIrLCAYebWdJnSznT+hbkX4e9k1Fzpz5LN+lb8TEQdeu8Ocfe5Y/VrQARbLMxqHYr36zB
di+dDJgIQMWv2zK6rrVlyxo6mMKwVM3wwHIQckADYbw1pFskyJDQ7NWVJ+bfNOX5qTm3tjg1iigV
hxtWiAo1J9IpfpfITKOjBr1n+PE92B79NDDdgSAtSB7vTZeR25sXdC3eKDS/7beDJ7uq3wUymgIm
D0I07s/74fIkQesZqTNgvNGxi4bN8+3gRFNq8ZSFh6ioiA7A8prYyhJjgWvl3MJiw4GYMAvFIDkH
PZB847UJ+FPpNU/di/NU3/CHIlBuo7Xs5JVo+tzo4jIPc4BcQZgeHpp7sZ/Ayzx5BU1JQdfaKq54
CqRDQMkGAizIhS4vTbsvo3yw8f6BrDxUq25yT0vvdCWFp/95oa4dXEeGfieMYZ3Uv+H8NxcfctEL
qIFLhxysRMfotttq++yBH0uZ6Ft5G26im/FgPOl7dgpvpMMac+ZyoKgozsByQGgd0O4AQHy+UZTc
7Iaq1KSDhBQdiz+KsiMZNDprraG8WhnsNWMIApClw1iRyl4YC+VRNfmUsKNotsUtbpdNziZiFwDu
TitUCkt3MI/ru6nFThFjXQMMmrKjFoZbqNoBo19JftUgUcegaZcgSyCztSfK8nG5NLoIdIaRlaDm
wfjqx5OduPHR3Kbwttiiv3/eNRdB3T+W9Nndo0aJDt3zZUMqUisgtYT9ADHTg0pLP3MTt94jpZsh
aIG+qlcT7ucn53ZNBPTiEC5tz6v8bceaTasnLdAABwf6Qy17NKeg7zfsGG+H8otN4JSMP34e7tV5
RfiOrnPUcwC+Prc4cjW0GgnzqohANdxqkIn8mnBGrPB+3Frxfxoy/x0hnCYq3vChuFbO7fG0V7Mp
xeaZ4uwhG7hbdQVRGoa02lZ7ivIHNX5i4Yxmrvgpye4yq6QNGNtnEi3gj8pPdYrJz1NwEVcsvmlJ
IpMpQw15DsyBExEkGE/hrj2mT2MPL5Ee+AGAiJt2OwvdktUGxGtnCdwTKNchQJpzqufTEYm+aKO0
BDUc2imPyZ/yJfxVntrAogzSK5PmNxGRDtrT6EvbNQ2WJSUYbi9Y/mZ8sfZKX7WjXcJ4BSWA3Bv2
4pS/m5TT9BgfjIgiOB/3nSc/3Ei3HZBca8D/ZQgO+7qKToCZZsBBfLwIwbkO99hCyvnIiiBvT010
N4S3qrIG21ozszjQWtGPStXCTPPV7Sa64g2X4cDfQYD6FvD8Gaz995X07cjKhhIXCJDgeO3uVxjX
W9amKwm9v+mX7yHRbEMzwGSKEgLYu5bwrAg6J3hnd9ERVJRB6du7yc13zdHYHCXP/GiOHIjGneNO
x/IOHLCnEFmazQblBhSpsqODmv5/fmDOvmdxA2SFDbwKeFyPTf3c2W+oAxIOijxwlv2yq6excbF5
asgG1x/NIW1JB67V/MlAbufn77hyeM4+Y3En2E5sSbGKaclAu+ugtd3R7nQJrPo7LQ0SY8XaRf0W
q2CgwAK1nlklCs/+87Na5xFQeXyIjxGHSFRKlRdRkHEk4PCFesCUo2m49PTT4CHh8DXuZTeqCAd0
g25+HvZFEeafD0F6FxScSL/8jXu+bbneykYtMvv46AwPqkEK7aZnkM+NBxJt0hOSn0dj7QnwF421
2IIGQigwgc998Mj5nA9eGYAgG5wxBvHYwfKrASB+v7Z2ie7Hd0Ox0Rxfr4A9h4jIB/NzEtkHvIe4
vbIGF8n1eejfP2M+jd+GLkGLrWfmFB819t4rDS3RLxo2p/w2BNnZsG/LR7V0S+iEAZYtGS8/T/yV
uxLIz7mHGqzhqLEt/OVQR+CiYFZyTM0XG3S1IchjlZCkbxyKazH0+YpylUXnIq5DXwJcCyC5KjK0
F3AhKBtVZZpVwzEnHAkScNbShphU9bpbk06v+Ndvv29/jS4YhOlEXmqSutCSQf6kRB/DhGjl868i
0UQniobiTUsct8fDiLoygvs9c0skykBEBU2en+dqmWzFU9nGUx11TySmTJBkny/UVDpp26IF9tiV
j7HECPSdjWjlIFy43tkGIvwZkQ8WpyWCMIuijoW8G46tVZIe5I0pYKs/D0NZwhSteSDI7ckOIKMa
xrFY9FZIfeZE0Xgc6dtx37kb+lq70x/QSWyQ9VTp74G8xOQtxwy+6h45+YULRn709dLT4wm8qIRs
3x63f6Ci4r7MAjQPd3cacXeHjv76ysmu93ViklukhvCAzehmbqq5UQL8sXa/Ovr+1XopZP8y2tMv
86QDkqXhHz8638D/l9b+g00GapN0m5EbJNmME1L0wUELXnr3V0GeDhnxWvrznFwcg8WMLEI4u5bR
iToyzEgwNY+G5Mp/hgJbUwZHydYpVvIB2jzBZ57n3NyyLil1vG91C+b2x7ejTN2UPHOyPX68bYP7
o3s8bWsP/zl4u917cPisg9eN+/N4/+oO//QFi7dVHg9J3iv4AvNNuPXBpNu3k//p+7ee68Hnkwev
I4FJAuJtvJsDfd4cPEJuyY4E765N17bkNY/wbUMuFUvNUdeZNeFrUlJ5rxZdpWZdWd8l13sXmXHi
9DAgIG6BfgVccl/tp/THbD2gMAts+u3kNXv9lMV3QIjKbvEKOfOf5/wyJl+s+sLRN7YNjvAKH8HL
WxnNueh1VmcAHUGMDh3l6EMK9xz8DQCJMvT+oHScFsAGrwV3a5O9CFGLLgxZoeMz/OcCh/r4euJE
pvuUHMHmQh8JDh/FHnj1/XuB+/8QeLe74PDwolG6f7rDCfxYW/7LmxiU6qByR7kBiWXgxtVzzxp2
nTOWMYgZcxX9MdumeWp44VZvcfECVnXeJG4uH0AIUozHPqRyg277BmB+AiCCk6xJkS/lUWf3CBHL
mU8dnYcgt12cDUuykt6Qpuz4KkHVzRVbti9c6SY7DW5hEwPibxA8cJWg3thbTJAIwGgbwlm64L12
K/8rOYqnYq3t/8ocqXhVIE4D5y6ajP+mVL+HCZVUNEoRNce44GhiBoL+iMsodcMylANHDYWnGqwK
lHEQHhjpxB+9UJ0tOInzm9TKMjcbi8gvbDX2CmfMg77h0lG2TOZNsbyGFrm8KfGtOhjy5/QqslWL
nT6o+mRxNWmOJf/VahBWzh+SYQ3wfelEZyNYqZnI1sRT5XzTVJYTVZ0DI+actX0E0H4CKY1NzDWu
MJAHzL/r3F2ivoA9YWpofJ33x7mtgau80mppeERUA86TDC16E6RJoK6ut0x5Z3qX/JmiIZMpZH0A
SZUk8TmOkJYNAE0Kobc65sWh7sGX6sYQn3mri0q5GUcp/uJZas7as72Dp7EG7GNWIhzvHR6eJqT6
nuuiL8HR1RugJenqDl2UXS11bKOhqBL0ksqGQGmn4jECYZpBEzMaID0RZmi0MSCtGIwT9hIJBy4p
28zospeq622wYGv1AEB2r4uPakjs55pXkbYtQT3bUlA3gqBYtbLpWa6apgE5WJXzsTwYZQNyIgJC
Ozn5ijQrZMD42SEErdBi2vSTz3Wj4Nu4dfLRj1O7VwF5btvk99hKBoI5TauFmxjdhEgiHkG2YzIx
jTUZUy0GdUyZ6iDeMSOzcrMmTowbnds83zZOAUCcUsZgyQu1FkRQppFNIR2nBN2XaddostfNmmFU
q1I7D9TJbOMNPgXtNxLj4kMw7B50Kes8o6jugrI9k9ESZ1v4xWB/McULt8MBh9oQsbnXewl85jko
NbZAOQ/3VZbWwOlzozxEmSk6tyuV5m7IZfYyJbn4Xeu5KlMOUt2jmqSOQBcTKJMqS3WqIJFlLpFs
1EXvKmNnuAZPwenEyiYBgX5pp6AfbPv6cwDZl+IaFq8zF/pQFS4obUwSf4y1NMTbTza2pcjVzwqC
I1JQ6IWE+nMhgcOE28PkF9a83IPWWgaxs1xEoD6TBAsgApE/hpYMPJIaGwzUTElUS64AWH9Cxjbt
dSqcQs69GdJxzJqZmbuv0/JUFFH2YIiMZ4QBVx77eV2GgkxjVt/xMFaS/QQpQoypjEQQ92WoUC7J
6rixKkfs+0EeZwV4hX2mJo+lrcbBNrmNa6E2PgfyJCEjl42PhNcWhEN6njmeKmmZRuoBsOdaA18G
jTojHDYt5JJbUleNrLiOnkZ/eG63fxytAyApkRoBbLYxAE7DC1s8S43SgTPQnLBejIkWouamWoP+
wJ663MtKEOS6pt45yFTraf2UpqolQ6XFAQe+lDex5taOySDw1SFDCM4sZaTj2IEjJInk6MsATBKU
JfVoBGUSKQrVJIvDpIxGKDvGavhcAeLBbWMbnfLapLTjrofas3S0gI21j40E3JqnFDFHBsOYdJWi
EtO9D33tPA6hbN71mMa7VhZOkBXoZaYgAx8+OhAjQjctRoqcKvKEWlzMhfY86XHylEugE2eGGYVE
HRzkstqOYfw8xBYj1tCaL3LeW1hRyB5+AhtR4I1Ug9CRJTGOvsDtlxJNAEuE7n3RQH8pBKsXWEtK
JyNWk3FghoY+fVbaVKQUuer691AMw1aR8jEGeYkR7QsrciqvtDvm0Bmrthm4A5YnzCLv8QVjig0i
5ypp7dJ6lSqtqDdK0mYd8rBJOLlTmEeeXNXzDc8N6TgmCpIPoFStnsrSyNtDZ6sZZiuNpVlNR80/
MtFXoIxpW3xoPJmZTYWRKzE4PWIV8rRcBp2TgCLcIzo7KhREQoAHQLRp4K0GRLvxYdRhD0KKPnIw
aNPM0YwY1sqTBfji6CIFYf6uLYG4b2o4REsiOU4fizgf3su+SiOgcxML6iTRvKiZE6MmaSUlSK16
kI7MmwwOwVFFvZNCoFBIWphwWELNjMKbrEnWNglwmr9bCDhZAH6FsuFpSsXiAxpgGxAgjSFqN3gP
9qSXtVSBVsCIheh6pzc9RUlGA5JDTo93sj6JksogVHw1FcF10KK3vCNOPcqOVwxMBfNg3Nh3bVIg
xkxS1m4LM0qeo7yypMBqi/zFKTSp3tpOw4NJHtoyAE0bVwjWREr9jOeOfYwiJ07uoPDCVFdqcjBZ
oxDT74eWJXN+CFAuUmdmdmymipvBNEjiwSlT6QYp4TR76MH0A3IwueUKOgX1WYRIY4DZweu/oiDd
j0RTJvG7aS1HeEgRxO8D2lIfRp40GlE727gDO6qoqF1Y9eMkMlRFtHIwDApUsQb8kpXLXWAjaJy8
zGmRUY7Z0OZbXQ8b8O7YrCwCKc7MjiSs4o91isL7RjFbyQwaYwxPg4Kbhppph0FLem79HpqiSk+T
UXWC5hkwBg+yUaNaoWthVR6HprSPpQmZI3gii0euxjM1pb1didZVe4ONe0jHRZAPlhVIAjWjVhRe
wYSDYnqIr6cK9mdJTXQwYRqTJAOb4QCJZUQakNeCbq0x7fOoghqBXus2KMpVwUqqqMgi00irm19o
hLbuedxHv/Bm6xNc0AoogQ0nHupD04dVu0lzabhL0aSZ+FUsIwbKDIejqjONkifLLeQxwLnVgwY9
slWc8dQ2tioTJaST1ER2ngEVmSRiM+jQuEZRtx2xJTG9MUPGJISYaPCzSb3+rnWlpNEC6H8oIZa5
6kcF8rgkVORw2BpVDSUSlAfjGBF6O7IHpOGd1M3bBrx5XQQuIjgFbmY7NqbMuutiB7uozGVL0K6U
OxCPzd3ZLvy5gSYn2YoKoPWwuWnoNOWzzUwZnOrNIKFFOmMiCXRR6oUns5p9DUY6lF6eGNYJDUVz
5kSz+tTNeikTpDH7Cgc0RreYGyIZWrtSz9UWQs+WJEOYWYOVoGUV+h1UCSHNUNeR2GEt5JNkJmO4
b5Q2jzZQlJBYMIROZwadwsWjFdtFQruwbGS/MvO02rM4lvZSyMqPIjGy+9HoINIjogxtBSYr29hz
mOjBBVZxvdk6k67nBy6NMzsCK8AKARoApD65pnaKD7r17i7TRcceuJZW9ckum4g9GkKoT7ngNjiu
UTtr9qZQxw63+QiyJ6DsKjl+LsQgI5urhygzIfKAuxFDNfZQukGUSkcxCTR2iLJ94SAL/5q6rCxA
G6Or/QZdsDEjCNwdxQ9FlSHWQwyKTp5c6yK8krnZ+W2qxFC3AfWnx63KLgE9Fr2xYSoYUe+nwlEj
1y6rAm+1FLweD+EQKsyVxxBU7bLFe5fJYaYfrM6aEndq2pIFU1RzdICCBNHZ4kGDR7AypF3xLjHH
Yg8hzlBOJAltYW7f2r2MCCtF/IRowbb68YGnvFNvCnwVdztr0F4EdsebGppK6YcT/tZHguV3PMYT
kzho533VFGmIqAZAzX0jsemPIWQ78qDnlt/lqBzueGfjrdLFWfrAQiMB7Weby/faYKMIPF+6CCsz
1f5AQiF6Q6FrHO/zMLWZX+SsQvjQ1kbky1ExlTRqlQj0+CVnCY2LrooIR8RwhBLX8EfPOtsmfdxU
DvS54hDNdmaNNaxxiWkEKnw6fqqy/COCokDl57ytv/KMh0+V1SmNV8E1ZlSLDRuaxTbweqg21Sz2
wtzSItJNOcq8Y9GBY6zW5IbGicVuEnQbIXCRK/UWd4iZkdQei198RJhDGqfDo2KMe5yjIZ1AnZ8z
zDKx+zhy8P7IuvFTEVZyp6ThBLCfyP848GqzKmIHxwgtRNCZINRwXtTCMBF1SGbRAlqgjUcnbiK8
XWRtyj01wW1Qisi5awcrfy4HJQzSQkVFR3KMIJ1k+4WBjfvQSUV3B4m3MKSZHkIsTOtq5c2JZGRu
orZKsBzC1sEpaujpBupqFhaUt2YUWEyuhBdV7VDs1FYuOy82INJGBnkCAwnq/LruNrqo+xtMEeLv
2K6RVs/AwoZqU1VKO2bgYewZQ1o9h2qLJHhkI8wnUwYRAiJFA/B0jVDtwRND6lheWvMIz7sK3FMI
RkI9do2Wy9zFY2YqELpPKBQhoQ4UV2ZFZUSlxHKqz7G3MOdawyLwZCZxngRd4jQCbgvXzxHPL14H
dWLkW4PVcbrRpE5XXVWuy+bOQm9mjoOJOysLdCZ1iQu8N5herEzLaCG3IHzpdKRSZDZHGqqWIUaT
Byg+UgjEWzbhig1ZTdyd5mtbFMaLJhI8OEq9h2avZCcV+mNE199Ibe3kpDfT1EANAK126PfvhpqO
HNKDhLNy8gx4agg91yi4Q0jHKJB+7yEUQUxVa/fMAOI6N3KMytF7flDbOHcQWSn2rorbAZ2SJhpt
yWRL5URS2RlQbIytV6bGYO1qirFF4+0wgtXf0AvnNGhcL0lWMROFqdZITaI3eQqxyGxm7ERlZPwT
MiuTwT7rZIkbCbPjQHuUxR1PU+lDtlsLOTany0GBKOqsoOCmA3lxh/3EqRPH4Cozav2uyXphe3pT
Ww2pJDYwUueqdZQix4jpqKNQQgDaRn2kEjEi0R5t7F81SjfggdA7fV/hZxC764zsBIwZnu25luaf
ndqnN0oaseL/UXQmy3HjQBD9IkYQ3Hlt9ibJsmRJlixfGN6GK0ASXADw6+f1aQ6OsbubYKEqMyvz
lI2aV7JNVNYUPV1TVfRNF6b4wKcxOxSt4jPF0eaefb9u9dkPKDRUlCl94+TVr5upM7A6v668o8h7
vJ17Fegna4dKn/qdjWRsqfgB+DsG8yyryG9P1dQ1jFBbRrLOHnR94SejMkViVvV1TSAXKtFiikrj
tleMsXbDJnwzPhme7CJ8LGHfvmCrn4AzNbTD/tCR5SdvQSHE0/kT8U68DYTWRYIfSwZj96+VWhCc
HVeUwXrLcnfKk73+49Z5f1kaE7ljWAJx8L+07QO/rMbjViTDVxkztPKrp96rC/rolxjCwT/5uk3Y
sxRdmBwDNAfVQRCW9061tvLYVW23XMu0dskxY7L7zPoy8sl3S+STbHabnHKvrz8d0yqw0Bov8WEa
aYdw8u2zJxZzFY4EvaPqBtpr8hcTr+FwiZquxnoxif31ZNa4IV+PEnyVMKko6/XQi0MQZdWniKJN
3TNMDIKWcAW3bDKPcRVh5U6YQdlPwyl1ohKnKky662hal56w96r/TP0mnwfw6PoaTF04XSc5T+Pr
mFc9l/Xqz0NhNoWIpJ+krMitUro5Z/W+RMds6OR2twipf+CZnHEzzjHmzFKOe3G7QtNDtPsjYzBJ
wHVRyWgU1723U3chC3gJz6Km380afHGLAdOYncsjFCRMe0I8JVVL5bbKn590IAaa684LeO9Ji8LN
bvCC+sughV4fYr0yMLIiCD+CQDan1wfAv7J2XO/4pIj1VikDtmTHOsIwuV5kOB4SjiBQu21Lfq4g
GrfjXNsoK3TDHHAEG37nr7MXlm1AnOoqXj/2bBhssUx6YBjzoCqfpOfPIDALcNQht2x33IexsA0d
1aKzI0EaKTtdnISgEDqqBPkV7CUc0rQly6BifJ6oUHOgHpI2KP3j4Jv+a5jLfDwwHFHtdl9FYWHC
KmqLMK3Qu3dzNaSnctg7PFakmtBnEjwiKH1NeDKi7fZXZQZ6SXVbajm4sPSmYu4TOAQQdoj7jPHk
n78P3uc+xYs4J3TXC5dmF4UEJbPdflDJuuRPY13lJWB/lz6NujI5MKEViu6y42uQooQjyaCrILv2
YSx/5mLa3wMvcGx8bJ79L5C7ZZYJV4FZeYRbdVa68iWfPE68CTruvzSsuMZXFAUfXpttzBdxB/yV
A1lNvMnKnceMEs3wvt6q3s6e5Zl5ekQc1kdz8rhi8IUXuutTAkKChhq7EvmenfrWIyGkduk6F6a1
fla0Jf4fRW2T5TOcFTZ5dVvp6MB4DdpTm3X/lZk1/KtcmADfqDh43SY3Y0w20xthdxrxMg9pPYRY
yw8dd2geyj9bl+SqSG4dPuCglhTwuQpvcoxhVcWyCLYB+rynjpmG4amUzvOYu7aUDZ+gG55K47L9
lPl2rI6Ei4Thk7ClXYqOcvCvH7vcP2yRPzwOWoVAg80wfwQi7rGL9fflMcumoTm6AZzm0NS4uj7m
XZfU1yTdZnEOnAmDc+tt8MF1JxUvmSjD7QzXY/AiiW/eb12g/erobSJsrxu1/TmP2947Bk0CwASU
lDbFtMdD8xQ7r20eTNiq6jALgYOKNqQbEV2VNVHhpnX5E9aLGI8x0Ep2ygMEocUoZJPhrRkFvzMW
XXk2ezdtGLTrKDjtYTXrYtOB+ci2dPsqiavlFsBafy2CatI/vdXL6V7nNcbFW/UEeqq6JdbJiDH5
YeIbBGlRQt4NuTeYu3Hw66kYnQiHk6fW+JqD5rijZC1AHFQlxTVdGUBOed7L5qKclNkB6ienllZe
9nVaPAKQppquajhsltJwJF8wZD/UcWF7DnxmrXT/MsmuBzI2Q5Je2gVXz6KlscoOm8usBu4fQhZ0
WH0io6SNsrIQsvIBlyXM6jmfNMjwxFxWE/eIXyHu0l53RMwpwfR0HT3M0ZTqa1XdRoups7xiJVcE
YncATfRyqdRLISabTsdVBfZnyykbyCjvO5reMWvAtfJ6PJotaO+9NZEeYhkvBIThR8S0veMGpM2K
xgdSYIByLGDpV4zVyTXPmdqumsz4mYhK6xuwbzl8WerV5yPEK4ICTCSw59mH5k9WZ9TAyvnvgDqd
OwrMMGmYFEuftDLTQNAl65YLsX10bSBFS/afaHJM2L1hm/1LMKZcra1D6n/ExMNXVxoRORSCM/pn
43HRFbioTi+pAxf+sYa6/EVH5uqibm1Duuc4jcF8Hawgyj2dfOndt0JN5rxv/OcAkwQHl4XrFODu
AzZ187vJgIXc6tIj6v5Mn2M1J6/dJLp7U/UJa8ZjNMWkU7Ij+15tthu/ef1WCf9gdr8JDlmbk/1i
OwTUk7XOQVmtJaG7oCoF+EoYH/x+2Paj7kosbVMg4h+usXRIw9CaF2K5yx9xvcd/prLd1Y9O0WY+
z1wh8VvApe3u9rIT9TOf0pIN5s8xVxs+dcGDH5dB+dMMeueBqWn8IkYjt0LlfTUUvF8b5mZhOhHX
g1PIp2ZxisMQqextMhnrAqW/SZoT35bq1Y2doaxJicsurZGrMlP0yyAxT8jmBDvL0s+i4clEdh7u
qmAZBEZXQzKp1955gmcxbknz1LVt6x1j2lyetB6al74fGlRYTEvb3161SwZADlnAmI/IQyZfdKiI
Cirr3Zfnsqy9vODeM7iLrFtcrfdL66UBBVvV3tGjWzX32IOI76Djy+OUMsBdOroI4sr01saPbjf6
d9Vn2rEQrqLla9j7uCSEtZMg2EyLjN75kMHS8zfJO9lt23RdEmv74zqndrvfYKso0zd/CTo3sT7K
WbvxfXZJ34A8DAnruyDwbH7OY3Tt7erL67IN6JMPcWaX8oKwtxOnqS0zfPwwS6hJqNl5XOvm+Z/0
ukl7aLPOx+kjkzF8kAj322cigb0wo4/FihwMH2+VSfoAYDfPJzrTGCN0tSbzIRIadZcXAHkU3bIl
44tmRupPTUYdPZLNU05nLLKr8sJ+SPg9SulS+Nmyxjs2S+9+1iSa0kOuY1lupx0NGfGyZuvbuyWf
I/VgRbYmx7olLe+YdItsPsxOSbxrS9qbEozPiVocuCaW+F/oJz6qul0kd0sVLckhH8Lsky1f8UN6
8+j+NkuVln9A6mz6jes1ZAhx6qZM1JImqRYESkXDkMJdNT1drAKpobWvvescRQNAl64H/E1LoC1Y
AcSKzgKO6Sjfr1Qq7Rd7TqrIf3obdvngxbU053pM1RNh5hOyOG8P6dL0vOMoWOugL5ppVPtLRx/y
7rU0eIVLkv4NEh0qB8fWwXn3eZNv2cfYBzghTTu9xI4xVn/ndh5PMWa+HI/V7A/pJZFmiJ9yIxq8
RMZu/i2aMEGR60zfHUaCvJJrhq/xU2rmNjm4eRGnpCVruAwaFZzGkpbvFA5yf7CDr5NDVebIIyOS
Hf8Gdeenj9swrT5YFEAYTWpik4KCM9d4wG9av8RDYOE5BumzYNl2NLtVJyMgaZtJEM4lqxlFArYq
NiX3u2DK2rf6ZnJ96r0E+ee6EbcxrYN72eiumzskDcALirsxOYzjwERUl37wzo+ZPTNh2MduMcnP
LedhHYao3i5ps5fZIU3k/LnH+RIeZNzTctVTElacgnRCpD82CwCp0ck3AY4pwQuSlK2PacrsARDA
kWpgEu+tA3L3Dqg4S8q9InwA48WK8TkfHXkVsBiR5tMMbKOk3NG8RVPgTinV+s24Uf3SwHfP7bbQ
h3m+HoqIsMq7pgd7Oo2OSa8Q3cJnaqJeT+QHbv5/SopwOUTjJH70tTf8qoLOWw/jZuVLRIMVHVeG
bnuaA62/GdxHyPMiL+9j7RWt2pip+LTXbiK18dZgwl8k3Xud7AzlMqmhepKgLt+7nqyARt2A+oXB
+2QRPTT0slNrjrXdGnPcuj7JeR8i/ZrDQYNRLY1DSQiQooq5HvMfrkZZedfT/H/dWSJ8rZoNDq8U
E+lMpdncU+9pIGjh6u1XVaa0+3XTI9wQIGf3s2q75GyEau/K2eAPzILUjkcFUCbPkUGeM+pF+RUK
KKahaWXy7MAA3rkcwj/ofGCGMthwOLZyj968ltudiWkd30N+SLzgJXf6wdOSUIZYNcGvZJ2zr3M/
jTAYYpq6wsuWjSIWBvp9yf3ym4jwX8iWPX9zWdn5UDsbZtSi0QD9/dqD2NlG6G+stcXtiepIVyKr
Kv5YA1M3lynF9r2OYp84HnioL9YoAri8zhGia/MFdmaI2k0XCR3gnc0jOWB2mS9/qxQO5AD4Kb8n
lVAAYYCGL1hBKHNC+j/nRTc4H1s7Uc9hEfc00cwQW8mTrl14n2L51h4m22x/al+xR8mlDFArYjOZ
Kz3kFgHSQ2UXbMtLSLMxsu15nEv/eSonPz0YC85VZIPl+a6Rb5aLHonrIYWdnSBrAgmXvPX2e7eV
7X9mzCdVVGpJYZHaJXlTnhpCLNrC4R22n0zq3DADF2rus+HCtw6+VnXU7IfZNPmlDekY4CBKFp9l
07zoaQ/mu6lbOFQRWUcDQyKub7zkbriOU0tcNBEt3Ws9zbskYjO36hSvmEQVfuiyP3sbsni2ytK8
IBDoniUf82mtYsOJmG+sBkPx8mPwluELwED11231zOhI1/ZrmcL9UXYBEE7mknspbrsr25LHr2Fd
x2xsqD75T9k9yE9buybq1YZQbZxBN96tC8dK+1HwwWxxg8y3FI3ZVqnhYVrrfgZwC2b6IT+4q3tX
pqc5jB1KtKSrf+W9Xb6RTMdXXZiW3Rl80paFNaH95UVKqbNb9fgDlQRdT1bFTXKkrfTwDgcPuDeB
w1LTmAqPf+U35Od00pnx3NLyvqZ1uE+fSE5XEmx0PMzyEnpoaAuZetPZs5WeHtY5h2lOQnc7Ze20
7dfEBHV0ha8IauhyX8q7ddxIGrOJJcmjXrw9uLZ9Lj9aXrUIpFbH4W+w2EV8Z6k21J/0lhXqCoOL
D/x3WJ8Drx1EQeEWnwDwKrksdm78Uz+YhR9Q28RjjOKfBsxPEZetq8C5AQn0Ej/76AJoB5tynO7j
nU72GMAIfyYKavxYUqP8k+q7CMkE9D5ScqaP5spcVpois6bMz/u+4MwUdcBTl7wV/cR+mZsAKVIz
/MtyCCiQt3Z5TxnKMk57wg+5IVzsCl6I5U+fZVIiDt9ZZ8pX44n7id5en0O5AoIfZDup76qCpPmT
8cfpw9j4XlPokZTRE4lt2QodUcnwuBMe5zUHB/WRHvXOX/iFmhblD2M5twSBgZ9TT8r0OXZJ9N86
Ob88LZkYxaFyTfozI+4CLMJffdhgmPhzEreeubY1eyLIoRlIETP5WCC7OdrI1dTLAGRAlqk3n2Jj
KbLWA548s56czCeOHagAXHWEjm53ioX6zeNFVc6Tz+HQNc3THA9gownoCUqICHXNPX1rhEFYM5QY
tjYRCqKSK1cWfRw1qgh14Ohcpyx+9UW+Ez41OkbJeJ46eHuZToZhL6+B0kK/68/IYNiSdxGSI1jP
VEHVrZn43gXixnP0eOzcWWfK9DBkWyKo23m8FH2dM/ysdPTZwUuBSE0Ox1sAx2e/eY8topFxXWAk
7TJXR1xKMvc96DQ3fibN4p2QTo3tvW78loO519BiGzKK5LQlTK0FBTVd2ZKqXHjEN73hB3KtHI6d
DEL7VJlZwPBq+Ln95AVzu5/WUbr62eoqwdVohoF6jkOEfzX1dEvXZwOaZo4qHvb6fhg32T3pxK/9
yxb1gbnLtQGul3Pre89Iqmx9bZI+Txk3rXrM5qFaaMK9fGu/A+B1G4POqIeXULvGdzA+0di8iTLu
8rtsSCFd1t6LY35hYOaPqh7FdFFCgtHnu2/eQsaz5FDjsn8z363n/mhdbtwlL4cU/K712D4fvNH+
RSsGHEaAcLqdkfmRgQdaGQ7nrtuz+Vw6yNYhcub3FnrrehZeqYajGjJnC2/XBG+YaECg5/hcECxM
d8+y3tbqumHgyv2kTGkfEN4tREpkMLNFHW/AET4QFMilNCov1lv4YkH/YdhDkgF7cnLZQWSzRY/j
SyVrkHouWrOfRBezNzE1+U1Y5JvEXbopWz6Zcqpvqa3gQ4K0mYNiRscwgXxgv3VaOrU9anj+/Sy9
qaowUaCx+NFu6cKGXjNm5ZmHjBBO9bC/5KaN1XIczTjkqCqCPQf6UOX0JW/JXT4QD2XaU2MHDpNc
QouoTE+D/dEjVSQ5Tgfz9r7zLYdvc4ky77TGMqxfthX2/EeVeV2ECK3EwDsWQ0/PbXu5PWnWBh4n
ApqWDxHs24jfUjLxtm1cvkU5NZjHVmLGynas8CbNDyXBcM2rlDA0RRmxXgAMDLkLqFXv5aNTQwRd
lKZdfYDHSNQdWkkb3asZme0JwLqx53HN2QXdxtyKMx1qlpwAcRQrBjzy8s41lX7yILGGq2OdpX1d
c8Csdz8b6+BecfXUf1eVZsuDcKwtH9rUj+3VmS75IoZ0qS9VaeVeqNoJXEoThCiPpe3Z0UZViVfV
uu+gc7WX7czbkArNd89Pw5nEhnTIvy65l62f0Ri2nK6oMsH9Tp+D4WsZaV1ovqw87otpoSMRjKz4
QvWCW6sr0+wL7kppflkt/OK175e8AytN6OaKZeb9ucAEz+shlEEkzthYtu40hXGZc8qWFEFGPEf1
vcoMp9IgsrKXafAT9U9M/t6g1woRui1jnks4sXmw3vcs6mR8alevbC+oNGx39OJNjE9U5f55lIJr
cBDpaJ57vl5+Vdr25bsirnF78fF356NzXZWPnSlpb63cqj/CYy/7i+hSKnMCRu09wB4SU9CD92LS
MNai/WtsEhD6MA+hPlV2iGBPweHLu7YBGECxsVsYKQq37U+7Nb0gfyyLlzcPSme50TbwffSbGZpE
QOqyvlvJw/wDEmGUd0B0E7qj0q5MDhscXn+3wgTAJudSB2dP5Z45x36MBbsL2qy6T7xhCS4xKctv
qSqb/eq5Nqgv2wb/fZh1VP7pkgp5zsrWeQ9LwrU9HMBiAHaRvDBsMB+vrFml3rgeYcZR43vbknB9
5FzWiNN0cJOSzOly9YbV0w+85ggZsl1G3W/VM48dXDCJ+GTyLUiO0bbGwEQiGBNs06xqH5Ih3R7y
qWUEdIuHLdMS7ZElCrEl7cUnnr05e65DMBLGQxQVwRyj+OWW5Fr1R8dYoEt66amDhb0MaI/tQdL0
6IO/ZYt3lEpher2WQQ2zDegDjYFAiw2bHOrz1KopaT+7YfF/qmjaJjAHjQ4P3UWuD9qk6ScMcURy
VTaIV+YjPI7c1EaUvnaemq+QJtJcrILquWtVeHuXF9/y7rfSJtBWieWa1lEyFVOnNfmUu+8vDG5s
gN97lRdwCPYYcDuIu3Y/jNFtvtJrEDp0K0pkd4oFAHf19qGFkpUVDZkXxeGtg5iZRVm/jvOjKpFN
MAb2GXZE614RPznO839yIMmuSto2OUm4lW/7kIDW5KvyWQMu0/2dysGm0cQc+i3MIUMvUznb78ar
WfDPBzW/AOiPT3k2NSUj0OxeGww9zKWZlN7PPcP9jppwCv8pTlN8AOahs2lE6CIo0z2BXEyMQF2U
Z8t/sTe76Folq+DL4/nRgQ65Bt+ONPZ+QaIsDaq7MXmZHUxbseatlkWpFhRluvK3RzwyNtxX6FDE
Vbg8x6twcY7ITLvUH36TB59MZ+PXTaLxPqwm97tiQ20srhra7a8XRO2IcDyRuvBJ166O8K4zO4Vp
Oz1iclyxWFW3iHwcxMH3FCHgcE0dGqHfGrh7RRqYcmzRj8vmHpgimnC+lJt/WO2QoSqrOPMnNGNm
oQMMOHCdnnzQhTmx/9Kt3wkWJNnVOy/VhqrCEi2/X1CS+V823p7uqPLY0MLyLGCe4pDmVc9NcMEA
NEcaoDIZnFQItnZckexyz0Sha66lP+gB+KFb1EUNDd5/vK5sVqfJ0gLpZLV/t4eZx72Zhv2GXUMW
P/h+jk5RjwSRcBdwaaEwsHV1TtY2C4otoOngBZvVeFr8ADmiTSBwGbFu+sEkWC2raQO6JVgFIxzJ
HSUHvNwcAw+9kW+vs2y3rzVKcQUURweBGVaLE4YGWjYnWuP26uW5GB+h0PO3HP6/P6XR6qGTn2US
F6vX7+FdixzV3sMc8DZ4O7Lqk2wMvYAJJ4WOtQUWKpKmmggOHFP7PUuYjwpQTrJpTdLD4XdzrpuT
TmQkCn/ffFg+uU4vuiVO8xCnmfo0STwiqXVbmVyDNeMzazt/DZcu+xcPrfeKJCd93kqN1mCcUfvd
82HAv2wb9H0xJmZDbT5leDkxBrg/SzrF6ofVoz8eUuWC+dAlbRU/Q1aENUZ60pMBNEsVieCuh6Pj
2EEuC1T4aI1P2p/j/XudAd8eQKAaLKmXEJfTLhrX/jwne/xV8HTyYoh1M325aWl+AYnLvpD71MxF
qIbqpWw1Hb3kZN1DlHD2w5iZ8qyaeX6tCekh9cVBJl6WpfJAO2e//EG937MzLeheHmU5As3pmTe8
SHfV+Y8qDd013OcKra1bFK12swAv880770ea7prJs2tYmtlMGJU/F5ig6y1EIkaowRF2l9iXMxp/
3dlXz4sWV2wZkMdPtYSaeWWcMODDx9YTuO9TiYEyOvdNlk6h8Uo0+RPpyF7JORSBtveSEvcGD5P9
0THqxrs+m9efExqK+jjFEW9XgL7YXBudSlak09lt3wZiioiWqt1cf6SRqc2Z31ZRBpfQe9/mKU1O
bUUdLqZ+ie29GapSp2g7ovCLYZtjQ4ylQ1YcmzjND6AI+3ZOuzJPzlvTDTdYpst/pqPIfqs1sCMq
YBW+eVLPP6LJI92SECbXnlRSrq5Ymz37No9dy31LpdHnPmmFxwJ7hccUAo4RelZlXVh+RZDZzMdl
y7Aqo+2Ip1fYlASPvYFGtEhNgqW8P44g2ouT/s812urndq5D4rNCB9TY94xrX4N8J1Z6rBqLGsZ4
E+7iasmC423TYwLBsPo9MCqYCvQh5ZshGGtEANs0FVcChezEZCwfZLpkXGpRBQpNX8UCBnBy/6H8
cflL/9zZx6HTYDap2dbs5OlgqO8ansK/JR677mfksw4CJkXlOW6rAa0IteYKzUeyh49zXNXLKann
qvvFA6yRZjOhrkfLCjzut9zG8piEUfdr5Hp88o1vf6LB7eIi22P0S5PY4rnYZz/5tdpwis8LlbNh
MEwm77vobltyUM/c0mooc/c7ZIfhqRvRmv3WurXe3Ywq2j+i12umhxZfwf11r6AyiyZpQRVgecGD
TyzRyP4ONLmc/9IGRf55yRIb3HfWqvHJE1pT1+xuwsMWGviRWOtQoHQQZRc+LC6eyyMCwTXBH2fZ
opd4tBG2Hi1F4LpzLxC+UZkGLd4YbPVF77PpznU0T/01niuZ3m9c0d4dGDEEKKmw8PCJiBZx5Has
/XMVxPDjFcMYmEdWLS/NnDOt+3E0vZt6TNxhTDIYX4Fm6jXJl0YcuQx7TFMD1tqRVtTQoYvMJor7
noxfR0fEOu2UjrYzEmzBpy4dsnhSOCwCuz2kaECGb+oyaW+IvnAc0+pkF+b4ohIA4YeJTYvoQh3c
10KyP+tdc1+g4ltQhfHzdiPR6b7xfmLiML32etHrt3zuw+g0GL/8ncwoTpo+7sujUWX9t7JRGR6q
JWyaR5s6D0CGlaz6S4Al8m+Qjfz3NqSMwJ314+ylZ9r3kZqgaOsuHXQZEmOYwvW1ZP8JKUYtZ9rP
OLa8i3ta+ue5WVx9Z2Lkv9QpvzZHX4eTO/dmzsovvl8G3FwmC8Zn4lFq8tb1fNPvtUk6Zz8jj1mB
Q9q7DzMsnbgIoRG8Z+WYiy9bssP+WLW78LGMEMCcRRrsNBpCBFs6nhRLFtOKwqdH4AYKpuxYX+LG
xSOChkGM4AFRnOLu2O6Of8lDZKxkHnmPQgDLVry9ImYNGSJ6fJNQjuosAQT2YprLgNqQy+5vw3lD
Twl3mjL+iGU9SU91HvfcLYSp9VsT/kq7cGYZKA8N22tkvM/4V8z1Dv5ML2bMpn+P8GD/chcplggD
jA1fPOtUVR9GL+uBMUan37p28XOacC/whofF7zpKVF+NH5qlN8ijzR8+99Fub9p3a/iS24ooqGFc
1Y9AyzUqNrkY/xATE5v8IFlgRDnaoOY9BLWVHMDdTECJLc1UUBgbu+wcZhhhsKuT7sPZutk+BJFm
/EGmttdPBqRKMDI3IDQrLsTDn2jcAY6XbFgIVmd7I5Sn2WT7u6vz7FmyrKTpl4M2ffSBKyVhz+VS
fdmCus1OqLia7jHytaq+2VDtoaZ9yhuJkoH2yiGgHGz2zSFx3r5DjIvP2YchOuHh4fWnekHrQpmu
Uy5a8AVzqNSKb4gScf2G21y3XTeByhqax1r5FJbBbd+GnTvDAEhWxqnsPW6Nsq/bPxDrPvAeooE1
f040ZnGvfYZhZMFJ5H5BXp19LnMr37oUjodNGimBZZlfxXnu8oTTVNZLUCCEXb5A/TK9zkMkv6J/
vq1W2zkwh0C4+FOn/i6f4T/pnixGy9UxFbP8CW4VcovBRaL9WeOBzQkB8L4lLanI8d4k7Eyom8DZ
b4TJvqBHgGrr13RGHcUQ1hdV13Q59/II91/G/Ol/wL9VdZeAIg3nJkGqRNeB0J4qtojpyOKnkI8l
uZfi1NDxIoLJ+g1RZO+H0jxVdIzNnUnbfb34vtI/W9hrrFf30G3M/WJrDmlbT/9sbJOftT+NlAkl
2qLdsu55KE32Q7AK8jP1Wo0QsWLb+SjSbI6Pah1YD9Vi6H5qs3rioYkFexJI2ZvtFFT5fNeZJSav
GK1c/CVcTLP+aHW8lgde4ZRMD8hUfUyTBoXzGnmof8c8xJG/VX0IFz7Z7IO2mgDRhKUEXJ7Kir00
FP/oIfPSWZ5Qupb2trPh6gM/Pf3W1i3xVLD+vfg06TH5m+Mshflc5xB4kNR7W12zaIzYGc1vm3eQ
STT0hQeFVLP/6NgvCxBxf4v1Fj6CViwrGGu//FE2S9m3iUFCgZtYo9n/0S/ZdwvZtp6rcaQdPVcp
+ll1YJYyxyCpe1zemO8YvqPOrkXWlMRPzNOggmNZa9YsVFTL1yFP6hHpiEx0sWzthG2/2LwBvUap
vrG3yWHLg82/p1Evs6PvTfUrCQeR97AHUuhja9fSfZ2TWtL76jGPjjkgf0ULllCreCkQd2gtlg+i
tOakWFMYvxKrmg2GLrMfZbPW5mO3O2C0DpJmRdp1O6am6qJ/wDU8h5b9y/Lqk3BK781rzVOyexgU
kIcxTzLaSBWJUGYd0yny8NowN4Cj3G+t0lSFbOrO/5N2XstxK0m3fiJEwJvbBtqS7WhESTcIiZLg
vcfT/x90ImZIsA8Re8/N+GF2oaqy0qy10qKrCaA+EO+GwILaLieB+lR4RcH8RlMGiKN7XkU9zROE
hoFETfNE4zcFkxPDQaD+H7iuY8hld8d4mJCyKF/yTHYenfXahVJEJSpLbC1rumbN6GyxXTXVxJLW
BJGWbgDdU13R1pTvqI0039tIartV34bDMSHpC3gAXbffpu0E2aQLLV57kY9yams6Fnvaam2OSGCV
vgKez0nTNS098QHDniod2FbaIIFSbiQryugztKoEwQhYIxyJbCwvldDksePFGRm/YPEj1ppamj8U
pYFuQCkUFHqiyg2huIf4LJM7RzjfXIekAJ0wQTs7ISF9FM1UhL4LSNCmrGm96Ial/0zFMOPfU9V+
qWNRvCeNDUY7o+v0xXMJmW21GzOoA40bXStIbNLKBLVIlZfi3Ao4OfUVHiUwvzll5le8b+FtQNJD
GWRLemXTB24vrTQlHrjvnoUUONFSYxyDUawvXiAMF1+WUtGhRZ0UWz2x+j9JASNlFWo1/UOTFPWZ
Pkb+DAWJZ8pU4kjbSRUo/LuSzuVrErmwFsZIabW1r/vRA7KqLSl/oTQnLadNP8EBeIb7qkge1b6M
5TUqaSAnvbEPDy5z2mDkpSK6LnquGST/kuKmKS44yK0jPlgA/OVqsgmWQBKC/LsKHgkFHFg+Vfgj
ABEJYJETkRwkVSg6p9Q0C+KIx7yFqyiSh1/UIjXLA76r/YPqgFrck2g1/rZItPSlZwqaBr4rzKqn
MFczYROksXkKqE/ytgYiG8tCANW1IqURpAQUoAh5qNLQI02t1TsJTmQB3Snu1W6dpFQyv4yJ5l26
nsbePaVO8SESzbi8Cy2dqnat5Epw6oxKK+/cVJmA2Y0l+eu4J3qHiBSNr9CI6R+R5xDYkAbSeKZR
7H0zK2In/heu9kcxqOuyu37GWETM0NqtAR3uyrEzLTuNZfeMuFTQrNveqq6dwBTlvUa3WPrqlq7y
pNZh9WNUpa4Ap9Tk/kqNc1JWAAtWbQCgSCLBXzWRxRxCw3D1YV+KsTjewYbJzCv86uFRSSMAEX1Y
QLufArP6UOWG37ONMTQ/2B500/o4NAUnzMsCAGXQKe5aFhMeC4BU7o5WQftcy6nyQuklZG5QU4cI
q1e6adqe75XfR9NUAHm34iCuIH0EP8rRqr9ZRHJcwF6FjtIDPv0lEyHRRqyo49jAo/v2pROihlZe
g1fc0PlR1PtK6smL4RTV9zHkVyhyloc7IomPHGvIenXlmQmQ6ZZCRMabMNIibBRVhDWBOqa+UUXi
/KvVdZZ1MWANgfIzOu9BoGrYnnu9sxBnUEhtUqruAoBbCJ0uslRCCqgmgaRa22KRlcpOVXyQaBE5
heEMNPYsu1C96imNtBb+XANNiM6v4a5bVRHVfVFlOS0b3yi/5aVQVds2ieGy+k0TO1IZ6Dre200L
0PnMEyTcEr/l7SjSj07zjIJrqCQ7iXrvRGMrkzWVCa3i/vRjYrehTB7XqLK/62KcxQE+vAu+PYiE
7ivRToLsEs2u4BQBoKl/k8aliGjELuJAK2qkscG77g+nHBbBl06uAc+mNbHESpHlrngcVEsFzzeC
KeXnmlr8hZi0CfZoe7W/Ih+C0grAUoF/yA3lm5YKwykSBw5hFmR5tGmLJn/uwz55NIJ4pCTRFcP3
hsf6VwtMRZ+IUs0l9QMhd9DoHmTQ/SKoXsPstUfNHcAQaqWpvMR+PrmCwXATG9JdGrMfhHrgAMFW
roKiRkmnVoGFORa/01gN+KIvGloTIK7KwPtSu34UPCrguej/41fjx0Lu/ecoMfsBrGLdXKgOlzlH
cYRM03ii2e5oCFGI17w60TaiBF13lVOA/G0MxJlOpYzhqR5cGLowzioQL1DjnmI06FwwujLSLYwa
HSDZDEH8vR5zE8JlJwBX5Wn8IXK9SwcQafrdoP6O+hRcxNaBzIGOQdqJhk2LuntBIW5Q4SKG4Rm9
fovhe6YoiNuaEPMINsJ/AY0Eol7LxxB5VaQ7XqB4teUGiWKv2LqgnjyA4lVU/Bh5x4nBxEh5JM80
fTtRUrD9YlCVV7AnfXAAt+TxH+tdn+51xGWy+zFOml0xliWnhJZSwNlVdYDQNAZeUO5nC4yqbk/R
mKnfSxnQ6cpg9jEiumVHqVuwIPQAKNJBTVEarp5UkvRXmB5JvU3cUvqDbkchr3tmPzEViB49UzNb
b9qNRg5A2CNqNjZ0+MRRgyyS5zR4i1zOFNuI8gH5dBYgnIxyzL5QIKP147ld+oLTTU89MYFoU6c1
iZaqoJnG3PvBKx6gkVaQwnrrfkC1goaxHFoH6sWKtgMKm0QPKqoALcvMqAaWTW0SJlpRdzRU0Fm4
vBwV0aAgpFoFUYzDaWOt0p9bdNn8H9BWPH+b6m14D3xKsagvomzEoQWbkVOw7HcUV4piV/kNsgpa
CIjS1uWQmVqDKhqyPeZGBzdAS61fE8Lq2NJFELdjZXYaAXsxlHdTLflHgGBFBETBUJ4jTbaonfed
b54zqauKB7pVcMwSc5I2EIJIKk+xktbRujFS7WsdegOiw0RnZ5fOE7E8wKevuTRAamnldKRpLgRD
yojjgRTZaqOWDkDmxSmVowm7QRWeg8BVKKA4im1JvG8Ug3RKq9E7o9wT3jeSDg97hYMro8cE2p51
0o0ulYjS6hDmty2qoiCJJ0RYSCM2WVhorgm0t9Gqn2PCPL7SoXoLXHaVmKrR9RvmvbZCcwWOLxXS
xRwa+FVbyZeDBE4PfMDEe7AGFBaKO1MBGUymSL6leGsdRr1mQFCBHR7smeZnCsxt1qRYIE4t/eKH
nuujSAYI6smJgjaHmJ7qhrsJXMbnpE5WyjKypKFJ9I0CVCumf/LKK0Bm0rXuuqOQWar1CEZ9NNdy
1nVEXmKAjIKS1Ya7ahRp+K2g3ZIdRpeAgxaDmqdPXeAm+cHHE2pOw/SJ7xbiTeKlop8/sbVx8uYv
oU067yIbg0XnxpQjC4XKPoibfSQkxrhNlY75z5OeCIWXzku8H+Ogl8l+yDtf2dXUPL2j1SH+eUD1
D58pV6OfOJ0YGv1jzZ1mEHFq6DrcDBQRvhSNHI53lRlp7hGGEXwrmQQVFhc9UcAQEre/llcA8qBl
rVJul0bcCoVkTeWjFB4onkDd6SMauAcBic1+JaIBw+0Z0ShAxygGnOPV1sCfpZXersi8u6nQVzAP
s0tSIHGWJF0Q8Y1A1je9NEIltmgTgLsIn7W21H/IkGh4L/LOepDyMWWgsUzJc6DBCFkoTkIiG96d
lETccrVVZLjDRXU1tT3ToOIN40aqz5ViMoLT446fWqFtETxgu62DoJXWa+8X3s+IDzCufYDhIoUG
KjvrptSr18TvCB87NaAQaiR0kVyl428G7tjBnFPl8Vs+eoK7k6NcKHc08fovbWp0m1TX5WpbV27f
ntK+RHrFBFXw2FoU+gBPwATe9W4O6xT1n46zYkSon7acwNOY8cLe+QYAIMCTeAcEg0J3Tbu73I3J
WBfrrC6yh2H4+94pUv9cKLTinFL26WVCoEl128euYfudJfVUyrUIrknRqP3OzSL/BdGRgKyhSax7
6KwonnRqnK1jVdKMFXgLsKqBBhh9RQG3yXa49xyfpbao/4y+f6XYJZUr0nbKdZVIBjYVriRlXcHE
fKSRT4NaKWLhPPg+hdvSS6Cuu63V/Ok6vSY95QLl6xBUBak69eKMIiG8tJMHRdRF+CGTmn1PDeXO
HGug0z0z2hmgioaPfNcouQnY2qtAUIg0aAsuVNKHa1/JK5bmufV4LxsUQyGnl25rdxW1adRFpJGE
pEJ++BKXSh9szcr0J5pWUYj3cgu7gAaCQN0uL/u2d8SEjMsm/xVBUAwhiCwjqyCUeC1CC/TlwpVX
yUrmyJHX/QZAT+7nAjtFJNM3GnWbVYYHkYT3epshLTquUQfTHvwCzQQH5Y72KnYmje7GdUmcQOlx
zmJQb8+1W6i0jK2qcgyVijMAOrG8IgATUM+CuFDeGwiNfRmyrndPGVNnX0xxKJ1Ilpv226DQ+Kaa
PlghcS9de+433VrosgiCgnIsW2tFc0dMbWRCEXiRQkqRa5AnIF0VJAaAXZCaSTA2S+0ln9Iex9XQ
CeYX63myt9TRfS5FA9Yz7Vvt0cjFwYFa3p6Ltow3I3BXDzS9Xv+CxA+CB34IVXh0+kg2Roq/4pos
XjwjN2NNfGW6pSsqkBGMdSjc0lqA5YR0B2hkkIQgJyCX5iPtdjkp45co6WL3zoxjoQfpHYtOEurI
BViSyb+2cg2Vs07rxmNB0v6aQTaAqi504YM/lpoMlQ5yzAoccqPQrQRhvAkl+vycM6u6y0TJlZl8
YpXpQ6561FFSMa3+pFKb/8woDfMLytQkSadiMPxstaQ01qZV9OeE0la3ClJXsX7rokAjSaFDv/Wk
yGJ80yDVj4hI6DnMcTMhK6rzNAEvUCiHXi3ppFSp5nv7TK/M0bFoROVrs5GZq2OCvb+TJqGh9ZD5
7RnH2kZr2k1g0STcgbCdJrcppzxphu4OPgC0iQ4FEmlfBDDELJJq0IBiVf3UDcPq7+GNWPqF+rWl
wo6F2GH0FoJSrRBz5eAa+kK405MGKligGv4PeAMhuODK6uqz7/V6dVSafkKntVJwVOFQ+OeoSRL1
KLZuT9sEQksQbUAzmBzcLoIYKMEBfg2oAf+wYF5cQA+B+SagaA1kgiwYj/xrOTsaEByEPVlLK8MO
rrN4XdCLylCEgEhDUSIAqbZyiaUE22LGWLQpYxInblZAb9AOSkWQHT12TfeAl0PJU1OECUqEuB5q
NO3YNRdg+QiZc/BzE0kTbwT3V9taoDbK2avoGfgr+MRBx6Pmw9AobQlnnTxQAxphaDJ6TNt0teVl
O0uLoCfScmuUzYg2p3o3dLTepkqwzOHl+XVITUffDmKp/tU1hXJJVHStY9tqqPIcBwYNIkWV6qKL
y/SGurgDapOoXyUEJWgFa4LQXSlR+eUXMJM+hGoDLIHqhIBewMTINAmpDaKrkn4JjFZ/jXE0YEAU
ehTG2Kp0fTod8UeAbUbsdCVgdDDhtF83SR7V7j7u9NbYotVTVlurI2DhQQTJYdliWEY5iGfdQlGz
L8PmkKUJnGS/LZVj33uiZ1Gl9iXl55iq5b2cUt3/agDrki41AETRLsehNh/CvC7cewuqJNWLXBDQ
SR8xsy2g3QpfJbVqM+b58tceY4N6/84qSlr6cGBkQHiQxCM1cWTXK661UKfyvqG2YCLBJMuPoRx4
SMGLMsF1EXXge4SJEJnSjBAPxLxeuO89buzOZ1ce6lIiy7TKGqmBxDD97ySYfbVFNrO5tLJRVOug
05sWsHIteHuYxZ5o5202wOmCiiAJdybFe0S7XMt3r26Uy69hLnjFPjeL3ASfbpGFQPDVv+NSavSF
alp2qDl5ZhtRbDAUkxZaBTCm+JqNPIA5LLrEjw6+H4r1d1Mk3qY2AA9+nQVDoZw01On8XRaCR0AY
DfWolUYhjwHBcehFLwi1dN6E1NXEh6yo8uzMDGBGTJSKWlWXyioAvY1smbiHLeQRs8uCphRPapPr
NKqbiqJH26H45iSVryYXyuZ9f1B0wD9Cq+jwAQw1cyGzNa1KpNhr3RHR6fGXarZaADi3Dn8uiOB+
FLiWkTAES6KJMs+vPBNXjdpEMsE/1UfQw03wKMfJOgGJh0EgTuJqFLwnb4w3TSbtzV1t2+zUgvqy
dEud1JQBGYkMB2FKyOwnFHpq5L3FT2Cq3YDctbdGSMQBHXJM9gyssL3N4nSBScB2rh/KuGRtkvRW
oCzOBFEFltXGhtccu7gY1m3JBJQSIBZd4Y7xgrAJgFZYeLWoL5qNoBvfUohre7H15bMHUcFdkCL+
MD5Cki0wpcy7N0QkVOdK5lqDmo6fZc2R9se6HXZh8tvyviLTtbDZH6WGJzuIvfOx0f4xZ1967KRG
hqHUHM1rXz9l9tDvjaMmrGvbkJ6C9Fg6irdNkGOwM6Y5npOlySw3dvqd/ZmuMAUQX0ZjAQbqDzLq
vGaiqbaG1Df80o7dBoD5js6JL218a+EDSzdXThHTYjq2zNrnKzcCRvGJdcP8ldwem9OIagbJjidu
USCweCi1HF7BH9JOys7rfAIe1/tB+SN3wibPooUj//E7UIATxWm7p0nTfyfBv9EOLmtoni3KZUe6
O2ev2NBCO4bFw+e7fdOIxPAGzrehS/NDRY9W6WNoDEdJTa4g+u6U5iFUH/+FEVJV2gBEZvJ89HiU
ekqtq257RMz2i6VLv+GuX01fWRDJnq+Fa0EIAinQsKgraubsvuqCVYmmlqOlFLyU0oNsPJvFgon5
CcGEJAIxQU1YI2aUZjPXpLy1mCwuh2fQqHm9LiGV6rsy3oGx+PyTzS/73NDsKBJCa7VJVHYO82sd
PUTuH9n6WTbnz63c+GLvljO7agEzC8a4lMJzVf6Ug1+mdR6XhnQtfbGZ4LPmRzG9Sr5YrNpVc1Z4
vIY1MHC9XPAbS2uZ7X4u9K7fB0p4NoJnVzu56i81W5jzsLQp0094cyORYutVq+Vzde5F805sihg+
DNU/vC3zrZ+Nd/FbBaqViBWUBO1YQizD/Krq1/9t56dte7OUALaACgw0PCsQUCLhNyKC0C8Xjtf0
yd8+oP9vJQSWiiTK3JzZSsAH5EIu6uF50iJb0Tg7iDV03M9XcnNTTJrxGo+iDtbt/UpI5EA1MxDl
7OdnE0XZEMlRKfhVdvmCoQ/Pw7QcWcPBKAaFFEWZ3RajTSXRH6L4HNT3VDeC6t5skHMGRTjm3waN
qh19LlQyN6N8do2vEQLfSmLaPZ0ZHwSmhRjY50ufi6nPf9DsbvX1qA6Cyw/yR3kdI4IWaDKtXs8p
hRxiHcNUXj43eOtbv/0CszvGCAxXrygKnVtrK/9I0ZdMTPqai1962rP5wXlrZ3bRRqOgaFp48TlC
xTQBuQzfDnQQom/WFlE9CwJm1G8MGBCfr+/viZwbNhWDV0+RAHvPT2xjRpIIOyQ+W6lwhj4Jru6C
xB58AOT7hMfowfhJptjeJwf9PkG0iTL40pyRW9/YVM1pmgHBnqrPvnGo+FozgOA7547frH2BWSrw
+7V0aanTC/JhqZqky/AMNCb7zL7xIJku0MM6Phf1AyXfFZppMUma9M1dGVd1g6wWgL7YXvjA85ke
hszkJsIZXSTA0mV95hIiIF4lBabhIiPnIZLHVmhDMKA5bB/07knK7igMhhRsGmNryj/7Ir5MewEA
ZkAkLN9R9dhobbLwqz68UbMfNXOGdRAMPcJvw6WBfjn0TwFyCBYCYw3VCynbfP4JPjjFyRixtYK8
jiUzO+O9v8rRANUSly9geA9UflZl+fufG9D5+9NoKGSY5pkSJUsgRlo+XDq6eIqCULfw7XMLf8Oc
d2eHNbw1MVuD0PaaSWo+XIiHVrp576u/WPNJjdYd4t20xfcIgbSFtbBP/x+7ZGKGoRGAWbO7Qc0X
BcS0HS5Remrzb4giOsJE3rPOgokY0s++QXRyabrbhwvJYvmMBhMCGXRCCPt+wyoILQU9/fEiICld
JxAkuJMgV46qv3Anb1liNLZEtsmIDAaHvLdkFq5bdl4hXlQPAXaEpdxwj3o4QKmFCdZLhubf0Ur7
SPVi8dKgMXBC7VegXIl+Lhc33teDZTqfH5ib9gyZ+vzfZMacvdEDxQUy4l68yFW0iutHi/gJjfwi
2X9u58ODKOtTjUCVZcqjhizPtkrzwCaBexGhwRvnWou2dfHkFSXCSirtGfnSZuLj5xblj74Dkwax
DVUJko65Q0tguFdqN4gXI0NdNVaFn5Wrm8/JSKsnQfXrTlOV7FDRtjuo1Sj9otpX7FSqoA6KsdUp
CWlpjRIs4ZXrhcldX4N1R8NNO6Ansmrq/HsN7wWCtlbvWuQpVjWtD1vohFNiauEeZU//G0Rzf+Gm
3fqQClwYZLE48bI2O4mAaTJoKLJ4kbrH9FsY4QftsXXq8pQvHMUbd5rcFqVI6iy4Q2k+iJV2jJBV
ucX1Qjs8yqVNruvrYDwoZm/naOz0MHW6EXWncVh/vncft25yI8w0N3GSBoHd++uWVZHM2I5+vBi6
sEEDAQ0QYdMmBx/8WqV8/9zY32GI733me2uzTwrZX+Lla8dL+Qowvf42/pIexYO1CTeuo+7lfeuh
g7iyfiT33lPzlB/Kzec/4O+4mw8/QCb9Jm/VNP3vgLk3Ib8qIOADGHW8dAfvgXbCHcMihZP2oDvj
Nv9yCi4Js12tfbULjyCyFox/iDZkVq8qJiPFNf5BnjzEG+MR4kgghI3x4lVIOMGwuvN1baeGyVcp
ofeL2jMKcfVPZlFsYY45tTJ+/Te/wKLQyrmWFYoE739BL2ug4VEfuVSVwOUqv1C33bu904XaHrr6
d8jSYPF1M1o1xLWfG7910oh4GL2tSZM268wvNYE3hhVd/4uSVk/moTJsK00fk/GPmW//J0t/T+Gb
7+zTdYe+ov8909lKhTlPP/6QjPFe6OA5memXz+199OxT2YhYnUKnxvM429dUAfZkRZ54YYWHRnc3
SEGjDJE/mO2CpZuOgvIvrF8eYx7/mSmKzv6oigk+6VzoGcSP17B6Yi5cCOVNcPNVEYvrIjOW/NPN
Fb4xOzs3KAwqSVRiVjCqTdlug7qEwJIf49B9cl0ZTPna96qjl5coRTtofTVCdwisaJ1TnS+Xxo9P
Ufn8EvPaUKE0NCTa9NlJ6uWszVBpFS9pFwdbq+3/MG6o2/URMgGf7+ytM0sGpImWxCAjbX6SEjnV
QLOybpX+WzQi07wDOJl3zxoc5s9N/S1lzlf11tas2jWWfV6ocSReOq2B9cVkGZv2804V0mdAFadO
VgQ7VPv7sSivNLXuklF9TOLxPkTTykZnOlxXCWBoDZH9lWGh2ZVKCpQu8ewhFu2P9dULJFQMhXJ0
MiqIKFzQmHGlX76pbWXgjXYhu2u97QBly9WC45c+Bvy0atG+MC1RpvppzRZnFGEA/LQkKJE1dI2V
+tREzYuojaGdxGlug5/8iSDyPivU7/QGj4HpH+Iyk+ERKztw2ePC237z9yi8ABRLGSJszYIxQk8q
4G4jXmpiiVWnyaENtlZdsHLjupoECBrTbxTSPWqV7/1t3ljM24oE6ZKt0HU9dNusW4dn8MBhsUH6
7vMT9PGSvjc2S2ZLmPyConjyxSzhT+TyfWKcRkasgdwWd5+bur0wBgfo9IUUUbZmDkFBClLJIfRc
4IV0+iZ0jO/+CTkuCPPP/b9amKZYsiwSPFvibGEAosegoSLNzSAfRVPRRz8VoAFUnM+X9dGx8AUJ
YfHkFh2vecSHtFA86gOGxqZCtUUuxm3NdKutlyneQpR+05Qu0ji3kE3R5Sn4fPNGCdKQ5A0J0KWk
//0Hylhge0GXvuqB/vr5oj76MBY1pQNA/WRLNOdbhSy1ZnlYSgFkANmw4/YAnCJBSSuLF1oD0hTA
vXdiGLPQarZ0UyIRmbnmKFajirElMqCJHElgUHfGM8OldqrxVBvfE0AEQfAFFiSCq7sInqfiL4xn
/3ixaZvrZCG4a5MW4eyspD4MwqJjUIg5AGUnxEnotif6vzgoZHGGSigjgd2cWUHiTKI13ckXgnoR
ZIwKnlBObfnh8627daPfmpm99moJIZ/RzfIli3GCByG4ouoKFuxzK9LHuJRvNoUwrIhzP+/x5tWY
Cy6SdJdQ+T2AjRSipxpB1TTZRfFvAEsrNWG6Ohjv6+eGb92Bt3ZnX3HIqb8rxiBfPBq4aqLeGd1O
yuvN51Yk+caZfGtm9hUVPVe6MZHkS5qhbGC6ipMxi2xdlVT/J1QoEz3qdk8WVJ4Q8w4OCFAmx8iI
gvsBiYKFXzMZm10QRtZbqsrbw7Ogz26jWqfQ/jvPuAwgd6g1kPmisrPySkNZI0HcrD9f/HTfZuYs
g9zc4vlhZ+fmXNooeqQiAtiG3xVUxamV2V5/lXNObA2zx2vu/KJauIMfjVoihHtNNXXKe6QZ/Kg3
vg0qTQuNLTIuQSHthHQ1PsbKpRuk+yh8MPWDpS/Yu7HDKFaoFqGgQiLL2Nb3BhU37MFUdtZFlpp1
gQJIFVyLaI+QO5J05apogZ00z6oi2QacX5zHwle+kdcCUjahZE6ej7h0OoJvVmxBoTFDdfCvSfND
s85QVldquJWAxEW93QDv6VFh5JMz5UBIruAXx+FowJpCEKpAPKzREwZT/rK0wvl8+299GcMkK7EU
BomS887OfgZzGiiP5F4iKDdAqcSK+PEAML0FGO8zWZXCEGTjr/omWBrX/AGtMj0EiIJLU6ZNPDUf
1t6OSg3y1vOuXSN/yct9Htl1s6HAiAr+0Wj6tYVAaykgQmWN2yw5asFFEnZeUC1cuRuPEgAOgniS
M0IWkvD3uwP7BpKUFHlXOJOOon0RR6oq5WP2KoPdOALgFTPPRmvH6fJvhrfw/H6sIr03Pnvo81Sr
W7QzvGuUmptiQOYc0QVL/Y7ou52D+pPcpam/02l/f+f52IjtK7xPIorjs9sQMMwEOpniXZFwgngY
gGpDTtLaIZqy1Ke5cdOn4IJrB7JQNeZ9GuZ3jYMxGN5VPyIuqQb7tD8ZnbWK9WidFd8Ec+GiLdmb
LU0NmaXCqDbvmjdTMwp1mfS+YVAfbH4HKdHPL8/HsqYC8ASsEcUa8m2i3PfnBiyfrKODEl7H4eTt
YnU/eEc1/NOygVH41Kh02dHFzzeD7p3ijhKyLfWvoYM2k2DLwtYS7ipEkV10VItcsItuC1PQR9E8
DoOlROPDnr//qcosn2GkIvr8URNesy/+NzbcvBS/i+d+3ezjA2i0Zxeo+sLn+RBpzUzOvHzH8Fim
F3bhteq+KYz0bn5//vk/vJSzvz/zqYjLGZXu8vfVFtERs7AhChfBj7b59s/tmLJOlVfnfVTmIavZ
lnU6jEN4rbsXtaxOZo5LSvThGnidsLBPH2Jx1mSq3BcCR95lcbZNaaF1tRC5rMlI0q3YZzESpAU5
8Jhnu2po2j28z4Uo62OupgAHItrAHeCNKdG/P8biQGKKgNx4bGxmmay7LadzD/chWIStfbieWKK4
qkwJNQWaeVicaBAVg9YTj1SsnX4vnALb3Ii7YOFV+3gy3puZPWqDZfhJKDDtujn0TrQDvCov5bcf
D/dkwqKpAapiip/efzMrMBJRUAPxWO+pTjuQl1aV8+pd7AOSU/e//ukJfGds3hmiXsncvJHPFu18
x7Lle2n/uYGPx+69gdlVjaf4aBD/7ku39m3zHvjAwp7IHz3Qexuz61qIFhJJnS8ejUd4IQmkFvg3
D/09n+/FPQe2y8o6J7hQ9D51r9bVXXV7OCgb475ZuGQfXty/p/A/e2cq7/euZvRvkXSheKzWFn0F
y7YOgWMsrPdj0jSzMp2gNyFfB7umQmiUE+J0a1TrNqajvq7kFbWshfXcvlX/Xc/s0UP4LGnakPXA
P7sLHcE2rvJOcJbM3PQTb868ObtWSBjDNk7ZwWoNmsehIIifSH+026XjKC3t0MwjoYuBlnCLJfdq
7Zr1dInhl1yj5/zOOsl7xS428guzvyxHWXi0lm7CLBpjgD06ajKWZdu38ztl7S1/x6XVzXzHWLRR
AZ9LPI4ba5P0O+Un4bed3qkryUau1NZP1gXBVqtxvMX13T6WVDQJyACzErW8P5ZFGqqB5sfTsWzW
7iF25H3hgCPZMPtpwat8TC6mK/DG1sytyLLLIEIGNhynTRzW0c7YuU6683fKOnPi9ec+7KZ/eWNs
5l9SzVTGiTh13D/sll7I6f/7LmKeLWTmMUqKVoUCFODYchKDdcK575x+bZOXO8HL5+u4fc103QA9
QhGATtj7HUIPJxGEtBDBkEc7FFvW+V10yY+uHS74jUVLMxelCijS+wqWpgtWrVwH/a9DenDtpVu1
aGnmoiTEjsViWlO3bvfVKlgTDzrqfbnNFgCuN33hm48381E5s2lib8gnH9U7qj09l8ah/t8/3dxD
pc2QmRoLQh1x3+9Dp15Jf2wEvR7+x9Mwc0jogVhSqLCgcoOOw6paWafIlmymSy2chqUvN/NKDUPv
UzdiRQ2vYgxphBjQrq/iwoJuOr//btC8seLmQqPoFuvpnenxlfc08e0lz3PDi4MKJGCXcHL0sme7
A1Sf9igEZ4z4doiR4T75F9f0nY3ZxoyhygAy8++RRmfIWdWrVbYX9kuv7o3v9c7MbFtyiwFYEE2m
bWFyry3y+DGTYmHvP7bfANq9+WD67FXw0EAIxoAJ3sUK+r5d3zNn1Anx1QHy45BJYttcMql89Knv
TM4eB4Z0qchNsTDlrF8nvyrYKUryq8YRncOfJb9w692jHWyR3VDzADU2+44S2oBh1hrTu9fv82/5
Xc8tMn4EDlP7Fpb2sdo3fc3/2pqjrTtmjxp5/ddWcmpRbn7o8EYV5Qhmid3Lj+5ZsrNf8io+iHfu
w6Kzndz27LV6Z372ZRnRV8KN/Gt+cuuxA3z0720uNsxmsH3yvAUnNf3FDxYBO4LU5PsCDea/fxPr
ypIuxUj08XGDFfzyu3ytrnqbke82GscLHv7mWSVbBRdKAVFTtdlDX1eU3+sqko5JAsnap62vXzVS
sK9jd9W8Q5VcZRBKyhMjclcdlG9D0JfWeyPBnBLm//yE6Wy/Wa/kF0GE1qzEcybbsWOd0p8QrLtv
7o6+qm2ehHvXzn6K4oLdvxTC+Xd+a3f2YI+9JiCJgd1qLZxRFi+dwDHt8b478a7ey18CO0FCm+F1
jnuuf6BJ5VRLDbwbzwSNM0sn76UV+qEagvYL3x6sJ7m1xmxfx38KHoKHycsycWmT3DO7jclj/kN6
KleRs+Sobl6tN+bnz4dQxRTcGD169O+1c+0cy3v1UN8Hu81GOm0ZzvuDqW5/Ro5eul0447dulWbp
KhRPyA3882zPtS6TxaFiz6/NWttVR583391NbkReyXfLecLfmtyH3X5jceayRL0dPCWopSPaeswp
Xne28dhtp5Am3VX2sCaxpGCDatVdv++2UyLr7kbbQtD9lcmK8arYLOdH8o1QGKjLfz6DNnspQiGA
XDzyGayddjavdPevzWHcMAWGYIsx9enP6pVR9NvcZq4FCX1BYrGwEzci/Xc/YebfOjcI0UbjJ/RO
7DCbwMmO7kXej/9H2nctN64s2X4RIuDNa8EQ9KJEyL0gpJYE7z2+fhbUE7PJIi5xzz79oohWRyeq
KiszK81aeminexBT68x5KaCYe8pcyaSMDp5rlcyAHxvHkOcksoXfhzZm5g20q3RPmr2wxmkb75w9
3WmglILUCWrJ7d+FrY+4vIeS5bpmLApaOk/KpNTgik9iFgsTcJ2yQ6UzOjBhdYCjdAa4tNcL61q4
RRL1ECgBxuKO07o6c3rXuwgykk2L5SUPLuyF968eoVcnR70I8M5SyiScTg6XZXqG9rtKVx5TezDQ
m74URS8qChV6TvwwIuNCOf1dayQHEBr9nl5nAItoky85hKXtpIxSX0+o8QpMRANH1K4xpgY2NqM2
gFVl8mvXdmEEmJOEEDvXFSgPOMKR61o81VmncGEUKEuleoAxKGWcKhh5f/NCQJnS2+NkrEQD0Nd6
9TDZAc1gFpN5wuRr79wUOnSVwVwI7iecr3pyN8UBptAE0+bBe6kNtElj149I8x3R8mZr4JUl7SZ+
lktj1MFV3xJl0xjxIT6AwPVf5gAvdU+mLBVo0lVNaqEMmflcmRVynA8r6cSSJbc4G92ia1jjZMx7
IKymlBxT9lHYRB23l/fjH+XXYoCt2ARHiL2YyJ0L9i5lURpeMk0nV0A/+U0Dck+91a3aNdh0Yf9T
23uoibKKD5NbDHGhARlD7puQSaVvz/ufpVIqD+zwBkwHEN9sgIOpI3EMpxcuNbQuLZLS6FAW3ABQ
77BTOiJ3PT0Gp8ksgsbg+K9eQhcbSrtU2HoOePOQhao78qrt2TXayXvi+Hgi/rvHHtosMbKAFlk0
l1FaGQsxEkwD9/e2hjt1D9h42Asc3rrFfVAt37x/ZLNRG0JGGXgMIjAtZerMkk7xkhTEjnuQJ/70
Bv8s1OtzYXCrYscMJuCW7HyfWf4+w0OTWUlLMevcYcI6ARpC4QHMR29wMwAGKQGf2l7DzVChoeh7
1YGVZSBKX3qdzDnuS1nU5haNysY1sKf2wwov9r2m9481STf/H++g6Z7RF+FSEhWSABSwr8QQq1KO
AIv/aM+KHcKhqrv6p/xID4Ulogjg6sPj/cO8bduYhvIudpN6/MDOADS3xQpBDnrKDi1iUmnrGuWP
svF04ZslNZBGFmTOniD66KauKNB60kbedV0uKqWGh59jSHvMNp6JU1xhTprd/hsDo13Iok6QA4RM
UIw1tMWeiqHBd7VGQ/tCEDvnMS+FUIfXSlLJRQAk/L3zk+lEWL+SEODd37glMdRZSWXVTYww075F
yL23G6DBE3RxL1zwWf9zuZwpTrl4EJdDzqNg3fIo7LbH6iRsPTNDpqpdiS/Bwrz80pKoCLLmO14Z
QeL9W0MGtXZlgC8Z2r50QotronxqAB+nohzPw6dO8b5nTma5113C7YuX+8c0lx/HjNU/+k351Ahc
mRnnYVGlgWGbQ2D6KC/4NoK3/1IhKEucpSOQliblBlz/bspJTXYfi1oyg9Mp3BiniwVR/jPLuEqe
GCXhpSefFtnix3CYHqkAUzSArG+M2Ur7+u92UaHepkLrcnXlQ+hUcmWRmEn0cQMEP91dsEe/Y2DU
8gDVwgpIVaugBaB7ppUECMixOPAoE3aHyEYzw04w/tToAugMzIZ/OLhoZvH05Bmn09LWzgRAV7Kp
I6wArJlgMILfb1/zB96MtiMBJrfe6hAs6UCvNRMrXi3t7WQp7q2YOtBaKYSc77HicYeyL/BykbwH
Dc4ueegPMoJM4bxwmDM5tstl0pmeCsB2vBRjmQrZc4a3za3j+sHMD9WDY38t7OmMTbmSRZn8cET/
sxhicY0Jzlg82KJdSBpbWrh8c3HQlRzK6mt9HwCPF2t6BXj4G6szaAsY1+tvNPqStzfeAtomyP2g
rkutauLM6XG/TT6ygk5/us2zCqKa1/oCmyk2h6QonSiOVgsHNuOjeQ7dSyKmFTDtJk7fcOEDAvT9
cMJQTVf+b9kl2ufb+jBV6RebK+bX848sygkA4VsAzPIkS/9NwfoE0NdTZDelnlCTNTRm8ZE1p5Do
VZ0apTX0+7HU+ppgKJuGK/l9KFcYgTQZ9k1JfmRlEXRiThDPojUWXZPCBKt2vZFN0kQJF4r8Xly1
eMmjionk2voR3bEmbyHXaLBw4QuHN2dULmVSi5MiEQwwMWRyR/eUPDbP6Zo1BeMMwiS9NNPn+JCc
64NgdvZ9wXMHeSmXOkg8RTIGTEP8HiijIGywKun7voC5cBVzQf/sJuXGwRjjKWIECQywGCc8ZMVw
8y3rgpolM9P2ULWrMv9sUmadSy9qYZSgAF7qP5+zL5ffQLl3AGhyaY0Jgz2ru5to+xmZnsnuJ/8E
8E6Y0c5AGQO0m+g2Wbr5c700V+un3EXLNyCVawV+D8JYMzq0a2HHYaS5JS2JCTCEB0O2BLPUYe7O
C1u/pFSUzxC5nMcQweSpPvefAKYl58fV6gGFgX711JGlKtRcdeRypb/W98IAJRkUCdwyeHrp8mo0
PgtyfI+NNTBR4BxleOZyek9vO/L1327y76ddiPZrIFNzAzYZZE6o0zJkXB/Pq4cpC/IB/iQkb09L
aYMFnfpN1F+IFEte6VE+ncxtB5GhBWBRZNuXXhC3gE7AIQXaxoQBgFEjgUY6VEomAE+UNOkPmCTC
XWsdrWNAvr9LszRB1fTh6T8LejO5QTrWuBRJuUmhBg564GE3UatFe0W2KZDmqTflo2zn+mJFa9YE
XSyQMrcgRKsbv8ACfR8ZaWt/9n6vBv/K/pE2jJEb91e3JG76/cW58SKjBEkAcVKUkZE9iFm4IOHX
m9/bP8qoam0I1gn3f7VR1EUzMDMd5zXdgNgu9R/wEC3InL3qmGLVQLcmYriAsnAMUizADZD5ffrq
gZewNfIXtN0WggkK4fv7R0nCaBQapCWJn8r4mMKUKHvG8wCF1VI+dSyA4jscLOoRzHH2fSF0pPZX
yoQyg5I2Bt/ohGrHxjkX5WLqPKPtJjz6qKEDoQyECPoGuJoEBB52Zz/pHeHSpbcFFUfdiKa2UmMU
z4sVIXW2htV8+8aIdqnUGonarlOgTOv6T7zPPrvc9Kyo0hfOkQbAuJFOba/cdF2U1lh4+acy8wCj
tAlpzrrwjK4MrTFL69SR01SosZcki9e3/q9kdL2hwI0BcEGmbn0gMD5oooPEiYU/YKvqgT0vFz4J
xwB9wqr6XPlAk4wBbrwGoHU5cYQvQfH9DtVeXJzfT4CNA7KQzKPES6eZFDHuACZeJk4PPi91VYGs
GqAFJm8OwEjXh+8ksgZwyESrUVxrq2hfHssClWbRkkHyvuO+x8Tk7arehoGdSg/3VZKKCv9+GyYw
VVUC3owmUmrRhV4L8kQ2cTQOTOFMpvKYFkohOsx1UA0u1XQmG3GzFRhNRxyPuXyWhuwZSk4sZE1K
nKQfQMcQp0QswZyjcqv7y/oFT6UFwWTgSkMWxkup+EwYokxs5Tp1ZJSoPsFwlzEPGN0Blg77DJy1
grDfVQ5M/A50S5toXfoWU1oj/MGfvl9hrEcJjdg1xwTA+hsvAGPUJnrhd+IjRnxBSO+icPrjJeYY
GX53uv/p9NzY75Fcfjp1JGBbieA6mtRRZaPrE0zwgDWTxN2eRTi1ZcJ1WpDM7o5LSeZfIJibPVOm
cVwBAxs3KDVBBFYoT4ENdGVdAUcAOUdo3myNB4Dg6cDdGlY1qOtJ8RWsKmdi3AEHZo3kwB/AYle7
QFw30sIx0n0Bf/fi4pMon4OOP99ve3xSbRmDKZrDt7WWH1YpfOmf/Ee04bkTC+NNK0ycPd4/B2HO
cmCi7f+2g1Ihn6sVv+DG1AnX8in6eBV/jsGjspXXyS7Qy60XrmrzB4lCfZM8BZa0PmDG9YgeEfy9
xRtLCUo6cfi7FbBfGmbpMcZ7A7DFMtlQD0WSOSKAMIs16L4A2A96yOS1bTn2uQ5A12kIgEjHS58P
0qdmTNhn4Mwnr5mgxd6CP5mzG0hSSQJm3fEGoePEwcfvwMCQOU3tjxZbZSmI6ZM/Vc1KT23JLg2L
TzpPqSbwmIHiIwpIZ2LMHr+/CG+0XgHteaVkDibKxbUacLyVswVnKAy4m4QCHI9xGYsL2kc/cqYt
B+o6Xsvo+BQBw04lcPiBi7i8qTOHjw1ZImVo4kqWmS08lmjSWXHDo2gU+1LeCpytoH+jRHFkKSCn
I+W/H4H6lggYV0UAjtH10oXBH3gpbzKHsWVuz4OdWCTFrgAY40Cw62hsXFeimYJCqbEAB5r/Udb3
L8Kc5sGIYhoJuJGoKNJgXaLv8YovFZnziSdmoSfv2bnGrETwuSBnRqcgZwKSFUH0e+Mc8pQXRtbH
Sl30iWCh1XgufDDTQ5uKCFy4IM0AOR0nAeiVIU3p6eNoSs8RQGcK6T8dbfzddnSicQBzmGCPbhYN
qs7YE1OcfWnV2cbZPDHGRtz5BEHK1/NCpnDO5mNCGCA1rMDKQOubbNGFfpetH/SeNGRORBCYIATY
liA9SXXpAArZhiiplTNkKTSiiop/lwhzAthvQJBjXPpaKPgXGK4BE6jTsXlnMMWgEL7hRDsHXyBh
snQgSgsasNhXz53muauxZZdKcPzMxcblwmEj9FDZG2T9litCFzcf3+C67EsfeMxX2guaYKSgXgRO
QpkBax4BVHcGzyRKulqmVsrBjSQNPKVuG0VGhNFcUOP1sQe686Fpwh0G26rIYIeIf0lzQXwBVSrm
4Vm/6jAfrwQcfIaScTuvi1mNaHznP7s5Lz2XadWi11BhREdo03xpiHjOl2HOE/yYwGLEmDTd6heD
CLV0tYkuFn2Nsgk+N6UFKFJEwHCjM8Un/4bPYTa8QLKHrgDJEafLn91rYcmurnI6wNKIzNYL7x66
73VSAoAl4HswoI4wkAaI50F8WTY+5zkTB4+Cvr+IR9OjrKx6cIhtPEykdCBji3tzFA737/vv6+3a
qGNeUwI2PZo+Aev8a/kulL5oPFGNwC/tGK/vg5mu0TFQrxnynpF3bAQ5VhgFK/QMZUx1DX9PiP5k
/JxO+gZDfMZuBzOI0llM3nTdPuGPPZCnp1R/ynWQqqMzabPZ6E9L74lbG4ULI6AnBj2q+Hba7wEV
MikEzXXPXPEG7jhS1evIf/D7Bddzey2uxVDZA9/NJLUBwPQZaTbTiw8VIEQAIISJ3a0AKvf7B0EP
UUIHrqVR1sfLCjieCNK8zhj0fK0QNN785Lv9fm+BhWL9/WfQSL/pdbIbf6KHpU6KmZtxLZ8yRFxb
lx3wqtyzIa/Q6723PisdxENkLT48vLBWTmQEVGA70oH5vxDH3D5IrkVTQZ7KR6oSTaJBWyjmP1x0
jECmen9/bwPJaxnTYV/oOShtvARmxT37sVM0BQnqhZtEp2b+HqAkTHA6SJUAXeVaAgNWs24UMuac
2O7D96rftJsDAC2/UM3eSsawoC+3uRKsR0JkDHETJwO1Z2whe61QNswZ0Fmkr9cT9doAEtHis5Zf
OmmhMj97QrBNk5tSQIPBX6/N5UtxZIYW0iRMHVSrRHkW0A5+/4hmYhyNBcQXjCAuN4uw9lrKMKL+
r6YMc87MyExW6k4lmx8PXb9LSd05A4J9EdHnDggLPLSuBclo3lOq3mXOvZdYfb4JK4FU1b6o//OQ
GSu6EETtm1CJGahhIUhLO7zd0EIhsuCRVUjA/onjcWkD5yzWpTjKYlVVI1ZuqTHnLTgkMZnCn9At
SvC+/sPpZmrqG3m78FCeu1YISQG8g3gJAGPUTpZCIcSjiAXGWmvKIMuT8G6/rxYzuocAkJtyg6hw
Atf7+rDyuKrBopt4TiyXL2VQ7sBa2xA/SMz7cmZuFOqoIE/BcvDk+G3/vbAQqhJ2YTtWnpNW2QbA
OUdXil61NPgUioEUSWtxPLtwrWayUtqVTOrAerH3fUHNPGdvHYG1D7AB/OiRgV+T1ZrA2eob2z3E
eNM+LUS7v5NKlOO/Ek2ZK66U5KruIPr1ldWfZfO508H3aEvEsKy1ZuITPpEu9wjyDSX437aiIWOA
S69XyBJW9jY3jJ+FzOyM9l590aQIFwegMIIWSnXhOUGg2fIIrnGJ3RU9ZyRlrVcVv7D5s+JgZKZX
FUilZEqvQi5XXT7xPCcCqTJvBo0ETC47qrd5lixczDnnivoyJwoYVUb689f5XyyNb6Oq7kXVc5pN
oeqVhw0VSKoSjJce64fUkFy9ckmNkW3iYRbUJaJ7BnztR1eUJHtzq4XvoVvZJ1919T2U9wBbL+C1
Gd5zMCnOve5DtEZYoM37CdE1pLsLnpEqZ90Io1wvGHalqAWtvVONq+Kx3bHc9kNCIknaD/8p8NRf
WQAbxQwXagjIOl7rENPXbFJEse9sE7IfCceZw9fX9jlGbuqrs4UleMq5qA2FhH/kUTn10PWllkWf
utOF67beAvIw2vqtpYBxmSWBayM/EIzAso+N2BcMQdy2wZFjXxNtzddbdDKxJGc2SmqCIdvo013k
Kgtxz+8Dkr7nl19IZW0GPx5dtg19BzPT4Di0UPQAUixBePnlbfQD985PE861+X0+Hq3HHYMOb/3p
ZLzut/aT+BkcAyPVbdf8UoyOdMRe6o+bvxr/7CDdwZsKSj6KfuQ7vLQNeVK/VCCAxRy5rIfKBtjU
2WYAyDFfrnkjPg3yvjhXHOk/6kcm1QfllPsLyfiZhBPuxsUHUXYBuZEg6CocqQS6A/eNYzhT0mzB
zY2u1hwpszKgxgrIPbElMLs3VW6AX1f7LtU9mOpJ7C5VxWZeh/ggwBSAMARZCcDtX+s0QHz6AkCW
vsPq6kY0q9X4wj8EOvvaGYnhuhjEZBdu7JwrvJRIuaUh5bWk9jPfUUpbLvShwtR4OrwjNe8v5TDn
txuFCAGEFhNYIXWDGmR4W2nAdheiJQB+ITHEp/LgY95RM7tDTFJD8Y8Vi2LAagRtNIkxB3e+7/nn
zaEkTzxwIL9DSHi9w83EPA4OUBx5vRrlEv0/wib0PjpPL3jkd9NwnajRincVsMVXurRUkpwLfFGl
BpAhINsEuCLKakmtDIrqFPKHlUSKHxDUhwTM0ZyuR9aC36ebZn4tJDYbuR6QDQAckFLvdgQxbpEO
voNZW8urnsEYnri+0bInPtiG8sR3rQfg8+Tfipx4jMEquqQ8L2z4XEx3+RGUSo+5NgHVjb7TKE+N
qmuqzWFaoSdqZgynyD8NQ2VwWQBgN2tY83jiyyW/4AN/Gzdow4j+TlBWwHwDzo36higfuXis8Q0o
hVpJbHA1ecNw6SE9OI6TWJGBsQXyA5N3+jeLnzLJwE8GnSc9Q95Xklp7rAyLpyemAogpBoMuq9Y0
PyT9K/uUFlLHsz4KQc7/yaNOPKgUseglyGs2aGYtz+lDZNY7xc72suF/lLZwGDfM6gDWB7BmbXzS
fGKWTF868mk76e1GAwHQafBelQCOe33HSq9s+CSuAnC4PoH3OjgppQlyN97bKNohiXbeF7MRlpi0
ZqPcS6mU9wt8CbiBLaT6gm69vu/9P82q0itiTX7wFS/zdD3oCjp75MB8kIlMhgDFtINzAK8XKYnz
NLxsmwXNm7OuKubbwQcBxbvBFtRAbKwlius7Qb7y63PZbFP+TcEwaJ+RpV2fLDW965NRQW5P4UA8
QcXUoJ7Mx1hgkd7rzIB4m2EfEBUMtQeeKOCJ+ze+E4Zl4ovFPAeQYK8PWSvRgCpETOBkjWdK4h9P
IQJv5j2wTTSrkR/YTA8w4J791MAo3CWhAQJvXRb1pFzF2tLjexJGrR27C2Y8UUX98AbIDWWwogg8
PnS0eiXHNseeOncVSgsB1swzAkPjyMRAwAQ0SmlYL4SCAL7s0GnrDSPotWBE5uA/qOPXfbMx/T/U
atCuoohQGkQCiG+vt5YXG1WtJSZ2oiY30G0MlFkiNutgXwp2wHsEXc4LD++Z/RNQVBQxSgYACDzN
riUGXCv7Ua/FsFPHejNYi+NGM8p5JYCywGUVDm7aQEB2GLepwX/nW/R+IN5DX7F27j4Z6/4Wzi8I
mW5EUmgFoUE9ixQhQC1CnjiQtnqRlEM6bsL0476UmXIKEtOyIMO2A0fhhqWLS5KSr4owcTAYmpWk
NhQSnutduwMY6w5v6pE8tiQ3H1KgyqSpWT9zSJM/2fe/Ynq+0+py+RHUxffR4OS1DT4CjPGmiGmq
zPu8L2FmN1EjRPcgi9hUgIW5Vo+ObxSuqwo0avVw3OM6ACJqV5y8BS2cWQichohYBTCsIGyZPuPi
6VymbpwPGRZStsmzwtaqxZVlbt5fy1wEdiWFWgyQmERfBOe5E2vHtt0IOzeIdbDzxNx+yF6FcVX1
YGBcisVui3+o/FysjfKJTQkq5TH3E0T2kfIkjT/VeAqLQ+qduQrvoXXYLcQCM0YEEa4IIwKISzSX
UBnWMgu0No2ixOkk0tQRCaPHoX8ra6vn0Tjon5be4zc6AoMIQQAlRtIYLxfq8FqFB6+gnKVOMIRA
yI1zlI1XoEkK9DjiFxTlxhBTsqgjFNUy6bkwSh2uUowQxHw+ayVoAQ9ActSwf+4rzI1WQhiC6Ckt
CRgqLO5aK7NUGSolQH8QuJI0r/1sy+rrvoTbZ98kYmp8wJwAcv10qTKfcHc4rkWfIhorfNSE2tdX
DlBxkuU98Nsts6SMNzE55h5wvdBiATo6sMlSZyXkIGoBiUOO8jcMFsa+GUCSeeRbxtT3CLgPBMP3
V3j79KckUieGOrzcR4yQO9u8336CH2LVohv4O7RaArIz/dSQL1uP/hjZ0m2fOb0p6QenBlRBFh2B
1OkFbhCFXlA4eN0Y79oWUEKuRTze+KhXWmgsNpHfXDssFM0UQIiHI5Xw2LiW5wWZrLp9VzjiKkOx
2/QtcHGMEcm/+4Wk5k1sSUmaXO6FtQwTDWlGBZKa4CuWjaeGJU/DsHDTlpYzbe+FEClk+LSdhCRE
HPRUtGWNOKprLDyUlsTQLkxmIr50ucIpzKnxOEQiWjMjn3Bv0jkIrPvKeNv9Me0csOJRZFBhsH69
+sWiECdKIL+VC6i//K6+W8m7Vh2aNTBQnzoSt0sqeBP7QJyIej+LoWcRDAbU4uTar+ocfZcO+l4V
sg0+isyqRONFTglGC+VkccbpNtEySZxom3kegSQMy/Wpsa6YV8C1Lh1U1wYy4rUHzh4Q6hwVZK0w
ZCCeMWKYGYqrt/FTzTzG3+NSRHmbaKG+gdKcNgATWwUGMQfTFM0EHG7kCal9HRgdm00vLejptIdX
MRAljdrjXFFat9D60iktYLhvl2BJ5yz01Y5SFpOtfFXI5Kp0imCNe02MvaUWhK3e+siwhQflvMhh
OIXc91ZEWUwMx0V85jWlk2p7SV61rwwP7QmTU+FutApts2QpFbioNlSMEiq5FNUC1EbI9hxjjAna
T19EM0+s8E+OoRuM7AOEP+HRLY3GQMIxkS68oVVGWrwyN9ESjnOa0JsYFJEJlSifW3cROhCZpHI4
7zEBQJSaEoXbjK5eAzaxO43mUo39tmMeXhBszb/8Sbj7v7m0C5uAGH5ogsitnL58jdAO58QvElKS
ydSmHh5UouzTLUjTxo1qCUgU3bdIM/EMSKJgj0A/JwKfnrorLNsKYaxplZM3r2Gjt4bcPiU5UcUF
OTMuA1RoUyuBgogGQx6UXfCbROWypHbC8HEUbMXxyj0UqSN+v4DWIUwXglJf0MJwqMtoqM6A8/Ra
FHIiBdgBhdphzQY5mE/0GSmWtwmc8z4sMWH9seGRfQG6DMDGVt4x1XXz8an83mKmFtNzSwOKc/EH
Pge5KDDBATKF7qEYi0GT3E6unbjRfbB/Wklhprtgq/Q/OFkbgJWrUdtG9Voabd4nHfLtjCEe1J/4
tYwWHMJtOhK6dvkx1NX2xiBsu1Kt4VTbLwwSAvYPba4EQNIIw1DxICRCX5pvKqQDIt12KXUzaRN9
NBIPHUCgCRYcljoarsrllsmHxillsD65mjDqSQ5C6/s6zc+4PRmdjngVT52GCPCuNaDsEsFtgLbm
lGNJwBDEP8fleiJyJFVihoDttH1ANynEG02xWxVopq7A/x6S9kPtXnx1G4rbptEz/+3+d/1mva+X
z6GhGfP+0xMTPylXgcd82CgJ3zslR+RHF3zQq7Y0hT+AObLB1jd6K18kQ653xW7kjS4zOeEYhyRh
bSU1umiLZvBmNXBGXn25BuikRQ28nKY7fkX8qN//1pk9vP5Wag+TOMoizmN7pyJ7aCUSDO+oGkyd
AxNcQGCe021+kPSnWEck8bUg/DYouxZOqSmyjIGaFWOPJ+t7rO8HEznLCJQPn1Py9LzXyPtLQN4+
pBWnO/rh5WNB/m0n9kS7NjEz4HE0Pb+opBSjiX2qFlKPMA0sA5E52gnaD6PSSEEo4BkS6TBj7+oL
Ym8N17VU6nYkglaroqT1Tt0fBgnxWVyBSdNOuKXOJOH2Hl5LoqI0HkyUYlBhfVZCrKPxPui91Zgj
RsVqtF+Y+g5Z6k9AMpJkhfFtTIyXRGe3Oqw1WcpT386iUHs9feuF+9PSpJcLzu2d5DndCS8iYMRH
+zGGKB/2qNBrKJz3pYXEOKFsAFSMBc9EY6cAQe16M6hbOXJoO+IafIBXfHH1NvVJLe6iRiR8+haF
+dT4CUhwsqDitzYKUjnkZSbib8AKU0kSJvAAB8oxWDbh/lj+08P7mvlTr0NLJvnHh6CgG9Y9ugeB
xCvWIxMq5cIH3HpkfACIUpGOhNuHRbred8kLNH5UvcGB+CEme8zknqONRx6/xa/V4zp+WmFWEJPH
n+Lhy/4BFO9SUf52cmvaeLQmgW0YsyVovbr+AoaJQ9FNksF53r4e98H2E/w7hyNKVQF5zLer1epg
Pg1ks/mo1gdnE5s+QdPvyX6+vxHT8dJG+fIrqOPn4prPXD7GPgABsXxRqogAIW7huOcuHI4TJz5h
W6Av/HqpaD3IlbLKBycYTbdSzJjTzPvLmDvOSwnUlS4rN5P9shicKgHknBQTQcDFjVYepxhShOfm
sMiSfBs7TuX7fxZFnR83hD0wlrPByY3n/R7Fgoxsh9Pr6/7d14/nYn+GizdSTn/syXoka3ftkbOw
XSf6ihDTdDKOOD4gLdG++mA/hWRjpgcMxzo/qf5l3N+cOcsqTOxsGMnEeCidIRSZqUCb4LJ1yUTG
ewrH9xxTzYm6cMyzctBijbcD2mXBj3Z9zKE7jmEy3akcufAp9akiuGJlNFDUP/dXNKe1U2EdIzRo
9ALh47Wk3BXydtCiwcE/6ogkYWBQ5jvSIgP6Xwm6gdHpsHfxdEm15M3ltzXrCNzrfRGzu/bPWm64
m7uiAlVtOICGGsjP3i7Bw4CLXrx8qVa3sGl0g3HbSJ4Gbzo4jdjjgZXiHqagIy0if31/RXPX/eJ0
NOoySnU2MIMCQW6HN5WGOn9W/4tzAf8lQlyYzmmi6FoBGpUXMzYuB6eNGoOL0TzqHaRwIV1LQ0j/
+sZLKZST6BRw0BYppCBVtEumx8nr/siaR+sht1vy2G8fH4Eb1ZpvHyJPPlhiYD7j/lb+1sto+3z5
CZTpRO9E64olFDA3XrcZUTSYmb1lHR/hqlbj4UE4pWT3AUKYJxt9FLG+YDrmjvJ3cEbAXCD6G6gr
PfCYHPzV/6ZHk3iWEjV6v7/COa28lDBZ9osAqMpD2Qt7LLCK0LPgG7L3nHNLHXr/j5PENMv/roM2
GFLCK1UMKUFoJ+R5n03dCcf1o4SMuPPYPfwRSYfYowXIAwBW9GkvMYOxYB8Xlvobil0sVelCELuq
+Ih6so/at+TEnvWf7yaKeHj7YYAScBLUveDavmgUb8C9wPR2lUqWW6jrQlvqF595SaNYiJ4eoFUh
rYFBoetTi6NQFBq+HdHvAtxr6GS/xvC5sY72xAT9maeXG+Uj1+2l4bKZ7OaVYLq6BjK3VAbl5+gI
pPRX8kcQbat39qFoiYtBOdHWHrLP+1s6F1ogSATjLtwnanqUgrJcGdZCVo1OgiamITVFNAWEzSPe
ye9RuJC9mbaNvu2Qg1l+jKCyeCRfb2s6gOWn6vjRUYeUNPFTw+VGLhD2lQlPmpBvkmJpZmf2sXcp
kjrJsE6zLKmEEY+97QCMb7QL6Z79DvAqy3NI0ugp+h6WeoZmXx3IugHLFhSqGKuersrFVej4NArV
Vh2dMbK02Cp6lvRRZiTCS8CQjt01jYlp1fX9k5ypP3AIGf6ROrniC6leo/WpVrij04LkQSZpa6KJ
WBH1tvnhdC15AEMuIACSV5e370uePdcLwZQZLeO2YPkcgnntIdhw4C6J3tjszRdW5SZZQkCbC0wv
V0kpUaa4kqKlkzDv1IESXvrOs1Xcn5Z6S2js8F/3OHX2sbACCmJIys9HGKz1EkEanf2+0rcWskh2
ey4cxlxhilEPLNZwOP3PYJkfpwQmorHz1U9oNtvTgpOaXTCwiUXMMOOi/r60Lo6VK1wh6DRtdJCp
F1SrtgVfBwf0UmVl9hAvxND7WmWNqA0Qk+b79jgUpIMhSIHwpmrPNQhM7qvMbApKBuwzOoMQUAMN
4FpZq4YDrXHusw5H1mvGfPTM8/HzXcLQ6PFzvX5cA1zF8pjFvuRbj6+gmQ0lM+ToUEal+dOKpkmb
pmZahx15h5FyXRKWrJxw6wgnGRgrBaoCAkWWUpys9PyibMLOQUQDTyzr2ie3hScm6XH9ndp/XkBq
jv65TVWTJ9txiW9/bGwA5yiG97Kwy7fR9/WnULuMDoNcib2oc54FIhwB/kE4Cw84tBAlq4mojl2v
Xt4wI3eojk+nYqlP9baPCVfxcicoO6gywP0dIohXndfhB7P/+pEj1iQc8Z28+/MiHoFteTjU+kD8
9x9U6++vf/60/zkJyiKOkVjJUY2TyIeXpD4WykKtfEaLrxdIWb6662LFE7HA3AA+u/Vqifo4TV/V
HnkwU5R5dhvdtr9Uc5GaY1Kia196LZm6rmrDdkqZxR0CywrQUyxepIbmGYkW6TGAXJTK1uKVzx1L
6SFOt0m+OG289AGUZx1rlR27CHsrkNfo8I5ijG+cBXu9JqKxMllrk2+eYBGXosyZ2Oxq4XQMqPhj
H3GT3G2L0Aw4X7F1/n4MXwCIv9F902YebAzL3tejmeT+tVDqqZQwSpjwGYR2utQQAM+97z/bp3N0
Omeb9XolmS8xktcpYa03BIek4aYSfEcW8eFmnNL1h1APpkHq0iz4tS2FOV3nznx/r88aaacEzV7W
z6HxuEq3JNnt3jLJPMCGk6dp7Aagvwtef+l2/8YjF46J15oiy1IoP2M/vwLvokBsJevWGjjOgNJ/
/FbMnalgyp8nnLM5acZp4XYvfsB0/S8+oOnbIUl8nMoEBggkMkR38B/YhIAA2HGV2w+Mor+Y5gY7
EO9P/mrhBX3rma8PgzJvw6BKSctAvo/xQrfbqrnDAdrETfWwWHhH3mLOXZvS39nxi7WGqtb02mRK
CzNBSW8vmsc1WFweTG5z0Hk4EmNJ6Re3lzJuQvU/pF1Xk/NIcvxFiIA3r7C0IGc4HPeCGAtvGh74
9UrMSlqyCREhaXfvu4uduCm0q66uysosiqYpYBKoBMnmzHVw8vV2igvwrnwE3Gm3S0047g06+l++
H4Rv+XGpr38mjXw9xZSbU2KPgeTudNpBarCdgApAK7CbcoeFnsit+21sKMbx5QXSFKCQsIRBt6AT
mOneodABUcfSr1YLy04TfCMyvP4oyvXFWUr8sp0+CkpFB+Qacbcj/fnofOlwfOERPh/c3t/C+r4X
+ns23PH5f3vkYg+MWsCk8WQ31sV9qpv1bm8r6LX1zMfH/nGnMw/YCkDZ4V26cNQWdvqfU76w7IFZ
x4tZWBYIWSNfZQ9Fvg1r34ji0c5b3ro/0hnYxNUM03C3sqzyIC1grzRfycde2CEe1J3ORonuiCGe
fNtcWNSZN9u1STpq0wKeiROYLExv7zmSHW68lXjwtsOS31yID/+218VkJul/3WBTr9Z+3+7GXD8c
MhD++rq3c45IuWWyDj7lE7bRooLF0lJSTqvW+irXphMlp05dOR467lNIMY5rJl7Mo0yn896GpeKv
WPWKotRga3DMKNRfcUUR3Ub5CQNdPx4V40s9veXwY+b59wH0BtuFbSvMfoACQiII2UzqntSiqkNS
RVGGKEkEIX6D1CYx7Md4/6g+hZ0BAap1/LAO7HorPKJqkePohLaRPUyX1UodJ8zeIpBzBjKCfXbx
SdSlRfxQLesInzQ8iDGIUPZw5fpaGYEf9ewv3UWK7mTgLbAwFbPLfmGWWna0BqYkFbAUoKcyZaNQ
39KwMDzipJxx//D+oahuVv3CFLXquSJpSavh3gDf8UP7NT2OWQT/vPGZoQsUS4//cNunErtgjVPt
uryJ4m+OCiC6dO3yefciAMbLgiyo1X/KWn/k1y+N/Ra50sYCSZD5gDYBMHbv5GFpkqa5v/fl1I3H
JwHfi2LanRuPd5uYPTOcsFSfn6mJTxsAaF5AmNipRnodtRAvI6GmTmETMlLKFLEgG+Xh9CvW6AKR
hq4OCz0sqwzFs63/uSKL7WO3e0FleVaTFQE51Klh9foLRsJXrVKjYNmwiRnV9brxmNJgvdTlVUXP
WCUx728JbhrT9cReWaQLTSRruS4KsuFsMrwe/0QR1LDF7QNjYjMumLr1rtemqOkdwFMVjwEG1xms
Ix22W9XY7sGFhZglMMnCqbp9X8MYiqTwMFP+i0bYcW1el22PcXmBERId/a7mwmmaQU9OJmTUgbBa
oDGkct5hhW6/YUQhFvQaU9P9+7u/Ai3BqL8MB7XRXeNhzOz7czjjo4CcB4kYmPHRX4h2y+sNoqFm
10e1P2IOoSwKwNjn4XFcyWZlA+ebr3XjHFmd/hstqiPP3MJA04tojABNENoW6D5mL8aLgmmk4Rw1
m6GzCkUGNZFb1YB0gfdVqb9A2KBnxVJS8faeuDY7/fziSm55PuBDArPInFr47QyCzF3kG8xCCHfL
pSBdG6KOXkRKpQ3QrX5+RpItMw/Ih8TbJ/DkoedP21bGZ+UcQogBcsg2TtrMh/XO4reQHzyDbtg5
57a8ap3NpnUganSqDfyzye0Tq7P6gN7bJSDL3PYGxRHSZVOXMchHrqdFrqMxKaRgPHPDKdsSctZC
O+6ChS0+89DApFyYmdzyxexzYkW0ssN24zfNAxHRxfGV6I5luVOh6veUWMaqtlen1UdsJs79rT7n
CpEPhCsWVZR7VGqn86RIi1TIxrPv+UatHTwBeLRoywgp2iHVBWMzD4dJIFjjwdGMkrgiUa93zYtQ
hcxRF8h2zLYASR62AIPHw6NifKJG96JiFSFKuUf2pHSWsFDT1qJ98KVxajF5ryrLJkGC109W8nMh
I9hRkOXlfyu4rZIgAKkXiSfm/P6lTWplWy3QWj/FgLldjxbeYqUoRsiA/7gU9AHV0BeiPNxf0DkP
ggYkGXJ+QGngKUIFOlyXJa2QcO1ZeYHLB6VxbhPRFLV9e/bSNe70+/ZmZvXKHBXsNCXUufyebc/i
JjLREwfOTS41mOroB45XL7BqzOzWK2PTzy8OipiMUp1UGJtoKIw9ZCYpX8mh9hfqdLNziMhgQvKi
ZIvG5Gs7WlvLUAmou3PPJslRluK92uVED7xBshpSMusuSjldBIN12gSaI4nDkhQZN+0MarfioIDH
H/xqE6KWusaBUIXMtKC157A32ciRionJktmkL/xj/kk+hU5PP++vpDwTOVyZpEadhjJXtB5MiqxT
lG/NJ8N9iqFRhFs20zlihrEecuugf2OxzL0pFXuSPRTgsc2cXtsn3nM6HGrAKSVw3v7EGrROs40K
WdBhn3uPIv7fWmLJiEqweNLD8A7qArm3g9FMc6OCiIXqJJnTQCn+NG4EVCXr7wisuZuMNUj9EiRf
svSVdY9yYwjdWqoqI/V2cmH1yjrckKgFx0ltgNhVHpb0aWYuAUwLnBWamtDbJ1F+o+0b1EhKlEzE
YjueKs5g7EY8xMPUUpUHm6YHkbMlqOBmP2ZowX7pl7BoM5fz1QdQTgSJhyERshBpj84UBz39HYJf
lKjT1mnkhZ0/018AXgWIgU7NIQi6/vbIxQkT2KLma1xGZ57Ykl5AprmAeJsdHVq7tDMnWW/VwAjs
cZuePXtMkFYUDM9O8YQ9Ke9/ytjgwWAW7o25GPDqqygnkxQ9AwUZfBXoLV8lT98DNjvBZxnrlQFR
XxVum8AxivOCL51xN+DUYVUZdOUS9C6oYCWVCxl0wkl/zkYZW5Q1MgicZ0gpE7TtRa/3j9/MgRc4
Bd2wKMpNZAFUCIYCrJrkHenPSs2Ezy1ep7oo997Cbp4pH6gCp4KjD4SXYBGhe1UkLQ94TwVMX4Fg
DXQM7MQztT4wQdVUtHqpnEeUV1Gl9xDhpmYoABTRGUmnGOJwkstNVYG7rmRWRWBxgn1/Bm75P8Ht
pkAHF6g/XGAAuVy73Uj1uSEelf4coQuqt8t0J0qF/kCCHx5cGChWglEYb+nK9BiDEMdn9fsfMPM0
vf4A+qinUQiHDOh4+gyGL/u9s15N/zPWH35XqKyswOtKfIN/a1k9Hbb4N0s5uJmTDhaACTA9SfGi
5/t6AnjS4rFV4jlVAruObJHXmZDXtA+jzh7kQ7cLj9U62qwWRj1zhV9ZpXZe3Y3gc+IBXNrWdgLE
hB67RBegZPT0mDo/tb7r7N2XYgDW2q03/f5sLHzA3Ov46gOoc4a5QHgqTq9j3AOcDUqf1uw/eB8Q
rZN5f7BzM4zCtwjSALTTgxTzeoaHnGVkf2ARgaL/TEKhon/OxqcxXQ3aWlGXDtvMjSqg1w5AYihh
YE9TnltGqJBVPTeeg9QQXpuPGDAKJN+Oumx+vby4rYX2WFAn/pzKGCNdmtYl69PPL3y5EjBE7RRY
r8keHJzwmwIaf3TNG/VBMAhCGRC7xCslMPingLhLwtYzeBwwMwFDDckaBRSxNMQhiWM5LuoB0CrF
JvuA01X/F0CAbYCXbOLtfOkwtisfsoSs9b9e5CvD9MDLTgFfU4/3VLTiuY0v67y6U8RWz3kjyBde
bzPhATppoDUCUCo60zXqbtJI0TBqiWdFLezaT1H7LfsnTVkYkTRzFYn8lBZQFQmUIfQ7jeCFyNUa
bgdBfx4g6yi9Rt/yb7/jbLDdG5JN9PfRbk3WGHeq031wUOpyAG0YjeIDtzTZtdbuDW0OG8vZ7ayP
Yc1ZImSb1i+jsXvbbH6XdFhnjpkoKiDj50HuAFdGOVIla9kuyvnhnBQPoKvUiKnF6LSpITiDoPn+
as+UhSAlcmGMOmUlmlpZJYSx7f4gfyQm6NbPuvJYr74cx0JXNAgkGXCu8y/dosOecZ1Xpqmd1mpC
AwgmN5x5hyAsCvVPe/v9vK/QRZY8a87mg1lLCx5szlte2aQ2XFcVmVdLsJnq5FnRX6P1nnOL52jB
fcw91kUgsBUZ1CNIEdAbOxHrihlbTGuOBFhm5oaMNwcopdk1HrAV4i/Pri31NTXJgVkrx2/pCbQX
T0tyPjOlMKzuxWdQd2LrRd4QdPgMEMZz4PF1a0wuvxlfLfHAnNtP9Fr2aN4D5+v6xKGfUFrYXtPu
oR5igKDjbxktFqAboJZY9Kocs4CTN+Q/VeRW6uP97fsHpr01gMcFj+7sWwTqGI0opvZVfwac4x0K
lOa4E5/VDbD7MuAECVTrfae04jUpTcU5n1Aa0czfSSQA5GrMsUUDYw31IGhV6kuneH7o/34ZdS/j
CUzYtK/7c6iw1Tb2JdWV1OR0f/zT/N0Z/h+2++KWqjutFriihBGPf+N5v3kmGaJLdC1l+/uWZoeD
djdA3UHDfpNb9Qc0LjQEEx1EwYmo6LUXli78JROTX7wYjCBVUht5TX9+bgYjhQAElvRQ2H+YoF26
RvuhLBhvmxNq1PfHNntapYvB0WvF98zI/Vl+5Td7exIUzZ3H0EHgbhLTeuOxP1a/2jpBVWUpsza7
hP/aptPlciaoLWna/tzK0qpjn1ntk5VH6/4I5+7ZiwEqVOTG1kwPfiJsRj//qT1T6V+40I6C1Pw/
mEHLyUQtgg5Cmv64r0Dg0wp9fy4K31DrT1+w2+JU4el9387cYwfxwr+GqK2SjjF4VPihP6tcZaUZ
urUlr9Sxg3I9Q+N2AOBwHCKZFvG/QqQYBZj32hblKU8SbaL0a58Xn7U+XdjBk9Wb03jxVdQ2EiSA
4TUWSzmiiPnEV2psB0kJoGQN/EkQkPhhaMXPklGFBSjhXIAjSah6oIcQfZvSdLIuTk4KaRBPYtAV
XRX1Q8eHFiEPw/gsZfyW1ZYy7jOweFR30GrA4wWM9lA6Ed1nDF79BHlZrwJYJjTlUs80IMb1CiJ6
47dYo7Vvk7zUYHIBXUf/K6fGKID5cCGfOXuXI92CXoA/RUX65EhSq0G4Bihg8pv6rx4nmolg5e0+
Ej4U0Y56iOhAVWfUXhc235TWp5d5IjGbimqqiPrd9WwHAd9C5NlnAfZgjRxp4j3jFnp69F6ChRzK
XC4VNJbIm8mQOAAGgQpXsqFv/YxPx7PJvXAgNfl0GhS7M716aRZ84EwwhhsUQjwoEkqIkylLQiyP
pZehlhGt68bozQoIOGg4J49LLxsQR9/OH9DT6HiVwMIgItF+PX9NXIl1XCDo16BYstf60ZOtqkYy
2Aa9MafqCan5wCCjJ/Z2wivMJ+lF73XI+5ZxWDXrZd2fHoZ6HOBIGLkQSKCRbWUm/+mFoI6fmgzC
huiRUEVfZ32A3w3IgMfZoyL7FUBHJUEeIkzyItmptRLKllyIWm7lKbK331Cv91gbanKMigSrmoeG
KkrsYJZiy2aHPkilSXIMHcvW1FKa2VkDJKvOQ1iYsTSIQgi6Hw9DaPadH8nrbuy0ByFtE+GQK3mf
bMUh5/19GYQlY8oB4wk6tLsL1hlz1FG2IFbgo0Oa1VL5quRKmx/bKCy1dV8DLemUVSIUuNrlEBjR
sUtEW+sTgdvmxTCUGz6VvamGwHvynudYguaUzhM4O0sq/wk+MOhP6RAm1T6QpEAxSnB+Q81OIiCc
zcswwitPE0F6rsliWB/jtCsiewRirHHSXFNLUxyLAa0ZQwr1u9BjYjDx8AnbWJLHC8GKK9U+BK0T
YeNzLiZt9iVJKZDsejAiS/aZ8gUPLbPYy5nARX1ALB7ktNPEldKDmP9BIU2AnrKhFBidr3mSW0ml
JAOmvuzD0VC7NE/fMzBWyVaIhEH1Vau8X36JVZP6YK8aKyZbNbmodRufYaToGYw2QWQF6IJNnvI4
4mOilxU66aBokEay27aKFJ4hv+CjjQ01IDTRa3FfoN5TthqS8r7fKND1ruSMe/TzrhnNBP+b1DqR
GvxZaFl2jjVo+Fpd4bf+tiqRGPlNfC5Muk3VJlLgMk0jS2/4NQXgEanSte+1UNc15Osy7SkZk2HQ
e4gZ8hZp0iQ3PQJCZovHTOOLtEjp3bpkoBndDBEvO36ehNGu4bUAOmG86MXSDgkaJtx6pcdmeyZB
QsyBA1HxS9FhvhVGsWH0tG3z3hrCPIMgfO5VJDWqMpdiQyXoBwb9VZUN5ZMPdUMhgnKK1mWnoiiU
cZcpBIIjCd8njCEyaI9aCVnMQ25ZwSRxeoFkRWfiW2p/XUNfNQNbd5ZxVsOUQrolOZth8oKulqCW
iqiGQ+tbHau9jmZJjdHbqkvJOk07jhzBQJAogPcOZBhWXshU7ElSe0BmRk0u1Xe/U5Toc8zLQnL8
gZErFD7ksLVaL9EGg+fDNrA52Y8FLJXQi+4ogyUJZ6MhGy4YZJBWFBCod5KqTDIwthBO+2KyFIII
rN/4kjlC7+1HQ4onsKFi6QeHoCwCxuXKjIutJPVJbTFq2Oc2F/JsUeotyySj6aMZRf3tsoyxQNcy
vvSg9vGhetT1PwuXzMyVDrpkVHzBlYZeEJr7SRzbGLdwPp7DGhrbkbZtozPLrpXwjBqlrkn7Pntv
1ScSfwKPo5Mg/O37wtS8nzAFz6v2u/A5M3feP8xXAhjcUPCmrocyHTMATaZSt28ztQ7ROs5BOlnV
OclUiXPf2vTLqAsWVXUk/1AzwujpJulM4zwGvKvsOZPV1BYY9VlSQztjm8iM2CG171ubeXbgyoOM
FaIWMHpIVGwslFMA3qKJcYgkYmZ16FvAzbzdNzJXkgSdFsoHAMSAquUPbHgRogl1o0ZsgPbFhEGD
OZ7jTeFyDaavRnJeepJGNGLUOh5etZX4oNTQSjNXVVNe7E+lLnqkk8DAd6GnToXOcZN3mkCgpy5w
ejoasoQ3csib7FfzHS4hY6iFvLFFBcSsXJYln6n8HrF4tHvsCiCr788rFXLTFugYsKr8UZRDjKZA
0IJnGsDN36oGtka9WMLeLUwc/YaSQj+RlEDh9/I+TBH0jRBPGXTBN4YVsu33h0UHfv+MayqaIgOI
jCXNgCJAKbLKpUjYp5Fnt8FOKE1Q59remMP3fmuhq7K1KYAFb8HulFu8OHo3dqfY7WKbylWXaakK
uygmjDsZNXqIUIRoTVHxN7evDt3LEtCX7lv+xybgaSiqgQTtpkYssV1ScHEg7LvBSledrEPdVjOq
L1xZ4A7g9trbksnZpRQhPoGnEvjgaCq/CkgqsYliYY/cqprorGhmkh5+D0/RuY+WlnLyHzdTilch
2F4R9PI3XL1hpSYNREj3zS+IA1ftinEFt3+On2IbcLT76zc7sP+2BR616+Xr2maUOi3DVEo6IALc
k4yA9Mn/zk31874l6n76Z9EuLFFek/GhFKN0sKSqhtTaIH/8LQjChqUNST0Wbuzw1yOKxVLm48kO
o7P78F2NJnESsHa2RnwcVuW5+lTWnaLL5/vDW5pIKgdflaynjkIq7NvUiMLMIsJPCmlSEAYEOyZC
nPPy/7NHveADgFkKL8EwwdiOTAZb2Eqpx8fosdwwx/+fKeqIs6GWkD7CfmRO8SN4nSwPTPBPA6sv
8RwvzeF0O1z4Eo9pWc6v878xqc/cC2iOwxB9JpxvcMLCxr+9B6BNACrsP9UHREvUxg+6MU5Atqzt
+1pFXwmrJ0lh8cUhAbCWgVq9T5Y25q2nBE0vkgBgI5he5n/ZiYvRxSQqVEB4vb0UQHq4rC3iqeuM
Az/i0JgZzh0APHHZ6kwUQ8L42EDLZmDEJfqo2+Nx/RXU8SiYqPHzMfX2Cv8zxE6eoU91IRpbMkEd
BYYH+Q4zJN6+EXk7StZ4Z3XiUq/WrBHkr0D8jVgMTATXe4XTtAHxZevtK7/S2+JYk12jLSAEbvcj
wGj4C0yXIhIQtHMUpYGB5M4YuGq8kV65QyFYbPRdaYcEHTNVuZAMpMJKOK5ra5SDHHKI3AEmFLi+
4GtGk2aczlRiadw/zDS6B2ZU1MdlCBSAUB+psJuNH6RRoYSRW4/ZOs1PoYjysJEnOp5VZlQ84xmu
Q0fD0ka9HNedACCeUuhgWj9EbWFFcmt5wxKD3LRY1zfe9TdRQyd8wdQxEiBuJGobkp2ETlv7yUOb
Le1+ukr+N3oojoLcAKzZQP5Q2yZpJvI4NBK7alibRHkpMkhFI8j0A1N7YPXA5UO9/9GkBRdKc+ZM
diFEC2gCKPqArL95M4wh5F3yJnEbMHWiWGGhZJqZke07vsWZjFWZqglAl146KSq3AMs6MhSdavvM
fasLaVAadXbzLZQLGLWoBl9Im7gJr7fBEf1gYY2GYqHVs2bbcp9cnBnZtyA5kaoYKhQJhlpnkhVA
gDzzWkNp/j1MTbXZMozVEV2KXpLslAYmF0W6fyiJGZHDIOnJu1CuY6QP2BdtUTn29qxAYwARIOQw
IYx+06YQjfHAk1JOXJLk32ADRmDUn+4flFsHc22C2pNBAbKVOlES1wceM2/XvWwia3bfxtx2vBoH
tRSi0vqg5oQRNI9A6WmsdTay+mwl7EdLk4ym1vnCGpaCvqWhUQ5aaENp4AdYhYhjzG6r0OL5hWcW
nWufNhlknCaeYoAFkLSl3Azb+b7kVVXuMiWxK+XIlScxbowOwNRsMBNprYFBuatiJ2gWTN8GmteW
qYXzur4RxrzO3VQ9vQt5aamJMW3fbkmRbebNdW2JWr1K4+Ws8JvcLWJb4UxftUgE9IPeqU69H/Qu
WAghZkcG7VdVRYvO5Equ77xCSNNIq3OMTHxjaqSYFOQ/izfkCPWQXwqQZnwyyDT+NUZ5SrYX05BL
CwyuaY0oOgjNh5I7JXjbFs7ANEuU84chIH4h3ITSBe2SlYiMZdxgvYKOGBW3loMNgnYF7QFMtOe8
Uy8fAdgKpkO44AnnF1BFkoWHuizQM1RqQxuzhssZkrveuC4DxoScDquXOTpVzwp7LL1dHy1cBHQt
bDoXQDaAUxrVVQjN0HkxcIIWnRrIhRt+jHZ2/GSM7ihCvtBS4ff5rdGskrOyrCByG+5em5221kXw
yVahiuSwUrhD8yH+pC2gWV6C+MKqGDQEr+TO8r74yBHVfXcYYu3cqkbfvynQyJZ96/6C08Xzmymg
Zr3ufST0ZaFwmRVrCHZkx2cenNr9FmoZiVFH0FQZDRDVWCXoJDp9QFEGSqJW/iIu6grfRnjX0zL9
/GJaxqEAPLHAakTrEYyxQIEgx2VkKzSEvmp7sotWv+iMZI6qxa3vz8LsgqD4OjF4o5+dpSYh4onK
KllWuHmRG4OE1+ngG3FvRzySQxCyBLXA/8GgPKnqgVAA3UCUwW6o/QBp48KtpFcQ6xtst48830R9
o8oBNVpC9864D3Be460DFXSkpekefqKMjDc0fOGmQ+DGXuYwHtFzvI0bbSmina4SyoFIIhziJLOA
HM1Ng6nAplxYhmSihfHM2EFyRj/7B34B0DIXw13aoSNnXxYCboxgp7WTp/ppBMs/p0cHxiJmC7lx
xkIwt0d1wPTs3vgYdP8UWOoqBZAfCpUnbb2krjETBOF7NCijSoKqAL9wvXlZOYvgvFLilkVk5Hlk
dNXC1M5ZwMMHwkNwkcKNMhxfNFEvCRlxqzDltr2iBlakoOx6f2fSDaB/DgFYzkmTbVJyorVltLxo
uZLUxC3WvDGBoeMVa4mWtO31nW/Iq9FKHgvj3E2IrMRYyu3ND/Jf69RFl2sMqv58A+tqVQIbUnBH
PgiHBa/3V3+hd+nlIKnVEqUuLZsSg+Q32RPzGq7wvGP1yATxvLhT7RAKum8L79fZkfE85lfBDgHS
/3qDlFkLAVMUWd14BGNUukXVcsGp0FWKf5buwgQVkki+RNQ67omrrfhN9AUiN+9NNkur2nGWt5Wh
zLrUODV7g4LT8b9HRa3XWHFimFcYVbCWvoRXTOhzZJaf2TZcozatbaJH1Q6sSZHx/jadixaQ/gWE
A/lfeco+X09n6EdhFWg4/1KW60JlIFnkmSwUuJzM33N4JagRWTiA/4NN8ExL6FhVOTrkkzJo9sRI
P7s15NB5yz4moFTdLNFczc+pjCgd49M0VNCuh5b06MkXho6AJF524lViMxYiocAzqp0AeZNmK3xP
jP2/0ZIg/dwLSILb/i/LfxNwcQOXoGxLuRGWpUNvliBSkh6BejiMxodmNltlYQ2n7Xh1CEWwGkLF
GLo8iMCQ/7sep1TkTVGBUMdFb1BulErQrGSIeVslXmLm/e1Cs7VBwfbaFnXhBh6nRZkfEzftn9Lo
+2d4D6DNbTL1dtB8XRUPFUolxYMHKpZal+pD9I7/Hj7LftOe/XU12InPL22npfFT69yVjc8RFd8k
C68gIeaUdcCdmOCNjIHBBnq8bmMnAjMgekoHZ+wMhVvw9bfvwqtZQfLuegUETegVXsAX1N2vt/K8
3xSKbOQwCp1ZjTaUu/PxmSNLlPbTul6t+5R1QVkUHaYIRYCSp6wWbB22ctO4wIZYhfzQchteyYwE
Csa1/31/4W/mGOpoCq5lHk4Cegw06WOoCA0hsly6JE1ei9i3swL6F03zfN/M5OaoIaGsDnIPaPni
MUjX+7Ne6qQE4u9uNfhWLpxCNK12OUpiSy0Xc+O5NET527jC1KYNDAEr9BTlhaGm2n4U84VpmxkP
Gjqm5NjEbQFJ5uslUsSqAAQoxHgKt4B4qRqclcLOtaUS88xWwEZAnIEgF+lj2otzoQi+5W4o3eFZ
THTRKI9EtBrNvr86M5N2ZYU6/IXctWoujqWrsJlRRcfQGpEzvm/j9ixJ2NOgM0U6kYUgPK2BBF6f
AuiEqHI5mUHbb0sEcH1yZWviXWPmkSQbceXFRtHGxNB4n+h9xcRWW8dLVeC5OZVxwNAvM/0hU26F
TduyKySBuKzS6okkOmz4FYuZ4SkheuGXkri3nhXjxpUBXiM0OwGASG2VKIs6PlH90h2Lt9H/ygmP
Grcp8Ci0oQYtdPmKKY5JHpz7wtbeu9p3alDHcW7AriS+NVCLkJUGWE9QLh20HrQE99eFZs9DLmP6
PqQnwRyMIhO9leMybjO2U4nblNqqzjJD/gqESUbjndtElRE/FYoeCCuG3SRxaKvCuuj3VaA4qmcN
4r6EEmzyfP+TxFtngY4KpEpBfAFyKpW/PlxNM8Z1ryqIcQfyQrTQqGNxIdic2fEKD1AWaiWCBmU0
ag+gmyros47UbsGNJh9uejSCxfKCk5jZaOiVVkGeATGl6QxfjyNsKoWMcVW7ebzhxl+iaWYUaQYf
jLoiJAvZ2RmPdGWMOsNJ7nNyJpe1K5WqwTeHoPhqi59Qfr+/NtOvoRw51gTXkiCivoMb6npMqLD0
bRnkjSvXnwzQbKqG1hsfwnL8nmfPEkox9+3dPrfwGAAHCdKIAioS2BDXBoXOLwRR7ho3UB2hjlB/
8FNTql7rmtcFza3WwIuFijV85U/sNl7nTyAp0OINdqorbytxdf9zbveNiOQbAk+onHDAxk5b9yIA
TNJkYBIxbNw0O9byj5ruIiVfOJFzNpBehA4XegdRy6O2fyDmCQPelcYtgekMIdSXI8/U/m/zzhjC
lO/AIk7d/HQDZpGxchU1ReOOdo33AcgDwdUIPtKl5/Ltfrm2Mw32YsLQbi4BDw076oDsGWupkROl
TjtCIWbhSN96jckSzjTe5oCh/G2kC0uB0IkFikWN2whyYNRcf+DBB7uwNjPDQSqbYxEug6EMDN3X
w6mI749oHGjdzLRjA6lmXVxI8077+fqAQWzjwgK1+o1MtAgg5tYFxAWUfJCcW6v2w1K+nG5nh9eH
RvPEJsDyk1Ag7QBDRcvLRohaNxHTffckd4jg67VWolUxPKfBw9gUr2yfrofK2yQQ/wTvYy/alSwa
ULz3nwLAg9H/n+zzzBDIKQ/znTwmNnqaGO/x/pGbWVd8qYIAlYfmz017qzo0HB4npHU9tWLWddKG
VlsNP/eN0C03/zkf/1qhFrYoy74shqp103Hf+JBdNpIA97P4ERzFtDekg9+hO1XLjz2bPRe/cmBH
o+XzyYJ/mRnsn4ISJDyAEuD+yJYvNnGby16hZtXgAhqta20DCv/7A6VJHqaBwgJ8KiJK0InReK02
Ezq2SNsBCQn0uQuv8WP01Dz3u/oI2hRHNhPQiIZHNTCD0arWvP4tW/e/YDrx1AaXWATNgP0iDESb
0/URYoK4i5mKH9wK+hJyGhhcvk2q2rxv5fY6xDDRlimiYwhX719UdjGRcpKn+dh7g8tl/UoGaYQE
noose+GXEnK3EAVMKI+xTLAOiD+L05JeWOrqTGbrqhzdwRjNfi1si5MP9uHe6MzMGrboMD76xm/k
jKf7I5ybx0u7088v7IZp2GQsQ0b31Twuvbyn3U6v0eXvnmb34neLfFTz6CQZXU0Xnc92W4PbTjIe
YnsJdToTHV/PHhUjDaXCgI4BlgbjM3UiM9+ra3GdrUaneq3Mj2o1OIwtu8hKQ3uyND0rXzhxMwcC
YTkabFFtQNsXHMz1WEd1VDLS5bzbD11sAN+ve8xLxIa6+COxFmRQULw0FA802Y85/1xWdl4Gdpx1
h9ADlzySlIU8rtp8Nw4Wv6SrdnvdAIM16QSiOoFn5t+b6mIdygDES7zPAf4PeL6Rj2gCG3k5WCV9
AUIWMZVtRmYblOEF2bm/u+YtI0YGewHo2OgchKLmyNAieemWwJh0wF5kaqqzveOv8+o1hAL1fXO3
fg8AFwECdcD6IPanvZKqsBEzRpHohqW8l5jCBtHNQsQzE0mCZYNFOg0BuSpJArXVuEFJUVPURLcO
rOIYeajarkdVV530J3HTXeHyjB7zercrU1MQ7RrigdyRs0OTM9rFTOKtf7r+GGrXRR70P2NPFd3h
gQUpgbzlQH2FKCw0wn5dNSsVcslP4zPk2oZ6xdvaf5B2ZcuR40jyi2jGG+ArSOYpUVLqrhdaSaXi
fYPn169TD7OZEDdpU2s9PT3TbdaRxBERiPBwb/fXF/xnERUiToBVoQslz7MBYrm9oFU/glNC9ypd
AuDT1pQHzNyQ/LmMVWa2hzS8VdtDQg+GwshEbZpuYuMD3FL9x/Vf8rNT9f1LEHqh44JytVg1loyK
VOaEAUrySVOgvpnOT0lwJ9nRvRHdZeAikbZZdVsd1UN40L34wbyrD+lp+lJ8V2Xqq0J2gF5ZO43a
oAGaVgLJz3wMjEsGRRPcQlAG9eele0jqRi3KGL9u5J8t6C+59ZBpf//q0I+uJDzLX6+vxs8eBVbj
3J7w3pHAHNebGewN3ZYc+hvPgkzA82/v8c/Kh2lzoL108rAEPiGsOSD4P1BeQZbOYkyJ4Wl3EPul
mNC4H6ZNcMKom7HB1Gu67SnrhxPwfXXBgmP1Yikb9bZ7n36R7lbaTLqr8s1EHgxzl0uDXUJWutpI
20hfE9T4Geouf6mQMvCk5h0xMwMgmY6ZFTThp4Ohr4EdfgY9WEE1BNBuuAmMvl7utBoqQ0Ca3vD8
0U7qiVk6XhGnCNNkQ1gzPWS6jhGWJNmsZUQ/RwTmPUeOC34vZR45FixbGOweM6kzvKj6NI7SLB7q
5I3TgWhz3PHobgQovJVPU7TyyYvremZXSF2M0Vdao+EGPN9LHT3l2PHyn/aOzjM5hM5Jp1AwqHkv
jUkxGV4bcW8iya6jfKsZw8rrb3bePw7zmRkhf0ezMDStYTA8IzW2Rp+aNhnLzxpF2dTqMjdK23Il
ZC1EyDlQoWaOvVNR2L48LkpW+VCzlQ0vLd+TGoz/myYxThhVZ70U7cJBcq97hqUvhDoTRjZnTlbI
F1/aK8yEaFNgGl4/5EwPXg2138b+Y46xyaHOVj5uKR7PgFuU4JA8QyT20lgWYTYVdK2GB55Jk0kT
WIuKPCcrLmgh+wOo9ZvsG+1CvO6EkBy2koFxZlX3TJCL5RQszskpS190AzM5umvioAyuBYE4twfv
PwE31UeSbyprnuHGyJylvccAW3FwTraZu1pQWEwYTKqAbw6PZEzTCItgtNHUqompe3mcHnhFGUSb
HQn7iwGN0FQZpo5tA3xzvu8X9vQb4gWYO51J4zXtKbB2pfFqQdX7ERLeXXuTRmulsZ9NergNDL7O
VOXzfJ+IRKjHiWs9RQgH/yEzNFuFxm/d7HwHTJm/fQfQ6NY4RfdQsnVG+blZm+JaPJBn5oXlGXQU
7HDckZwOGMrkITipo7iqnCbAABlWE9gIa9RWbsHSwQTyHKJzBOAZ4KIvDyY4KElPRgQtX22aLQpc
MXgvoSO4ctfm3y66E2hjIe7jFQlYveBOSKlhILjXkCs+IcN3XZ2dLPvmFLDNL4ttPrcRu5Vt6Dpv
iCc5tuveHF7dL/b75vfzY3sE1/SfECz1j2DUet/tHna7t6e/D4/gDXSOTuC9HQ++fXxYg0wtbcf5
TxaCZEn7jjcjTiufuD3Ez2Q89qTadMqdArjG9fVZzFLOjQkRy8+CqaGjrnsaIPZlfQDgUSXPer5R
PqRqo+tu9qwd6E1cHn0QsV83vhS1zm0LUWvWu27iHHujpe86ipd97WCK/bqNb23PawdA8O6BL5cl
H4juHcG1OGxmxh4QqIGGSQXRKZn1nNzEHRh1oLATYK7/0NzgeQzJcWftibyUgFICDjOA8VERFm95
orealiaIM8H4qxh23RynA8anu6g5ysamzrOV9V26YuiJgNcK3h8JkXD2K04raeZM8CpfZgZGqMKV
HsL320JcXBRp4bsUvDDwBrm8xEAU5IBxpaa3gb6hvX+a2Jfp6OyTuMT+8p2v+8iuHJO5MVAcjzuy
T99eMgbFjNOftUG4pXt+/ksEH0bHQVenbv5W4zh6vtbjBfYLQIiV4/S9Sde+WAh04GcIx5zgizM2
HsDf+WZBN+CjYRarb94+Nk976nx9a9w4ln3/2b9BpImVDAVmsOJtfs80Xsnm4VhAQvOltddo45Yu
FAgvFYiPgEwahdbL7ZiqkOZR2YI7Aowd7XjotF2RdSunanGlz4wIKyAZvIaMUGN6A3wFBcISVCgt
GEWL39dv7uLpPbMjBIiGoFrMOT6mDQaIb5EGgyJVMq7kR8tLhln3ORBhYmD+FWeFGbmmuTV1g+mB
RwgPhZtu3Cng97j+KUsZpoUtAe6aoC6iq5dGQAzSBWGem95IAZl8wUxC+UwGTIqiOFF8XLe1uD1n
tgSHrsrgjqrjzPQC6zh9yrFTVrWtNGtJ85IzA2Hrd8sZ0ftbA+Js3ZSu7WszrEyvBJl3rO2bRrbH
sHKG4QHJ1IBmomWdrn/ZQlzEPuF5izBuAX8gnG4KVuagTDXTs4xxPFIlrFweKdupNG8bVInAxBOt
WFw4ghCLhT62DkqEGU98uW/WqEOQQ4JT0WrwGsWo8HTN0/WPWtiuCxNClYBEhQrCCPgTJdGZBliv
jrLJtMmyNc2YhYNOMG+AR4A8/2kJBz2dooAnCgxV1R8gQ0JMy4/Dyizhmo35n58dionLJCA1bPDk
F76lJTtlWIFDL64Xipm6gUKHgeTt0oRljl3KRxzvITVz8HuMT6aJJ74ugeMrwRjH9d1ZOnIY9gJw
zwAfBp4Ol9bUIM8gG96bnqQWoduFBTirJ5owvwkxOpVF4bYtwpUL/K1/LoQYlIkJAW0cZiWxXZdG
29IPWyWT8YkgiL4l4Gp+ibcvtdND+rGCkEZl3wUMwpPb0/39+z11TmyEZtyNAs04u2cqGAB7tpa7
LC7E2W8SFiKTACoE1wNOj8WfeDRQO6EtpBnQiIGgMuuMUmfXl37pLJ2vgnq5CnENFhRMw5lQi3rU
6lOs7tNopUO7aALuBFRAuBfY40sTfT5kYBRSTE+f7vrgccIYVU9X7veSCwHA7D82BKdlBSBSj7gO
Pzn1n4PCP6Wica+vlDkvxY8Dc2ZDuBNck+sWlXyMVBzGw0vj4k1tc5wdvKbxR8LqN+hDtYc3jdUb
JMFPX4UtzQcLVK4MwwuFffran3B99iYGgiIb2jSQm/RDNuB/zqSkoKpCDvPa2ZBGktnOcB7+5XiZ
GgoioJ8AGEW81V2jj8NYEGy2EegbNUhBJ5UVb+Vo7tVWze5MzEw5K6u2sGiomUL8CcA/kKAJi4Y8
PVF6khLPIM9juscLqIBil1ok/32CgXF/MqurY64fJOeXhywb27GvlYggjcEIg5xrhZN26L73De1X
rszSJf1fU2iWXppKc6OuDEPCeW7qx1jvXvRBfSWRwhno0A07hJbs5voiiqpGaELPIyBA0gDh9V3z
vDQZpBQ2o4x4bxyCwTUeVC8o5zipHeOdhWkvO71rGPi0Ntyhbm+/qS60sc16h2bA9V+ydJeRXEFn
HVXfn4NNuWFUQ6rXxLOkg2Q+yPKXhdznuo3F9QUsxcQINzI5USpCIokxdkFBvCqcYhs9sHvoyaM0
Y6CmrN1P8fa6ucVPgsoPet6zNpXIrw3g0qRGPice6OCYgXm0gv7m0/N1I+pSQEXXFHVyDMIAQCh4
djKGuhSNLfFqqPqE/bEHaxbi9vh34Pdyyjq6sSiGI+X7ykSFTt+CsS/1j/nUsHwXSaehSxj6HGyQ
Ajb6/W0QgjwJol7tvbwGPf45lTAfNlwiwE4B+MPU2OVh6wdeNzUfieeHGaDi2ibkxx4PvWCvcsdQ
bBPjGXajWv+wDwSboM+zXug3Ci687jUK1g6NeEoPBWpC+IMEhratj2LjSmfzuzMhevJzU/MJPEug
6h5zAlIMU63dbQb8YaBZPoLPH+UKjCgBRXbK9wNkoC1kAndIAwaW2AGI3yfMLqbsPth+BS67ibAK
LLTs8PDw0NrWP2R5BLAPIDqBPZLFsIkCem6kYBDxosl8QhL0ZNaksv1BlVfu23d69WM5kOxDlgXo
UUgEXi5HCGE2UDla8NGIVOk+YZ2jbEa3YXdoY+0U5y5iXx37TNlNsS9B8gaSCHR9FRe+juHDr9+U
7/fFtV8jvKyUmbK6DPBrUnNkeutY4Pr8I/Vbg2/9/GhmXhw2tmaiZmdhPgfCSoDfQ36l2Y+Fq/cq
WGaHDUiWoLIEWLZ0tLQ9cMtOaR7HZqfFRxrjOZ3YnCcgCH5TwkM2RKxN7pp200igBsbr1zYpk70I
qmZ61ji9CbGHYG+Uo212ax+Llb32rXNac3YQpRiM4NNA4BU6DBuCqBejm9eXc8nvoFWMfvX8pkN9
9tJCkyQl7nhAPTLc8wmcndET1cCA2K6EqKWKDYa2QOo+g4cAwBDuFJoWQRTm2LYa96Zgb+Bkcghy
I/TkGKISaDEszP6ZNg7TCYIV7tcnZZ+fOjO/FRW4a8ufc/ozMuo+JA4qEcyJ7bUGykKFAFowUNGY
1XpMzRReml2lcqKFMfW04Lc8/s6HBoxmv6v8t2VUrk6zlWj5k4wDrvTcnpCVxNVQabyEPUI/5ODW
1zYVBPOa3iMhonZZMbmys57pqWMdo7i3rWHj5/sQSaE5PnA1AQ/NYKeKq40aDiBE4YG6R9U0e2wq
J1XeR8WeoDWYSaysTmn3QrvHxGfGlOwSaW2yYjEszOs2D3EAEyJCOYe2L4LKyKiX7unw7oNTL0Sz
aa/vOoin696w0mtdKpmTc3uiVyKJaYUV7HWgSp2K7NWwXuU2tM07o7AD66Gk8NQgR5gi10weQF/o
G9NKpicKJnznXee/QfRFIYgK5mkEb/Dv5ND280fQjLMIOjOKY1lbTH+o+gMyGFsjmykD0engEvm3
HNWnOoSuk8+U1and+ciILgN9W1AjoV0EILIQJrkcynWU4Ej12H9Pq1ABKj7L0jbNQxrsqnjFfyyM
ocx9drRQkb1DBlEVjnAFiQypCErqQQ1Ca1zj3gD2zAuG98rmWcMm8H8U++s+a6mReG5T7IGjyl76
ZlBg2YGABoXPJrSHneSCvIfdU/aaw0+ADs2BwKWHQWwnW+mN/xxbxLU9+2axHjGaVRM2s31j2PDG
PHblAORlB7U8x2y24djYvLkDUW6WH3XVaYq1wdDZV/7c4/+s+TcS5SwstEMQc6OH/coqD5r0RjWb
yHtZw/xkGK6c8cXzhMwXEmHoD6K7cBkgYj00RurXuNajwsAeZVuNkyIjjclRMu9VrbKTtWbRsis5
symEPRBXg2YVwF1P01x92xPoVWNx0QgG8oGZ/LV8Vvy/18/UUpaP3jueh2AUwlyE8JnUiCswx/bU
iwzZ4fmbDDROkTxdN7K4b6jVgqsY7JUAOVyu5Vi3il7UlHhxnNmRuvP71CG+y/XGltaENb9fzj8O
Cc4IGNNRocOr99KYKXXAqzdwBJj+duJ9vJchi44LyQKmo0sUsCcLcTgECxS6cJMjsQ90wXbmzX1x
0zvvM0bKZ9n+5rlnf1I7RyoHchR0UdTN85/rq7J4wvCWQ+EBC/PjvRxKptrkPRy5EeYe9XGCx+SY
tA5eIZtkHH4ldQUK97frRpciPWRJgDIGHBSIDCEdkZWiRT8cRmmjsTxBNnKTbVsL1GsFchJl5Xm3
eLrOrAl7UfE6iSsDB9qESyzVD139M+K1dv2TFt+QyCcw3gg1U5xj4QyPVpbkqhTC9UsvWduw1Pzo
mn3bPwXBW8p3KWctgH1yhGh0G+depuwGg4D8owAW5CO2bseZKKAFDdVYurVWvvKAb+toW9Jt2e+u
/9aFm4AMAaw/YBsHB8p38fXMgyW6NoU96OG9oBnBnP+u+ydMDrKkv6/jNcKrhVkEwPEAJwc4D60l
S3wpJRYZCyudXRgSfeQl1S4MtxPZjbXOYki95oRNPHESFOk6Nkz4myoogZ+MfuX6L/q1GRsIzjIF
RTZRLzhQJl6VUkc9JXBDwy2KbXZqa9tAYSEENFo5NWvheemYn1sUsgGS6UEch7Nbi/BWDybpPcgT
t/A5Zrw+66R/65GSXN/aNZPCzWr9oo3TESbHJHEnHXk9fxrSuwJTykHau7pkrEzqrRmc//nZWcrw
eVPTDbPBg3/Imugm8f9UwQliDU4edbvrn7fkrWaJRDhWxMQfnUqjVbWmRgXHyyBUItVHhe56iZlA
MYJAl7610kqCtVjbwwT2zKI2D+1958Fnn9fXfQ70BHBqKiAy9DDg1RTsynttA+ZA9kt3K2Ye5p6E
wp4SkCd17KmxJ4Knr5unK1s7nxYhpFCUqCx8NuZbQdhyudJK0I0QHEd9GAfZJcGHWjY7Tigr+jVu
piX/cG5J2NNUKlNwbcBS6v/ics3mt5BCWydNUB2TVrZ08bN06LRieg/BX1zhoAsDqBqHxEPzCRlU
vNFVyLSYha3Ia7Xhb6DTjyX8HtEA/gQtzTlSnO1mUnZTUFURmdEnUbzHIMBE9mbxOTmd9J4MbhKW
TvIMRQb+MSo3UTPa4IEAHKbda8PTaG7VZK0jueSVoKcI6BtqSXDKIjarSqw6lzIUj7MeWrvTc62c
dOqG5q9SyvakuNeC4kXTXq9fo8UNPjMqvN4S9BbMIYfRDj5XGr6AXHR48dViTgT9y5XIOOdVPxYd
ARENV0R8VI4vF12WNDOPoKzhyVGm2mkKBKGUVmucH4vH6MyKcDvaKUrlbipRkFMOY4ZOHLpBHabg
e2h5j2uAiaV3F3hhENdm+U0gPYVg32sgA0ToRhnsjcvOxwQVbx+kO/ENPQUv6QrCaPHTsHS4I3jh
QxPgcgEnpYrTPG5Q1o/fKYcT1z+a5lWV1kAtSxtlIiMDcGaehf6RIJMo1bpsJN5An6LJo3wl1Vw6
dTPC9jsfhuK88B016XyO6QjigYuZGdX7ABIIK3+pIP3TG7+vn/DZRYmHDnM283JhFOfHSHyl9XEc
Y8wNE6HupNasUB/TCT2Yhwbl6zXPvFReA3T0P9ZMoemEfkiqAj9NvLyhe624lQswS8XvtbRX8t8h
SLV8uzbg2cL0GKehU9YKOH6mw5DWLgTZ2ZS8Dg304ps9DV/IkDHfuvP7h7CAgIotge1+QJE7OiZQ
S5H38xjw1BzAO7EH1zntcHFPGBEGOwjLJUyO5DcgsW5HJmUnEkRMHZ3rK7sQgi++VahZgvrZj0B+
QbxGDU8931JTsgGJxyTVESM//Z4ray2npXMJaU7MeaJ0CT8irG6P7BGSV9jLjMR2nMu3VCr31z9q
6YpBuAEDc7jVKKTMH30WGCy/bUfQVBIvKXSddalq2UQDEYCcoaJUBgFZCXra7CB+nE8LjVcoDYDo
U0RDETlMspb7xLt9M5gDrAugmC9zhf/t1+1H7HxAlZu94b8Dhpa0Pdf1dfyxNVO7e77+6Qsjn0jQ
MTOFxxgaz+D1vvz2MOwxba7ip+iDq7UsI05mHpNwZ7Z7edp3Q2L3Hm/A9H2QAXabQrxbNsjdwZLI
1+g7lkDgF48F4bdYNNIChVbUk6qdyaOdVLkmHifjqQC7q7VFvSOP//qaXeN99QUykXGtU71UXbr4
BUIcqZQBQl0jnith+qsgm6Zp910EvjhjQwzW9Q/z7Mf0VaYJy4r9sIbGWHpFYhKfYj4S5UMcSCFD
oW3aSUXHKciwMc9cq5s2mx514G54+hhrd6p/C4X4IP7k2V9De4r7/fg5gYXdQLcxfpej0R5KpmgN
q1VIxSIxVNQ//D17HNZ0mpeedeh9oeWN1pRsAmx5eWpaXYKeVtVQz7fe8I4NMt/pMGpI8/rWGDOb
6gmz4mPG7fBes3K79Hfj5GB+xlHW1mzBPVjgGCDoESN9QuPg8pd0gZJFZa/g4T2BiiQ/pGt6D0vR
HhbwbwYZggUGYOFUhoFWlGYDUVhOty1UaXcSf1CM25lPpnooTZ1VzTFaY4CYd1rwEBdGhYPYt1FT
+blOPSt/MqyPudHFtc3K3V9wQ9ZcDAORFdSUgMq8XDuckq6khYRKgBwDpJyBeV7P9ArohOI5h3uy
u3CINwNAx+j5DvEONI31rRy39MEkksmU0vqH6iqcEeC72FACDgzh7dGoVZ4pHLvJpVul2vr3knFM
UcLPTtc/fSFBQB0QkEaCagDojITlbXgV61WC5U1QFJKR96vJsW12aFkEyObCterD0m6emxM+a1SK
0W+gXgXy+1uu/i6jWwN03P+/TxKupCUlZTuN+KS4RfUfgl/lRqk1plYuuYn/Id/GgDm2SdFmniVZ
ODlU5WnS6oXlZRgnTpQnrUWDUHpr1bUDsTRPeGFJcIk66K2KJM/BjqOWrylmgEYomdb6tvE3pG+O
hcVI9btp8ZRz+BpoedHNQXmIwB2jkgOM3OUFUQqtsdqosjx1q0/bJLlPIR7gt7am3iWKhc7e3mhP
3DqU2pMERt/4WcOg9Zre5+xfRFcwOzjUrVUZZKLCxuqjrkWN0Vheh5l+DkKPyUCbvA7shq5UcxZS
dAANAPY0kDWD0VewlBdqxONJsjCQlDtGcDNmLePxXokeaP9y/bQu3Yj/NfWDjTCHEsJgdYHvZfKh
8UFQgJFxAAOuG1lIbuDXVFQdMa+J2XARVFf4UTxKMQ5PlD5WhpOnttG+KQ0eBNFt0O9TIBGifZ/9
IhIgO5VrgRex3QL/xqUdWYGM/NxFlDgUZFn4CwKJWOhIAbTjnYkbk5bye6FUbwC5QI2G9JtUa9Ye
3Qt1BUx4Y/4Xxc5ZZ/i7sHWW0cqVAsRlr2AnFcMGu1RZz0VXAyk6jUp7TDcy00v3+mr/3FLYxKgN
XpDQN1a/MZpnNvsEtf6Bx77HkRkGfNNCGrZfgQctf9iZESHcN1wd5YiGvtekf+P4ZG3ynIEw04Sc
8aekyU4+rb2Lf4YKaClA1QbMEWhaUHEpMUg/yj5aKF6oAYLrvxeR6dWBvu3CP2l+A1zKf7+K866B
/glwwh8ULJ1ehiB9iC1PxpzmOB2qvVzFa03U+c106VLwTWdGBKfaaGBBqLXQ8nSjdRXtpoBKA7Ew
+qVu8/hhsF5N/88olSt3fiGTglnECxMKyShmik2SHPG4SSbcgT73CjU++BB1gyYGq/ftDBMimz7s
tnUQOasY5IWnxaVpIWBZWcEtKtWWV6ONOSTPDwP06naDA0UoP97mDv1jcRAHdBtSuJLxdH1P/48P
RxkZwAB8t+iHiA4RgDSc11vJW5b3XzEQTbeaussnRLMJxU5bC4LnZtJXTtMCMQKqVAogoTqYARGp
haqLaZS8jnIED8jHnJ5AUASs8yexTajeSPaAjiRE7tyA/ZoY/i9K2Nv65IxHywHWCmqJgLhvri/F
0m06/z3C/Y2rTINONn6P+Wz0oP8MbNV0OxQ/FfVdX+XDmb9OPOc6GKvBUQ9ABvLcy/gdRICfmZTj
MlHoLER4EEXGtpLfet/a1HUI2eKNr8NZKdSuffSjoMur3ZJhwvPOaGyIQ8vtH7nekBS1I9BdNluy
Rlswn7ufvxCUyJjLhSiFPIeNM6dJFS0JzHCyPChh34dSCGnjOjhdX/OfYR1nQIP3BVc/oMGiQmWh
pLzpRwQDC9TSDZg+4uHUFJCixdt2leh4cYPRWZx7NJiGJELKhIH/gkKBBhet0exE2eNFGABQS2nB
GjVnMea5NelOTraRNDBJHWxqbotywshU4jaUMJ0+BRBdvr4CC8EXU2eaBVokDIMCxnq5ynpahzqJ
fIRDwNyMo4/CmgLli4avXLc1O8KzolXrZqpkJFBSq982Ub7DmOBBx9MtXpnbWDMkPCiiOgT9bA1D
4+AaFuPZNgztNazN4tk8WzUhHYyUIiutBrHW7JLfNEyA8YE+y/WdWQzoZ1tjCOU9HU8WkOTjSybf
9oGy07cBzs3zJ4mdoL0fyea6vQWaBlwGiiEE/AUpoYgfMkgsp8qY+V7CpEcZwMfwaXBmcMYTKNA5
qmxka4Ih7IYcvA5ENdetL91EMNbNU0062FG+wVVntz3VB33G6fkeMUKWI/fD1KiWv8oNsMrdypjY
Ujp2bkvwtJifV6Quy5GO9Vui/6qyh8pYMbF012f+O4J8D3gCETgfNX7qoxPie5CsJ6ACjhXWDkdf
2yvawVzbufm0iZ4SwyqwhM4LxLqF02hWOYahpgawsky+QXJiY3LFkULpy0QhvKbqjdp/1v3Ki2jF
qEgRyyHpXZpj6XvtmAO1jLKodaxlvPzAjs2nFBPQBBhzNVxLOhftQvgQ9WHQmWMe6NJh+bgSRVLX
PgBE+oGXuOBsGm1fcZqDsfa+XDwoZ7aEINnqeZnFMhY2yP+WyRPV/1TSvySc6O/+53sEB5z5TSDp
Mb7HMAHrPaj72oX20jD+ipNbkE8WgbHi8RfqBnj2nVkUXLGmcdCCqrBo+sNdx291YFtkGqCbchsU
pxI1ZVDsmsrN0GebWg131y/6QiF5Ng8GMPCAz3AT4bQWmVlOYwbzFJ0oppjumH2Uym8teLDKRyXb
WVxjssbS5JCMmpP/Q8Q/s/7tdM/8zDTNKJCS+0AjKawCyMgYyI70TgYNYHMl5i1FCbDt4z8gq0Ce
JRzVuNbzRAnw7ENrCwoG4fb6Si7eBMzAY4IQEvPALF3ehBGOwGgNuLEI2ZxNeOMMkUHsovO3XecO
b7ywIfO0YnSh8IPtm//VGPHAkogJQ9NXFi0zBacn4nYBLlHgo6TdMDkpRKP06o3TTRnaUfArwmTZ
Ji7sqnptlVXJ0MW1PfsZwiGW0WNOzB4/I2k1aDix1nycSjdwx42xHRww3fnAnoDqr8KqSCtnaMm5
E0y2oVih0zmTu1z4hkbBUERw7mO848k7tK2AMWZlWrNGsQtjjalj8cZ8qxCRORdGze/SXhwSsMvL
2GhAN+zBzJ47fV9Ztu6bdpHfcB7ZMlh6azlxS/RiZBBrtv8QzuYhdxXjlyBdFqHNeTnGsjTB2WNo
0lbijVVuMZriV46q3tByJbIsed1zY0KeTNWu7Q1lNjY9zxNc9S1kwv7FCZ4bUS/XlKbTGGQSXDvS
Db+unUT9lWog41ZeIz+zlT7YZRgwZm0/bcrcyYd07R7NmyYGbRwerKcMWRZwb17+AL/VmjTMiO/F
qF2mug0AjoMZCKCWUHDLjrzbtOkHLW/zCDJG0YZIL/+99zizL8ZvcIliUjI1fYhhummDx+aQnip7
lDel0T3KePxHq7MYS3cW8AZcHWC1gNkWNnaU41jqVAv3pje3WeIZ6udUv9b+US7Sra/3cF3Egdye
wj+qIHZBzXlrWquV69mKuPDIcZE6gJoCFQAh4Kpc5iU4ryW4TUyCjI9hu6cVSMdAOhhwUEsOHSPg
C6i02CsK5fH6qi/MZsw9ARDiQGwRRD+mEBNU2lcNfLrkxTez2uKwAZc2yi3YAOhheMmW7iNXyly1
3+R2tVt7tyy9KShSDRSwMY6Ad6+wBWHbN3Wi6tJ87M00ccJok+mnzk3uLAzQub56v/K9C/U0GAS5
LKYBLQjvCb5y8EmWJqkqeQ2RbV5JLiAu7QhF+oZRf0vKv7LV29rq7VrY5AuzwitQyRS9xO5JXpE+
Dsq92oLUmFAgIxlYLjagsUTe2jh1uMYcv7zAAK4BP6yAh0QsZithFGpT2SLmg1FXiRjmpLLJ5RTo
ccaPrQ7W1TUWv/nACgcaEkIQXQE8aZYeEVxZhKs20BomRwnc5dDGCqHrERhHsE/sr+/mQuCjyNlA
hgAyeRNs7Zc+ixdtb8YSgm5X0D1FlYJGxyyjO2pGtqK9EjCJXje4eF1mahxwk2BgQBO7nmU8NNWo
q3DTEtogaCyBfg4DSoO5j2iGMbIH6K3bEGtwlQI8eAQUzsC16ajgIKt2YvUtDx7V4FlbywCWcmiQ
eM6EukC2zwRylysRBkakankseV0KpSrJNXL8eRNrcFx48yk5a8Z2GzRbNevdqliDg8yXRtzxc+vC
PhhKELRNG0oe8aeMNQ3gRYZnlqzqDBClrUExF3cdDBI6+iVAq4td/iitVQjHlLAGKdAwxrHO2t2o
RUgzMKGQltBFUlbr8AuxAiNsIA5AZ2EumAlPr5y3Uov9lID3gIKeqrZOfmfxTeHf5X7JMCYBKlvU
zUIwqBZHtbrLs2MxrITIxQ83Z3JMEwMgULS63GQt6dNWinLJG8wtrfiGVJFD0DLGba61PxDrWjnt
C4kPiDggawkqToj06EJK0Jjg/x5Q8YF2syk7VokGTiQpudORYo1AZdFPKVhciJXjHqPMdPltfJD9
IAka2EKtwsZZ3kmhPOw7wK8cmha3gYWZ/SQtjENfhKMdKuZaIF5cXfQ68HRBAxcNsstfII1hOrah
LHk+Tq6VomoQomV1bMEYE/P3MH1dcSVLkQjWFCgNYboVbc9Le5PVj4OfYTeb7OjHidP81U3b4MYd
FB+IkTA8v+W1buPSRT23KexoAvqoVlNgM6uZOZWsdFvMcqQfvn3945bWElLRM4E1Gsa6+G193XVc
MizJq03/Pa+KTZmCMhPUR+kvDG/oPFhp2S7ZQzMcnXe8PRHshKdnkShqmyXYu5bYMY+20l2zVVrV
lqunIdtd/7YlT3BuSzgnSRTJfjGfk36YWNQCcb/mTpcC6LkF4Z5XOSc5L0fJewm56pp2E0muBLDo
9e+Y91p02gBLIFqgwIlKnXDjzNrkSmYh9TIr83agu2B4ov6+rMA/r1QIIG74cN3g4mcBhTbzv6PB
9g21PCt1GHoRNzNowcsnSFJJls19CMFo8lZek/9ZclxoqGP0AmUODQpol1erapVSzTMkeaXx0ps3
OXkL1yYhFyPuuQ3hKlUpTmONwq3ng7/ad5uXie5IYmMJc0acSPuyvuhaS27lu4hwzAfKU3/qYNNS
/6btX2rdld379U1adMRn3yW6QVOTUEgxcbw1+CA5PSogQNY82d+hXlx/Ba9TvcasunShMDIL4DDw
ZJgpFVJyq+p51FI5uCNpLzuTZoxsyvM1RoylvjLyX2DaDRQMoBUrRPAs8tWgLkuAc5yKhTY6jKAn
I27pvj+X4LmUd2sWl877ucH5n5+d96rxS1/RAGmpcgv8zG5nfXS1AnZ3a+ViLX4a+F6AC0bVHZgg
YQVpGXJKIxOtWqt1EkxZRdPv6oCph7wHiL48JPVtaG0mBJlRQQXevzHj92w6rZycpeBy/iuEW2cU
oTVJIQEEK/tqQdNw4G+19YznBzDvAwMdugzdEGcovCGyffUGv0Rqb6ZkDfG6tOwzCSJUfkwVAEXh
YqYyeMV7dfA9sAixMgEMNL6tJot1CV/xoEuFMBSh/mNKDDtmMNEspRMgLtAXpaAiAy7hkJvxDmOs
d73VoRx1SnIwiVPl1tBPdbuCsVm6ORCImLl+Zt0m8THbxGVj5DneP418O0ohqCRWvMHCluJiziiz
GWOGAHt5hDuTFIROeXDXWKAbiwI4BMS85FdY4UnXrCaBC1tn4RmHYVdwwCOxF8ylpdIErZaGd9lf
/YBh6zuQZBwyN7kdThim8B8DENbGmAzeXD+584m4iISQOJ11NgAckkGVJXYAgjGNtep/ODuv3siB
ZEv/IgL05pVkGbkqSd2tNi9EW3rv+evvR+3uXRWLKGLmYQaDEdBRmcyMDHPinM4IztDBD4o7ow7U
Gj0QWwsfC2Nf9hvRyoa9dxf80TGMU9Y3OfakMEPK8kcgJ7Ywnq36DQVEt8ruq+j59gqvvuMs4kpx
j/VZGnD1xdVspcbPe0/1z12d7MpMPVb9IYlfSkv94gnubVtXH3G2BW4IVNTMBracTkrL4v/aAoUF
VOZQQjvWGMJhEzOyZWjh0M0hbf0oNv1z6z2XvQLPJUrFqWyXW4QEq4ZItziQMw55SRxtUqGqyBj8
89ApbsSMkKk+R5N1l8u/bm/dtUOZ944roPI+IfOnzRf+w8lIIhHq3T4IzhA0VT2yk9HoUuRw1TS/
H5TwIUnAtsFFwCgPZ0TMf2yude1sfvwFi02dWQDydoiDM/iLwYvvhO6+1hEDVFM3rtEeTFJX8v/e
Xvba/s6qkxIpJt2LZePIUIo6Uaw0OIskl7BKqD3kUd7dZm9z3Y4BuT6APe7C/PcPu9vVDF1rQxGc
1eQo+n9n4hXIK4L/mPqXj0h6/r9mFl4sKhmV1RvMdP64K0LU9GKY0eLaqUt4WLYO53XANpub4cZA
FShlL+9bUaIJTRaGuWZ0JHzY9yjsbS84+Wa3076Mwrc4kjbu+DVMbjaKih65AynsFYI0G8eySUY8
NWxhB+HYv0SPwV1Qn5SDvtVam33T0jubukmJfhYGoUJ++dXKoumGQOoD2IYZUnn0uQhPXvhFkA/B
1kG05pznytZ8NuA4mSG5i0/nC5rZjU0XnB++/TDsenc+S/bZsv/s9+e7PbNf5/3Zft29IsFgv75G
7v7vZ4gOHcJJ9/Pf3fPnH8+nr3+hJLQfYdS5PznfT7vnyTkFuz//Xt6su5eH0Tkadmvfw3/7/fjp
5Q8s8y/Opxdnd7/xgdYc/lxH+X8LWTj8JGfwz5gX4p/U58aujqo9bRVM5o2/tVmzK/lwnWJlCpUu
H7DhR8Q+eqsT6PlbQcF7EHVthqeZuB2A+HKEF4pEvYqhIz1LWmTr+c9ODe0gBn03/kYdelJDR06H
Q1fsqMuV/bGZKgcGUUeMP1f6a4YATy/kDIQpLpivw23HNTvDWz9tcTQZgQFvJVQ4rnukk35uQDFW
9xfuTtJlFc+4LPfpwpCEkTQF5xjCvjhhun8jYl8zwNgqorJzgMeLffkB2z5Wuz63uFmJhmsvcVXB
WJXu7U1a8bqz5CeRAKI7xKiLpFXPY+DtnklQ92o/a468EYSvnY+Lf39Zj/FC6nnN/O8zdToFKTT/
0s5ozjQMbOP4tzA+m5Krh29CmkD1bQ+qW4x2XNyJ0r8gSYga/guoKB2zj0uWLze2a1qtNEc2tutS
9WwWmnSneP3GtPma46cHQSeC9cERYC2sBF3WhTS5eKrjgOEhKAKPiMdGygsC2bFN1rU1TX8NUZ7X
9cHiomTUG4qRSB4Wp9/Ake3Ppvv51/k5dmKndr4JzMCS5tnN/dfH77vB2f0xnXv751EZNm7d9ezl
4mcsrh1EJk0cKF5wVuJH0USrghHMiULm3G8qEx1s+JM6Rm5itLbRmg+SEhwGpCykB8H800i5o42/
Cvl74H/uBwY1D13kthpUXUHo4CXwQBvB98oDdrFri2sWpX3f+brAAS3hHhTdCChhC1uHlXzNk5IZ
8nx3+8atOP8Lg4s4J079WkxV9ocW33NgeW4tPlhe4Ar5xhFcCRYxhB45HSeYMZasdkpfy2HQxkjF
id/LDkhm5ioSfHK1mypIoWnftenb7aW99ysXLneOOJjMIeVl9GnhTVS9yqIqT8KzUn2TTDy71KCH
HcgHWYAo3LPuoCfbWcJwp4dfVEFw2uZ5kgEG9VvcTCvOkzEviUGvuSkE8OjyjtdhJda5z9oHQwqg
kRyhjEyL/5jhZT7qH6wszk6TiWPWIG117qIf6iHSDm3w1mQ7KLNv7+val4RKAmvMsUBbs4gXwpac
pGnH6NxMTHmdcv/e6zKIM7tfWRrYFvOmDnnPbZtr9+KjzUX84OleKKQCNi3iR4Zed+rOb5/yQHMQ
ZfjPTYGwZTYPQUBGoecb8yFU0csxJEPMo7PUON2sOb4DqVmqz17zJGyWhVbdpCZTx4BFi66svlhY
13USRAUN1lJxJyDh2EVzb7D/LBQHz5eewg7tVZR09Rch2JdgLComo6zw8xCx5X1/Kru/vaD8Tn+p
j3XtVMNPFH7L8GtLo3Eg+Inqu0A/GvDeNHeR/CNSt+h31vwHIEH2i6ib1GHhP0J9aichKqNzODUH
GmEA2fT0MZXgqtzq4K/dIih1JI4cc/Qgjy4/jNeEcSJYSXSWwz8UmKOtMv3audZp2YIQfC+TLf79
ugxHzYr5FBaBqdBNd9H0VCaPaA/ZYBL7BgmK5j/WnuQWUU5i2J7+NAHP4l2OjBp2L+SdzpnOyJDS
2VF0T2F04/as7twHK4u3WCUjoifUs3N6ZNlpY/6hUr8l9re6fR+MLJwcm5bpktVGZzH/N6RPmuVK
2ZtoHgM9ts38e7Q1fb0WK0J9/A7nAPb/np99uKdSr4yEc2yd5LtB/JiIkW2oMB9lW5y0a0f8o6HF
wppBqxGaxJBsfBK1eicZvP/n0Kj3mere9j2rpmhDETfNJdQlVpEp4SEUpprb1FSu3L1aLY1ewbGq
t0j4e9vUWloOHxjgPWXWFKf8fXmdREj8UOwkV5J97Tkds6NZifasBeTF4y72JlfRIDZ2TOFLGG7h
uFe+HbYNcjRigpki9NK2mqh9IsjY7pTXojhmCA3g0rcUwld288LKwjfp/iBYVPKDc2tKuV2APNWj
RwXB6mHSX2P1bmND5x+9CDcgsgHVTy+b4bSlSNkoh2pCZT08t5EsPnhxUrpiYkByX2TtzheTZKf1
/XQYpBIy3cLwHow6jJ4C3fD2jFZltDnz/G3syTwbow03TtbK7UQkieI/PnrOrxaOBnk3ySMUJvyy
/EMN0QVl9T+NmtpDyii44rlS3fxATv3n7U1Z25N3qiYe7xlGvvwEAnrm6sBj2g/F5zhOP2UQwinK
VhS7lt9AhD4zzs3QLmVZJtfk2m8iI07OkPOMB6j1S7udIjRH/ZMAiEBufAK+3Eb1qCXyLLaUb1eW
iewhd+j/UG0tX8FOkZW0TLvkXMF1Hw+O/n1CsPr2Vl53kfVZW/H/G1m8T/FkGEJjtcm5H+1yhOZd
FWw4R0s7+pm7cIftg91tiyv3B4NM2DJrCT3jspoSiVnoeczDnKvKjHccFvGpNiULyFwWfDOkunz2
1XSLW3RplPIk6MOZahvwCY/jwi0FuuilIbQX517uwPEeDP+kAUIrdeMQKRtVk6sa+myM8RUImxim
n6Gll35IEQJ9ahSM+eL3ooX7WhJsuUDRHnYb82wZbid9bxGoSkXbMyQn1jeacstzM9vXUP7QIQVS
ZYo3l/YH3bOGrPKSs+IlNtXsAZhIrP03Rmb2FT4jZPJL8EZK88OKQYyfK622de3rUDW2sCm4urqU
D1YWr6Q/IWchxmF6Hunf9OxfPnN3QNx9+0xeJXXzlvEfoOdz8sHnW2yZ2tdR30jJOY6lfW0iNhhk
XxhwUr2jdG9IB1HL7qTU3KtCg1JIDeMdUtRbV3GZjrz/CFgPwRXODKJLNLgkVULXmmwpCEbTbTwX
li2ncUC/28L9pz9//qXnHmTH7aWv3YxZSYHwdKacWHaQaav6qZlwWPImeIVpjkIn59PbS8kuF7cQ
P6tXY1bPIW+meM9zdrnPRiwHolLNS5xQ6ijcjvCKot/cJE8oStTxcBdag12Sk0xILBTBvxSe4/9i
xTJp88xcAlRr8RsQY/HKCk2cs8gb4pg9z6pPeLQbDWaPvaL27CQfwuNto1dTQnxc1DRI/KjqM1m8
bJLABDF5vYlVDTYWwfuRT0d5yL8nsmP1cHvA+t+7MHoq1i9RS117bFDNoMWtaBsVk6vvPbfRAT/N
kpAmOdb89w8BrtjmXhKAVX0xFUHciZ7o6CiGOtM4+RSoNIgw87Q+3F78fEs/xjCQOROSgV7ltaZU
8z5n+8GmoAXCECtW+JI3Y+DWgSyBq5enjYfl+nDNZuDe471UoP1YwnjUaibkUjEDcUvT/22K0lFG
aZ814V4voCnov5bNQxB2sGOewvLUJM2GT7yqBL8v9MMvWHpeEG1a35jhi57AVJO4wvjQxY+aWnyn
G9Z2kk17MRlS9IZ+Dww1MNd73xaQnel2Iz8J3pHxGmXrN81p2MXmv5cdeGmJzwzQ2YvjXkwQzKct
H7xPpfwuzKP+ECeSdK94DGiXfqXYU1RLgFqlBl5vTX+Ki7xxmzqU9yLKqM9qYM6zuk3T30+NNNlW
7CWOUCCKKfJ4u0XavAWa+ktoUYcvrTDaBQHFsNsHaBnZzwQ1/H76izgNTV5+WcRgy2TUk+aplbx2
l6mi7na8QIdoiJCNQEP27ra9q9v6bhBAGG6YUSTOzeUt0aYgEISmbJ4C2ldZ+mo2rzLRUVe9dtVg
G92PqpfuhKw/eF/ruz54aLVfuK8pMDYepve60MevN/8QeEAg45DopeE7Ln+Ib3WZ2ed184S0x50v
3Tf9V2R/UP4uA8f3w51aQunnPVgd2twC+irdsx/svOek/eVr3b7wnzJVP+bVd2YPA/4Pnzmerj6P
b7ogHfotws+rgfn3X4v2Jz+GTAUuoctfO4TU7JpkaJ4o6dwPuW21KtTJhj0miCw2n/24RVv3r87Q
CeXheyWbdnWjuWhvpPpdX9yn1UyyfgpqzclgldWsT9o4zJymG/CX94x3uavMKrwDtAjslxo4YlU1
ML4m7VNipMVkV71WvGTSLMorT0ELhsoXQ9VNKj2x7NY3ggd5TELPLgdE3cWQTrfJyCy0hWolh5/L
Ahi1rbeqeR+V3pDt2rSSTlHcMuNZelEGKkow099T5ANfL/w2+l2WWu/Dk10VTwMJxY8grkSKt3IV
Da6aNea0z5RYASEwpVtkbMsYY/5CKvUuXntmcpihvPxCqhpCO6VRdaxhLy280NW6f5n0owlGyEQe
za1JieVr824OLhWVGU3mct9d9gfPL01jq/sG5oBreSUn1d3bfOvbt/VqTXCc8xAyngeqF0exCBJ1
aYCKOsiFJz/0ntLE4/RV94Y2PcTCkxo35E6e9PW2ySuHhEk6ihLRJ7QQCGVdbmMw+UpFR1d40qN7
er13ffM0kCKG6pfbdpYvJ2+1wgeZV2aAdFiK6Umt33UxJ+cUO7a54Vuu10A9iJkw4jGcKhn85Rra
wSoNfSQTEqbKTszqWJX36ELtumLcCH6WUfz8LH+0tGiQpkWfVXWi+6fJnBxZmERb6Js/QmNu9Lmu
TtvCzsL9JHXZ+XSKsKO2jwSabpH5D5qfMgoc/U6qrfbB/HJeeBEcHEHkTPZHdAdb1eUGjoUaG37B
BhaPBDNPg+fCraJ9ITfopP3tc3B9xC9NzX//cI86JVfaoMVUkHj3/atS7rz2KU5/EOERPWwc7i1j
i4hBkHJDpW3JNmbhvYnYCFz4dpFqDFWDBasnGxLT28tb+XAfd3JZodT9doKMDYtq+imM6ZCYnjtB
f8DwbeD/u21r5dhf2Focxk5vBTUuLP8kAswIe0ftHjMyjVHfSKxWDv2FncVhHMLa6NQEO1P+HXQA
zNfyXio2zsVV+YardWFl4YiIpQc4FbDSC19D3fzaeelb5skP8ufkpVRdwQ9f5YwZOG1qUUDcmEu/
9k6XxheOd8oLS6kkj1NpfLH6v2P6H+Yq74ubgb+M9hG5vlM2fjj1eu55fToJ/imxoG4YJC381Opy
7/hSVey7sshPZTtsVZHXvhukAqAagFvCW7pwi10qTGMfNsGpT8TejkC236fGmPEki1um1hwI5ZM5
uKOCQrfr8lbrehWSFNTBqVHLSNjBTUE0m9cpuF+SqeekTv0KfskyHw7lVLY7T/S7LQ7BleswZ0sI
ODP4pjJ6f/kb0gTX4o9hfPL7PvymhBZ4/dbrd9LQCM5YVPVGI/SqqMpHRZ7XAr7H1A+9h8WicyOx
psFq4tPQIbsne3A/UtpEH9Gv+l08xYfI85xWD08ypGu3r/66bUB1THkQKYA6ulxsWY+qNmlSfILf
OHmLrFw8jEqJ+pulxM4A+huuCEnYlZbwrZH63i3L3N94C1ecK2E81Uiq5iiZLHtzjVFEsjAo8Sm3
ujLdD9Okfaq7ChyQaQV5uQ90VUwcJSuz0PXCONia4FmzzzOJhgg/g8nKxfduDC8T9GyKTuKooNkW
lclBa+vuiyj7DKGQnz+IgdAcDD2Vt8ZsVo4awy/0dOeIG0Ktxc0qJ3GU4rZN4YiX/HMOg9vBairP
zXJz31Wlerj9tdfMkfVyueA2gIB8cdDGqJVroyqzkz9lsJGRzuZp65S4YuaLtvRZryqIHGtmKNEi
5fvM45Tzvn/wVVknmlUfTPlJbkzX8Fu7T/Q7LwyPsfyU+pMDrVAvmHYr6U4qCWeVXnOdKg+tsfUk
rHxgpDOYLpolTsiRFrsc10ETqHpZnEoqTIUBqUCQH6zYvC+qoXWiqH2VhXB3e6uv2n6s/p3FAvaX
meJ9WUWM5spALbflqcrNY+f/FMqXMv1qeGcLWV8QA1rUHMPxky9vsfCveGvw8Ab1bpkvDQvq5bab
Y87YuZSVJ0nN/jWGv4u0nsnSKNl4aNfsgKSYOxYwNQG4ubTTx17ceaZVnOIYD6kmqW7rb16i6Rt2
5n9nEVNSbZg5QbgiCqO5l3YiGs5ozeblaazDXVoxSU5dTuvDvZp8VrSNeHnl/TapcDDrjKYwgIH5
Bn04s37YegLz1JTC/DR/kYQsO/gwYG4EQmtLovxnzTefichlDpODcvcMK6xOheLAwHw0R+lQRv5T
V3/pxS2E4Mo95ATOMts8p/MzvlgTB1WwegvZPHTY29oWGIu/H1tywOasHdKdXvzwpscM6dfU+BFZ
W8fxeq1kg5Ag0GKar8JyfEIU+3zUlag4JR0z1P4PUfGpQd7xGLhWqNi3b93157s0tnjN2jgXxriI
i1PWoPxSAfHfIh66mutjIGnmQuXFhISXL7gwIVRhkxqdGZ+Qh9vn99IDPEt/tWPt5EAuQZ53Nsrb
5Va3bv5Gl5dgtko/QmWCjtx34bljU+8RtMCqJCa7AQqpmKGvqPYeU6N4ub2H1/f60tQifm4RtZyV
CGPI8+oodE3jNU620ExbNhZhslBFQgWlaMIwZMZMfVeECZz+qenqedO83V7PygG82LrFB6OV06eF
aMWn1C/tKb8rEw6g+SAquTOZGxxYW7YWV41yu5aFBp9JfMn1vTa8Nb8Q23WSdGugciXLufxK8y/5
4Kg0oBVFlGKJycZ8cgb4XKyE+uKoBJ+CoHIL4VMaPfY0sX0gar20FTStrpRXFYgpYEtFWXxBq/Ha
gOYDB7LPnMyvvkZ1vxfHwE58kv78y+1veJ0WUM7iNePcUV5gSPRytY0xTvogxskpKdH/fGqLgxq7
jXYU4ievflHFP7fNre7uR3uLfN9I5HxMNexBc2qLu8w9v/4u7GmXwri0YWpOrpc3+4MpdRGcyFOd
WFXMEFnj78T8IQ3+DQ1yrqMDyTWz0Yx0NrZFebgYug3Ta5+QIiG4uPkDMt12ualxNZrKpIDArwbB
DW1fPZkmNc/sd7w1+7/qND+aWtyLIC4NtcoxNUxfJyYCJNR45W7v5WjDH/N4PCiG6089jMYFzDyl
E3p7vR7sGrXm29t9pWI4u++Pv2RxbwJPnVpNz/E8d+Wp33UuFI+N2+/a1+wMROu7/9Q/Nzt4xZHz
iwvbyQYHFP/tH7F6mj9s/OI0I+9T+ij4JifV/8b7MX2D4Q26qfZz+lvMNgoSW7YWJ9lLiM56s0hO
hn/IgoJhEuAs+7K00z9wzGrdFpvJdZ9o3uB5LAikB7NhS/awmVrFk4w2OU3CftrXzB8Iv1Kwgul0
lKZXof2j3HfTU6ij85u6U7Ub272+VYZcyWrxSOSSgKG0uSi9qGjVCMmPkc4OpyW8NYfhIf3GEGpK
v+LPNNj+Vk1/3R7uCeUpvBS36fIqVYIQp0aTpMhTVIpkk+wPvp1FyEg4ftRJc6HJKBu6ZG3+L6Xr
gQKXKILiLSuj/C+eOyZPCBvnlPpqoLKOhqERSw64ptZ7MT3K3OkxeUjz85AMGwd57Rn/aGtxmUox
opWBtzvRLPLrL4nwLFgbjan5LizdI7UG0AFz1MEnvdzZWNGLtq3xxFbcu2iPU35wAxOqNJjZhu9m
tFWAWrMHWSr7BwUfNJaLQEtvRHXKujI5edOTP8tu/tX1O797GPUfvXW87QdWnxnkPgyo1RWg6cvE
NAxCMx9FAWP12xjZKVre0JdF3QCttWSLwM583RFKbSdPv8etUuXaSiFZVOj5wedNWfxyZ3OlysKg
i9OTIEJ+ngZPgr9PDeQk29gRzB1K2rdXu2ZvThaBPBA2aEssT+UrSjhIA0PUoXivCQ9gexzPe/VV
18jgnWlh7bltcM31wT403wO2Fv2RywWqSSeWbaqmPOKFHtmN9/J3DPjfb3792Ve2MDRryzNnYQ7O
DvnjciR2MNoJvhQrxe95tg9hj+5D85E5WkilI/uUB95GqnoFreDbUf9Eex6OSkYxl0N8RuKDj6qF
7DRNwCsoULa5chrLL0r70CifO6t/SUzvqVfsQlN2zKw48qNPMxx0YTF1DD5r7hT+FsL79uvtfX+H
LC3uLPMczB+BgJ05HBZ31vKLyfO9JD+ZWXQXdtpD1ZS/FKv4owF+hlSy58BpzLKrtXgoBdmpSEQD
2w8IXyU133uV7ojV9CxEB2rcG79tJehRDbBWFILgwOKiXx4KRa96RR+E/GTofwdvPE9yZJvoU+ST
6wuvGXQs1Ys+xW7bBfbgHVWzdQSqz0J3N3kIflD/vv2DZnvLvUJZia6pBhKT/br8PVFaqZ7Q++nJ
Mz1HUxmNVY3sKewj2S38T7dtra79g62Fu666TNS9SZ1jAVdoDzRCnZKNrxM3NbZ4rbfWtbh8qR8m
JuVMngYl2CkMAsufBLHZZ/1Gtrr29HL8GXgDHkgRdTnYE1EzMnMLN1b1yO/EagGQIkfvEl6dWHTa
WHSDRNlPjNoZ6dac/8r7h20UQAFI0i5YdgpgTxijtAvTk99WTh4ad/FYfbE2WcGuYFzzTTdFutLU
byw4tBauWoo7wai9Oj0pANmretiJYf/Y+p9a41fiW26j25Ouur0XHv26/6mqX5JNacH5zi7PKcxx
4oz9ZizZWCQLZVsp0+RluDddTRzZzFE8tPS/tw/o2oNI43hmkAbbowNHubwNAGXiQKtYaJj9MxP/
Lg3SnTbof8ZsuNfAuhqh4Wh+9qj12pMpunU7uLd/wdqx5UHkUQQOqF5R0cpFp6llUqZM22GtAauD
wJLPzFDtjxv+e+3wcGaha5iHhWk1Xa5VzhQ+Vt/M4B5Rss3WEuBYtuSd5I1bpfhVU++vBPrRlI+W
4TDTKTpDobOpbDf4qM+Odf0YUjTYcK/rhuYviKQwLLOLNZHJlk1o9Hw/RYUp+UvYg02ON/pla0YY
2gGwyQA+VJiLjFlhei/NLQIJAc7RXWfIf/oqF2290bfQW2uHnm6yTJkbDDTo9ctP5KV5IRYeEUQl
9BSLXvJw2NiwlRhFm281g/giWmhLKWOt60xrKPPsVE1d7t2nQ0MfxqN5cyiEsfHuAkEhVxa80Ypc
gQ7igYdKTHe3D/3KhlKJpl2B0NXcBFzcOlisxypougyE1qtqUtVsbQup4ttG1qICiCBpW0tg9yxK
R5ebmeZJYOq0D09h6n61dp39FxJt5/n05euO2X/7rbWhkth4Xddq3x+NLqsrVmGmapRiNK4rFz58
NEgG9JHGvN5V0V1jOUMHF9nOU49F/FaF9wKExbfXvRIXQskik4UCL5bF5eZ2ecIkkxJnJxBt+t4I
A29XMaoD6TOTWKZS7Csd6bZJKbYK72uvBgAphjjngSBg1ovLmIZDLgf814mXq/hZik1/p+eD6qCL
0N+FjTmfKCk6FGM4MCZd6k5vgSQIpSh9YcJQcBIlq/f/+WbQZzU4ZXg+ftjlGRhQbUwKlEVOpRCb
D1VuSbuauOheLkrx3i8tf1f1xehqaiC+3ra8dsYZGlJm5SL6zPL89w/1UjEYO1ios+IkaNPeK7pj
FjljKR5uW1mJsOgazZgrNpzsceGaRCuYhmbK81Pr7cryp9wdv/bav81y6JoZJgVAEeJoKbIsvixd
26HOxYptLGK+YhIROg7iXT8p57ybNJcixNbQ+4qjoodElDOnN7iKxe2d0mBIszgv0ENS7qWMMWqI
vRLjKVckV0uO3UFE0+f2Zq5d3o82l8jMrFAaiIbo2zb9J9N/CsUfnfnaJuJdSlUuUc4qItK1/DwB
TE2zz5WfH4qtOvvKCzC3zua5IfjTeQIuj40leULF3HBBXjU5wvCjzrfiV5l/YRFYIRICoQANauKN
5RsjAqmJs7KnOR0fpWgngsovSBp3XffWJ2/S2Np+8jmJd1taoCuRDtBxYgGqVvj+5RRlN+qD5ylk
j20i17tUbX4qyKQ4sRGKdlqYhXv7Y66dH1ht5pEzKs1EPZcbKQpx3qbjmBNYtVNp66FY2D6cvS9S
R/+ns+7KWEfXqItKBJEFcSPWWnHCBK3EdeDgYQpfzp/lFLaNKBRoQlqAw+vAQTcpTvaVcuyFbHbF
GyMGK8eGSWbiICZK0Btd4joUb4w7pajoQ7Zfpbaxoy1lrZUFUV2V5il9hjsAgl1uZ5QARulAm50i
Ra2O/gjBeq4N43OtJPHJymVQU4Lsw0juGxstrhVHOleqEEI06URezQH0ytDXZjUVJ6jyqFdZzWPX
jsdo+i9aufgapjDBq4A5Ww44gKZvpX6MaftPgxP4uu0ru9tHci3bACYBXJWW0tydXrxGkGmkuWwB
0fAz4d7EyXRT45SGa3qV7Xf5a2DUsPYYnduXpu01yb5Jt4Tq1w6KTHaHErgE8mg5tzvqqo9ENmAN
Lw5po32u27+3F7llYJHzd7U5MYOVlKc6exjEr0PubXnp+agtHBiA7xniwz4S5CySU60QAiX1+FBZ
ss8QoL2D3EZ18/oo7xnbkkrb3OqfrDx/BqEU4RQFMJBTC4tZUKZROPrlKZ3JqgPxyYCtXd3lCkS2
GwHL2vYxNjUPaXFQyDou71k6FaJZ5HV5yo1K2uX1JDp+Em70aNbWQ2wiASpQSe+Xh0AXYzmvC7U8
qUXltJPsighV6HVkQ1D1Qka8kXOseH5SeODnqmwAd1ui3OGwHMyxyytEoGl++cO90aoHBQ9tBxsL
W/MV7B2J01xmvmrDUFQWyWri6hRHZrlTrfLcx21+zMKNQ762gbPa2IzamUeD5jf2Q3A3IRIw1K1a
Edwl+14ITlJxYHaRNn/xuklkvnIkUD0ihQFhBbBAWtwovaiCONKTGmm8/G2yBieLyo2mx5oJoiwg
O3AqUStfBFtx2o89PUKwY3UHXYnhRbuuTbZaHSvnwCSsYRUUlog8Fu7P8vB/iQSwSq7Mh86IbGGC
oklP3S483HZCK5YIVkHLMG733uy4/D4C/dZEYYbuBCWKq4Z/mvxNhJ5wk0z0et/Aos1KIEDFKFMt
oWKykBaZ2gGC1ifRPA+a2f/wS8qbt1dzHcpghfYmeByKcviFy9WIoRz1kk8okwXdo9pnGQwiaEsq
fmPdeREMCMNgFqgE18LObEZrd9v69V7iaolJASjjMABlX1pnqLzIeTHzU90XSMgkkfaiekbievlA
jWwwgo3VrgAZZ99OeRWkBxXNZaA4yJCjB2pRnJTeBw48CY30WIuRaSeSYDwOdRadp5pQwKxSYMp6
7enf9K5Awiljhmx/e/HXF52Pi8fnF3GQ+AyXiw/1tA90jywulMY3+BMfFfE7Wk1tXTqGseWWVxJo
rMFUBMEwXQzC5EtrTR0HPbo2M8JRzlO3rovyOx5G6221S+SXIc+pbQtZCQVPJoTqN2iuVPmxZ346
cPq4guFS6YQStbDJKDZe3bVTME8sA2vFhVN+vvxptdWlRliKxQnSn9F/aaKXKnSqfiPWW9tuxM+A
nYHPJptdbHdU+VrUpR6xXl3rx9HPvYPmhdIuiSPNFbzwE4xU8obN1ZVRD+UKA703l0lfN4pZpEaE
E00V7EVBSGe1xHujjAqn1Ouft8/TdRg9F1/p2BN/Eagriy8spY2WZzLG6ny0536IBUEjUrGjF9tt
bO2oeG88vmvOg3Ad9hQyLxzv4sPlhM/EADjdOv4kiz8KaRcY94oPQ2Ot/on0LR9//QKzwA/mFl+w
b2tLhPkKqEvUPCOVdBz076CKtiTN1g4KpFMzta3J1MSylq1GflEaGfkOfz70ib+vh/Fp6MgP5ARY
fbRx+lfN8d7PVMdMNy5rau0ghG0xcvrNWDqEAVjyyWr/Tor5Sxx/B/CK3D4lqy6QdAsvALKFWvki
4JwJBytVlYpT9RjH/1pX3lemG/+uW1StHOnLl9vm1r4ZTd25zUJTF4D15d2O41aou1otwHoyWF2D
jodYwxq3SHzXLhoEbFBq8Yrx6RZnP/C90jLakdQDZcmsFgt31Pzvw6R+ElT97faSVlBBDBczsM6I
A2M1jPZcrkmqDS8QYhlj1GFRxToGfb4fZIfBx1BxJo0Ur9jL45thfRJjFakygrf+LBpPY7i//VPW
zg5ehZHsWWDyqtidNUOuJKVZnspxJ+unOnyoq8+Gf9TEDUOrz8dHS4tTE2uJl3uBUVL5tXXDaXe5
nfzWQpvx57scNnDkM2t32mJRW2mIstXQWVDrJC9DReFyq8NmigvCh/I0oQQrUfSF0fEuqfo70dPs
xJLohQ5foiL5MhVbVYkVnN/MPU4wOTfwqH4s3E2Vwk2XRFN56gD4kVwwsVOVT031PTVUO4+eEulV
k3+KDJg33kOcQ/KaCs8ofG3kHSvfeJ5WIz6j8E2wsPgZcpiU9IjY+ZQZRmmfOnLPTVXcjdBo5aLi
xEESzIyCMwbjcqfR4ZiSwBPKUysbpwbAYCg/oNf6+faBnb/XZX6Nk/tgZeEOxryc5JCxt1OUJPe6
7sAYalN72TXZxoFdXQ5lCDaMljYBz+Vyej8PNS0sq5PZtTvRTCDikO8aZfhzez2rZgxd1Bm7h6N1
mXYIrV8O3sR6EkGxGNWVAbOXSXMIqC1sOO6Vx3bOA/7X1HxOPuSFgohOLXSw1SnoOADxkxb5ThAJ
n8IGktrSiuy4hD/J22rqra+Q7qQBFRQ1ssVGhp3hVYoWVSeLIDU5hr+9LUDt6pkAb0gHBTJQgA+X
C9O8nLC7DOaEN7KZsNjlRL9qZO3ifOMqrVmij4tmHBk8TnNe64ctbMu6Hseoqk4+yIr/4ey8ehxH
ki38iwjQm1eSolSGqmpvXoju6R567/nr78fah9uiBBE9wGJ3FgNUKpNpIk6cOCfOdFdJH2mC9uru
9/1tcevewrSA/ILGGGxKtiGt1WLFPYVjc5ZKqX+XlnPjSdW8/Cw0uTs2VYnJjKQ+DbGxeIsoP3Zx
ueegcOvaWOmbbwQH6EHrWvwx1wSN1YYex+aMwJ2r5/gsTx9DwYsF1av7/3DY/hxrszV1IQ/6vBs4
bMdB/22+GMPP++t568NR78J6jyyV/sLN8y6UKB8G6dKci/RTmOH08h1uZiB9uj/KevlsL6e3R4a2
TQLobRNYmGnV2CpSc0aVtqyOivLt/t+/EaDTGwtjS0ZyBmXpzU2uW62gdylBChJy+UvEPL/lQvko
Jvy/2ozNQ9Zloo176t/3qlOipDwCv4A+OuZ2uRfCoRUmfaQRLOsPlfVNi96Z7U5R4tbt9OcQm6PV
DFlfRJpIfJBR9SjQthKpxhbze9XqDqL4mokHuT7eX89bW3yF4sjlDED8LXjVtyDu/Lv6zAkatMEd
1O+1ZS9D76hNuCNhcPNEo8NNEEu6Ax1kc57EIYylwdSbc1PJP4RYlLzBMEOnUbXapaNJ8iQFZYMy
Dwu3DSG89dlo/fj7+eJ5DIGDPJnC8+YnWPkQIogEMti1j1VsPZPAfAjj+CiF0kun78B26wfbHgY6
L8E78Qli62yOXEKxpBniuMPcN8MgS0PNKguknTft1rn+c5DN1R+2BcRZOerOHebrY3JcrFdhtKvl
P9z7GM9T+qS6BENlM4xAZ2cU9BUBuzWJvizlTj4bj21iqW5UKol7/zPdmpQFc1ZfPXowut/chkFX
0PWBjfOZbVAjTYJufSc1o5tp9SnQu25nuBsfiqrnWpd747tsUX0xMahlZ0F7brqOvaebtUMpKIVB
F+05b93KAijSW/RAsylw3t5mPkqQWlHTd2cjqioaL/4tEojdcagq7jwt1rmjs8kzF0E9Zb2oeK2c
Fy9jZBRelEcmPNhq2PmyNyZPoQGBm1U/B1b05tqpY3NujSlpeeWgnYWmrQy9qys7F82tw0+Bhu7v
FVkhE9kAHZY81X3URP1ZP1r1Y2Ae4vqpM1oKaw9lWXqyEXPyH/56GzEmGtXk6WReWwXO1jASGoWz
/ozwmEmN+ZyVP/5+64AriqSxmDqSZm0ulCLIJ66ZdngLKXvtfSUpdtKLzt9P5M9RNuehzcJaaZZm
OI+LXc2f+84tpdeRSvn9YW5sBY34caWWkpXzlS4fOXlKgqwr4vGsl7/G6DGSHKX75/4QN072m5wu
0vsw9sztnYgWSilSWxjP+eIn8acKWnWQygcLqeb7A70dpM3tCxwO+wZofk3INlF3O4sT8uvteO4T
6PdzVD039ReAcfQVlTGnO5KmG2BqxTqVufS+MZC4+DaETi9jSPRz1L8v+ktZJHbNB21UcIrXrHjR
h096rDvxCEusS096Ur+7/6tvLQ+0P8pImABinrH50XGOIsYSSOPZiBO3sFwsauxW+xTr8c6+vT0Q
mxbl5hXJ3QRS85xVmW7047mt8iNqOEOtvA/j8nUOs3RnqHXXXH0I0mFkJ0FwUeq+3FXTIk5Tmirj
eT6GycOoa0dQ1EQf7Wa33/s6PMSTj3OooU5CQXMbzsRDNk1iggaBPsCT4b3onhI3jv6ppX8r4d/7
n0q9mhYCEpgvrJ+KyvM21FVwWF+o/ZCHa5M9cYdPe+ID18cRH1z4VSbQJjDqdjM0S62Hbb6i0Vkj
u4Bo9qhiXyqpf2t2yV6jQw97KZQcoVdsn9ukXXSCvwR8JNM7W4xa6MfmUYzRRUxzZ8nE8/gypNlO
PHhjAUGFtLVoQW8gceHlvggmI2uXmaRVUmsfJcHvklXsXAI3kFroHKs9qrKu4pWWyyS2pp7GhJw9
MjJutkiGUxr5i95FmWvVKMjiVNa4aUOlSo7M1p2W3AmQzNg5Arem+kaopQ2GJ9DaHOu+yiqzFIFS
cEE/pEJxUIOf93fj+hcuDxl1W3riAMHZ+7AALxeTwkkwRC0QV1VVdh4rOfWKAaCrCfxKlTo3NNV/
AxlOp1jvvE3Xx5tQnsLYOjHAja3JjjBoGjif0ZzjMDtpACt65IcreS0NnxX1w/1pXl9bcO/QbEFz
lHIngMrlNGUVRjStssN5htz4UCk4QchmlLhR180PhlKKOx/uxuRYTiiOcBwJXbRNtIZVQinlQ8l4
ZXeCM/alChD9EXAWstV5eFRT1bs/wesbjAn+MeBmpzTpnIeVXA/nwjJOMj1bUe0asKsWdmgayEe6
yY73R9wsKY89HDgSWhJqJCyushRJDZVxMtvSrxMJHVJ9Kh60MTMdVUqWp6zT9grWm1vtbTyQYPpj
JJ5/+jouPyE2kaYWiGXlG3T4qRRPYwD+2vh+f1ZbMtfbMKh30ru5Qr5w/S6HMdTWzCgcMkxCbwo2
jNojyriovSdV5SzGqPzTzVn6fhjRppTm2XgKJHVy5WIcH+c4yHdSwc0+Wn8NZCFYlZgNEfVsoWGr
ol4Zy3LrC+rcetISfyqM5KOuIb5ihbn6IARIe91fgRvrzHMLK4CKGOu8RSyKvA0xf1RaX2EH03ws
REjjRiNhzhLtbKEtl/9teryAoMQYCPCObBZbLXMFlWYZp6ZISg0PP58A7m1PA6uVxgJBfqynaJu2
TfMlKtPBPAgS5hx2qQjhPwHWq1/7dhDepf3cmHbeLw1isVhaKyifZ2VzaND+oku7KMTIpsO42sFd
tsWot1+Pd5ayusHy3l7FpCPvhlGbrd9IWTXaaZjUp9BYcrcsDdwI22EUqE+Ehdf2enlMhUn8AeWx
k+2orwVPqBOk70Shf0xi7KHVALnqoQqanc+5TaDefuVaR1lV0UBstt8zTZdojgqj9Q10PRC+SJp3
rRBCDpuyxQnNrPaEts8cTY8syjw6Vn+YLO586LdT88czw49Yk2TwjLcuWlKry1NVzgFqnoBh/hKk
WDbmcqCFrjwta4NwYEzkWWXcfuZ8B70XQTbsvQZuaGcX8xT+HIdAgWA2djWRmTTUL2Y+a06jackj
oixFSL3EnCty0AkZYDOK9OJnPE9D5xQI0pMnDKHyER1dQi1RCZblkE190KIXNokf//boSPCG0OBT
QDBXevLlLJt4mfV0nDu/lKXyUDStRFsyqcOgWbsw9xpob1eUd4X4mBuY6sdmRft6TVJFkbFQIXeD
MJNxNGgTnACtwHTLMAg+TUYJhVKI5lOj9BwEefmGF3Oys8HWgbY/hNsCAZdVQBwZqstJh2UTV4LG
/iqNycIyJ/4Y6Fl6KsYYqCfBOzZp/+5xfdtMANL0uq7WyPgiX45otKrWpOrS+fpSoYRtEHZ1i4qq
P4rIB/bZeIQK1z3c/7abQOl/g8JzJDnQUYLY4hDxEOL6mUidjzNn846yYYysUVG6Rt3PB6LB9thL
kXqM5jlygkUv/svwhNuc47U/dcuMEJFQyvuez61XuDCrWj5+w2xBwjJD/ZXmbf6gq0LrpEMjO2Cz
e2yTbUF2nT3lFGI1XsSVjb5J+zSRcrcZCIOvi238IdNbLJFUEb1ac9KPMYqKB2WK58PUl70TEr17
bVcLDmHOewXij9PVcu2WxRh+MYZurzq3CX3efhuZOixUKHsy+OzldhD7idYsaaz8MAR5MDu6OAbV
cMhOJLsGuHtnUkh7rTJL2Ylgr19K3kgAYdpq6Xu7Uq6jllQNlAYbf8Dcb7KbsKXZ0xL0XjwGKgd/
ZwtcB1z0AyEsCRAGqM2nuJznYvTRmNBH4pcQIN5lKj1fqt7OjqlVdHeklRZ/ub/l1z+4Odm0WXAz
vtlrICh6OWAcJlGyxFbjC3KyeMK68cC+96plN6e1gkdgLeC22+ZnijYjNLSw9fsp0HOnkwalSR1g
q0p4jYNsIdITAmVcdrLIG8NSDEeufRWeQk1ms5p6vMABXCcnz98lDRoa5O9cQMcn7HZSrBv7kzBK
W3cndMMrk2SjkqyGbLL1a0ziukxzDL076JjY9vC1KqM8tsWeGsCNKJagBISBIgxNaoAnl5+uGpsi
Hfp+8LmZrC+hln2Z9Kw8VFmuuZGGYZw1KZkzELbaKT5mDngYhdFY1bChHII96cUbGwk/FJqUSaW5
r7fdk1NSVkGLDLVPO6/6PprCxcuGdg+Nv3FDAw2izYljMgzJbdN3RYGhjmN58FM1f+mtwEsN0Z0F
1ImWh7JBUsxQPo5qtBOh39hHoEZ0KsPwZLW3F/MkLUVhjM3gN2E/2BGEHKnLv4ttdKrV0/3zeCNc
pjVi1S3DF4q3dquBmJdk4W2gDb4odfEHJRB6/ZQLyWA5SRckL3rSF+/TwKwsO1K4p12xauGNdk2d
/1JCNfVGsTTslGfsJazi6RXw+1udttKJGLd9aFJBeh0ULFrv/+pbC4RHJ5Aq5jxre8LlVgzhh/VT
FY5+R1fMqFkDrJPhhzLVlVM12fH+YDfOGkjn6o9BTL7CeZeDVfqo5E2xvlNTMzhzsxh2lmW/ulD+
Hg2d21aQMtVuL+67NSoSUbSj0keikfFfjpr0em/0VTz6ja59aPPnpf5nyI5pQBzSHTRMLe5P8sZG
585aIbe3jr9tUmiOSSVMXTn67aCfptBAWvRzgS5rlR4spTgWvwIc5+4PuS0/rY8shYq3944iLLDf
5RTNmY6fVMxG31hMtG/y2XwYMh3bE8Ryj50qDkfEaMtTGM+pm2vmV+LM7iCBddq5FR212dzrA7+x
rdZHkGtu/c8Ve17C+yJM8nb0sX5KntBH7Y4zyPRR5mJ4ELJlr4Pn1ngIukLq4PzxJq574A9Sx9JP
ktDzzPuSurglLHmbk/cjVMqvxKLd358Z2I1EM0ByK/Fss6Hyzup07BAnvw+TbzUQjrX8W2nzp1Cv
d2jSb0JUm0ce7A1OKkUoMv6tAGPCI5SIVtz7sy7PH9HT/NS3yTexHipXTJblKZQzy40axfhIn0rp
ZGPbvGDqlR4MMY6xj461JLfnqvit9/pc07NgVR9aJuYFILh2lASynZTpdEQ9RfZGUIedE7+t17Az
eeMo0q2dBWQh2/ihLQXDbNp09BPVSFAcEPrsgdTB/BCGipcOQ3IK8655l8VmeIoMBJolGdb5qBdk
unFueFWkTMhd6orbUTU5NnVieb2ldadyKGb806QObzo9sMXMfB/lieBGVk+eQyebk3MLuWmVPcbD
APt06PZ0MG58HTzIqbWYRF/wLbYc3ol+LqvJu9GvUzzdIBbFH5KhDT/G1NwO4zg0uR21yidai2en
W5TRK4x5Oshzk7hDPy6HfoYeOrVD94iEdvBockE5DQWuo6WF+rGYtcAuxBhDOqUWD0lfqjsb+frl
5/evwt2ryAZ31hpC/3FqGlFO+0DTRj9YqoD2VaFCpQlL0fu30/XZZBQCSB59rkVU8C9HMekpF9OC
u0DthM4tUml5DuVy9DJDHFxj6uWdWV3f98DxEFxWjJBwZtsfJOmt0i5LNPl6PshOahrjMwJWi61G
ynAw0jJyu84ssTnQ9mQYb42M2hQoCjRy+GWbuC4d0EgOKm6hdqqCYyyHn5IFydZx0FCAFuX5ueuU
Y9VOe3j29ZNDwUVZG4TBbmQavi9XWM97XTDHZvGH7kgE5qIQNL3T9PZREo5z5bR7KmgraHB5K63j
oU/yBkRq5vrv/9g3BkWluUjixR+r8SjHsa1IWPaF72pJdZZiT97j5uyogGCjRIjCK3c52tyvC671
i4+6Q+82Vg2PwxIUTrpm2dJsnAUIlO5cr6iTri87u+nG7gVIpxFpza6BETdzncBmICOytqPszdND
EvlD8938T4OQZdHqjcDUlsbXVUpWFjOKmY3UfW+l3I2z76P+O8Ld7P5ZvPHlmI2FBBkC+fAaNoEC
jWuGNIrt4tPuEzUvYnLW+k9iOjsohN0f6UaSs/I8mQyrv/Jz5cvPFk2BoIuZNfthQ+6iwDc+xJGb
pE4LCKE63Zeuy+xGhhipuTtDr+dssz9X228o4eyatU/wcuggKIdODpfFp9I6OMB03ejwBpkeu0V7
sqaotgUtBpzTotydDQSSonqId1KPbZVyffrQRwIK01kDYuvNvZepfTO1Br+ikF3lS/AR5MPVbdk1
bQeG8v0p3/quf461iazDto/MWmWsPl5cNbMXUB3pUcsihzdm58veuOVIk4GJwDY5D1uJx0Wa5Gkq
VdEHd3mmAGCOxHUa/6sg+td9latmJ6K+RnLAVbjbVoo3S7olV4G9T2Vaz5Ifa9mDQNbwEePp2K4K
YY+seb2MjITFDCat0DX4dJcbR6+iqm3HQPJbpGzld2b9a9AfxY5q1hzurOKtSXFZgxkS1VHK2USs
cqM0hpXFso/PYfdUNGaE+Y2geH3VCd/ub47rZx63mf89hZQZrnyZu1pqjFCbFT8ZiupAtad3psXc
m9D1RQnPDGydgG899NuukMkoilwcRdnvB/WDjPeG2Fh2jOd9k+05nKyf4fJ8MxRXCn1aZFnQgS8/
E5mFrs+xIfuoqL0qoiuJz5iseOEsHhFaODagNnS770BS1x9spSyS2gEqwqo1N88Quk9janWDgoR9
gKQpxQwBe4oBHcydnXEjm2OkVQ2Xh4BQeEutKZolzJKc6VV6J/na0H0fOpr5+kKvvLwMXyUVV9da
QLxpMHBOSqV6sbl+IntZ6pc67v5SII2LjCIG9BtqnEQ2IIGXyw3UN4xKICp+lRZ2k/9Wgs/3N+gN
APutTLLG0CzxlY2KqYWNubSSgjujmCS21CstqiYBquHqzP0ltnLzOa7jsXDJM8hrFK3JYBLDoOuc
Nhb66TD23SQ4kayVkZOJEbpPVt/lOwfpRrUOaVvymdW3inadbZ+EVU9RlUy64htVq9pZmhnHPm2G
pzK0anemkcPRFna9ogQYftbmz17o551teOOYITLGFqS8tJZ0NlfUqKVGPza96ifmD6Vf5bROhZV7
eSDv3Lo3Dhl6SHiacqgRD9jCWXOAPVbStyo6/DPUlgEH1cwQdLupsvKoiVVyqOop84Ssi47DpOyq
e1/fWmQLwLLo0Kxx11ZlKxSqpJGGSfVpWHpSy9hOxOR17trTJMZPYYqAgfKgxj9iKaaOgAK3JuHJ
+zrg93Z/c94499DOCMsIZ2j12ZJTjECbepAH1ee6pkNEym1MXZ5oJP94f5xbH3b1IVuTh5WvuYmX
LDHtmkSuNN9CANtql+OMCcg4hGjU74x0c0Z/jLS5PuW4McvQLDU/bRrIdF/iPH5sxR/3p3P9lJJP
0nBNBYYaDJHt5aXRVBVF5G7SfBTKcVsdp9HBKfQTQjtoCvR0uM1S3/yHT4WEC7RnDXLwFdNVLYKW
d8TU/GkE3h1nA+qHmale1dV7vkg3vha1FyqNJLY0YW5Lblmk6C3/pfphVb3qFny6SHzWml812tr3
F/I63FLXGAGBEOD5tWH4ciHnKo6sEudcH9OlR8F4rJTYjURU5aWfSvO7kL37w90ANRgP0AkNSOqk
DH05HpS7oeq7WfNzbRF7dyBykNny0nyU+mVqnKmOrKcQMd6vZl4gZN5RlDwaQkHr/qzWKAKN0qyd
a8mKRXvQcXF1Mk1ZDZ1oB0SFS+uiX6qcR/DwjWwsbSFcxOfZMCrdVhIj/nl/NjeyEGZDBM6UiMEB
nzezCSQdD3BZ83FckuvYNoLZzoT0WNEEbYpOImGiIr70kOTncbKZ+c7Xu5EFrHc1eCGj8w9bsFBV
iL5WYMc3wsRRy+D9mNHj1n5RouTcfTHEx7wf7a7zskje4/Ddeq5ARPmOxMzc4Nvi/1SnEO5QhvLl
6Ue8aA68we9p+4owL6VCus6VxNHlqaL9/Hh/2W+8HWRVAMAQzomnt2ywPF17D7Ra94MBqk0whcMh
yjvhVAwWBhGyWB7MxpSwXakm9NOpdh3uj3/jhtOBTAkNV8I11JbLr16jYkx8NRCLomjshlOZuRoE
YqeOlXYn83qbyyYY5W1ADhKJCZrJtgBBEC2aMkdEa8mSHJCtdRPrWx0HLymUzUBx5qilXxNbvHDw
9OZjqK4y46e5OFXauQp/Z/PRimJbQna8BURBPRUwxTM6NCqUh/uLcms7rCgGOCU0ahSb1iv7D9gm
MECPFD1TfFX6FtSxW7fWLyqRrik/r5hDXw1eMymnNt0TBL3BxVorjG8Nx1gCsFSbkZdSMBMCJyLa
8CQr4TEITny1r2Y1OUEGLexZrLOTmmpHQ+ncoD9FcXcKislrtOiURfr7+ytx/TatP4dIk1edH/UW
jv6xEDHdqXmUzTq9CofRdIXzWZ6/lHtWCDdH4SyBf1DsukZXjXTRIuRgfZyZS6daEOFPk0Y9kLyS
q8D6BQkx//ppXxWTIWGulnPc4ZskZVYSswqCGMXOdhmPQRtUbiLLuZ0Pc3K6v4jXZ3zVrSJWF5FN
I4XdRBGNWOl606k6UYTlVJmCNk3rjHl5XibFM8OevE8nuuhe7w97/fAyrEJDwBr9csI3R7uKtAgm
m677QvFxbl6j6Z8sBG/de3Vvzu6PYTbvhiwU2SyGpu4rSemB8/+W4KsoRf+SjLSNEIkiVuiOwk7X
1t7kNieUg1vkPSGAz7uanibDNx7NvZL4jW3JAqJmT8xKm8O2pDREfVMbOqKudbMCN5EePkVTVT9k
WZG7plB1B7NCO/P+V7u+kNev9v+Dbr5aFy26EaXIVA50I7qUiYDjh/JrWAfd4f5IN245hqJ1g7wZ
DPAKLi66YNbGlH1ZWD9irEcM68TN5MiZeCrkp7R5HKJTVO3tl5sT/GNU+fKGq6tBg8TOqFzmkIaJ
dQc73GPFrNfk5VOzTm3tV+bLcYdvVrGSdCEKc02nsuFKy2nXsur2JP7/7282vV6pMJYG/j4pnp11
H0Ppsx7syfrsDbLZ43LWtIXQrydrktzG0O0g0Z4r9a9TAZYKPh41WgkK/BbJC61ER5DO4vK1wvDQ
gh46fV78Av0bvPsb7uZHIdogwGTbkbJefvlwqKZaFiLDTzSIlbqU1E4FWeM/jIK24lptBHygCf9y
FLMWm3RVEvLHQiofzFGiAGwSv92fy3WugZQtBXsi/5XGqGw2WKovEI2DzvQLMUc7Pa9FJ7MyE3cv
q31Eamexx7L+mSF3sxMm3xoYyihV1PVBtraoBs4k8yyIk+kH44J3mZ7rHj2FOYbC8XKYEiM7SZ3c
HrW0KA/3p7z1igPdWrvLkCIjJCA02ooWKcoIA10YTV+rPi7iZ1yEvTweT0uOJmP8fYKRm0onVRMO
g/Y4rLgOBVLa3e1EnW2rLU80GD2aCGLFYvxotCupcbfOvL7am3OPh81byAa2ijLe5ccP8yypjFjg
3HdZ8hsJl+pjL4gBgVtQv6iCWjpmraQuMIp6rPQFMBSjEMQ4IwfJQsE1I6X3amnUXqiDik6TqOan
xBp1uKB67faS8HPKl/R9LArjzq698YrSE4J+JskPadDW9LvqK9XMZm5FY5GcZNZcsXDL4UskPizl
P139Kmnf7n/NG4eRiIQQiGIdzRlbHvAcz1Y1BwWKUprQH6TM+B50kOruD3KD1EAuzlFfvaY5J1tJ
YaMeStRiA93P5tovrUNuPAHkd/iY2Olih1bkLfNPPfhdJJGdRy8hjUZB9xTqZ4Wym1SMXmyOTy3p
UGOn46ExP/bmqZafy5bm0EMaUVAd9GYnbnozwtpsIhYFFgnUQ7oCtyLngkppI+BW9MVFKtnbWRN8
kPTG+hh3epc7U6qIR7k3hhwDNpUDrsqRFcINLuZ/ezWm87Kmzrd4yJXF0BqiuvwWNFYc2oYciEh9
G1kBy3lEDioyUrlz5RzJpEjLu3+mRVswORvTWHGldFH/SSBwRK6sxIXotMThLVqkwUDDXtn12UHQ
UEZ1qyjpc3imyWrtU8zWd61uDdPWhLz2Vz/qFEJvgIqAnGlod3SVvGQUhOf2kZgxeI8VovRVjdIA
CKKVwS9KLZV67rJAMOw+k9LEQRbVOmbmqH4JF6UZbWvSmk9dlIuJ3Qxt8SXDF6azw7YMSVo0q0cI
M6xSF+4mhI5AFkJHsGIexzaf296dR/TwHvXBIL9sGkDag9aXenxE0UmvHtqu7b+LgyDJBwFFG/Wo
a3P9vQQL/6aHQ154LFEQOkZfLOMJK1lDsbNF1qoDeqrFB7GnVLRz3771zP65G2jYBZWjDAxLn3LG
lqVGFU0RBC4WbEGTpbP1NGwyO2hhKzuynEiTnfYgqQoSSpMtCJRo1cjKXg0Bd2I7Wqz5qazp9xUX
U/aUAcqbLQ3S+MtqsvBznpftTi11G7PSuIEJDAoLvOhrj+AmMIlbw+qWVgDYi8XqWEposErVlLhW
OQRP8Sh3hyAS/zZQ/t+gEGMBj3CANjYJjthIsVgOse7P6an/bJaqu5QHqfW6+G/hinUkJI153HmK
6APaTK8RIzrqlIqcxlLsINI/W3X/AC70l9kF1XCuRvImemfXfupNDJHHlVqJuQgcJHBgNVcO0Bkb
j4qy1wJyBXqtI3HF8JyQi9IJvImGs6IKlmHoNH9Ofk1t+6Ik9XEcnuMit7tBe5lM5SgW77rU+pGO
eyqV2zeHsaGcQTJd9woz3Yyt1dYiLAGRXzCvcmOJR6XVLgrt0UgaW6LFU0Kor98JnNYvdHmcLgfd
7BUFvlaa0SjoK9GPKPskYH0X/20OtU6M3c+yoh3KP2zGyCy9TSED6n5fJ3bUJW5DT0mIyczO67aN
NhgHmSfopMAgYAhb4kbfR4EkN5LpS2VhHrPWpFEc9rhDW5rkyX0nu2Gmhw7SHy10GHP52upt5ZmD
9TU15P5pzkfJnwMipaxBGnjWOsUXdKwZhS5NHtQBdf1AK3QvkKI9FeOtWSJdmOhgURFG3Q6dBfbe
ZaAUL5gjqm0S+HEW2kq6FHYk5J+GUPTE4Dkwj7X6ZDWGI64KJYHwPM7NoahmSHa9U+WuJnwwxvDQ
hJLdwAlJzL3fd4VGA/8CE6LLyE+DsyRvfl/XpKEInh74kvQ74iMmtSe179KDWoduIS744gCGKbxt
UvtcNntfdhscraND9sMIaAVutC0FX+4w/FHaLPBzWt7sMhZEOwr0nQjs5hwR3aR2sJ7BK6cAQYqM
Cklh4oyx/lcxIBwk8in4LQSOIvhx0H7UwtHTQslDdBjf3D229za9ZJLYjyhYk4FMIUa+SWGiUqb4
Qyjrm2phh2LuiTSSt/Ss3D8le8NsrmxFD6LQHGbBl+PZ7rSjUP2SsK27P8gVlrFOZu1dwAWBbJag
83I/txnOEWlgCX5jpkd5HGzEdvUR+oH2rRkQBs/awDGrzsnmbOfFvepmWIdenZRIBGkLoOf6cug8
6QQaUJLwHEjo8hmuoBonRtf010DqkE5u7EXRfmbK8EHou1ccWP8Z0TfuVEK06VEudADs1zhzzPn9
/TW5Cr7ffhi0LgB8Foca8eUPi4DIU73Ow/PQHpAfwb3DURABqksv0x4Met1pEwqL9zkm4/gEdOg/
yuX71UQIFzZXyk8SrNw++ZSUB8t63zeenBSHajolyQAO3Thx9Wi26o6Z3fWbRLpAksmryFpeKZhA
R0uUQK74zYI3w+dmJEpffYykY2I4psjSVSaNVDRK31+t63dpHXiVyyGsoHy9XawoUTU6uMOzFcvn
0RjtGTEJTBkPaR49/O1Qb3VeRNhkIH6It5ffJZOMUMqwGj7XgWm6nZF4rSoth7D4TqOH99djMSMo
vjRcrkjwpkaZgVxIubpkWGNBS6C+dwqL4JFa39p7ubPhrr8dKip/jLWB1A05q2qamrA6n7O1gz0Y
3XKeXQspAq+IzK+JoC5eJKbxQygm7ek/TNQiWINPTHlmG/jWAdsJ5CI7C8mzGHp6+Zw1sWv1e1Ws
GxEbjN4VLJNo2oDVt7nPQLOb3MqT/Exu5vQhOr7Np0r9F+DhsFDpzQZ7jI51IbhaaeyEpdfPkoZn
xFu7zJpTb3W+FXPKAqvDHJdf1n1A1Fd6yrVUeXd/JbcIEwkPKvrkPHTKIBq87QKqkdowjQkHWW0I
4seJCp0DvbaCUDTJMZMTlU85OCJO9k0T7GzXW2OvesmcP/x/qEhujgbqWMUkYHgaIBY4Yv+l1qkT
CejUIFmVysq7Sqm+/v10IRMDa7F3VgOpyyFrqZcFq1cwrcVdOV7Ys8rRSL6yzl7adrQif74/3nWG
BmeFiisNPJx/RPYvxzPluSyUScvPxUDjO7DHGIWCW5XTWLw2U5nIRys1l+YE2yg1f90f+9YGWuWu
sJJl94IgXo7dzWVWt+2Ca21OH+Eyd1RPFbVw/36UlYRKixEXAi0Tl6PIeJvBSRIxGu+KnLtNlF6s
Spp34Mgb4RPcFYi19CpCOuetuBwmzEcxT7sgP1NZtA0tcrqR1qnhJNJDEEWTJ2jhodPtKDc/CEHv
Z+ZeZHMjiKb3B3IvQeqqO7zdraJBicHSZuxdadOwRT3pvNrIz6KR/5C1PvAQXYrstDS4jqYucAp1
+WHU3SlpxNkLsJA4Fl32EXGw3ElJxuyVo+iEndwfDCVXvZjS69+/PLBjgOBJ1GF7b3sY6wWP+xSJ
nXNnCR7CUC8TL3zbvDa7isy33gIE7jnGtLRBzdzsgVq0UqtW16VpPF16bI/hIR4fE7r6DnjT3t9v
6417mVJqdFiYa38w+jLwGC43Ar1Uci+KQ36W+yD9jHNw4OIyOr2OmaWy8zR5Z+fdOsFky5xhpINk
1BUvxzN6xSr0nFMkZr8tK7Xh/uQ85uNjEe45Fb85gF7NDfou6Rq57JVego7yJWx1gXXEru9dOiBg
I4eSeNJCK3+O6Nd3h452NjEXmoOVC9zSqOi68M2SY6I3pacoufVMpJ84EI4Vxxjjwc3CRniXhyHN
9lJrnmarM9y2jbSnUKvTI+Xbl7CuhIOaFNVxTJTwUVRG6PhdPfxWzWgmPS0zB7/NGplVpXmY5ZZE
tzRMD1QvoHUy7Xbe9luvAhAc3e3cJ4Symw88ZPBZgRTxZhSW3wT/HyMxsCUp9ThDjtqGzizC6f0P
m4rS79pHg2LnFh/PBTOQm6kpzigFPDXSjNHPsxoVvtF9uz/Q9W7iBuM+JtekOZX9e7mb0v8j7cx2
4waSLPpFBLgvr2StklwlWZJt+YXwyn3f+fVzqMFMq1hEEZ5xN9oCjFYwMyMzIyNu3FvXgYA0EBLb
BE1IwidSvKk5PKLROCft+HLb2vW+5FKH6pUeIVI+sP5cWnNH3pSWnqcnRf/VGoepQygp7bL7q3rx
PVj1z6il37b4jjG/dGFMwh8G+AGMLDI2lya9vg46UUIMRfNRPwOyPNSZHQmB9buGDGm0M9preagp
Vpk55BzoIehQYjsrfp99FaNMe5UhJxpso83HxjYyXWnsXIyU41in8lvWuPmz5WvFDw8USbsRk8Sj
DVLLte8Vip47FQDnyoCWFozWAFA373iV+fXWemkBLq5LT0JND1cu2uTDwakNL5HZOVoTrrGSLi0Z
rzhqfUwhf2bHTe97VcTTKwNMoR8HerM/eemwi9GX9V3xYCkRbZ5rWrPXO45DE1woVGxoRrDnLtds
aHW0xAcvPelQhuXWLtW/F2Z2Byyh8v2txWP6tpMsRNUYnLrO6V2ZwJuzqNpM5MAAoY0kuyjU1CLg
B/iWANC/87rcfaXfxWydRInMZx+0uU6MFpMO7dsMejhf68E83/6exfFD5sEGofWL9oLL8Y9jbJHn
L1KulChy1JAqoZ+2CCq2UUoJ0cqePBV2L+RwrRXL01k23y3kZHmtIOk4xcGXlhuqJKIYsUHNXt20
uuBE0V7xxX9+ZjPNBPoUopg67pVLK67UoxDoDumpkw6wKdhx+Lml1NNlo2OIHX0h0Za0xgog/zr6
nIzCnAHdEVCoecJJtqI2FoeRs6eDp0Q98zpeiTyXJg+qwqn/kc52cpuXwypSz3I9a5KPhyQiI/aL
PsWrpf+l/a9MaG0ABkAD509q33AlhZgtPXloIEf0WBTC5959dkEieePn2354HdpMDAlwFk1NFDzh
ZzFu7fWFMvQKU6bE27FVCXAbR0nHrdxWa4yB05rPPQ88GCxcPB+nfTibvGAoa38SpI+E7N71nsX8
VVRt1UPHhdDmx2B+r6w1VrcllwCdhhPSA4isxswmbccVaEgEwqlkurvK0MZNCDnI7vYsLmQHSQxC
hsiWgvaAmP1yaENLe6EiV9lJ8nPUVagaP/pp4bjDS3pADH6Tm5odrUUQS85IXydbmOYTrtvZkdYq
dWSMMv3TqnGfJy+xdleKa9mIpXPqo43Z3UAeJ239FgH5Khwgrj2OOc3wcIpDH6fQ0LjijUue/9Ha
9DUf0KDQ5JaGUnrImmnxtolkJzVyW8m/hFV90JQ1qZUl3wBeA1gIlnjuhtlmFrsmDIWW952mARYJ
a+I86NnXKnALO4z+OMiDLYIU4HSzMcW9VNRjGuUnT0/TbTUaSgH0vZH3Q58EhxR6qpVJXBgWY+J1
TIMhvSvzlrzRCuM8jZv8hCSJv/Ooe9uw/fyjXDT1HepRwIend4MJimG2sXrTDMLBRE9F7WX33DZQ
NZm5YGxWNtaCR0y99DTxw4yDpZkZAVB7hFLBpKpCVrZ7yXv/IRJf1LLjgZs/xlSea2U4Tn/DwbVV
YDfxka9BgcLOknZHKn/j+upKmuwdSHZxkpFlJJtDvo+PohV+tqa8O1utYsyn1mj6t3iIgtDJQzqd
N92gZoe6UALRaSgLhBsliIRNG2r6XlVoodtITVJoNlLwxo8IbMSPenBRBvGKWrbxwrJyhnBQn6AT
K+lRKC1/6yI3ZGzV2u96pyjpYib4LGoaJCAN/i00surtBJrJdYfCZ/cnbMy+38W62zWfs1Svu0OZ
l5FiF/AXVbbRWXKw9Yx2ylymbsSP3qCDp8gh3V1ZuenIu5ojUmyku3H6K7EuObLyzsp9nSi2UI56
kh9dMSHrXXXiMQXV6BhjbQx24PuVbFclHCStJU7Cgl3wYCIqsMLfch0AcmtP3UhAbgDWkTa5PFtQ
b+ItCurmxDLVdhYrxyypN4q1l2IF+lrvDvLq3UizlxeFT2PnrgREV4f1u3mSXTwvQcTOiY6DNJbM
xoj1U1d5u7TQJd4pgeO7WbAS6V6d2JMhsgaTnieVtzmvQFGETdiOuX7KzBQwDJwzcckLIrHLmqb7
+qFzV/boikFjtkWtwlKAeWX6iU4Pu4HP04ITuMo3kqbaRvRHsL6seNYUk8w8iwsdBDaQcy7bedkp
MA2/7kR2H8DwdstJld0rgfp3bOjroJkA8cYgG9WXqqBjoU2VbJd3nb4XJuWf21+ytKagtllUzkLs
zFwKuW21RTcLMFkpbRprr0pbknUr67lsBOgLi0pQOw8tCNASHVJJ/VQDbKyocFIT59xf2a5rVmav
gsQiZeO5KVaqu5qkppHuVW0lALx2FFyfRDiFQvId/Hi5AyF4hdshU5WTS8sovYCydHCjI9xmjhJ/
kQJzxS/fKzKXfsJOo72EKsq0G+aJD19EsafUQvVECJU44IBHmKkHTdwmwZMcPQ7qmyh/EUlRi2rq
1OStynbYoWT9yVNpH4rXbsyl4X/4nPmTqNa9XvEqPkdRHlQXmk/9oba+1PKuD++7dKXGch2RAlMi
6ABGMMldMNuXk43vR6GhCQYS4KL+0EepYXs5cEiXaG4H2rQ8yYnHXcCV8tRq+eAUqJ7vbu+Pq0iE
b0CDCY4TqoAQ2s0SM7LiRyBDDeMUcz9S6dpEybd/t0AFgDsYLBoUYNOcfwgYzYnKyhor85SLgupE
bPaNGOdr6jALK0eKAngp+Rg4muZHapVVTYbYLUdq0+0E5Q8A4Ach+KQeEb7c8Ez/52OFjAgVFIAb
QN2UOadPGyDc2goR02aKd5pMCj1Fr1XN9DVF2utNT5WPhwv/C3IWDO3l7CHEnEsyogYoBrf3aVUH
1OeDJ8m1VnbiVQgM9v+jnfnGlysKFSJ2om60TZhQouALYORtvqafvXDJT5aAnFB84Kf3ks4Hfwhw
cbOdiIhSDoWd2VSKLXpebDdgkTdu7ArHth7dA6TEMJu5vbBrmlTj+EnN7W3HvOJR4DmtIqPH+0JT
piB8diuKEE0KhucieDsIdofsWpJ88eVtmqgvLu2mxd4YN0Xen0Mtfc77/oX64AR4jaNi5UuusntT
ZxiX5RR6cAjOmyJ0rwARW8nWiTcK9WQprY5FbHSHQUmjLYF3S/OpK+2K2jOO7iBLx9sTsWSeRnCY
f1kRhTTDpY/5epGHVop5obOgVPWqTW4QBqahgZa8dRwhG9dTtGu1lWFfPRzecVUcgSQ2JwTa7Pyr
ykzUQlhLTs2PIrJBoLj3vWonKxmnxdExp/9jZXZtBmz+wJusiE+i0z42r23oUCf5U6zVaaatOLvL
gIn9x9B01H5wbIh+ajUZMaRkNqnCL/Gf28t0PV0UB3gGk8AAYgu1z+XvD7mYaffQmpM6nN3gm0ZS
Mhj/mOnR1VYeT9dTppKfg9oG6BtkTHPgnTsIEQxiZX8aLeh0hQYdld4R3K+kWItOJfcpOHBnr4Q3
1ycQRifkFnp3iMDPm1qGTvE7zZP7k6R9Bi9G9AHL/2OqDyvB2sI08haebKFZBEfj9O8flqlqRGSx
fKM/FXRfwvZjN2ZKmz7QfOlZCoqVgOr9ELn0CpXcFolOEp7Up+flduiz3IhSxXBqN5ymb2Zh9yZn
uFOodqPake7AS2Pv316fm6/lXriLv4PCr/fBzu/t/E//J3/K71Jn7eV37ap8FI4ELQp5vqu0Su6J
TeV24XCiQemhA9GRCwhTpWtU60tTTe6Sfh6VSsnVe643w1KgNDmcqoru9e7R98Hup3YN9/a/UwdM
7/2PxmY3WGPSgIFwy3AyRh/3dMSs3Fii90mJk7+p+qOsHlohf8jyQyCseNTSbBJ0TBwaE/xv3kYs
CqLaulE9nHz9GBjCMY1sHQTSP+9+sBT/MTLb/WOa0UMsFsOJ7O3eUAM77ob75sHzt6Owtm4LWxH0
Nf8lHzb1fc9Ctp6+RsuIyvGkhIBegzelkh1R/GkoK0HHQgQMbwZRAJojoLWAiVzuxdJg36V6M56E
kvYIY29+E2v62TYZMT704ts0XonbrgEjEGp/tDi766JOjuAIwaLRjDtTzT43jyNkbA75KLST++yh
N/ND2ttyu2L5/RE4Owgmdn2w/lDvXj8S6cVpAlHuxtO3b58Ce/fp6T6zv58D+2zZiV3Ygf2p3xDi
275TON72GG2j6Qfb3/38WdiVLdn0Sm0fP399eMm+Oabdbt9c+9W3B1u2yz0P6L2/Ja9tBxvZfjqw
3TbG5nlrf94/PNz9fbr37b+//972yPf+xlsjmt2spWX2RtUxIs3O7PPu/r7dydthC4DYsXbIo9wD
czlbW/dB31jfqwfYNjUnONdPzqGz74C+2wfFXrnsl9f3wyzPLuEwKntd96ZvOrtpsi3zfUIqa0du
X49+lE/A8qrx81qIMf3S2USgbKROTa3wCFzFb7DOd0MhIREXhuTEA2Eb5dHKlfy+5+Y2YKOgjxlY
Hm0is4HRZipGrpaJJ8nOnJ+ICvEfdP2c2P76+sO3Rfukfl5Z34VjgM7A/5iczr0PN2USqO3YWZhU
lTfdiQ7xRnBqO3Fevk0O+x0eDrvaJd8Upvjk/DVPyhG8nq1vG2gbxR38HHpmc7fIu7dujVN1IUK5
+LTZYS8NYRQYEp8mxspWE3Kefai+B2VdEacE22oITkoFb4oqrhzDi3MCLBmlJ4W2jzl6SqLqLw1K
KZ6Mtnlss0OaHCvzZ6Q2b7cn/3qA7yKO9IJOxyM6AJdzD+yyHMrQk06w/lb1g5W3dpKj+L0Z5NZJ
JWVrVL9vW1w4jOllVhQkYTgjaa+abedkVONainTpBDubOiZ2WEmOHP7tYji80nu9uYva7gjN9OOK
3Wkol5499VDTo0MWeqLInHm2ojUm72ZNOqUPgnkYVYmEPPIrwy/Y9emArdPnQk+3krG9bfc6OJnM
Ev8AGKM4Ny/NhXHDWd2Y0imseHlE95HwvUZjOTgHwkoG5Do3cWlpFnG2uVxLYW+wlnVoNz9E70UW
v6RFtPHvXJg5bw9reRnBwhENgVqig+3Sc8TWqOExZ1zVsB3PFpECnDGuhtRoKMEC6kKF9dvjmr1t
dmmMzBcFakrHKs/qS6uBBfeapqbyyTTo6bR2fv1oIJ3rOk3wQxBXJnRpjLgotfdJEQSOnNnJVIpB
NIZmJp8SOjC7bhNUtkpTZWFuE27S4pPQRnaMjNbtMV7v/anff2ItIjGqcIVfjjGvfX0Yw1g+FeIn
cKZNVG3T4cVrupV4cmEusTMNj4iIqvHscCvcWAkKvZRPfV45ZvbDR5MwDHLQdxz4lnaH7MrtgV1J
mpEBubA4W7047dtRMypWL4vsKEb6I7PT9hvAGkFxir7Yt8JGrSz0QQ2bTJ8t+Ba9IpuMH+v+V6UV
9661rxO7K9Btws2qwNinnr6PZcPRFJpc/N3tL170AFCeHBcTsSRed7kWWZjIjd4U8ikXdqFL9iAs
N+kOQLpUwGxa2K5Bm/8al+9C7goWGEJVciQclUCjLq36g5SDamnxO1/7jU6Z01vBVlQ2OW9k8TeP
VzQESrsxoKhPrMPtIU+/e3ZMciXg7ZTHaHCY96NKWtmNTdnIBOWmBoVQle1GN45WJnbh3kHyjQAV
DjT4bqzZvdOVxWgmvosnhOmz24+nYlScLGg2gp5CjSCynArZ8GrlMF6a2YmBmpQcEEiWc7aeul92
pUCm/JS1v6Am7bAwCGjd2wpRsWkHqa38qQR5c3tOF81OfFPv2wzEkDxb0LaQ86oUqD/Qoz2Uu0oY
Nr2e2GZ/1KVveZS/6sJODh6gm1yJVJeW86Pl2W2b0UIRGZGnnbK+KOn/74hcalTIbg9waTm5BmAK
QeUNbdzZtCpxoKSh62un0KUCH9G4X/8diqOAOILXttvuqQiN/W2TS1sTuMvEHmgRo4HquZxTcdSo
ErNlT15li9t6eJbhnS3CfZe9irGx68bIllZiiOvJ5PFIMDel4ye+2dlkDrAgCGi5jKdYDpVt0wT6
sRKM8nh7ZEtWwKIQGk1kj1c7cPDVUcn8fDzJI/H9ECANB2n8vwpMEY9wjZIyobhAf8c88itd5B+i
ohhPujAmOzOArMvslWDlNLm+yy6tzBw/SywdsAvvpBa98AcDfbQtkq9E97IpHC1X7VbmbsEe9yYp
J1Ai9ErOAbO9NcqxG0XSyQ0V/XumWcNOak3CA831SxtUUbiytacQ4PK4JI59Zzb974h2dpBNEqAl
zzKCLmAyNFm4tU/DJTyOQlbU7co2m7bRpTEY+00kp2mpZpvNy0F+2oMURbvyVCaibQy82nve5eFn
zfszmvdKuLLFrifz0txsV/eF0CUW2HAgjqGjxYPDhnMq7bX8d0DGpaHpePnwApSpPKm1JxrA17Jf
cR4/+EE42o1sy4ZvC8a9IGgTdXRzVt23DhG22/ttijquZnWqh0BlwVNrTuRjmLluRcS5p4T++d+D
d9Tf8vhPBGnkbTvX+5rM2tT8Rfs1vVhz34yrwC8EtFxPY+n9TOiP4aJzk5Ub7tofMUKrJ1gIXu9k
oC+nUkJRtDezxDxZcRI4AHsZE7VmWoPq7v8yng+mZtGcnqSmnkNERfnYTG1DzdNt0MNF/X+YtQ9W
Zk7YeWPYZgMDMt1kV9cjsrdrNHFLDvBxzmbuB81/lbYeC5MYm1TIUycBCdAYL6Yew8sUvt4e0NKu
+mBtXg6c6IAy3WXaJC2udlbjNhtvrJ8Hy3uIymFc8YeFwgAOQc0angrSgld0s+pYlUGrFOZpGNKN
DD+iW1efKkvaiqG5Gds7q272aKAeVblxxLtoiO2gkfZS1ny3Qvdb/jlqjT9W5NrKuFckHj+UCv1I
OieKbg/uxoDyDC/YDzTjZKrdRi0h6efbE3a9PJMfy6SjCCy4EWd3yFgG8M2DpoPDsh/BznK3y5u6
36juMVXNtTN2IbVnGtyJ1CiJS3mwz9xa7ePc0mj6IPj+GloHOtCTDHkuwfZLyHGDZnDcvv6rCI9+
IttNIvwzIQRdxRM5MEENoQYFncsdXAkT5FzIlVML2+yGGrliq6G4hg1bCJ/ouDCxRewwsefPYhmv
EAR69AL9VCi5nVaIHm958xlf0KEtX7pz6pcrx+y131MHg03OhMUEOvX39rMPh7yV0fHluSUQqRZp
CMEsvuYJSScxehMKq10Je6+plIDl87SAdYLKO7M4OzbUJoJQK9DBHEbytkhHKvtyugf4xfvWkn8C
ngyRPDchWWrjY+KyL+o62mvUwtzgqMi5AlFKXN6pUjvcDaX287ZLLwCS6BpADIfIC/Qs8eTlIpuN
RFOd6xsnz5TuO0F/KGv3GQYFO7O+yDyD0GTf6FVzcKt4B09xoj5oyl0lmVupPctr6PH3uPXyBpy+
ZmoUBgE/oYQuv6YT+s5yXWAm8peewMKECuHNgjzdodVUa34Gv6TOsR6N5nB7Fq42NtSJwLKYb25X
KGJm526jR3IFl5h1Gtt0O/jfkLZ3hOzRGF+gv75t6trdL23NT90CGCflGGwpkOt9cf+W5z7bVBtf
3hemvdZiNDnXxXxOxmjbotwP8gTUx+V80kShJmlYY0zRt1X2jAqGLSC6HlNbyb6tJdCvNtbM2uzK
V6TWyzm9rVOq/62HyqbDE0aEt0kF+PYkXsUWGELglJbeqW8fv70cllTqgxBbvnuK9cEuuIZl/7vV
rLGgLQ1nynphgZnDzKUVvfNCtCcC92TIm8jaAMVP/HszXwleFh0CdCyoqncO7Dnkv2R4XWxgZgRt
8DQe6tL2EiekpNXGjvf87zNHRg+AFQhxUBUzTxfDRg1zIXR5lpTQ62yk9KeSrJwp0+zPnI4mdcYD
xnpq6Zq9h2X6P3Qx94STpifVptMywVY6OTneHsk7R8GVmQkcIkOWBI5ntjx1GKtR48fCyX0tH6UX
VaLo5TR/Rs8eht2d/llrtzQEw2u/Ynf6/JldEL5k/d7RzBCMzNzC0EohVUThJJYPIRX+QdPsKvqO
/HVbp7bqbuQcAJ604vLXRxRvSJODmgc2jRRzdnZ07YRAyxXvTJe73Y6/rbqy2+anIX1DqmzF1vWp
Qf2FnC8HBpOLr1yOsAjbMBLS0T936Z8+kF7M5pMYNRvQeNA5qptuTRv5Hfh5OaXYIhvG/xsgPB2A
lwab0q/KEdGus8r5lFQ/GicSz2iu0YQFscr4UGu/Okgpm+Yz3VKI0tI9ItT3cI3tg6lM9A3ZJSOH
xtxiw5RUUdYIehYmH9gjCZ4pGuO9O3O1cRh11wq64Gy6D1HukSDTdkL1J3e/IVi6ch5cMc4ScZHh
xa/o7Gf7zNvfWo0Ss4uMxzltn8P0ze1ex+FhgDDa1attJ+HRvwvBDnh/0JCe/krLswwdp/q1zRWo
pkbRVhChqaf+Cm8NkX29s4kG8fuJipcbQ505hljTcTUkSniWAuDSVUrmPO5da2WHXWkmMAO4ODI3
VDqAmM9z3ePgkuiFBOWsyWzmut7EYnScXpE55Hye8FhnxbHJxY3x1e0zm0yK7INAAWebeJTu4q/0
QzsC74sh3w7hrn4Hc/fwKWmbJFjbl9OBOXNdkOOTdAfMCHBOzeInUJuu4Q9idG58p0qf1azcFZOe
g/6zkbuDmyD3tHLwLTgj+FseohSeqMfOexv8VJbi0TCjc2nd+eWL1DwG3l1dPQDKXzkHrl8g1H2m
P4AVEbElkLjcl7CJF5A8u+nZz9odsGk7iAa7ZKSdrNm5V55JIuCG7iYavkhu+qno238eLHML+QEl
KFDbdJFcfkETREbeuYV2EgTLCQbAFhV0ZlQ95HhvriBWricW2t6p3kUf1fQumC2lpw9RKZsB91aq
1bsgEQCb9Jr84GYSnVxqpZ7VZlUgZNkorJtEACAprqSpY39MAjMSTkEuIQei+p3ppJYnbccY5L84
VJVT08705fYldn3CA4Ij1wq0gu18tcOkTG+lXO4FMkBmOTppHmi6w/PdLDnhs8q1q8G1qJ4GYiVu
wXslayq8C64FmSk9TyQRQQEjKHS5sOSnElXqRr7A9fzM7mMYYAD++g8ppQGnTdmobZykGwE6XztN
Inhj9fJAKCvvtRo2tNvzcR1QmgAwkU4Ar0gZcv5I6/wgTQ1TjM++2EvbVJB7B5tAAvJmLX5YMEXS
lPZYQAfkvOc9X2lHhrv0rehc9YqyiSZsaV/S6lb0wxpB4DVXD2OC1QqgNXoAHKqT83146WYCINOg
CZNzjn5kTU+ZWVQwyJZOe68Tq3BuyP0r+/iBQ6QdNmlpHOo42efVztAyuyz73ZAUPyu6huWVvXb9
0ps0cYgtYL0j9L2acUlpY9+vk+QsuhZi2Fz10r4dko2b0wfzXSobx9B2CsqF9b427uNE+OcVh/XO
nNpRUYDifJltdk5XtZYzIzm74p2aquy5eJOslYauNjcNJpClwmFjTirn76H/h/n31IY9gPgVcY16
56uy01RPFrQ0jXamAr277cPXD4mZtdmQNFVoGm/wsvNotkez6GzRPeb95jWE7xQCG+0kK2uR4nUQ
PtmEEGp6ILGIxswm4VjVWn2ZnSvYamxfarNtKKdP9Jn+KNWh2nFZBfdhG8Aw3yTDRhmq8A4CCBiZ
RSvb5G4o/PBTYa1uvTTvZNFh4YL/DtqS2b3ltcpQD+2Qnamc4UWBQZN43Rr0PITf/S4utqO6Tokp
s5kuIgGmgucIJKokzAjSZ0ZLM9SrrtKzc9oh0KRVqnz0VHrFiy7xSGVV3sH0PG4vQRA2epS496jY
v2WSURy7ojb/rjjDFJJefQ1plAm0BaXr/PEqml1Hw6OcnbVn46DchzlpJbu1+78KXO52cMxqm97L
NSDtdX15mgQGr5POozT5ng374PG5CFG8UajZuR+zQyHptvdUDvmmaivbQoox0u8aCzGzDYJ1twe8
uOTT+wi+GBHFrdl9YgUDxCajl5/Fpn6tmiHcugUsGLI2qvswFQ2IUcf0522bV0c5g4V9kR1OItS8
6p/VBDBzwjhm54DMME1YIRKjeSM4JR1g29umriLvyRQFZmB4xH48Qi5Pcn0cKmItKT8b7ndFftWt
19u//yogmP3+2T6WBF/T01DNz7Kxcb+ENToWdlk4abzHUW6bmvbBzDPpjpsagHhlUm6brVSMWnro
xkZ+jv7mx/wximxzUzRO8+Kr/09L0/p9cMZOQh8stpT8rFlnwzxm7aaOnL76PDwL2kaqV87fBQ+8
GNe0Iz9YC+RR7+JpXGr8rAVbSXvyf3jJy2oCYmGppsY/IiRu9OnvSzsFQnKRZg4sFbL2cO52fwsi
JtF7horUifpic3u5Fjzvwtw07A/DMi1hIAjE3IiibPjSrEEZltwB1B4wGmgLCMKUy99vCaaZBqT+
z7Fc2kL1og93kfvXLY5S4ejoQ7dwsdwe0XXsQVqD5zwvTNJ7UKbPTMLU2NZehLPTujzmnwIkeeBV
eiDZ/Nt9gUokM48hDARrDT9LM4l6EoybpPrgw5yZlUla0nCIg5jpvS94WxUxu9sjW7Mw/fuHtap8
EcI4Ewt0FArbJPLgHBtI4t+2suSA/00EBGqD6G12VhAtAWtRsALXpPQSq0elokfwEA77plnZU5Mv
z88KSuE6hO3ET6SkLgekh/FgRUFWnD1950M5Hz/JSWr3xgrIeWnePpqZrUwL611WVZMZHKFO73z5
cHvKlgzQekVnCRxK6FhPU/phYfpaH3IePMXZNCtHSj6l67H+NBWzqWIHgcYweUWCNpodCzFiqxp5
qvJsNHdIodBrpR+7TUSIrxg7MXiU5EM7OP22P1jVa+CrW9kOI7tzymajSTvKKsla09XC4l180fzk
SMMiqXqDAodQH8RInHzRTv2/rfjP9QDyZNAuMHy4JejrnPm9J2QEepJRnftdaL7G3UO+VjNcONwv
LMyukjBpamRMsKB0gyO2f3XzPiCelUIP6Zqn284y/a7ZStKcyrOcEiXciHPJqV7U4yJP8vrcILDi
kGv0eTeE8SEOwVD8uymcki5OyIYoh87Cik5viRz9qj6PneSo8icpJPEw7G8bWfADqCimSJyqP5t4
5vzYHczRqOtzAjl2lMCGE0U/jGy4K7p8JQq8TitMGVNrkjEiW0UedXY2hV3FEYsKxRmhrnup2g8G
zq8+K8azQethooa7CBpwV1APlaDv/XiNy/l6rPALkJ2nCRBQJxyXlxtdhZoaMZGiOvMh4HH/xPKL
K2x6BOtvz+m1j/BuBpn7TsmKy8/8ERWOIETxuTpLAlIUaQYht7wXsrUM4PVRDzKPAZH9m5TW52S/
NUoNctqO9TlVQ7uTXrLwqI/OoKAPMaS0dB5vj2rBHBkw2kbB0/NnXofta0Wpu0ipCaj1L0KzA6TX
Vo7YvJTOWIhrpdjrPQ0v33+sXVVie+C+fijV5+Kv9wSpv+HvXts4Xos2piW/3M6XZmYuKUFAjWbI
UJ/19NcQ0hVr3JfFm4TYpbsJAkINV7Xr8PftmVzwQwWZDXJZ/MWemMb+4cLpsqq3hEStz+oeJqHP
zcMaeOg6bGNUHwzMNjWMnVYThRiANMzRHcnWN8o+2wS72+NY8PMLM9NnfBiHG8VlUqKKfA4QyVXb
+ykX5eYrm2nBESYMNi9lCFnoAp+NRYqTPB8ytz7HOfQZkM10JEDdFHT/k2vkK6f7wspMIitoToJB
If0zM1a35HnNoGvOQ5j+HuFbCgHFlaO00bq1N/FCoAsZ2jusFgTRlJ24nL16EPVO9eTm7B+9U35s
f4l3aEzv67voof7rfmtX5nEhA3Vpb3YqiYkr9KEoNed6Vx+JPF7UY76lX+0Iv+0/+8XFyKZZ/uAX
UieGea2IWFJfLa/4OVrR9977dzwK2SNwXuTISXCRq52ZaTQ9zghjmnMXfnLDs6Z4z6W2FYQ7vfyr
d1D3eJQcLekQjgmk8tnn1DvcHud7Z8/s9CB1O1FAc3+ixzb7glF04cBusuZsmTFEwHYnKrbv3cvZ
ztUex3EzxqlTGvbgQ4L9WJODy62HNVzq5JK3vmF2mMhy5g5j3zbcAqRq64dGiR/MujpUZUF3zPg2
imv6MgvbHiYGnWQaqBwugtmZmTVy1YHWbs7ycPCHP2nu23m2W5nahYP5wsjscdGm8OebUd+c4+6+
NUBYSk6vQQYjflb6fewdS/1r8Hzb5rRaVzMJ6BafAhB2FaRncpjoCTy0uG3gKKhzIu6XfnW1tfLK
oh3IheGRJBsJ1Pdye4y65SexrjTnILR+dEgomr7wMwm/Duoag9TiGYNoxv+amp0xzWjEHajp5pzv
CAvqTW3aebnLsl3T2X68oT2orDf925r0yUKkx9bUlallB6Aqii6zIbahNIo5Q7TC7CGIPtVNui0g
7KCUswFPs+1GyuF8g9S6kK31r2JanW8v5jSyq8X88AUz/xGqvtQDxFPPcVs+hnL9qvlr67i4Dz6Y
mK1jE5pWlwKpOqO1sK0k37baB1VfGcd7AH5rILMlTJpigBESK8oh+F7BcP/7py/ZwVaGaL6wE4BI
9+0hJn1MFvUbJfnqkP/Jfqa9o9M/gcYlNeDeCf+s4lDWJnh2nSiuH2Reg2sNcrpppa3Rrc3vsvdC
m0mLG4BedBsuvUiCH9BAFA7hdtlWI1rMe39THn/J/a5p7fBHdJQ/33aaxZ35weD07x8urkCB7SjQ
pzHdxcd+JzqdsvKmu676TZfWBxOz47rpAhFNZGu6MtSXuPgUeFC+OAgO5vUdqfujFut3aeCo9EXR
K3WKTO3B0z1b66ujmFPXV1tbFQZbQ/jR7FYyLQth48W3zaKfuCCe60yGX2zzuiA98aQ/SdEr/ZN2
rz8Opbzyolg8JkD7knIxAKxI4sy3/SpqKkXw2nNTfxYHgDFW8MkNJoSW/GnsP6ck7kdygIlY7UtN
PPR+vkb6sbTixA/AWunrIGiZPQl1uN8GXR67s9CVtuLtK7mzlfKXuqbMsnRWTFKtyMPQcKTNcYRp
BQVQZEkdUQppFlLrP8diWAm7liIBxBxhfoEpaeLxu/ReBR2VUjbC/lyMxTYUHwx529ePfe9u8n67
JqS85Cu0BdN2yiONktrsfE2sRnBlPenPQtQ6nR/uNfpzOdGLOr1vQ8MuYIkXh83t/bn0FvhodHbi
lgJl+DiJel5rf/xoZxhgqr7p2ZGH221D73WO2alLUIlI2YQmBPo588yuhVE/07FkZJ5TBpWTmuWh
EesX2uc3bvRTTd/S2i6C6hzQ+ooq916X3vLgRya03/XA3I+QuOlluu2l2MkVd1cgsNs81wXCOmKy
FtkvODEYcZIBIHEM4+olIWm+j6YPa5GIhybb6N+QiPT6rTXEThL/rLfJr4Ae+D9w1vXuL7+w25XE
zjQZ88n6aH92TsOB3VeAzvCFUD4WhvBs9tlaqD0575UN+EZEjk8KVPMMqlEGUqwVRX8euQRQKP1u
Kiddqz8l2dkfTbui3ytr/gKX3xqjtjbBkzPPjUMKPxWsgWuTjbvcWXGjNaridsM5bqzOkc3hIKKg
Sie54r4IQftTVCCv8mphHxRysfVF9LAbI9z0o9StzMPCHtcgdQIuTtadPP/shmoFXj11EvIlqvhW
ZH9Eq3lEmdjpBDrfvovWWoPEwrn1X5x915KkOrDtFykCb16hfJsqprvHvRBjcQIkAcJ8/VnqG/fu
LopbxJzY87Q7ohK5VCpz5VpAO6JKj9oI0j7z1zcIkG2rb+WI0iML9WQ4WGwr3T4cUhpMKYhRkxOg
fSP7UVpfBPfP4keXxCearzGX3bZCYMiAe0PeQFUlbzRHvKrxaNJM47mtzjm44Lo0MMwHV+49dzu2
O+n6ewYOKjCQH1VPr5btNHDT6n8qO1nZ7Uu3FppHgRtBDR3KVdrM9UnPcJNOG8dzUz90DLEV2/gy
mAC8fDbk1n2avK9ussa4s7QFUbdB9QDxPCADszMWk2kEKWQ5nRlkWQcoB6cdtHKg9DShVABwpYcE
oxEUyRQwiMHHrr+WkFtYATRgKJ42iLRiBeZ5fCerB+Ha5nTm+Rfwmj42PzBFDzz3ech7MEXFLCRa
yMYA7TKCHJIONFHJb1lVv9Pi5333fOtwwDqI/DFYT7EOaJm9Po+eOULh3NCmczcATuvw6QhmkbWK
4K1XvTYyi9T0orJTyD9MZ9qeajA3MVS4tqtk2EtWgFUHcQS4ZnBpz660VPa2KVqhne08CWvXCEBw
85fK13+fMLQ6Y92AEcZ9rdzKh8DWy6EfahOunZ1xfOgNNwvM0ovu21hIMKHtHbcm3pvo2/Ln54II
QCjRE6md0+4UDweIrGXkqc2fadygkmtuTD8JU2utLXhpL0BPDxVqAOlUPvx6aAbLIdQTwypkMMcA
nJTF1gVQfCVuX1omkMSC7ALdYoqv8dpKWrg2hWfSzjV+XxTxHvC9Fwh6/2Bptr0/j4sD+mBqNqDJ
r6jWUls769a0leMT5AxWBrNmQf39426A/rHJuQUL2ghoIa8D36Qrsf3txYEcyjtQHpUr7LlZYJ3m
meEKu9QUJqaAmJ/Gn2p9WhnIAqJJWfk/bczohpxHBVkty465OD2VBFWdjzdRF5gnY1Od2qfqO1sx
dztvSElZSGmAkwqInznOx00bqWNQxjmBLkMr9hSqxPfX/nbW8NOIM5DRBNoCMNTrlfEbQpq8oeZZ
m4DVo2Lbo8OvBD7rvpnb3YxICg8uVfDGDTYvQAwCKdq6nazzyMCwox1bdDdN9ikr1vC0C4bgC9Bv
pPgj8CyZ+VCXlIbsC906Vy3f5U52YbH312zQS9KWX+6PaWFx8IiDIBwoYtGoMq+W4v1WlZBNcc+4
KYNU+87gSO9bWNhtALABE43yIWq/EBO4Xp12tOxqamvv7AKnVz62fIyaWIfX7v2gybsKTSDkh531
QFwMTz70g1Y+4HY2gU6BB0K7i/JF8wpchjbIYbIy/5w2T12nQd3jyRFI4WUr+N8VO/Pa2zDKpEll
6p9JmodxlgcSWF/DP0r68/6M3kazakDQ/sRsopw+jy6HUTPEKAv/zPyn0TghURDEINztqh96oh/R
kP7pvr3bfl+1PdQDHE0a6BFzZytYO3ZVgGCHnO20Bd+tcWj0k1b3F+FpaNKWIYhwwBeGnvEnf4om
mgYN+c16E4EM2GMAoc3+Pay7/iC1FB9cse+1hks1j5yNiNOAfLXb4Bi3YfJaneSTeCK7+xOwMOFA
c4GBB1V4SGLMJ9wEv7gqjqcXtyabifwoOvMgCN9mMYRVekDwVqHcN3sJhtDRiJAAoSP0V1Ue4cMA
PbtPYiPhSuzjxR8hoEISpJylS/72UE6/P7plW8qn4WmEDWVc22pFJ8rU653nzrPHU9Y0b14DtUDB
hbvLbZOuTKZyXlevQkXpgiYBYOURF+M1cG1OMGjitsIGG77csA6SAs5eCvliOfFnRxZr1m4SLqpX
WPWEoDQJOKs2c6UJY1bbgKXmuXO/Ou4XyZMHWwSty0GNjtSV5YVWtzahtyOETcRWOKGor2Edr0dI
RVwjHQPKCyEn8ODy9oLYci9kjMQzHe3Q9tFkdn8Nb4+oGicOhWowQ21p7sf7otJZV7TeMxeggIbN
Q+06zb5ONP0AbMeD2cX5Y1qQdl/U1bcaKYcQNHQssNPJeal9DlnI5gI0UnyOnYluuFylB7u5pC2U
+nCXqXUHr+EcMuP2xM/AvuM956RFNzAoyZKuBE1B+bIyFebNBoMhsJAjsoW7Ap3E9fSXRJcQQU3A
xP+E8X6e2j34qiUUdds3tMQE2Yv5dzwip2i1axmPm8sUQ1S8a3jgolMYjAzXlhvhW6nsGEj4c9rv
dIHGRXT9eSsx4m2DAszgKY3wEO8GTOcs3LH9hMWCWv6zqwnn+5h0uGv01PK/usbU/ORtCSc99on/
dQJDBQ+6OCuSgMDXsN0w9mAm6bLUpYd0quW+FF6/puOxNA0Q0IGcN7RCkA5Uf//ovJJGKzsl7SSm
ZHqE9lUdpMbY71fWecGMgxsQfQkADaPQMZsGpwYPRWPEaDJ3W/YwIfj3A10UwNVASzZwJqfeF+7o
ba2it591E1DpymFJ2PZltyVe7m5ZZ1CILRdr3I83PgfATkWErbKLiq9t5uEaPrBCy4vyXBoGjaws
1fdJTNsoTvQmTDP0OqIzCByeHh/RlwVmjPsTc3PQ3s1D7VTpTAJ+PJ/+FBzVHUvRhuSW/qaSWrYt
pjhDUpP/MxzSgbfxEDnaKP4akIa5XumRZxRUYF56gThM/5uWCPBlpovD2FAN7TNp9+P+0G4fyzCo
Jle1Dahn6+xFXjiV3dEsyS5O88saXntoLINgc5e9MQOCbSnfxSQk1hoP2c0NCcljuCxsMnRjwMPO
dlqSQsiNF152qUxLHAxuJDsxtda2cBoWZGO1pkJxE2/M7M1u5B6KcgzPdozSfeD9J+iSFmgCsZGj
DUuIqt2f0/en/tWFDGuIagB6Rm8H2A3mXqttU9ogE33pQ4jDHfwt3cgNCHw33oZuwBMKEnMS7noU
Rb8Zv8pLp4d2FfZrsGhlZfYVihpTQziLrlyIwF9vJaJDfLJDg/SltJGUqyDPm0vQpFj2T3Cp/izS
xFuJQxYWFSGdqzp7VCPh/JgYnWUR3lF6MbNHfYJk93R5G5s1wqGlHXtlZuYMdN5YUBoqKYQTkj26
wtwqedCTbF8X2zqJQ4rqd2d6B6Z7K8/uGy+EcO7j+GZRCJTB6OAWpLhoEJe3h4ecnvkAJr0LalAB
SPmdnG3v76SlJfxocbaRelK0Fg4nvYjxmfhiAzHR5ImwnYDW/H1LC2uHjDaU5JHSd/F4nU2qS6AC
aWRGebEEEuoy25fZZ7Psnyej2dy3tLB+uGRALaqIhBBjzUkqPJH77WQU9WWsXXCX2SHmMRtCSHzl
ZQ6Fo7BCN5GdoyluxbDa8NcHAihm4LRQs0CzG9zP9YHoRZ0ZvTuBsqdpv/MhHKegQdre3xnpti2P
OuWB0PZ6Rg/OKpve7fxe256tpE9bsIFpOmwPLyloAml1KLskHL+sjPEGroSOHzxg1Ua1UTGc81xX
ed16ecHrC9EvjQ2S2ibZD/Fj7j8gY4ycKJgSLjb5dd/q+0P8dmb/s6pOzof4ZByzwa3qur5IOLji
TbzYP4soP8sHawOW2rDeA1X9WO+0B7TunsdH9pxv6X66aJ+MT+O+3dnHtaN66++vpuF9D374oFKl
DtquqS96SzYEvDz2YIWlOOoahFYmEUJl9Nv9Obh1DtcWZzeaSIc80SZMvGyiRIObn56qZsezTdY/
Q58QrRb7+wZvghJEacCi4BCphD1oQK7nvC1ZJRGx1BdwA4VSJ5vEMw5ltaLUs2QFlwf+w52GTKB6
GnyYSL/hns/riV3MOECURb6v4ndus1kq3MR+hUgk0lmAMF6biJOhwnM95RcSgz0JRQi56SGoGphm
Y25bjv/XDIW2qQdIr1JzKL+g36cMm8Rlx/szunBGUdEEiQV6vd8fVdcfUo1xhqjFZpfM6vFeU2qn
J/SSgCJ+jbBiYVaRHUD9GMTZqJN7s7WrGQq1SMuxS92NQaUNFwEcWo7GkfsDUjM3O5Z4OwEpjPsY
KY95j4hvlYU9yZJfvIrKHU81EFV305qG+MLOR8MpirLgrUNOcG6lSSdeiGzkF5Std3bcn0BVEeUP
JBu/6cT7MdJpz5OV03Zb+0SQ8dGo+qgP+zLtk7GrvYZfRlIfi/wzF8iKiVNJZFCJIXDtDkDw48DC
ipC3RGSX+zO7tIBossWWRU0BGPfZsZCGO6Sl1Pklbu1dN7ShlN22JfXKXbloRuVYkBpH0Wp+Y8UT
clo+s/glJSjocuDsSOvtRub8vj+cBXcJ5PJ/dma3k5dmdg+8A7/Y7tHgAs3wr3oFyvbHmp7Rl78C
71K/Nt+WnqKaU82p6HebrV3SdWWR2kJchqZqI6vOnc9dXfghqoaQo6oNts31fI3kbsnNADSBB4fq
FLylj3IpUq3cKsXFztOD1uJw88DWfyG3WpifwM6F91U3VXtC17grFyYXfN8oqwKghMqnPZtcHRAF
j4EV6TLZNXQUvVfJvXozVEVko6E1az039AkqofeX9Pbsq+KAAaN4hyCHorbWhwNSAIRQUtI0l9EV
QEzoNP3cOE4e3beyEMwpmVQEdDayE0jlzjxZxUuNZKWFwZVjcWjS0TnZ3M82JrETUPFozaea98Pn
nHTo33Y6sivw/j2sfIS6W683FD4C+SEI10EDAJWx67E6hdcWVPebiym4EUD7HDk34f/QQSd8nEYg
G12p+ENiuwxr2tVbmggf2dj8nxs4VQoJ2Um8plGbAWTr+jvqBlT1SJo0lw6ZiC3AI+1hyku+cvEv
rexHK7NIQ3oCRasMyUVQ0PZbvFlAujY27fb+pN4eUjUWXLxK8wxEDTMrMbq5m6zEnOodfzDbOAeV
k/MrN9J9kiR2mDrdCsTn1tfBIAgxYBKIbZyX68kzeFaaxIdBWxuhbZ7qvww9rtGyLtwVr3p7z+NB
7OANYAC4pNAI15aQ4XTRwijaSyN+y+GzCaHN8k3EKz51YQKvrKjXyIcDWCHzO5i8bi9I3UGhBAyF
QQqpYrAcgoi3sgq0hVTuGmHNfG8gHEFRGKUl3MdglJ9n8EaBjj+/s8UFuJk+ZIwLJMhTa+UhfONL
52ZmYzNaVk0D9wBo9xpwQYEMCbrY/Z8YIqJGE7npn3Fsjuh0qf9xj8ztzq7dqWcDRapYXHznc5/v
2/FtyD/f3/fKV3z0Je8m1BwiEkWpYe7QEguVYdokzcUtvhsNxOcBJ4UW+xbtLODyRneNZQfQbV7x
1u+K0nOz8BwAqyiOA6S8r3cLn0rBWDzCXVu7/Jy9Gd+c1+xJnuLH6q8bJqcaGSOo0ofNkSanfFhx
KfO9aqAxA24LFXIki1RZ59r6CLXBOI5RVsloYP+q+vSYe86G6/bGsfyV0OkGeT43NvPWjKZGWiZ6
e/Epkkg7DUwBkPKrRrSdSYhtBRMpxtMwwDsdrGpwnS0xqiYN206AI9R27Tjbx7ovVfc6M+gh5o3r
hbTI0B3nZBDs3jDZaNPBcChwPiZzGhrySU5/7++TuRPBKAAAxUoB1YiqyJw1C+/KxGnpJC/mKPM9
QflnX4zpA5qQ8kM8imrtjltYInWwcdUimQcEw+zIZazuzZLS/oLOQOMpK1vy1oyle3SyPt3GRDZw
L2xCYlFrZGgWjGwYM8Hj6+QyxPPOCOvJOOSMIddIiHHMYQyhV7nacTNPQGBeFCGjgy57RFlw5ddb
KSGjNYC6uL/kXewHjlE/2L5ovtFJF4/UzM1gQJpwy506O6JpRz8JCJSsACNvj7BCf6nyOuBfuGVn
/r3qK5PVtdFfst7qT0j7PBNQKXy1BGu3GRnqc5fFb25iPutMrvGxv5cirw+yKiHB8yObjlftHPxO
jZGijm4Olzwx+FnQeNjZhjmifJROIWIUbVeYaAnsdCIf/Qliu04p0wNg3mxbJqz/kdO8ei5a0wjz
noCek9o9EhhQfDOHxg2KHvKNNOXws0y4J4jkcbA2yeIZ9Id92PpWHOBBBJLZOrZDRxs/Odnk76Qm
kwORzououQzR8LkliA+DvmyhQlVV9cqzc+F6QDUW9L2gblYx/hyAVyWFoKmWDZfU/9nVxiYZIcaa
foaM1sErjMsQA41l7BAIvuAL7x/LhWNyZXp2Q6BIDD2aEaq6lWE/20X8Ihz96+AXz408FQQp9/vm
buJftd1Reld976iIg5v+ers3DNx3g0aHi57nUCWzNjlIfYGQDalhBjVpQ7Otj4QBtpJYuxXbt5f9
te3ZPrcq2bnCrYaLdEeoi3E05kzGRtJ9R36UsRsafrwZK/B3WE2x77Odq3khINMmXYM+Lk36++sG
bLToLJmHbn6uTZIPAuuddwG6UDXEARI9fWPzF4iLleBjadS4ovCxyACgKD2bcXf0G7OREw5YTlB7
jG39YAtf/Ps+As2jytGYeD+hV+Z6XT0zLX0v94aLU9qRTKG8a6FB8Lflg/rlbWUdF6YPRTgLoE74
K/hO9fcPkWLtJi2KSM54yVp+yFI7EN5nPh4tNOaMPQl0fzrZjX+uoCGYou6MsY5+GtTuoXF/VQB+
V4Lu73/SPBaH78ZDFUkHFLGQmJvP8TiI2GY8my5JbOF12g0NWHMBP85GXMT3Td0up8JLop8Cg8fl
PX8d+5DzNKupnC7Qce2DDMH/Nq7NanPfykLQgasI7gjcNwDKIwkwm2NpVyTJhH4pEtluKc3aI9Os
OmCe1e/7kRjRiMI9SKGTZJdw092gJ97dgF3X29hyknudxu5j4dfVLklL/tTWVN+7Wu+GqeigHpnq
nRn5IPJdCXgX4kIkSuBabKR60WUx59aQjI6e9HLzMiblBhkLa5tuOv+v1QUO29mgXxvDPIDGIGgw
sg0IFquvkzp3ImBrycQFV3f9KWolP2xT1MVdYpf4FOfkhNUu3VzED6jL7vhaqKNCmesrFFofiKMB
ylCa93N6FNPvi143K/OC6y8ot/ykb/LdL/MUP1Rh8XJ/YyzsdNjCiw+uFFS383aGqau1xNFhq0V8
X7HPEFQV/hp86TZWfBcvUZBabD+Ag65nDhSpMm3y0ryI4g38fbt8bLa0h6BkujZ1yi3dTB3CORva
4aooMLOUmSb3Wqc2L/SbQw7ulu/HfF+JHXJq5DTVYX+w9aBcI5teOMPIgxpoSAImTKVDr8eX9xk2
aTbZF2E7p5GPVmjbhb/955WCH1bqnwql480Zz02jz6yhEN6l1aXYuEVLg1GIx6nN1kTlF/YE9t27
og0ojxDJXg/HMiQ1hsTwLrlNso3tZu3G6qxy49egtbk/qIWZQ8epBsA+qN7QTja7zDSzacs0d70L
4ZYDKRPDg1rnsKaMtjgg5ctBQQkE3dyKSxqzZQPxLmVjiqNEFJrhFunyLy0kTaL7I7qxhbhXabMA
b4A0Csob15PnkoRRllH/0hhaHRVxUps7YkATPRBozlulEr01B7AMarom6IvVppjFQBna3zzmugSx
Pg18yOX48XfX7CHtu++7MjCL6TLynYU+bUfwIBHxHv9rKwnKkskKWvlmLbH/ce5wX6IjCCji2Vrq
vW9njaRJNNagvYCQ1d9iStZEBhaMgHUcpMR4AaLfYJ6W8zhU1YnvpdF5u+I71n55tus14uu49vHL
iDjCtWvsxgMqGMyHz1Z+68Pd4bZdXaKvMY3G7As8ydG2zuRrAf7sBpxydNqZ1tEuXln6XCVjaIin
xNAeBicUnr8SNC99CFoNsF3wMgH6eLY9Nb1smhzOOGqt/JBmFE00omVojXWroMjWuuwXrCEPh394
CKIcP2+qIrFOKJgZ8ojLKcDBBKhQbrQUtO3b+6du0RCkWhCF4wIBRu16fuFzWdGJOI88jzxMU3/w
y+ln7hWhm6yyIagpurpjzHexG9QVTKAo8NK9tmWX1PLQZJtHWZ5eBvatnPaafOnoXg4/bQSKmhPk
OmSf0MoxIWcGtChKBIGAKnz+xyH0cn/kN+QM8DZIwGAtcYujGO7Phl6VnT42miyiEcHfPmvyygx8
v2cB69OTn/vVp2GAyrjhI2ud6zV6j+0iPfbS7h8wlWmY2M1qI/TNNYxrQwdeWbUnKu5f5bU+bnef
QRR5sIoo7ukrZD3PhddtR00GxmstzNCs9xXKyogepael4FqfArr2TLoN1xSLHhJUGmpOKP3qs4gX
ogQ0baEKFtXOA56wz3kR8WKfWsfaPTYGtiEBzkUrgvvLseCP8QZEhgr9ychlvtdtP4wcTFyJh6xK
ESF+DjKlFMD+dukaLmrBV+GGRriBOgiCgfnYZJpowgZUMsp0bwh5peHZKT2yuT+WGwg4tparKMtB
bQv1Z0Cfr5eR5a4V215Po9goofK9EzbS92l7rOy9SSqQDY0hlWDMqIdAb7ON8B4k/Q205UYAEGaR
pzIuVs75Td37/ZPAeYfYTmUdrdmqOqnN7LgFCJam9MWPvaOsxS+739mV/4szGY5xHJDxMJp/INjZ
FuPu/pQsTTzCWEVkrUrS884zQvrKkXVaRtUAHLA+QETJTsDBe9/KgjcDP4WCh0HVEEnE2ZHOc6vq
9bItoxLiVibPjuP0OpX5Cyn/V+MB9gRN7ADAInN3vcIStUuZWg6ms6ohc31sk2FlEy0dCOQgQbeB
YhrGMrtWM33qTSPLykigcyBseudXPHTgHSfVWs/e0okH+BI9bpg83ATzuLWggB91nFXRuNdA5NI7
u2I8DE4UZ58640LGV679+2kHHR5ALBge0EhzsmKAX6eyBDw+KqRhQ2xSksAn5lEz3u5viJuMLk45
JLNxZUOGRDfmG4L5dTLWVl5Flvnagkk41JBQ9N9aMBaKT8LgK8NauOGuzM2Cyljk7kTHqoo0uwa7
x2jKTcfaP9kIUnwqfXEyvYT8+56HTSRBUIOBFq41s+nIRo/1CTZz/c/U0Z1tsdCeouyfodAqOocy
Hs4VggVISM2dWhyXxKJNFSVZ2Ob+Th+3wxvazSpkETQ8gu+v3Ds30ixagDn8g3IN3vPe7G0YV14O
uZqyjnI6JY9mZmXbuC3kxWiqYaNNXrPvE23YtAmqiIIZ1o4Lwwhd4kBpJCmGnYXkdVjbkEsTxGx2
kK4y0Whv+eGQM+fIh0FTKhHpxugdO8jTvH7QykY/+HEPyrsEel+V03Y7AX+1y/xh3DI2FkeRs/yx
4ZkdSHQPvFF9csMYkwL8Zw8nnqTVp4LrdC9K6IzLDsVGwttNQoz0hNQ2OxlIb5+bSUCQxe26/f0p
Uy58PmMmiu4QftGQLvCVD/5whQoDtw3+WEejVZZ7M9arHWL+IbRdpJiHkuo7KVzx5tNubd/fJu6x
NywNJS0EyIin5tFxOvlmU1p4t3WgbbD0UOrG3puOfRYN9r4Q+YZr6rpjO7Q7H++PesHn40ZBcwto
L/GUu7lriTd5vM3rqPc8tE99lhmLXOWTV87Zkiv5aGd2gRp2Z9RQV6+jmO/M4q06axYJ3PirpyjD
5c92jTV8yZd8tDfb/y362xOAb+pIZN89+akHUb1/Kigyj9g996dw4apB6gdgSiWaoCCb1xundosE
aCK/iriRWUfpZai8eFBS7mn7576lxUkEYyxyTKDSvlGfi2VZ06rEoCz5WA926KFQ7uQp6PV+Ic39
BaixZi0TaiyNDul4dEAh5gNN+mzhiC8ReEoCB5ludHZMsjTwxI/Meu2NLrBpvk3Kg2cXO68O6zjd
9Ai488A+4FUaFOSUdCGibCPbtP7jqNGTI6H1ZgNe4r3en5obLk7lX5FmQfiPtUAlcObI29Tz09yH
w2Mb1awbAkBaixCBdrLVjs1X9LdA+S0VARp9X+6bXlqVj5aN6/V3u8nLYruoo6r1QjY5u4YVmwm1
H+L1OxbzrcbTz2iDWzlRSzscLWmKORZFDPS7Xpv1eKmnZs7qyENbRCPLMK3+Zv4vh77m/qf7I1xy
jR9MzcPPjtWVEAbm1hamwNUAfjqd9k+eA6CnORliC3YMaITTco1JdmWM87TLgJpTRZoaPnmoXian
C0b9kXG2GbKvtPh9f5CLy2jC8atXmxL/up7Pwqy6yZGijtI4Cxg/1+gAL86al28NP3vu6ZMm1tIz
SyYdrB0QfAA4Q7vy2iReWgZzuoJFE/jxQZ3GD5VdloFuciuk6TA++NJOAlTqyT4dpuHQpmm94z5U
MHpzAjupk/2eer/bNNxqD54u6aGKmTwYuOJjPS039ydo6aoABRPKOAAp4J40r79W+lqMhCJuqXjw
JZrwyvLoUfQFJzVJQM0o1gDOS55HPbfA8YMGTLTBzux5E6MTKVk07I5D+K+d98pffPz12amdKB3M
LMavm16z0/uXovxG7WMcg4gHfJP7rv4hvWTDPHSqRPfn8b0hax5pQOAEcnZA3kNKe/bO6ljljzhE
LGonto2LB5A1vbSmH1qZt+VG99IVv0GX4wynQXzitAv8y0QfRpuGeCoj2u8fUm1PCqjB9SdQooNy
+5TkQUnWOG9uTj0qyoBjqaQ/ECE3PQjalDt1mhMWOe4Iun4eDvGTJx8bTTvwOn9Fcr1auUmXntkY
A9LtqKOgmDLnJ0itofF9bcDMyETuUzHg0U/RmgTZsinMhUFPKe69YDAGfmhte3w28rHcZ2bnb1AO
NNb2iNphNwsFZ4CeKZVdn4NqrI7rXUEYiyyWbLl+aHgQJ8fKPVUknD6Z7ggFxOfi18r2UMt/YxVt
GQYqkCA0MWc7ExmysZ28ikVapu8ArK9BUpH8pikLvMT+I9hQhnzwvhfVrqiGgHjJU9/3Yc8m3P7k
awJaNosnB0b+Nibkm1bJY5acFprRgbnAaxekbLPPY1DWcrShY1HP+u+IVP2QNKCPsLyyPRoMVChm
4QEeJom1JV3drGRC3uON+exgJVC7AfGX4v6+9gqt11XEqzgDM+kEylA+lMg55l7SffPx3nnsuROr
bpYJ6pQ4TwcpOcjSfGk2xzbPDRaMbsIeNKtJvrCqQ5kfG0o+DobFelU9A394aRbf7q/oYnz/DkKH
80S7xpxHwcm1hDNLwz4yxlNtD0eHx0FeIeztk235YjoPaRxOwgpBX7USJSxlJ/C4ACsXIkDQzc+p
v3Sw5tXFYGC+vhYPNPDwn4na9VpK4v8zxv/szK7PthgKN/dhxyn/uvFT6iklj0+UfZuEFwK/sPWd
QPeaZ38t0r+9JnBKFA27osbB9M68KacNr9wSxyUDHBGcO276u1ztYlgzMruLvIH6yF/jtjCiZKoD
+drET0nvBVKwTZ4fSvpmfnPtxwLxJoBkmxpBKFmJFlQwcL3x8ToEzAf4GPS/3Cwkt3lstWOP69Ci
O7OUr1JbI+1a2Cx4CUL3ADlAYABwuK8PF4jENTmIkkf6mIYF+l5obQVoJTlm5WOagODPHUOufa7j
lbHdxnnXdtXfP7y9tbToga+EXcd5mMRp0PeWv8/d0FwDji2tI7KCCkRqoiF1DpEra9MjVVLxqLF9
vJ3SLg6JbXL0wyaraO1bP45B4ZqHO0TKB3J614MSA+lAkSt4VEHENWutJwZZeFd18yW4rjg7sJw8
GDHoa/3qsuJxVCw23yyg7ATJEfgRFYrp2jaPp5EPaA6LfMBlwSyAQMPVUgfYwzzw0ZM58LHeNA6I
evOmodtqyETojX1zrBsBdmKIeK9c7TfBBO4yqN06FsojQNXMUxwxvJ099hqPzMp4ATr2kyMrzL/7
q7bHY2VVB3dY83zqIprPgcrowSh4fHF4rufANiS4KvqaR7LJt24KEQiHHcc+Qhrd4OOmR2iNQkxY
gNG3GiEFGk8rY17abGghU2la1bNmzT7A7NAvguoTNpvTIbKkDjj3HUQOEAZcG+ttbA4aiQ+m1Kd8
OEB5W9ZToUMTRdbT92HIESr8TXr6N2H6aXJFKMz+MXP8ULPGYCjKh0ZaYZK6iF+0/WgfBraG/Foa
OwpFOmphqLzc0DJ2Bfd54VIegTol0KgWoBIr2VrAuDRscMKq7C1UuvEmuR52YVFIRCDXEzmx3DfM
CBrN/8MsdgBbwXblSC0cZ+ToAGFTC2qhKffalsU1Mxs6X0ReTLZcY6EmvYi2IhhKZOcmSV7rmoAo
mhdPTrq7b3zB9wN77ms4PujRAWLq2jaqDrULYkgBrNtr7fwa3ZUIZWEekeNBI5cBMCCuUPX3D9uH
GVo1aFMnInRQEwOIjunJoE/JGmBpYVNcmZl5xNTqOmbrMCO+mhvr0r3en6XFnwcGHkgGpOJQn74e
hWhGs5u6SUQUTTga3Y6gJofA1//CCEJPZPNRYQav4bWRRnMzyoC6jSZLhDyFRBBK8P2/trSpJhjA
a/6fldlm413i6WMHK2JjBStuaXGx//vteVVHy2QLjQOsQl7KnUtJqJl/ufHDS/83m+qDnXnMlGgZ
pz3sTO3Ri0HclIjAz/esWPOzC1gENVtA+UG+AL5+nronVZf3eW3gaFKgH0CeY0rUD8ogI4AgBT6Y
msGrW+0RfaZvUnr7+ztieT7/sz7bdjSrip5DIDWCDk9omkgxOiBBlmAGABH1fVNq2WdXGloscK+j
ZQgpo/njpxqsLK4b2mDzOdrO5ITuiSHByg24Ce11Bi5IQ1O69eWTA0Db9r71pfNlgosJCBRcpxDl
ut76wHvVeo2moGgUn9Brs6MyD6axXrGykARQbZaAdL3LKgEReG2G6FXTGQ5rIp7paH/kclebxg66
XQ+20e38hDyy8gCKpKPvdJt8Mne2TQ73R/r+sr+ZaHB9QuERjdKon11/g+GCzkr3RBOBP/wb855s
4Po1om1HnwaQl+yQcGEV2di9ERhuUwVc549kMg+pSHbSftXTtWTM4tzjgYOQFURhAN5cf1AaO149
gFM7QqvYZGeBRAN1Oq0kPNSobkb9wchs5pN6RC+oLpuIkGk/OjzwxmdT/PCST7oGnpaVhV4bkoph
P1w6XpobhAKzF5GWoT2zK4LRiUqjXjs0S+dTvQ3/79TNwzCqkRyxeBO1cWBVr743Ba3xtVp1Q+r2
up09tLZCGgsssfN4X2rMSju0Xkd4JUHdyNgm6RGUT0GjW9vRXpm85UH9Z2y2QbOytks7gbHK+ev7
3xLvDVVrE8nj+wdhyeGoYjX4OYCVdebbbuA1goZhbCOO95FW/ZL2VwmoYD/steLVSB6K+ut9g7en
XwEs8c4E1gaJZm/+nM9MORk2RGMRtfMw66tNY/OAo/ECAHtfOxSPecf3dpEFNpA2/9oMDeZgBUhR
3X5AjxnzFmXvf0j7st3IcWDZLxKgfXmltlpty7Zst18Ed/e09n3X19+Q7zkzVSyhiJmDfmgDBpwi
mSSTmZERcxjGaYncVmb4COiSpiPtIP7bOUVeFcT1aLNDOAmiS2rpwm5W+EVVkbDon6d9uO9VRwtc
gTtK2WBFLOTqzS6jrFGRRJZyfTrzSgWcnicEvTnKMalFFqD6tvy2msELZO2ZwOoZ1PmkFUaQBIZe
eTWHPIw2qrWZafVhCnmO4A0mP41SgiYKPDR3uV6UrsiJnK1nveQ0c3fEbVkTpHhGK1qr7fddanMG
gCZbX/3A49ERmwFC0DQagsqLTDn93SyvKot57mbnr4O/sEDN8ZwlUHlLYKGN8Z6sCkfCeZkpBDqz
ZylkDOc203ZtjY7f+loJm76FtaxCCyrou+WkMyFGZqalfubLgTTILnZJRHA61Jqwuz+bN08Ryjq1
0Fw3Llm3aJWncAHoMNUlMGOtYsEF1j1wdZbCCqBbKP7g6FFArEXdDQhy9CHAGPXcXapdouwGDp2T
+xylP42xHzcnFNc8BKBUhB03TeBSNSe9MaW1p4BGA43nv7XmpR4Fu0qh/2k1mmC389itNTcb5BXe
/fm8zbmtQ4XMEG4NMN8ChnE91GIGsVjeYEIjGZom5R/0PFil3L1GSulNCXceNPkA3p1ndWHRe97c
Id+W1z4n9AwjsUjFc0tZ5oKShrXX1bzbgTaL+2pawwUh3f7+GLd2IEA1AhS2IOUGytfrISZRAzai
BokQPoOieVjrkhnpDWASqCYydsete2JvoRkGTHerWAldnRj6eZD1Uqi9bMkWc9JqFVFFx9JCZlmh
Qpey4JShi9Xam0Qr4EhdW/cnbMMlkZ78piDEExB1Ssr/uSxTcb9ptRe9tn1CykknY+aC+n2OJFMN
nKl29Pwh497u271RG0TNCfKXiLlXVjBwdVAn2dTJWiK0Md4yjQisTISwV5kQMMV8xbkgexFRjVYT
tP2nozWCvgS9tlBDQmMEooMh8wHcBSVj2FTPkhxNdlPwrwvoqXczVFLNkR9zJ+dqpw54REUy/1zK
YXROZ00CyVI2gilGHpy40UHVqXENwzHWL78+UdaRYYOj4ApONbqPaVnqQZeyCCkUqbGTJrLR3OKU
oCJ/Qv6vh7I1EfvBvj+dt6fYpU2VbrKEZBQ0uJaw8bj33E8/jbee5HgzMM6vLWdEQd5QQeiKwin9
VlHQ5JDqeYW0B/QSzYEHG0G38DXjbXDDrrq6Bljc0WEEvAneRetnXITrXNGUIDYqG09UjmGUvU9z
awKNvVLjI3nkdlViqZwBOrXR4qEHHYbLQ7SgSRLSVHr8S1Jz+Aqa4EqzQrY3zR6rEUwEKGRX9cf9
Wb891tYPRXsrFCcQi9P3YyrlFUr7eePl6csyHUM/QF+ewGi2v73yYQQRyco0CzJNugEdcIVpMXRk
5MTgqe6WUxIPZh/JB2ScLSNiMCvcnp8wtrIAgjpHUCHccT31RWCA9yVtkJ7TAGxK6x2fBAitWPoS
m2ZQJkT79Vr8oYsjUYcNKrZ843WgObKWUo9R8JH4HbgVWNTOm9OHdyxq68BaImF3PaJGAlHUJAuN
14qH2OBBy7WL0EmWhe9hx5i8rY2Pig9YQ9C8jkIMdZTGcV2HCdi4vD7mfuerjgNeziPhG0A7BGTK
+eqdr1lg0k2jKP6gCQnIaXSMXY+vXMoQLQ7ICWm9GwTgrB1iAnK30pQQw+Sam/a/7zv9bccytidu
1v+xqNLvJn7hS5ErVDikK+wzznqXTNmZndQaSGCV5mRCLMBuXOlFNwPGMbe1mJemKfcMRrWr8oXD
YnIB96IY9VckdFbV1DnR8rEAwYakMwpcmyYhY4EsEY4ihIrX89todVgka36mTveyneEI7wT0ZLhh
zmx1vMn7Y2LBMQpKZ1DfrM56bQp6KwLKhkiKzNNnjGDbTGRHTFVLUPaRrjg1/2w0LN2cG2b89bCF
7sLKbYrzBSHNtdEqbJHxjKPWUwSr/Kz90p/95DHYc6Zmg0H3Q+QsjcWOuXWPADyJ1y8Cb2iyUDb1
SOwkoaxbD6gLgG06S/i3ZK3fo8KRCYYapM7RIHU9qrwJy0IWphah7nNSfE7tLkNvhBHZ6AS3o7Aw
5YiVZNq6gkHhCBQTrCKyWR3p4tbSuTSR50ZC3ixUDtpHUvau8JyB0xlENG94MjKiDJa59fcX5tow
67UgkFuPb2cSQDlmqEG1lBZfjXQWxGOFPMb9fb9pEKVVlP/QpHGDmMrCUuP6SmhRlVIWJ9RTKHxD
ON1NiyLfGePU2WWHulgAZUDGubp1WyBCXBM1qK3icX09VL2REjAbqpjZtl8D0qh1Qi3JrTLsMuv+
ILc8c226WmlHUMql2XCHqJ7mJog7L5vL2u5GsSBaiFvjvpWtuOHSyvoVF2snCYuQ8kbSeWoWkDhR
bDl6DkNfrhvGmm0awiW7YrtAQ0tX29RuUIwu6Duv4WtT5CJLGvxYeO8MlqGNeYOErbE2jAELD4ax
6xHFldGknRYNnpgni82nffGgBWHKAG9sOAKCLLzWIRS6opGpA3LIgjEKB8hC4Jz3gQHylgjqm0rk
3l+eDTNIyq1NcCD/QT899ebKs8JopErrvCEuCMrqBLMmCSwiqY2LBRhgtLZChA3OQLeQDrwczEac
916kQjCe64vErMb2zwB4pZOjCfFUjWrLODQ2R4bEGaK3NT1F9+6nSS4KNRfBZvyzix6l/IGLGQ+7
DZfDJYLaLmglwWaiU8cgqGvbSQfgzWt5FMKyUREtrgJ+tIewodUCksZw8Q3PkwDywHMf1VhQ3FI+
AfiQMYuR0ntFa9TO3KkLWJJAw3rfJbYWC3sI9Meol6JuTbmEEixaoKZjjywRSL6C5lQuiik9C3Xl
6FnxfN/Y1pscTWI40rCRkBqmr5K2GvgojJXRM3Jheoi6XLEMrhE9dGMqOw7vWTOqDTCD1pzoZHws
HgZRHZwmBRPX/S/ZGjZqUuhwRvCzcj9db+taTlDn1pLREzq1cGUOuPhGmCy1K15FNX2c4d4MD93I
ygNih1wcWr3RUwZS3WuTRlu1rSFzg6cuMe5OIFStRohjx6jSDrXOqnzou4K3EFtwD7hvqmMeGkhZ
8Gga4TWOpaa+EV1ffQ119XBIJk3DqA7e1PGVJZVBZw+qwZkgjyqsKZXiQ19J6OPr2/4gDCELWbRx
5wJVhGACWOWV8JMyb9RdXOZ5PnoFLlqt0T+19tzlqrl0f5Z62UUBz5Kp3xzwhUXqIEcjpgGRbVjM
IkhhDT9qPw2a3dpJBWI/7TRH7/c9bOO4QNoV3dfICqLSS1+4JToOikAtJ28BnW/hjcZEghm5H5ag
+8bJJyNHh7ZmNO3f9txJ2qAo0KWYvAT06D0U8FCVOxTCx/3RbFhBKVdG75KCtiNwfV47rw7cXZOJ
4+w1inaSOPQah3Jmc13L4srZOPVw20JeFxhKNATTCVV+7MIF7HCLlwwqd4DORmvVlVgzAq9bKyvQ
wYD34dbF/9RerNVxrkE2O3hcXAKg2RCZBSe7nTBYAJ4Wj1e0piCXcT1hdRRyYRjA3dq5to0anRGa
lpjQD2YdK+vL8DoptxpCDARYAWI7njKUIiwdhKkbPX4+c1J0qksQMy7J81roE0m1/Ciiv4LxVz+y
aLpvHRxVqvUdokN3DBci9daR40yUg6ydvOlXbNgDUE+9JUiMS3BrGtduIhWpbyyYQu1aKRwiAW21
k9fMNRS6OzQxl2an/7nv3RvuACA+iiSQdAJ/My1d1Q4c9Mghje7x4WNVJaRfft43cHvcwRXQqYK/
DokaPDOuvUEYhqRRi5D3Gq0c7SrhZeRQ1OkJ6D6ryFfxQwiB2dOo5Iwbd8uwjqwmXm9A3eHiuTas
tYqQpUvMA+qvk2Z21AliaJw58WY8AJuQsbi3N9YL9V+sFPphkemkO8BiPUhHeYgWr556wo87NR3I
NLv3Z3PdnZTLo5sJOUMcFGuvGbV7U6SocCbki1fOu7z9GUmymUKXGy8opWSY2nDyVX8KYR+410FI
TuVl5qqYRsloFnRq6M6UDc/LqFojxAI1btnfH9WGE8oQwkT6GRMILmwqJEE+uNFjfuC9Ic8MU+v5
yGqamiXAvLFAqM+hTRp7Fo96OocfaBmEWYyJ98J8NIvMW8La1FisXas7UwsEBDwYf+HzICGjlavT
uOG6gJN4r87teXnkUt2EFBSUy11JAotrHtgi/3V/9jYWCkSD4K8HKRn4iuiFAhY8SFOF471+UiDH
1ObgE07GhaRqve9Sg2cs1oYLoqQKPjdwk0EPhSasCIRalmu1Frz8oYECWq1pTiAcdeCZpoLF9LFl
C2Q8ooIjELkCGhRT9qJRtYEqeMjEx/FktVNsxmn0WInH8eX+LN7yxoDwA2QHECOQDRRzaT48aRb6
pMla0as42Q2mc8SF4PtriAqizor/ObcEHPogiBEcuSjP2RDYfFTYy1jt+0h4qMLB4QPj/f5HbZxh
l99EU3r2Cppny6kSvbSK7SW2psDh1EMnu7nu93LHulBvk5Vreg3ZNSQNsbp0j+YU6QvKuinvceou
C3MSSK9xk1ngYtPyh5TzUeRFp6Zzf4wbmx/XA0TFVuXWW13suGzksdMKwevyOSKjNkxomQ0kxmm2
4UlXVtZNdJGe0XJ50JY2Ebx1XKWCzi2hg+jMYobiTKSEwSq3ZQ0JdcyjiJcPekWvreVIeUVpPQhe
K4CMvjLF4Iy24Kmz8pbhIRubf31XSeuzaiV1WQ+9i3GJSlrxQSgLXtxotpIMKfQKkgEs64CwFhkr
nb3hj0idiDhtjBXsTZeSamUsRmUOBM8YWytQwwfwdSTKqzB8Chw07kbvvmtsPBwRP6KnCLSEqLki
4roe3dhoaVZkQE2ISKjVw+tS/pGKziyEea8o9lRyjh6ArDo9GalxGgIWw/5GWWSNX5HIxWWLiJm+
MhKty1Q9rLH/8t9zEr7PoHqEeMqe69RDpUlkBgwpbSQXkZOTCPxXO81mqA77uvRAb+jHTnSqntFx
fn9abnlxcexiTlY2LWgJYf2vp6XPIA9Va0gelF1jSRlsyk+N7gmjk+k/kiSykfrXUahK/+oNEqJ1
ogFMO/MHMFq3/F8gWD8l6DELDNaHbaBR1g8DyBfQQgMETdR6ZUA2hICMYb7weJmh7pSEs5XEFdG0
3g57ncwyCF6y2W2Zymobx4iGUAV5XhTpAUqhwhWhHjO500fR63sI4A7cUAOZzrGqHFvbDQ1ZIIUC
2cvaRHo98+OoCAXgS6In12/TmFhKuyCVITlBwWJL2zhC1r8PYDiwYbdncZvEUqRLuegVi2SleWgB
7QKqn5DEIN+pdPu+S21bQ5SsiwiZ8di9HlceThL4TrBweaJrTq3gWROiFdaZQEBKJqQs/nBjVPz7
SAJqsiDyQqHqG3l/bTRW1TTStFkEqOJNKTQL8Gi7585j17tqwcr6bGAMcbvgSYrweX3v0FQkchP1
HRTsRU/gFruEjGQPDhk1lOyFny0QKZiBWu3U+CGMv4wqOfTj70rYjRIoSOaRsYG3vAiJEVAT4P2N
5lNqtid1FOpFXERPn/dG+z4Or4n2MrPUJzatyEhZaGjCx41DnRLCMBva1IEkm0+yJ2GYzlKTl66i
dz8DQ2WBVW4x7ziT1s4mUO6hLnHTsjWrSV6mOLG8vEXmu3GN1AEi3FHa9DDx7UsYPxfDr8qwu14m
i8HbYtZZWa7hZ83Salan5sbYsUPBRo3GZaQGaHm7pRinIiky2Stz15hGkATlRJlewWN1f9/cNo8A
J3ZpiJrkMFCkIptSGJKP3AiESphacw9pd2M6SUX6MuvP4DVphH0hQsxqyd7ylmMos228a9CijUAD
9zJeN/TDM9GGpQKdguwtRRDacVcOuyBpeLOU0U5wf7gbh+ylKRocA1nxmK+TSfbykj9xU/aagkXx
vomtlVt7U4D3A3wT707qUACBfpXHsuzxRac8tyJKvPlYcvsJmu2OzK4CbNnDEiKThFch+kspewX0
1pQRu8cb5sJulM5SNb9SZCvsGIWurbm7NLR+yEWkJvR8muA8wNzVYIgpYjLq3v2p23IEbHVgJXHC
oYlg/YILC3rfZMMktoqHYlANMXINsGkGcGlrm6MA8I8NarogEVVpfN4oMDDZc2VG7d7g0qMQtM7M
7ysRWOKlejAyq5+eDGU49M1j1fsj7zRoerk/3K2Vu/wUakL5lb48B3oCN2Rml2JrrpMaQ5LFYN36
mxOLSwqBPNQVgJO7nthZaWe8GTGxWQYusAJEUL6YMPKyW7EuEtmI6lCpXrkpKCOGWtcgANAUL8i7
LCOp0CLOrBSkNrVmsMpACk+iMDwPcq5lQLvHeylAS0rZa9VJlyNWm8Hm5OJiRmcsGIpvCHoVo5DK
YggUb+rdoj8O7UnxmQ7LMkLdg2CuC+YadIdeKUImazkG0VMWJOZ/W7+LwVCpwLgHxo4fDMVr0ork
yacMxsSBY0Qzm05yYYRKYiGTlscpJDhAYeGKEyRBnqHwc9/jt44QlGD/XhRqg5d9WIRRg3Fgrlr5
16j/645o3GZYcaiZGSAaEeirJDAAseGNRvUi41cjLICD/likHq/WP/cHsrHwKKR8H+8gzryhNAlA
ljXEcgE7EairWqgZ2dB/bOwyjeszWsdY49pK7qzZUtSi0OoJJB/lAVrVdk3Cx6o38j/EFuI62oM2
Hou2eMii0FRBhpvO6lOsuolKckXb6d1+8OUUfEl2wSJ53hw88ktrdAL1XTpF2MvlkhTgfPMCvN7y
8plrAktrHoyZ1eux4S5Q7/3HELW9+qbXKwA84C5qSFB5BZ33vw894ChI2gBDhEw7XUJPUcDnl2Bd
R3EiVYK0OjBnwfN/cJYLI5TXKyueNApr1WvE06ydtPwI6pTxX3eXg0wYmBpkbFEVByKFsgKG5E4P
ql5dty/K9AT7F9zljCtrAwUAK+srhEfFBZDu9R12cUUPVRcpM3IdXp0l82lUAp8Df5k11AB7aVnB
g0PfAM0gXkvVXhh03U2XFGTjwGSlzv1Z3Tiu8K4UAVfBVbMCTa+/RAJady6HTPMEw9cUCHerTs0s
lG0aWeXvQDsDwB4dXM3xOI211mlIue/B9ySJx6B9uj+Ord2EhoO/TdDj6MMqFUqYMCRk2CLhq68+
+gy9LwIDws4yRC1dJEQTmmlqzZOaH2mkW8vgh7039KwyMMsOHQdwgcrrfQ877X4ZlZc8nB+qOP5r
4BkBKWtxqKeLUujZ0ASlBo9Ha+tE2kiHuM2f+8vDMEK/GOJxzAKhrDQv4VFqRvvxEB/ywLpvZJ2S
66ILcp8oAOMBhBIO3Pnal7W+C9RsNpCWhL6qjXNPNNV0luymXAwzRtdGFIfRLtI7Vj70u9J7aRmx
ICoGeGCiHockIV25yqB/W05dsPjK49KTILB1CPaQ7CU7Dbvlg6vd9k3fA+17zHVTPbfnRHanydIU
MMGBUODQgWKtst8iJwcNstfv/t20fH8ckAQrxFlDppDypLCceC2LB94ParUxxwEVtVJIVVJVEUfE
KahIuvQ8iSeutu9bvuFZW00Dr4tqGzqBkD+l7lsD6vJggx95P0qI6C368wQSha/5p3ZoUtcQnBgk
Qn8mJLJMCSKhD/FrFDNiJdrxvr8ACBskBMFIgq6da5+QoYieprHG+5mSjdis+UzEWtDMKhgiRuR3
g7debeEgReIRKEYcqdTdwSt1H01tyftWST5r8vnR25/tR0UOlXt/Xm86rGhLlKe3PRqDJT7n/ZwM
lkJSUpL1p94GKmWnugZBJ5VZE8ly4oEcCvKkuH1M+tfZYuzrzRW+HDM1v3GmgaNbwZd8lN8fcRbI
3n0ii9lap0NiFkw1mvU4orfapUHq/K26sO4K6f8b7CyNWMNArNpcxzfYoWma6CljXddbTnRpk9pB
SRuKUgi1Mf94dn7+NB7cQ2iZPHnZMY7imzQSva7UWRyPWt+v7fL+cXCs5Vg58t7MreFsMVIEm66K
kiIgiGtvk0KT/ytJXukDaq1+SUAl/xk1dvO+PKclUQNiziTqrd/JX/edlj6d17GtfKU4BlCjRjry
eidmSQBylXbifUfhTOGZW8yDJ7JYXFhGqJVSxQG7MIORbG+Q6QR6tgGMA8Rg3DQ3Dwl6MNRCZZDl
mvAM5/1adsr37Ie8198AWo4eQTOg2dmxLIkWmyC27nQ70oj8XxxFhfIdSMHW/hX6qhtLwJjzeRR8
Kyd4/qcyqWUyZ47+8eCbKSsoXg8ues+BK1BDGRNgXBQGrpcOKQldR1/l7HOlAHK3o5Dzzn3nuGEI
Xyf00gR1otUatDoXTpr95SVIyVv69ekIxNk3x4EszwA9EeMMFp6CPNi7HUBK5DfD/noT3RsidY6V
KYcOWnR5+ODAaOycWJ+vsV26uhW76XhQYRmHy47D2RLYym8W+ztrgqm9wQvTmGe6MvtVNj3oarnr
uZal5rCO4N4Iqa0BYjNVRCV19sXQidrO5vm9XtVOG9Sv9+dy09B3PyNAUMCGUHtDaSJFXqRk8YXI
h2a00f0pF0dmdU9/M9jS40GlAewXa0MjFNCvnRJq4VNe6sHsv0kE94DwMZsfzYf18SiQ14nkphCS
5/FHbNp2RcyIzMcXv30yWUf21tVw+RXUyoGeLk+ahJv9tfdeOXPqcWRRT2zN56UJauGyWMjrvMDC
QdyBpCDPlMaZNP1pEVmSZzfv0nUXrqy8UPyQ1ZXv8HpOu1gSy6mIFz/ZKx/5TjiCuyT5me/zimSQ
hPp531E2w+YLczQjnVKPepSmmLyhJ715PE+RNVlOYe1L09XMkz1atv8jeHz/hYDNtr9ePPBwMZz1
plZNDZlmhx/zOMzlJVp8cT7X2gAhdo/XQUe+kLEXiNJ+IffDpTELY7OxqKBrwPWL49RYu+WuZxoU
v2GaCvri5w/qGxBogtMftOZYOsmyhyTtQ0I4qOudUgjChoxw5oY6HEOGwhkUeUCOBSJAGreqZSAG
SOqe94fwaxJfyuwdxKLYp0RevvK4c5fxKUK9Lkrlly4e9gkXuDVyjNpHr5A279CJvasDK+++6qi0
lPCPsiyE/7zvG99PA2p7I0xAwQr5x7WPkHLFZVEzMUV/tC+fzx8CAuoj7oXp1+TgvZIhVikbq3gI
TZGYL6Hlvd23vuUVl9a/f3+RoJlDcLG0xbz4U3von0eN5No7zzmThEY1C7uPY6zJTdp/XRNcrih0
8esrks7DFKU+DIOgLn4wgV0aWjGhYQdxAPrBB5DfDHIEoQT1wL/moi1KLIKmm6L4t3UBFXhEhFCE
oknZEpWP+6jjFr8/tPbH5Fjl7GacDYpn88UaRsKiZ9tcXenCIHVsLjN60XVQT/lTrZAKcIZuNMuh
BDGENf3swaqlZ2ZTgB9t+BWGwNU8cMIjt9LZW6HqjrLbxLbRI1thgICUsTVX07TjIfENKQVQtqOH
nYpEVPBydFze4dME8qmDqe2rTRn50k0TwO6ua64h80qZaLogMZoBGzAnIDtYdoY/vWX+fRfeeiOq
uHz/NkLdjylwHJ0qwgg0yS3RLE1kXFwcrKppOYtTnYq9cnJGFcg3Cw7VuTgC6pfowB+Lc+ywchDb
/o12OKTfASpEx+L1eScJ1SCGWsX7oSb/SvrYFtt9M6Y2l/2Rg1d1dBLurx4y98JICsW6PxVbzyqk
WsEij6gEQBq6H08riymRlpr3x4kjU/8RE77nTWhdptmhn6DumY0kKgSnhMwMV71lCSM5ufVcQBPE
SnoIgC7wSZS799kCvqoIaxEkL736UVWe6vZvemhGkSO/yi/SBO77lgfFuduCpAzqf/0jekwYh8x6
ZNKejV73VaEMx+oNNQMOgUqNM5X3IWsj8U/1W2NY8b6NLLmxmpmRJ90IjABDRr4JfOPo66U7ezW9
XeQxCwVf0FE/wT6SZNK3jHfQ1i16aYS6JOa6FqdkgBGjdSf1LWkImLHz4YPhPzQgdj0eL8zQF2Y6
1K0ocxz8Z9ZMzfjRDW95cowiT1fO2WQPY0mE/X2bm9MHMAJo6RFCSzRRcDlpkJ9dIsGXRNt4GELG
n7+Rdvse0j9/nx5SB1jq1POl6EthCKbRlpdjD4jgSnRCXs0KKCwvUIgBeGb5EsYmB9s28p8kHEB7
biV4Kk5ENgbcTHIYx4YzzlVmJ0owZWQ08P62ix5IzEkqW9xg4AICfUTX40UDiRpoDfJ6DZ3XKuig
MpGPXPobwmj9Z4SKJxA6zYIbASklMD6jWU3/6uZ50UAHNKfQq29HoXAFZRg7E+AMpFgXDg9hs6hy
5ZEfEJvYuZTJb6VQ6LI1A7jeoowHKIxbzQsw8eqiZFCXrrmPZmymybm/ZJtBwwog+Z81k6gzrh3K
3MiBAvetDnAIou1yN0dWajEBaC7c+8a2HsxIMv5jTLw+UPlRmmtuSAS/OQmW05qDle0XJ97pfzmi
2T0uzyLpHuaT7vBWdOxfE5IxkAo38FPahahKdw8acFWpVxfln3TO5kDP3T4q0qnO7Gp5Cnl7qnY6
lDKzxuHrD/QIWoNaWHLgzZGTdoNd6E9GxuLpXB9DN2fcxbSsL+2LwC2C2mBdqjgRstbGwcMvZha8
i6Te3Z/+rRv8cvapG3xuobozVzATziSRTlpkD4YrIdOUt4yduhmto88MXOEIh0FJRE2zAT0pyNdg
oRWiDGaMrO4xfhv2vZvjQE1IfeJP8g6kb7vskHjjz8rM6jXjzEyCrt57O7P/fAc1s2kVFSUf5IKf
D1b31EE/66ifioXYpt6835/dzXh0BR6sfd8COMspW3yUTf1cFoLPz7bqhtlOgI6kYBle+HEIfrWP
1WLmL4wl3QxRLo1SaxosdT7Pain40R5RGQip1HWKgV5uLf1x8JvKgeL4/YFu3l9AlKPNYm2kMagY
TQwjaBR3lYCsl3goQUXa2uK/Jff43qYXNqjYIwyrNq8E2OAkk/fUwuYLv7RKgLBnRli7eWcBq4fb
Cu81NAdd7z2sWaG0aOf39cwNsp+KeuRLRlSxXug3TgjaMB49aWiJpCesK6HIO+G56JeljU5flJWS
8FSphH+CIE6sMPYeyxo1dXMU9plUwloTuJNGxMdgTYOknfnCakrbPE8uxrUeaxfHFr90aSgOsKRn
VocQOHqqE3sYfgJLcd/jts5HNKStxDkgWkWD8bUhsZnDqEPY5Md/0pA4ahcTIflR8lDBVv/LfXhp
ixpUiczYWPSN6C+PPIIJIyac8EuCcroBmcfH5lCxsipbDnhpcF3Pi1lU+1jRZgMGU3mANNJOUj6y
v+7P35ZLXJigU1b6IgwleMdEvzfl3F5On8OxeNMFK2LkPzZPo0tDVDBRjdMwg6NV9JV62XOhDgnM
t0AEhvhrwZrV4cMkv/QvddSTKVYZfr8ZyVwap4ILfSrBxVIWoh8ZhyWAsgnAWXAQUniFGVeMPc0c
KnXDBcbUgiAZQ21BB9+ZZbYPqyeuPVSnuHxe+MnMOifudy2rt2LzmkEVBarUa9sUuk6v/UVu5ToX
0evn59DeWLM7lq6hrX/XVI/TK2Sci/3UhbZeWSA5UZ2Fhf/fqsKhGxo4IwlMzlBkpTaI2JZcgD2K
RFxnNt1LUZmzBa1gWyoPQuLy6qmV95NsGU9GzHg4bWXPr0xTW4UT56br8GD1lV9OulOcZY/t2Zw4
sliZ43BmgJZOsBCbwV7z5F0ZkewgHkWeiPjHuZwrnxZQFSJtcH97bV2I/8wI0ELXK5IobT4iOc37
qBsQpF89jZEL2Nq/K1ANOuvoVAAs4NpAyNXVFIyN4KOlc3YraM1WgAuZ4SuSrowAeTPtANkk9EMg
C4MGMmp551LpslCeEItaws/AeujMAypIXmCylMW2BoXLA9U5UKtAT4/aQOC1ytJwFAQfyJMxBe7f
KC0gwO1xSNcOahJ3T1nFpHNZp4q+i4EuBxEQkJRQCaeClyrQ+GGudDy+dzkEM4BctNsn5S0g+ZOd
vhzLIyu23ypPQLMMdI+ImAxUfCiLA3qnlzk1BD8lx+Z0Ht1MI7Vjhpb8fN8NN08GlCMVqOVgcOg8
vHYTSLOkUVQHgh/PnyP3F6ftx/C32u4Lu3KbxBTBSMPbTWPGP5LxWAuMS3pzPS+sU+Pk5HY2gnK1
rh770pW/6vA91fdN+KggK8xS3dt6YWhrAyFCNzziwa98PdgpbvGrORb9GThDUwSc3yD18iEVNrje
SZsiT2Q35yLd5b/a2n4B7UmJhFlZ7ZS9gHbv8E8RAuix/Li/BhvuBcjOCkRGMQQ8UNQF2C4QXyt1
Yfaha06WGjRBUDG9b2Jrh17ZoO65fs4HVUQbqQ/mJWfkckfm5JPa+mO/m5pzEp4nzoogPViVo1PW
j0Lzf/4CausWzSz2S4q6dznbcTu4Ddhus1a2J0RnYPPvgvA41BIBOxFpx8mRjXxftwyM1OZMCyIy
0QAU4C1CuRuastupn/jZn6XhcwJbM5ckjMW8If7FK0RHBvZvG1TcqWsA/9ULZnp2Zzc5Rfto39qf
jyHBP7cj0zOSS3v5USU/Di+QBLfuL/RWvQHmoSMG8ML3vr528aRXhCmbUGD/OH/+DElpcmbudrvU
dFHY93HvkpG0u8j1WALb69xRh+SlYbrON3fAaUBraPb7xW3VB63/GouPTGW8vFhWqL2igyp2HBp4
EcTiIFFX909tru+WBCk3vuec/zSZBjLaYNHDQUztmir638nszc46nx8Lp3XBS0CeCWbzh076fe28
eL9ZbcVbboqHH1BJBq7vG63yZOKVGfp/wBWohzR8FlVWe8D3QUcv1oUFOrgXpAkNczIs5GScTf2s
uui4IY+vcM6MJG/G2ThPZkd+5eYEv41JYYn2tI/MV5RV/non3KFzFVMwkV03OYmMrPz9d9L33vdR
y8xlnRIWMb4PYDvkF5H1y5zEKd3yHDwF+9x07Qc/sVOncXMHymWkMEfCOYWJoOO+C2zdxHg9/r0W
NPtHro8GYA/L4gNvKJuAXH9Cr/S8PMzJf3G2S0vUAalqjdDWBurAOYbcrpOOIev7CJTEAOX8CFGj
fEGUiC4ONzPvj/I7GLw336tHXrwnU5wmuaF+2/58BX89qQGzjPZgJMZPWPSJPP3qncoeSLf76/QO
5SzyglSv+f84u67l2JEj+ysT8w4tXMFsSIrYAtDestkkL18QtPAoePf1e8CRdrrRiMaOpJe5w7lM
lMvKyjx5DlTvzHw9iRIava5QwAG6GYV79OYMvkeWc0my3a7FXGSPLFiwo2bW2U6WTpEgmN4sRmt9
0Brq8v48jD0HwXr2p91BNBQrpNSKEHbFOYTlX/IvW6dGNFtMeOlJO72bu5jvyqul2oEiM+K7Ysav
TPQjGOeafk4MZ8xbgsQBVHioQ+LdNRhOZUueCAI0HmbIx37/mM6XkJf0ze6JxbgHFvZu4rU1elwu
LQ4G1jmoGQg1LKbJISYFwHpGHSKduCRmtXG3Otmh321ilCNFK1BVIEmNomff1Dq4cTleVqBaDSjk
tjKR+nv1grkDtTNaBsYUbcDowl3aGrx0POSFNTFo8Wwr6fal1sAVrnZb0yJT/eU/NZThkeyJr0B5
gZAQ0cr1FtHc1tbTWgDGmteMcp6qG9AKHoRVtJzTB7Q30Vk+M77jrebQcH5cS49P8u5JN1kOVzi1
qv1xu/0W5CEhEQBSkuHd7uddFwsyRr31X5yjaggro5iDu4Z+4/BPbNofSq97xga+v1bBkOtk/XKu
u9n76+y1nNdzbTXD1n140I2KhuvD45f1bL2lxnM2b86hsQgt3XRO0+/NG0KUPppDApZHEyxapckQ
I1E3WhDqHGoBRSXH6zaIzEwPodgE1I6VA1m/gsiea+pdw/Y85+Cyslt1HcQKe/KUmF8SlObmPt+p
u4p5If5aUs+lTlb3Of6HZjtHn/Bgo/FfL7aJtzGUm/HZ19uG6zw36aBTi7yCac9Vnsq1YfOmvzBx
N+rLI3v/5szFmixLqhlTaJf+pA2XDozo4E/r498bsHUaJ5pbM2Tg887qhHdJeGy5mUvR1Dtx5qcM
9Rv2wn9qPsiFbST7z5V6fpXLBBR3xwQTmggThkbD+cshDebTVySGISGNosbUfFkjHilR+rWyX2ge
IhZyKgRdCQdtDbVvjn4uniZ829jJ6ztH+5oJVLiHyxllle6EEcwnmQOJsC2RvmQ/oKXnGTL3bUP3
hecMuUpRcaR5shIcK5C7x/sfMbqnkB9A8xyq1gDPDpx6ESd2qAWFcI6debDuqP72nM/mhUMPc8ty
fu1Wq6P6C14Hipr3LQsjF5jenz0UsEEzjT01WOeIk9QuA3iwXAV0i7RLbXUt5jtDgukoHUo6Ee6N
LbeOpAvSLv2k37BzN4EWyhBDEc5ryYWOEH3OvmP0eCR0R1EKiQ3dTNexIS2fFov7Q+1HMjg6PYM2
HhqAt4ENYuDu0wb+R8pE/hzXMz1+TZ2Pot5ACLoEvl7yzUqcqo/0G/eewcERImJMtAaJtrP/IbCt
KmSmok2B/UaOKR7aaIqFkpyswCFdL18k8pzCUtiIqm1bWZ3hdWZcTFE0TFkZbE9ZYXnierDS5Yaz
2nvHYMFbEhU+RB38daaywJ24iOonPrEmtstYXrvPJCBFB+4itNIO7ipPcSF4UcHbaqBicLSTLmxY
ZEWBBWBJ2pRmBqG+5kuFqhZnhPmZvd/fNCNwKzgH4YcyqY9ah9SzXiILUdUVIrCj4lH96KEYgTUX
1B3/Av61BVAIuWVb3eG+2RFAxLXZwbp2ssvFGoNZKPoorWOKMUB1W32m1Yusohq6HhN1ppv4hMh9
Iw888hzElDfVkx6YaTYRndz6CHyM2FNIgMoQKY/ByamcOg/wlhUR/i096q6nijb9378+KNe/f3BQ
kEKX6rDsMFiw3CjqUvZcA6lFg3TrODvJkKjn863um2m7ZN22qKb22O1BvbY/mGwkIUDm048PxH3s
uTnk5NEOTDt6COy37i1Q9mptqJ+MthT41fsLPRLuXtseHK1EbSspJRh7GBqoWVV5Qjl2aJ7TfJEB
J23J+VQpoQ+gb2YbdDgg9keDKZRVrl1GKRZtQFLk2qWgCIHW5CtwJqlliAZKtVbkU2CL/KnMvcqE
kBf46+vYJRINs0BRKETnAS2sIiK1UNjQvHUXBUlCW7du3oOubt8YH3WfTHXAVXp/om5dEObp4qsH
z4KuBUOyrgAhlEGVkM+VhQTcduCuSZNDa3JKpWVkR6Bpocft9ljPG7kbQSgSjaFZ6uyRZzldav5j
VM7uD+j2OkJTfq9dBiwnqAiGuJQy1GopbqseAxMBzRgabZovOTcw1eRJCs06jAzGplIgt8EO0l0A
r4KHg/zINl+vvaqXelmCmfzcBZk/d6PwrancKa3MkZgCViBt13M0Q05kSCkc13Lk2J4rnpUc8P5w
lWfUk7clGGWC0J5VFbi58qwztXLmRS/gQi2jYxSnlPgfU9iqkeILPkUCHwiuEOiODLminTwowZoc
iWd7mzymRmoSa+mtknVuWhrtrFim0kQsN1KChknsHNzHUO5F2eF6jjlXa0ueoFTXHhnNkRuODNkU
do2xC0zyH8RvyEKjIRsVSDSsY2GvreHRpKpeHQJEEOImAowx+eTfRCMyPEMTqO3S8kXBv3yon6d4
iUdebqhGYmaBOBLRNzicW69VIK+F4OPsMoo6Vku9hb0s1uquQPJ2XVirr3QJ2P0ZT8eJN9iIC7u0
/HN7XjxO0JYZhY6YSGehAjNxMudrMHoBuml1oWm7E55napziIAThxA5sYRzGyX8nZrqTzKWzigx0
g9r7zJLRHmYjgVjMA5emU/W00aN0Mcc/D4eLkRZaJ0d2ANvJoSkoiJNMZy2h587gXcuAAm25xvwa
0fN/kPK5WtxhtFwggocWCwyriRm8yUa4J82GGPwjAozQnwgwxm5B5JXAXIjUIJrFhsJAcYHkmqY3
QKg066YyKp1+OmSW6Caw0bX71uVTkJgxB39hcMiYI3aC3rlVhWsXAP6WNiIVEcdu0OJOVvXmzX5e
hXiDTL3ep6wOdhIS3U2RNrDaRBs+NvJyXir/0chAGwFKDzj5G4JbrhbLIvAl4G3Ep4KTl5CRMgvB
p0Q8pxLVuGXEa69C/J3bs1Ccif6Csxf1lILQyOVGwB0MqCluUXAI9j+/2LahG7CE92LpXBvNMnwv
l84M8zkVO4n4LYNI5tLKcBET1oToP4QVeRtR+bUxoaX2mr6wJcr4Uwn8kXcr7ns8XPs2d7BsDp/o
bYFrJlR+hmRGC7lASG40D9rjR/2hfZxFqgtUWYvbbo+GX3cmJVR+iKdeeyN+7+obBqFbk3ckYATf
EKD9Bjwk3kFaQfS6fnenZItH3l3Xwx3cK17I+2rZD3ffUeVz7szpM5VW38zSF/lUMWrkWKCDBKCp
fmr7dOz1buGy1vab3taWWJ+Tu2T8t+MNB1FUABV/IAsXe7EUFYfpEpPO2Qx6RMYsWjx489zkZxb7
hW1i3g/rhJHHDAbzp7n+cy7MZYEK5TutXyOazfLveg5gNa5Dfl9uTuWimqIsHAs34DR7PDfwM6BY
6w/JhT2iCWkSxKV0tiOf1qtKskRt6797R1C4UPlQZQ98t8ljNjXO0b2oI1sNRwNohTzYi6WPZFod
1OLZfBFXHZ4qvrFzaXOuT0gcHafwOiMgsz5HhVsApDwgfpL7yPZimIUWlK1bJACWRFbCm4Fu2KVn
hnyIHsbAckLNjO0Qc7BJEvBgJlCCl46CigDMra2qPQvh2u1WIRONnC0KgECSTSCaqnuqBUPODOVV
cvG8NPnqM0QdJZxPbIqxyeqZhMBgjSQGKPGvv95NgJquSSmen8xOpNViGRjVgodzxAsvRffpg7g2
cxX5YhDq3Dc90ruHibswPTjIfp0ScD3jzmmPYNJF/15h2sfK1CnxqPTMZ5b1C7k3Q/bor1/zXbVd
xJON7aN7FA8BkCn12u54GlwPv3HQ1KWLuN4l6iOLwwxboIWBftDjJL/72Gm/NDWYacX2gBPuYOrJ
NF/kVerQgKPClkeAtljIE2iXH9Lf4Q0EZgLIsIF6EG0nA2vIvqlOFuBqJS/5G/+krhuzepR2gfWo
GvONAAoZMK0ds/PpJJ3PGaXWc7zYUORzT0dnNnEiR7I0IL7+81sGC602rRRLnAY4NhpNQck0IzKW
W57KWIxtZSixo7Mf2Dn+Rum2IqkatFonnQvy4Os0iueO1SA0jC0vON/fu2ORN7m0NbgYWq4R7Zbx
cN0mmmP0k2x0796Zs9rZJn7T6Gq1SIxvY8LqWO7tyurAo1aoduR+LUrnvgTQUmFjr5RV9UgV82Bt
NhkVZ29dZ7gLYuSf9wc8tnnBZ4OsgAIqFqB5r8+JZxdxVwYKXhqaUVUOrU9+/eu+ibFdIv20roqA
vpCfB/OFH806T/DEHIMLW4ByofAplRs/WrkTEf1IT1n/bAGZRq/DgSzTYDeKhaOpEYeh1Ggna5+c
Z7QOH3IQMlQLSqPNBzYonsQfFf3irHcpp247FyZmUxmbzstvGEShOZFdR/A06cwI49DWFOQhmcdS
pz/rqZuei4C1jw40N74U0JeXJittdIvLnKtuG6dDL6CeVkUEedc2FtAhkrYSJQFCDKokAf8uRjKA
OaxCUYmmKZdD6NHhXBx3347Rdyv4IfJUDok/QkWOwpliR6qVceV7h5aTXeuWSUXrrCt/AY9fLjuh
KSHJpXPkrIq58siSODyILIPkQFqISWrELbicDClWJMfKgWhy8M9u+8tnaoZcqZAkC06OEJgVqg7A
uetr24BI4SIJVej/JYrzKRLUfI1SJswI4yIWaBdVxUqLRW4ZJrHq0VBI1MpIxLCEnkIc8rUVZ2jD
pKASAHQ6drM3Hto1PFXqurQNNOoG7xGmKqe96OaU6unojfHn0t2oh9dehcZOUP2f/ccUAuEGOekt
6NYY5Zbu2rZ0Z+a4Ewm50ZD30ubQ22hK3sYouZ7djWK4p71vOkdhLoAXIrTCOZk4iCM1P5wQVJDR
QI3TftMxoNUQkPVjG7vTcjdmNdtug0UKYBKjL2QPBrQ3lhhyaiqhYXBsbk7cFuOjVZDbRE2lp+8Y
HA4ie3arNJF8liuz4o4dOwZPMhqFMsovsadUCYRF+bZsdu0UNq7/zcNLE8Jw/7Y87Bd2mBglHfHk
s/4iJkZApWwusg2r5nl1ON73dqMeALEFuMvhUyHmce1Q0RMKje8mlvHgftHbbVkBNDBRvRj3dBc2
5GsbUdKKHuFhI5tt1yAXAWeQaz582TNnUxnUWi1O3wt1+aRNvn9HBwfIpCwAU423U//zC1fOSR3X
Ck4nn9cezNyfuD5wuVmji989iNhKBT2GUv+727O1OrsAAN7//eMH/MLAIHJSSeMregIDmr+w5y6A
hS+sQklPRjlPTWgnHVmpUJ1t6mIiaPuJNu+NbXA1pWqEDZjCNLO229f9DGgtWqfA+4BtcLNJl7vd
SqTmSfWpY05di2PRUw9z/feaDU5d4/iJ77i83LcdbNvvV7xHqGyhQWj5EK7nyffzr+hxtzoDQXJc
IIfwHx36P80PUamckPBS7WPo1Yuw2fcPANt8UI12fyqAfpz7E7to1MngwYa4H89TgOwHU910LBcE
Dy41ANpx2xqQKC6s9nEFnp1Pe4rPcWxuL40N5haiHL7TtQRpBNkKVqoRPiyEXxPbtr8DhnsHaweP
0pNTg+3w+szFVeBAKT2UkaqYJWt+ZiyOn4ty6s02lkPAkx75CkjHgeZ9GIHiXGhEhYf0MsP+nr2n
NAYvP33X1/vlr8pyH7TM3BlSQM/VOTBP98c4FiH20vaQJIJEKL7geoihWkZSWony2Vfe0/atZY8R
99ZOSWWPAGLxhrgwMxgjJ0HlRMkleK+X3mu6RnXwgZhK6fujQ12cB5nSDXcEL/fGKEC+C/JKb9ZS
ztRNcHeVqDjcH/bo7gE2BOhUoVfQGeyexBVTXmxV+cy/cvuwnivlEkLZ6KBQJmr744Z6fWEdz0Ys
7/X8qmIq6ExzybkwNWUmvfP2Io6tKlgk+vf9IUmj+wh1L1Cy9zqOQ1QhRHO5JIpgilm5pVLu1M06
yQiXr9sZBENOaNr9cvrkFNQfjuG3FdPgEVSa0QFdyZ4Jar/z/e8Zq2ag3gwepF5nDEic/nsvbiw7
4nTBcbG1zG1tbCGPTlHWN7LncB1tyMpVjNKYOrHi2E12aXNwPWvEdrkC6rpwQRKyH6Df6gl1m9MM
24zOP+jGKlLDWvQUrEfzaWLAYwuApiPAV4B2Anx24C7yQu6ZDuBvuVMS6jMpfNHcBwk0QU1sgffM
bxJDS+cIvzjs7qkk/Ogde2l9cMfKXtUxWWv7oW/N7KA/q5CEBx+Wb3yD/W4xMdZbkDDcBdKBPU4Y
+fFhhq7T7EbgPEU+R2iHKZbp3MmM2FXNwK/QF66ZjW8W7sd9o6N3+aXRQQxUem2cJwhvEbM/vdhb
QLnodp/T5Vd9OBye2WYjGTtjsTCeptzFyLYCZwDwAYjfwbOmDE5xkPq2r+QROYvfICmpkeY1wVXT
cPP7AxyJ8a7MDE4Mk50wKJoEzoJ0ybzzNcwp5/lGa6MCcd/UWLYF0G5EsqARBLnu8MnuKEFCuiol
Z+Qiac+Y+jA/zI2MuvQEPOvE0eiP3dVFissN1nAuepJ1ZCivXUHQ8ZDXI059Bme8Y7olBlbWbmlN
jOnG2fZmINIBCbr+Oh32o9XIxJPM0apzsw92giktoi3S4l+g65p7Btk+F5Zs5qZeHSeG98NCfzO+
C8ODs0c84sdgtKnPjrKzszV3KpZStPTcGVCtVfGmip9Ra7iGskHTDZsF7uxdfwtlK8LzXIeeSE6h
7PmQmt42PbflMvCewU8Rika4ceeZTfMK3Rm5mSNstpxHtmehUW30s+A/a5HhmpFDs3DfJHOSGrkH
OrBFclLSQwaBUkiHthz1F/FbCg6UXJ85It658iJBm+/KAwjU30SCWYtmZASoUdIYCD+iWbUEOIpY
0GDX9N3725REFI1BKLYX3DPYTJAXkC13K7/7+WRre3+U7k1lv8YXt4ZueyhGa2p1Jmjof8pTQypA
h7wRQOaHj1GPhLNy19Ie7m+d8Z2DmpSAQjikOof3RuC2ldovoDBz9ypyVbZDp6jspmwMvFfFUNzP
EthYy3N0vyVrcepM3zjln/3/5ygGF1DTJK2WOjhmIKs3430BqMJTgC1C07X9dn/CbrE2A1uDLV+3
aUwqobdF0SxI2EIKLXLc2TShgpHO6rVgnPRool1xdAoBgcEbGMEbOPOvN0fUKmle8AGMFnk5K23o
XLVC0FisXmYREEdN0TzFLj/FWHWLC+0Hi2JGL0Xfq68MJjZifqTGFZbO91/5Dv1qIrphdrEn9Hji
nKcSGCebufLpiZvki99nmglZASqXE8FkH5XenI2LzxjMOXCTbczHft1X++MZhzJ4hiHblod6TrqP
VGl2f5F/qqX3DA4Oo09YJzcF5ltOZ4VLiQ7FAM9fZrJZfDACyS0ICDBQvhnKQfOsaBmoC/YhfFW1
6eKJbfGfAlCE7Pn+V02uxiB4z12vZKoX9luPhYugfCCC4b47yaNuRIzKy/Kl9jYBpiSmuWIG3Npr
J9zFbZ2tv17AzoBQD8IdKK5eb8RYjPIySkh9zpW1pyBHfIgPumQUDC73F7Fj2ixITMNlSqCtgJYR
n+oPgvfcSLNWg2e3GjS/EORya2hHz6V6q8hLMomzGXOl/T3YE1giCB9m/1tUx2QxVvCRUCFf+Q0W
UDnG8lIp5k4zD71VQF5z/UCk08QCjV33oEDomTIklcfL53p2JLwqc04pGqh3bATvIe8ao4OysZR6
B196bRQelD6rTJwJtm9x0JVS9NesnEC+Dp8CaHKEPoGGXj0Bjy88bwd7N+BsNSclmqxe5PkLdojm
U+0XHpZzNodCU2kAqdYuIDKKpkv7AcgqU9nGgJKQn//fn5DePVwco5tPGcwHB0gZ0Pwdf+YBa5eC
mgb8DmBuO5oY8/ANMDQkDPyjBAqGKuBgKAPDoSd8NvZBSxPolYsWycisiIxoLZUFyHJe2zKe8BYD
73RjfBDkOV5XySzn+XPBHtmbHZ06fuVVC08whWKmcBPJtcFVcGOt3/wXcYLAc1rBtVjeAMUc5RFC
QZDNgdRcto+Cqd6OyXkdHHc71PmGEbRhxkvecvJZyi/i0mhAuOOjrVuKFxATn6TX+Fmt4bYB3gLE
CoICrpSfB//lEL2sVSHzC+pbYNG1OeRZZj7otKEWAfSl8D7FcDM6yp7SCK4CwjuAeV5PaenzIEUF
FP/syxYJDVIs/KUuLdL2gCDSDb9zfZ7hxhXsj/vHY6gF87OWuF55pA3BRgP87rXhLkhV327RfiaV
rv2klG09b0RU1FjsiFSK3Pa19aroidMkfynwaruIuBZteCH7FXXZdyBE9TxXZXYMgYXbd0wEbokn
b0nrs8X9Lx07yCiEo5NJEhUZ4svXH9pEvMtCGx/q5bNeJtwV5syUtElZqIED/ZmQPtIAgkTpsVKD
cLSq7LxGOQOEoJmJOpHhH8DSeYiOiuV/1vMCNPecRayNOvOWZF6b0ZKfpSiVgdz0GJj6EqIFiNe9
GTcVYPZHeLgjL79ruEOYINqShO9SxS8lChfVrMg9q0Fax3Fe1RrPGCk2yB9W/+uj+W/nix3++P35
P/+OP3+wpM2gpVUM/vjP/ykhsPgWem/xb7TMvt7K39j3b6firfDywvvI/97/sv/7y/+8/iN+179s
mW/F29UfrLjwivZYfmXtw1dehsXPV+Cr+v/y//vD375+fstjm3z94/cPVsZF/9scj8W//+tHy89/
/P7D0fhfl7//Xz/cvUX4e5AZir/eODDR5m/lzd/7esuLf/zOCdLfFMQaQJ7wyBP3jXy//1Z//fEj
5W8qMtW9UBXA6L1u1e+/xSwrXFgW/4bWAw2cWBpe+rgN4UpzVv78iP8bIEpIcIO6HWhH8vu/v+9q
Vf5cpd/iMjowLy7yf/ze7/0/9wbiCwWYH5wLNAOg5e4GedekNvobbH/voEmtNZS8kDiaiTE/t/GX
rKThsjMfZsIUSnLgJf+wCzp0YDTB+olYZ7Ano7hiaZV4e9exZHTeVQTwgqiIaVZvFC/6khFt5TZQ
MroUvNz3BmOmRQn8VaAZQpSDXNi1O2htNQ3rNNtXnpStIz9JK8vX426m+55QoJyrus5W6zw265yS
5yivoJxu4L+FkMrEl/QecjD5kITEwxVPFIhQDkuftZA7ity6ew8CryIFEZqIBoFQhvRj3TkCMu1g
RcpMIFqFd3TfAnzmR6kN8Qg4mcRwJM1diz5XoB9LyZOp23NkY0BavK/VoACOx/Ug+on1gAMVhr5z
/VKoqRxqcWbKVRadWzzXWguFJJ6tKxFtsRPu6jog+dkZ6G4BHSFgKWiiHtajSKvJkcucPY898M5I
yd4bpiumLTbeKhQi4RmtTeqB01P2xCv+lHpqv/jDJUH7DbiRUAJU0SNyvTkiXs4Vkus738lcFKKb
4l2URHfmFKIzv7/6/W1wYwl99XgT9zoMQ1ya5LpNih71ne2iaVMD68lCiEphwsjYcFAgQicZACcg
ge8/4iIYqRhxmGNLO8eWQWsoO825cUBlVqRFcf7rwwFMgQBQ3jfey4PILqxESLZKwb4UlPIxzZV0
r+p+urxvZGw4aIn7qc0CK3xDrB+QQMxDbx8LegvpLeLiDpVT+cFnRTsRqY4tDzqQfwohcMHDs8nq
2hZsL9jLAABZVeEiUx45kGsz7o9o1IyKlC4IA7Hdhr3dhV63ahF4mKyge4RMm7PJvXgKzfGTqR3s
NQLvgUwu+Pnhb/oI6WIbAGvrIMnk7pnHi5yZqmkVz2I71w1QbmQv0NcrTrXYEd6Mm0KE5/U1KFdm
CYLOuWILzRTee2TQaKrD8QIiQkM3ycC3dKHCCASwdnkRZ8vA6fhFxSEfdH9mr6O+Hz8C1wrCAKBZ
wVw0JJRLolDK7FTYiWKVUL8EtV3J4mc3DN4bPZsooo8MCLB4FArxcCfoR+yfPRfzqxYk0nXS7Go7
cJZqaQOlLKE55v6ABgH3z4jQroZtgnqGgnx877IvrPjIkel8KIJ5sRJXUQ5CrAiZSRObixmpzOdG
aouyJbIWeWjR9skLUTrOymQwlnclZy9FL7Qf07TwT6LvVC7N+KwxJLC/PZBSn2KsH7k/4MOxoTW0
z6PJbvCulEtA4tCwvFPEjEN0XyXvikNAmdTKAKS2Dg9oNU8mEjwjV8eVzYEPKly+Kf1C3vm9sp3h
1X5juE0TrSF+2AFsnkDtMA4LQOgEErYg/lO44/0lGtsHqJv2fX69/uoQRA1Qqu7BqexUu4BOBJfl
0LhyvYnNNmhf+GMfaGjmg7oIuBIVpf+Ki32QMyEV4oLfIa6QJKtsmFiaoivIjIqdXr2QKHd/cUme
n0q9RUTTSbFW0UzRYkv2wc9iQjRB4WjJRdxUC8AATPLHp+HQQfoRnRwIXAcHoRNEP9FTeYd9rJl2
xtwHofDCd+b6ooV+Vu8plerYFPJcYhT3ePPSxESwXK/y8E+6fvBQoPwOI8gD3V+YQeL7Xx+GQIbH
RYgDpA22RtURvc51fld6kIhWXSb6RhhU1SqvcvDdksY7lVnOfilxw9ZZVnvPUl6oIH1L81YA7lIV
LQXszMsmiYNVHHHJ4/3vG9s4OnIFkGRSQLI67BBRkjIHFQe/4zISz/MYmF8/0KaSayMeEcwlPCIB
YJfxcBj4DwdINC9wqh0oY8AUm6LwfY54X6FeZxfyLPabaOK6Hrt3VPAyYETYqhCF6e/zi52adFUN
Wqd81/BlsRaKAFCqwJdfM6UWD3UWNxDtFFxoE7d8LWxlT2gW6J+pTnaHXAf9yzOMIyni2AARj0zJ
ILALmM8kV8t2ocMpVueV30ibhBMxw+h4NUSOPZoRQP/h06KIRckO3HwXZSKa8jU/NNwsz+Ylc6UH
r81qXL0uimNovWbQ5231gjO6tnAB4834ibnvT9rgylf7sAX8/LgVwKlyPfVZkamZx2W72sVbIRKF
X0lXftUa/26jK03pQE85WXgYO/1qz9qCCxDJELSSXNsMEsBzCUt2Ui1D0C7JUmr7MjGAMikok4Wl
HCdoh23FTRN2z1zvJ6XySNrCKgT26vQxx19fczzw+jMPLBZeuNff00laWulFvNM7J1tie8em3hJ1
4lq+Pbo6Wp1w7/xEAGgrvzbCxU5WZyzdRY3onj3eyx8Flyl/eSQAIiPJp8M79IQ80rURJrRhlJJ6
F5VyBk59JVihzTCZGMltdA0jaEvtmVR0GQ7i2kjM6YwjSr0r+Fo8JUVXLG1QngF0WJFoUoPu1hnh
UQKOLOQ3ZAJfNNgrrcL7texmO2iVg28eIuvO0W2I9yTlTdNZoBxrDDHx0WZhRyVY0Z3mrRVEdwXg
5NZBj0Bicmql2+CKb/KU1uDLCKxcypPJynbvFy7PEaYbzc683udH4KFv/AYhdivZ4o75jS1Bt65E
ry6vV96aEMWLDS0noGCVdD2SALvP0W6gQMJo4eQMudi/tpv7L8E7ASes50hGLvR6eQKpCTU3bXdK
oHYGwtDA7Hhvqpt9uAdgBFR7PDCN8GHIWA1C81bTHK5wyl0dZ4GR1T6KXBCLkNvYn4D4DvLWiJJ7
S/27FxEM4PXawFKZRVJdYANETZEdO07xiYHGQnXl1bo083LPR9O3os6zGs1ZqOKCSBHM3IWe6que
Wnji/r2JqQZf84MVubipPBW6WCKDJr2c51tcIvEhFevywPP1NuVkxUqd1j2HCkSey7ZbJQ6rUBNs
hIWqOGII2AUHIs77y92Pf7DxLudHHxyQpu08P7OzXVdzfIrkkPBph3l4rGslp3YA5HMBXKoVBG5N
hST9q16tn49eZxesbyJ4nPVBvFTGngZ5jXynRkIN/FshGl5OogmHM3wj/BiBq+lRAQBw8L2PuJh0
u+JSUNljCySF+MAKxZ7VabsVs2aO7Z2ZbR03E1CEmxu6Nyn1qCbkTwESHrZvhVzsd3qR7vJc48FD
XYviJsrb7qTpjDmY5QKtNSLPHIQHmvfgNxkKYXg0y4SCnlzQJ4KS0UOABi8caTyFwVY4cLmSHxdE
CHO8WBx93VURknleJSsQYvC5F/g3NKzjqbHUY1AtNboSmaWn8TM8DOIDA0D+7f6WG4A//ziTiFvQ
2IYoCTT4AxdTVJGGmmexK6qW40yRufkvAXTxmtEhqvSNMtbrLUtb0MI3SAWhFqomylfitEW64hIP
Oi8ARVeEcnZZzn2vlRrKhbxQreQoDb4mvrXf/8PzAccMlwhniDBn4D9wa/CsYdGuUmOns6RAVlxD
4zuIs3g1pNQpQHkckhhO7qaGnvPFoSSO+iV1NV6+WMlIMe9/0DAO6HcWshlw0ujK78nzrjdzFpaN
o1TJTuDSzjOSkgc+WQjLv9h29ccaAcKgoVke7axwntd2Qg2wFdHrxy3FePHBm/toEpRCBFVBjD6s
IGLLOGVSRyul7FKjc1FqM5NUCneeDdInaH3U5V9Nm2LwKDHi5SeCvLl/k15/lFZkjthp+jbXWn3j
xHJ4rATXffW6pD795WlGIxZYfJE07QVsB3G86tpyYIfclrVqs5SjSAF3fspNuIn+cwd7C1nGXi0Z
3g8ps0G4pSIot0v06CdZKS9sGxx2MdLFxyBIMpfqEGhb3B/UTU1Chu4BhKFB3oZHO4LVgcG4s6so
q6ttjsbPFz5LCrTRxnWc0ForZQBi3K7hZ3mngyRE9yuUc8Ev3H7GlV1MiSrB7wwHj5gM9SYw3OKO
7jsortcSrye3KctkK7kQyjaCukodVMy54gVijfoLkYr6jN5jVCPcANHXhyxXNW9wyCvlhwapK4k6
jgxtdD+ybegx6ipoozrb1ctlpDtdMBcF1nFQV87VbtWmIb/iSinnqF4WmNsyI2VHoZ/qVIYILMpO
6JLglPok/UA9QC4MdAZEiZF3WpYByPS/1H3Zct04lu0XIYMTOLzcB/LMR7NkyfYLw7JsDiAGggAB
8Ot7qaq6ozI7ujrqrW+kw5EZKVtHJIa9116DyPgu86Rf95QX5N0ih/JxHTSoBD3uxJ9mibo76Xz4
SfOly/Zynpa4dsNUnHygIT13nPnl1uSrd4fZUv4zmHQijQEYOu5kyu3TksW6baoJHUYd26S1h6jo
bGi2JGEfhUggXndrTJ7mbZWiWZNFrLA+A9uKjdJ9UyINbDckZEMEFmPTvCuQavI9TuGMVK+EYsDV
bVt5PwypnBt884Q1MoqEvWCkb0EA96k9GYFpVQzRal9UdZhzDqDHxzjSjpWCrHTvyiDlsDN6KIef
hkXCN0uHWwRRFhnuk8SFIA4pK0loZKVLmF2tklX1uK49g+IXzM2pqwW6ZtIUJLXlScOxhd62ZQ4i
eqj8gBBuSyr/UAnwGdJ2wZdXmTaIaErb+LcYh8jtTOp8h/BLhohApFhAqxV9Hs91qRyYrm2ptztI
VhguV5PP8PvGTLrc6XzyeIFsAiutjbFDv5gRLoO7McvYS7JSbUH7XcDUkq0UsI1yaDwRVZLTeZ+a
LoxIoMTb2W1Vp8HOT3FtJogRf8zhtRXfIeWiwBnYrjn4M3SJp/22WKtPMV7uNzYuyNgySb+gUe25
aJsxMRg/ksn2kMtWQ/xrIcBy243479Im03YRkQzk2GWt/ilztmx3M4jtvIm3wkwNJEfyGfE/EnHh
WTlmtUnHGNEAQ0wfgknYU7fNWEFRmOaltrMCIQQ5WEXVSF3JDi5+Cqu6ahWc+9KlRMCso+noDxKy
5g4ob7omSKoHlNqsPsAOybo4VPuuarne95xk6Q00waPdKTl2PzLTm+jQpaJ4lnnwL2lIckSdDGO/
HjDwAqHMj569RH4pcT9GDE6O6FrXh7V162MsMZirLa5+vh98lXzkzKv4AAfeZM+3Yb0WNFXHdJLY
pW5dTrJL+/TcUvw1zVy1ee2cGr/kRYh53VrdvwyziG/g+Uquc9714AIv8dbXvFQ2P0sizIux1XAP
PiQix4Z+mF09Ayx6NRH8WZrE99W0t5uD5HDr5qXbqWz1/0hl+beoCrfDTy0X+dv8mYXwZ37D/7tX
v8Sz0b9+mdsf6q9f+Sc2w/8N+kKKIuV/Zi/UiAT/8Se6w+fX/521UCV/4C4HW+YTLkSF+ime+Dtp
oSz/KOAFnnw6IWN288k/+E/OQlL+kQLtg47mbzQHVAP/xVlI8j/QPn/+g+wzOKjj7/s3WAuo2P90
SRFMpnE5AS/9S4XataIFt5UmJ5oTd5HwN9gNaQVgcSAzP/XloC8QiRUfWvSqbHDRIhU2A1oN7lXK
Y/NlgIfzK4noW5/REfhupUxVf4II7FAsPWQ3Iy36RyP4OjUVL1YHow4SP5asTNQOHOXqm49V/90l
On8qCUJTihrgZxU1cWpj0PilKp83t1CwamIYj9xwCPQBMvvuqVNFrOpoCiauBbF5w8bIlDUSPrJi
R2OvLhSZ6a9zCT+NUwqROwZWOaqd3ZjM+hBnKjzlmobhgSRiSJA4Mk+6JhpmAnuyhRFWZXkwIK5O
C0NQVVaKF8bj8ZEqtj1kQrpLWk3LqU0nuGVnCNNMt1zc9sjJ+b7mXbhABF/dJC4ZTrm3rpmUI00v
Fi0biEPle2sXcQjgSjSz3tyRAeO6XXrurx2fIDCIk6OqsuyxK2h/C/Vuimhuk+DkT9PNQuLgk5Nz
OLcEUzs4KLziiunqufQtQudceQqUBg4Z35B/mwYiTwwlxI0v/HzlM18eTUGf59kplGKdbTIbbccq
D7rRZWXrLqO38FzwP1sIIsHSDeEuY8t6KSYT9hMj2YsqC3G/0dlBQ1wO6zHNCVzrynV+M1NEL/M0
albHzhTnIEmna6UKceYs8y+Sr/F9CT4b3D4AHBabhbOEZNvjhpXJ6pwhdjjDNe53IRqXJ7UpOAfF
K7zJ56XCXUB8vx1TwnBhkwkXchTN13k0YMJ1HUomFZ3VWJqdXFl27bsoewOem+7WLHojXbRewZLP
bh1fu7d2tWIXbaZSNUNAFGazc2g6o4pm7XV/yvAAas96xEby/G2UuDIr12dAJyysrTIJ0i+cmAt0
PmR1SNOmnBSsJtSluJvnsnU7KfDD1BZitA/TiwT+TF1QZ+LksA9DGR8rjBG3WoGuctuOgYCPyjIE
fONCXZBBovmyw9EdJadu8hB8dCO3Dw7ek0/DRoU6bDRu8XnbKUZd28/pvQ2+0/uun1p5hvIPVyOl
Yzrs1BQQ7dLz+LYr3PZaUFKUd3LiqzrZrotvJk2jl6HKyXYcROn2uVEiqTGPy+InXdG5WOsAsoU5
kHnE6Issa0LwJ+fukjOWQ+HcU3lxCmHgAnhzt0vjjDwmHcAGzCqLIxgUn9vOzdFtINS8ddWoblGS
wxOcBWnnhsauPCKsyKAOyhU/KRQ8+xhw9y2BNKopIgel5gqS804SvmV1hldUlyKb+wPfOghlBRyy
9ovpyRfU4OJ2Wq02gC+jJ7h+JDiUZgtlrcgsKOZots85Xek5BXfxN5JO28cuxo2/C4BLXgwGVK52
k0mQRhqHsti3lKDgCm2r72cQyxB71cYdwtV7lbAjKaz/aUkxnXP4VU71Ysj00I8mXOw0bohPHVzU
1X5ZClsnKZX3WxKTRwkS1YGIDRUb7bsFJp5WnlXOc4osagcpgxqnIqpLmCY6nMNd/N2U4GKgEnDi
EoLbLlFa6qk2KCUgB3Zl9oDFFW4SUBBaFIGbGncs//QHj/QIV3ncLuDfD2t/Wtahv8IRLnkw04g1
l8+A2SYhUxim2jW5CStsXhpYjo175C2U7lgtvDi3xLVZvTg23dE2Lm6idQ68mXicn5cqZBBdUbBM
fU8B9cywtF27BRVyFRmCaLtVoygWMEwu6bDc8JLot9kglhX7cYXtAbw4nuSSfCmGYnjOK+6/Ydwx
v5erQ+IFnn1yWlvv/o5y/FulCU4Z/PprtfEn6uTxl/wkJP7/wKj8FGn9zyXJQf8QP/GM/k7O/GRg
fn79P0qSPz5BQniQwqoIBFvQWP6zJCH0D0BnUEUCCwIehPEe+ud/8Chp/AfM78CyA6YNPBPA33/V
JFn8R4rRA0YqGIfCfRioxb9Rk/y5IgF7J4PJL4icoBhH+K/yL8MmNtNWt0pAZdfPnp18PG6vGaPV
ReB0vGHMRlHzT4/m4e94xD9zN//bdwSJBjoJjGtAO8Gj+QviFGEMbRa5IAtGaMQx9BReeptDWk4j
vUZ+OU2G7fFff8u/jvgw3sK0BsAyXsXnr/9Gi5rpINuIIYY43zim1GvgkDr6dkxrkN6LxqPM2QO1
gkZkGqbuq80kyerQZb99qqd3p5JVgrqY+rcKLWN5+Ncf7y+AMj4dIBTAFwmqlRTBsn/BzFNp89Z0
KD5gG7Ut9SpQE+3abcnvaSzJUG8TwooElcHu/vU3/uv8AIvn0zwDEUUJVhp0rFi1/wxlDzYvxl4T
nL8rJWj2ozJFkH26oZqQvY3Og4wsolnQwt3bTun4Og+2mpspW0gMkHLG3RRmO0xQRQG3/N9g5s+q
+J/wrM9PhyREuF2D+FBhd2AP/POny3wmucsh+lKt9Ej0Rb39oNEg11IzuP3pmQ/FiWhSih3NdciP
CSgSvyX8AaKGcbJ8tyD3PXKUb+S2X4aO7GAsjVrkf3mI2Md/+qCffDCM6EEf/DSuw+A6/wv2xMsh
rzzFw4CtFT0PXav3+GnGK7CT6FRE+kPittrDxFG/9p3L3mcBoibYqYWBfE9MN2Hs6LfcIJCijsW6
PBJfpM0YJgbpX6nn/DyvHf2aolnod2rAvblbVhr/sLoKphndZ9HPAuuPc1dN/c6XxGwPLlSTf8yA
CbxvrcyhwwUM1CLdwWrBHrYxEV2N0WmaPo4V35J9qk06gJslyzGpk6GX1VybTvv1MMXxNj70uRv8
sSsE5Idtx7IF4Ancwig0x3lhngtNVYwX5cv3gtho2ukB1mVnOxFzWAOFmZ9Z1cia1pCCwtK2UK6h
I9Yc2YzUZw0SUnIfVtGG8wYGZVtH0pAF4QCw82nyAqykvTDO/+iKPkeQr6iwGWDanw03YaAb6o4N
o1QcOPgbNxUwJFmjNVN1q3jyqBfkXECvQXkzFstwm21FhqjYYZGIiobYJqqJnxKUtizvXNMB8mK4
2TM8Stz17XxEsp9BXbLBNq3m6zD6YyBR9N7lFMKqKtnwhR3ltpkmIK81dd18UW0XZweziX56WRez
XMvFgaPuWD+Ge4uCbaxj4HqvEP4t5a7qqvJjChtUDVSnfcNj633Dq614j4KG5LVAwQ3QLZv8Q54Z
nNNbG9ErWY1H/0H6hNZRueBIU7KMfpa6Z+wwVlWLgLEyO+RBBcAx3Zpme0IFzLdktTWbdWbd+9DZ
c7aRDmswsVHjjAcU1o62f9zKtPwYwCgldUBlrrdFIKeIx/EjxkJGX9qROQP/BVr5F5utmENp5C1V
B96XcdNVYn6gMMjS9Qy29RvByYLI57TPnxWFvfKZkrXkYIZ3Dl1qNkB05DsW17GuBgpiySohZ1Tq
SJiJL+lU/uCccI+mVjJEy2ck+QlaHFxwIzZ+hJHSuSY5w1GFeFEf76kV837gwl7Dll8dSAEfmGlE
9WzNckSu3voTZet4i+oteikMgiUwCk8wz183b07G6fTOtJSfu9wub4Dz0l0KcBAVHiYS0md90y9G
HqhZ8fMHnwS8+LKDVKufOTxBMWOtWA/LXEEzrN1MmfjguYFh/lLCrEK4Jf6JoloPqC/b5C0WfUvr
mAmXNnId9UlTai1mVGl5gP7oV2668YWMWfV7JjPCuAz+fNUsy4TyC55LcZ2WxXCJtSdNYEiGz0Sq
9nRb1POYkTDVsxHjG5MRAF1drt3ezQk8+WK87qRWgXXRPuoqWvNlwfmFoI3tUgRLn7NtpO+DD+Je
+8Q3+YzKt7OiOM+DgaWazMHFUxGVV0UTnCpyztO1kdBEQX4HfwJ9mGymDmGOyS9ZVvp2LsCPsLFS
vhGy7S8OCgKYhkvLfssFk6etTRnMJ3oCh3bmCHvwMFeojr6QdLcMenuKmBoauH1kV9YtY+PHhfS3
wRBbXaeZsCZep3itrfF5syQwn1VuAFNYRLi5omi7ZxUpcKsZ476qtMBibfMuvU2WHgGldu4eShEP
x5GxCA1ma5b9Sk3yCJIvzBJA+zsVS5mhhZf0da6UHJohDIii7yWBAEMna1wPSSIPdh7L09h3BYPl
RDZcgp3DMZonam5kN8ExXUTIFQaNTwFLWZemn4SFP1Y6vZf5kN6OsV4PnPu2fTTx5vodPG/1Cug4
mZ94lFb6RNC6PoY07yOAn21+pWtVsutqRA8rYr89EOHhxx65AV4sMFVsuk/eFlbx9j3tlszWQmb5
YatgLVtnHRxcHpmVnDxyrHR1BoVhq064kEG6XbEV+M4tvj/MWLHY2yy7WwoA/ZXL4XucADwfcwR8
JAwALjwql4uf6MNaunOWli+yLZMbtoZwcMQcE5YgAzH+yaftSUXVryVWT7Gs9jlL3kPX3QOaOWTb
8DAQA2myXub7LNVxj4jp0sJFtMOZ2sfPk8pvTRwNBwTI1NRP7uL5jH9jMJCYCwFL6tbF+xi7+Uvr
Kn+YQfM9CFWNpzUs8e6T8XvGTVfsSDeMv9Cc9gBBuvmINVjsWe7M+5rN/rriWxS4fWS+1yWeI/C8
+VWC0xDtTEROfdj8coh0mcOIIDUC2mIaMFnRU6WudgRFsdbRpBoNeutUZ8z+GOftEHsRDbc5Z9bt
YtJHByRr6AmQfcLa7gehmFw1ZVvCy2fougPO5747D8ivQ6mV8ol+IkhReetKBsOMivbLi4xwqIK1
GuMJM75322zbJzGn2y7r0tbVWISqiaq4RaCEWBLUuoberHO7HQp0tcsRpYZrKu2hC08H5++YG6EP
BzDl9E0alN8Pa7SpBia9Ixyd53Ve9rDOXk9xqendnM8o30OaAciRkmOCHXwRojoy2/YEk1KFLUxA
DGuyntNvsy36ap/wvm+2OdriekTCBjB91FFfsGfnmzFEUFgKUha+1qvId2Pg6mHDAXQYUxLgYLV0
00fZmfTzGRX7oD+nMKkKFPCQHMaXArV9BZITX7ImIMk6OZaOZI8FGcC0Giv2W8Ud+TJbNdg9A3Hr
vPRd1+23DJAjK4qlqTqWfPHQxX6FhRS3l1lWSjSjGTLgPEMKte28QifaR3IGaLWKnV+7aicGyLEk
56I/4TaZ7gGs+m8WDoBP2Uj1JfCofFzxv29Bunxby3G5FCxLbmU6da9JcMjm6RMTf4cHEL2CD1id
PpGm3+OSFl86AFR7LVv7E0+WfjNxG13x4rBi8OO1GsrjhJhmmKh+y2cZA9PzW7oPBFEtQeh3n0i/
39DLNSy16rQkTIeaKe4xdMJQYz/BYNYBYJri74qZoS41qy7xLAtVlys+J0OAkDiwbIWrC8OAcJO9
x/v2/pJzxL/b2bEd1BnrvnVqeBsLVH6bystLxLs5bgoFDLS2FZKcgDJaFFcxczdrnl6HblwvMCbJ
63bL8VvkivcQ2bEpFbYbxA7nNh27Y1bCbA8w2+LuZJxeXZjkk52o25rQpevZed/tZ6LKB0dN/MJ6
Kq7cxPNdKBTkw4pnBi2TqA7MSbFvY6TUbJE/E4Av39Ga9s1SOf9Y4dY4ghhB2n3Bs+2+T4WpIzVi
kkNTdERypvOHSLIWrjVrDHY1Wb7A9iA+jSGbL7wy/W3iZPcwR+zajct9sbXiRiGgJ9mhAbh0BTkL
ILRf81a6H7S18otFsXOcpvwRU6cjirhQQ+G7HLNPolRZrNONtnRpVMQhKoxzOBbMsb3dCAfOviUj
LrTJHQAq0sOkK7MHJx4N48zVS+rQo8synY5BBAwTS3gFDwOLjy6om2JSMUxtjb2rWIGo7ZxDflcA
TTdzidlw6pf7lLH27HLb46x14RoWZS5qdeQFJVe8A7WbXFfXY/xV4XXjvc8agWk9/LeCzpLX0M3T
sUzVdnVCuJ2w9L1XPeajws57V/EVkXpAr1mb/pozLauDZRuGdG3WXmeyjXXfL1UNx+HknnA4Asb9
Im65iHLQ97qh2Ps+RTUNv26gtswdyqI316CKvPEQ5J9YQehOERuuPBPLS7+x35Urlw/uECbTrb6C
W38CALMYEofIVtceVTdOxwnQGcr9XlS7XMgb3vOP0Mr2gNpbXLMcWUdFYjDuTef0O0s/MWClOpw7
C5hlnhI4gUgY/Ufg1fXpCEsJgcoDM9cB3JURrxghxksGuB151MlLkfXjyX9KlyDf7FGCiLm6tYjl
rYXVW7OMM9ZBqsdDhHP3Jzi/5a9CT1tt1xj3TNsmZ7605BYOcOwYlqz8UmUteidjJnclk7L7fp1e
S4Q314zCOqmdxICUm0S/xdLsiGnHi5EVlBQuzdFaxSuu/mmOOBoX190QvdLPqjjaD7PfblqVxwdn
ume8Ew/pyZAi9KiF/Lxyr8ieEE0Ifjr7ED0sWQz2EsElHUsRDhMvjn0YxD4dDEbCs8ISWXMJQVGC
8VLJw3oQDuZiDBmddYy75WUAeeBEUEqdS9QXaOhECj/riB+4dU+pQews7oKqf4sG8jDB7uFAkvIX
ZEwJiBch3pe4Ws7VMIBMYMNez+YuTN5dcRagdQPE+4x6bTuxDEPuPklwl/rhJrEUTs+CZ3CyaqvC
7qt5CrDIk1MdVbjeO2zvE6Cv9oDi+BsvXI95TZW+8bGobueAgA0q+7ymcFI/FM7iHGHV+1KVz5Bq
xY1qR90gjQFGg/EkD3kSTpCq8BqZZekNsknHDzFN7s3xEo/Ad96fSweP9LCJh2mcOG9cwYpnOBOo
w2oKbuucRyhqaN+e6LZ9HWi/HZYstWjG4DQCtkrH9xjATxDKlHCULH3ukRhlLWxhmFnxCucN6VlZ
ga4pm9Ei1GWH4iOaxHtr5BvmHeXHHMx4xR/k98Vi+/zcgkxym3VqFHWvdfa1szK75Ktc78hEww9G
Yv3gYuXB5IQl0wlUvB+ZinJ4aJZa3a55nsFoLFIP+RiNlzkj2S002elDtvCsicA+qF08RKCCEnpp
SyaOSlh1wSxD8RoG5/FZgI12QTqluzWD9o+ynzToCiDvGQ5ugbUkfTbcE0AbmfuuszV+587wXUSM
1UcqHCtgXcbCqWKCpTV0M9UZbLQFv6ETWNLZ7WeUdV9UsUUfLcm2fWXL8IE04uUIOzd/0IV0MVhL
iPTgrVgaSqw6+glN0L5CVBZOBQxNzQ6UyAojKe+HudYLT2FQkDq7b6HHOcwYdr3JbYqHpuAR/bWS
xZrGtvP8uKhpfAWRj5a7Ua32sS1IuHiN2c/EmP7Zzr46MdC6vkrp5KUT9IMMk7hkoVoa2N0XLyjb
n6eVDjfziI62ztPt0WGq/daD+rTvlbenKIr6d5aV7JdSCDXukxxlljZHOUXLZeVbdWO0QI1kmHrB
ILF8jAot9iMWzakao2jnRoZpihrXRliTHGXoyFPixKMPEOxl1D5amcQ/p8XDJJ5Ld8tW9w12f1OK
CysyEUJ3iXrHbH6NjjiRNMhDsjM7dEkUjvWDb0/cEgVCFp13TsIrqctHZj4fuKpt1N3yeCngSk5A
vRrGMb+kwjsMCDkHkIMqNju0JbIsN+NBBKxgenUyAQE/T5i+MXZaU+hSDpv2/qiSkP8qXL7t59iN
t6A9P/O09fJnb3y2TjVEvyJ+7DAnRyonYI37lU203TvMWuPG6yi+xFaD8VIgObTcaxws2b6D9Vf/
CiFMDuJyrqL3uFJ5OLSTs98rFF7ssOq5OrYG06oaVPfkCkZB9rgyDXipDBzYWcgyUiV1p8Bg6Ooi
jGw4pbqA3TwQPFTHPEx5eaUzGC1NohGFcapEW5mzgAosuVEJKO4HSTAvruOZwltPxzHZjaZElxW7
qTvi5gtDLV1lH3CcCvZjNm4AzM3yT1Y6Fi396nq0Qnc9W6f8NxA4EAPxOVYDsdgwGhyeYBJltj2k
HCV3jRGXiu+zfIKCgNt1GQ8jqpaPNU75S4KGAPTgyT6BH+3ba5G56dVwPb2ie8KYvo149n1Dsqf9
nHjS7S5aZTIcB6r6PaUuu7PYZWjPx4QiHsf3A98HdK23nQx+OXNgiQHIRbs86KRtxaVIrJlh0ZIM
O5IJfiMmRRDbAWEByk05eXEUZT+g1Fyhx6BtgdmdBUaMpTXACFUINf2uLDDXHaiMOf2CsBMzHeWg
cab3cTJNezDbgByClmrm/eKgoq4N+EnyLo68mPA+dQ4YHsAkO6WgsmmYTST4erFteK8LrzA/2ZbZ
P6zbiu2dwx9hfeqHxCT3mE3iy6G+hBE5A5T30iosz0O8RgGDabc4vWeb+dQ7dn22NkWrAeP1q0Yx
IQIBE4zEeXQAXwnoyJgQf5uPoCA2XVzYNww83Gll/USfcklACME8Dx6GtM017g1sq2ckepW3qMr7
267DAKJJref9ToKNHTULFgTkpqg+i2bsmGNNYT+n5XHJ+gg0qREo+lqBZIbICbZ9mpCaQWF2WfS7
SoKsDDYBOCCiLtshP6ewpQCooVL30NGO4MmI2dQ8x6C5yUcTLThWAPdj8ir8y9jD12M3bHnW1fka
cIGs2eDzM7ijLTKEEo4zw0v10Wc65g0yd5ZvTrf9wwJn5w9TTPY1T1wFDFwt99kSxQviGyDIqenm
W8xCuYdnatrS7EQhA1/O/ZT78iy1Bk4LcqF09erocrPME+iJKKseoLsNtLEgyL6mqN/fQuK3u0oW
FW/UrKoUF6qkX2gUoqnRlcesGcVy8WObXXUgQMpxS3tR5mANFit/G4xoUdDzpRh+r9UKyD7uC8tO
i8tQ8gN/FvwAGGYB4xj37bGiulf1ULbBH/DJ0x/rWlH4PJEWjtUy0AFS2QKrL2WJu2i/DV+TTeqX
sgPhPdasOwJnwJKJwIstdwb1Y3cysHRF1ntgyIGSqhtKkEJBeNkNMIVETtLG0+TIfYTCipA4eaCf
zJdrmASYOSanyXQmyQDLKbLOBS7utvPtrgAaD1fRmFdXLxZA9WUgONgMQ7wsuEH0YgeT8kuUo0rc
o1fD4nYj6v1dTm30faCfZecQcfcMmh8Ycr202BURGnfsOcvJOSwrjno3FSgpAvh4pRz6CqvFDDks
OJH2iubDa37aNGd3S2mq5B6p81ECQCJGaaUCHIIaUmT4ETR25drkiqANTP623qOy6395Nib5PkOb
d5fgh0x3asWUs1xi2TXeavkd7Kd0qWeXxxiML2Z6Bp5b/hhmw76HZO79cVTp9Jqg6FTYrCx9hboA
tFkrfARwveAM6KJf72ELnY9oCQr/FgcGz9KlArhyjpAehcZ6IfiEiAlg+R7uTobWY9eOHNyFLrrL
tKDvLVRrZ25mbFDbGbw6cJ2i/lg4qqZPkUWMzkBUnOzSrEV4DOjA6sBKiep1nAm/wQwzgKsEb+G7
DF4jyGWZoujojCaYb7bQkEYIX0jBelGkx4qPW3OOkmRxRxHL9FPAsk24MXSP6coq1myC2+UUEDW7
KidBS8LRCDboNhV7y5P5HtpnnHm4hOGFxoVvD2hwuLgBycLdLNlWok8sTLF9RU6N/BlgJLHscI0n
4UrRH/nHpRcdylPuErCIly24nS7l/AWUJgVrAC4x5whkLNenv02xAo85jDO2AVxtgSHYu4Rv1d0K
4+JwWHwCbmqEOxJT20p1z7CGTkBtwOG5z7HZ4FDe2+qVZaGAdSQrzVM1ADc5l9oJuR+q7tdSJUOT
yg41nRwy2FqtgIvqzZTmFVq6ze+01RAnSMYpcO4ZV10t5szdtHNSqYOC+PlISQmQ3wDlF6d1SXAz
9Dm4teDKiZs2TkR7ZSUEHB8WlL3wMELP093p3GDzUu43cxP5dcYOBFCSXBdIpbaTXA1Gieif0+lM
K9NuSGCHRB4viOvfGqwvcIU2wl5VOkfh6jxL2m/Jlm9zVSe+nc4piMbmB+R2bHtN/oO6M1uSG8e2
7K/0BzTLwJl8dfoYs2JQpuKFFiEpOZMgOPPr70K4yirleVvqa9YvXQ8VliEPJwkCBwf77L1PrLOD
wJz8YOcWY+jvAjCK9smBGEVvIbPYSbMPh8jDQd7ZggBl29rrwH3GuGXPoIiSpSfcuWldNU5yKPqo
8tkp3mHbZyu245OCPAUqn3efqjazXlZYWf6ua0N73oumS9DJte7g3g+GUZLNJdk2GMV1UZvW45DU
xV4BDf7hl8X6NclEfOuujcnx13Wv8fBa/4BnlJFhd92jn6zNEVsQd+MmHtWc3guOBenSfWtl8KGk
KSQN+1b/hmSOK1lSDFuqsv4TjU37r0XlJ0yfMIM1labtA3Xs8rsp1fhXtyZzxqpaYGaXY/uY0U8j
vJ6GKrj2ZOuprVHABYwM9B3RlMTLH76Ys2OXy11vhX22LdLVf52dMP7SCT98gT2XbP2eqeAXabvN
jcT9XmUVLZ0w8LFuxyXvT/5Yi/sUZat/hNfJ0XaKF7PclI1U26yBcEcwcI8cqxSt29e8eZewqQng
w2TM+0XYNftQm77Zq0Ov1RJZehFM4bVnO/OVC3sj8kwjvFroxb1J5sK/S0OJH8DS90E0Vyt96J3Z
dQwKIbF5gA65PqWZ4WnLwVo4mwS7L/yknPmIIil7s/oujUzsXu5ZQdKgv2FJUumn3fB1gqEJbkgp
iqL3mN/0DprjCGETKp6wyOpwk3DS3Y9oIItd41fpPcx3zhmZ7CitugldgBxTjprbpH0c3TL9i1o2
wc4cObGllRA5DZhDCX0Q290oHVMYZItTODvy2vpq6qXdbVv44Ju2HBpeq1mg/c3i0xJCg82DYPji
rWa5HdpB3VjrmpzMpqQ4ZsZ/uAHg1mlxYyOPfLNp3N2aT+qPZTL/CjInv5PD+IJ54cJW2BS7BUSL
bnTBgv91WsyR4agM/d/kbn0V4M0L6knLgbhzr/oZkoRnG8NzCq/+bSmn5saEYvEAmMrEX6e23gtX
ie3stsyNMMmsjYrhvUTcWpiQX1nxCYqaY0eoDae970mv2YaVaNP3CtnJFYW3KBiVVJGRZ+qQwt3t
4UcYw9YJJrwRJk7HUTG7T2IOqhuYJLS3QtLsb4inztFizKhWc9B/cAb4bhvpTvgMxzI8cUAuP1Nx
qLZ9MViAbHVKnT4OMjtypjC8zuuheZ2zkV1sWtLmZZKBf5et+fIlxDhlR8syCHMA9H/UpjGB6ML3
22SNArCwC4FH+TABZG1UVV67Bjv5UlseDbeEpbaTIf8yfGvEy1b25VZThKL/nU7mwquO881qhOCi
g9NbO4bdXyI3U+RsWBJc5RmgVIc5TFQGU737NbvjZ24O1A7tvsh5AEaC5UJj1Wymv4k9FfFS1BJ1
RZe3RGrI3e71Cpfv6+Ra1NtE5d/T0Y/M8teX/Zkk9XFZFz4J1C86A3s4LP182XrIZhc5FwXtGi7p
pioXJ96WYN6EVDh+2QaL6OA31zSFpvv8h3DDVZFo46aHthn9FJbDF4Qb1XlhX5VUn/vR0Whm3gjq
UILgtYFB1Kt9Ok/D84xNTFSb5NSQIYL8SNGfE99YeGu/S1HIvy9lF9K33MgEh1e/m+UfrtW7xskz
QMwhcYZ5475TbiaHlq6T/1UV5ZJT/A5gqdDvivxggQb71Q8bSkADZj0mO3NYV0e3bOpPObCGEbXl
at+NphxeAk65U1T1pLWfGoXI9GCJQfbHdKjGYYc0Z1l2xYR93tbsXcpzOQej9h1epWaQGHS4hRtd
AhQjKjCfw2ygggrZ2TiJeKHBZz9NdE71vXE9uTTJe5ztvGRpcVZ4n+aJvS6dAzBYUqu9bZBcRm3i
wO7PE5xxN+B/iMngOQlvq1K0p6cgE2O6Xbp6OXml4Mw2uy7oByQfeWUWXkvdhPP1H5hAtvVWuo3x
vYLbSa4xz75/oGKVffHK2nIPWT4GtBiIzeVrGcwZUjZFoz9o1nMndvk4Qwxo09Xb9hIkmoOmVjUZ
oGNGJHJ7aE+41Uik8mEBcBz6Sl2HGN1wI+uUlzCIFISXxG+QgUkZKs5jRkY7zqqDMIfU1q52udcj
Em2mtAQWMAu8/C1oM+5mKQd15ZilCPctYvCTDBcxHz4Wx/9reun/nTjm/yMSqqW9Wf/PLNSXOuu/
f/tf2qn0e/d3MurH3/2w9fS8f1HiQ3js4/SEBYjWUU7fta0nAe5fGPHiNUQLKnraaSroDzaqrymn
jk/4AwHRVr1dc7b0DP6FcwXSa9oN+QRJy/+fUFE13fVv4Udf0SQEwYOFGQpP9tL4pDRzVdP52f0e
cC4ZqBlLRxplJOSYrWThgyzeHKyG6PWJmBtedG9Rv2Yfpvz7ntTKqQ0sDch0rsKUmjydnEESj5Sg
yu6WHU0jRg17onx3iz6fm63heWVuR4nvO+Z3f4Ze+Vims1++IZaW8Vcb5Z93l3iclcC/EJRzK44k
sbrXYCd+UAnl1wLD6wmfkRvThwiJuK2qzOXaqlA7/wWNv+Fv/vZK/xv27M/7keMBWlswWJE4URFm
uHQI/9t+5JtVBlSfBt9jipt5e+wrBKbH0hk75R/XjiPjFK2ZLLO/ShFnVrz/9eUvpP9c3/ehqFqQ
OHB9Atu92CLW3A46wln2jUVvo57rGyyWKQ2GFtqFvZonEkdiXY+YdmM4xirrBwogS2dh2rd6k33V
e+hztJV/C8fjDreVln/79U3+vHk60Jlt0F+mkPfRF9u/uEfQRMNKlW1886hvUY9NVj/x230ZOL0t
NrXqPe+1cAVn319f9+Ld6Os6IdCV5aLtD0jjf343VKIavzFgzSULc86DgijL7s/UiTXXcsqzAQvI
OO3h7qdwgCxv8+vL/8xC1Y+NuMzUXFnIzppd/fPlE3cEzKNe+g29hI/axp2E576xkAxMnNfMR0lv
mI15axftMjwVHbQoOGlpVjIov76Tn4m73IkLnTxwXUxyPUbjkrjbe+QMS1HHX+NwhQt2aFpZxcvO
iCv0DIclUDNv5deX/OfDY15Asww0fqGg6ekFBTdFYY/iAqqt41Fa4HhkkvQXe1dNQ+fsgNccD99/
Rr3ddPBLvddGLEgndiMUZzn9ZiJc8Kr1AFDlYJWwUPEisS/9OpIQ8goaPeM9zRTNio8zTpwsiGrG
m6KBG5Y7qxNlWHjABEOuanNXbibS4amSXr7AhTFVTUeTtFL1tnUbZT2SatXd+6/HTHP7/5PuOT7F
JOy+hYMno7bPuGR/Uw4PlGjX+X1WvWISiKEQDJYAhaTIPaPfhZBkFa1eNP3U6B+ZTIb/6WDRJBZL
COg+nA7oknt5G0Frdf3CEeW9Ll2DGJ4TvWD0jrB4F/caIJe438GIKd6qnPMaGKysFKXawMgN8rk2
JdrqyL9wDOIOOb1fO3Mhm+o3YeWijZUeLwYJxyw0G7xhfKd/XmAzJoASy2X7vYtJQcmBemp6wwM1
vwy6ECYwLTdn+NXIvzULANayDYp1MZ4mKWOkPKrkjFKtK1hNlbZ1j68j1ZOY+qArjPLR004DVWTZ
4UxItIx8MesrsYYl31pk8dT+ziz5wlaGSOWZASVszFhQiGEAchExmJk1xIRRvvpu4+JkJEXgMhXj
eAhDpTXiBqE9Xs7RE0In/zZ8hBNpYrSNInvqba/lUGf/fkE7l1HcIttA/oI0Ak9lAsnFTlfMBYzm
tJGvuFdkCu18VwTOrWWm9nJtd8PCcITxWK6fScGXxYdNpSBYRAT8yXtM2jU2jqqioPGZ3tiddwdH
XycIFACrMjwUg6tfT9PZIVOIfkzu+AhpAZwMm1dqIShewT3R5zL6vKCmDlN+aWMov34Oqhnh9wYO
N34bm24VSR+Qq+PjtffQq/FXxZxkJBjtx+VDvKk4YwfNnPMVDckDd54Ztc4NeulWxduMKWor9+Go
zBGYqgELVKqIIWqUEL2qyEjiaj4mDpvrlzpASvwZcrvJJIN/T54xtnVDivLr2HAZwhl9eoyhZ9AK
I7h6F1MD0kudUOIsX1ez6hRVYeQPII8ThoTgijDACBS/vuJlNLKonkMHYd9G8YEny8UVOyW6dMJd
6wvaWz0Zp8HR4c/q4EW0e4/2cd4rgh3IsJuJcmCX3GKI7TNPf30bH50n/h4VddslixO3pdujwu68
uI/VHocWiXT1GUpR1WOe1gwuJGb6uhON0qIDdVex32QPYxckRByJOBP2N1yfEeMI359Kzr5W0l6X
eFE8zeiHgmXTTaY3PvaBITAcoE7VXDOJcEzPhRNnEuqqZ+rFngrmYTOmZBcn+PW9Xvkjvnr3Fvu9
1CCKsufxfJz6qeXB3wVZl3ENzIJKiaWfmqeFb3GxdxZenGLW0fkvyHUFSayrFGdwa6QLNB7qJFnO
MTWnmWk7Y9nDj6T/yGwND7ocqwK834qf4pkiZBlZbYbE6phJy9Yhsl0p0O3bklpddljdBYkTjhiV
zqmRf1asTt+k0Pub2fvh0/u3l6jN+eDzwvClE6yNM9xFqG7tulqbvLZAByCQyX0vE30DPU4heul+
rGPsABbuLU5nvcSJlTqkIFFmo4GNQhpvzq7+VdNybn4rw9x3jtlU6nFol6mh+14786kstfUjLknl
dfsClrm9l9C27S7CCUzyuL+ZnxdZJo+GFsrB3kybXaGOung0SvAmJdBmebGTUUeqHoHQ+LiWeP9/
7UVQoEVd+qZFhmxBMkc8bDQmLwSaT5ksu7XyzD7Zh2CF9LQqO8VwTH5uM/vscSWa1Bk01vFAPV/q
6DYQNo+ZRaXainoyEi6Y9bHgvzhjmQxFlTgMRd/7KYxUFz8PlkQaaof/6Dw+OhQWv7H8uohOWvpI
dgUiF3DsFP9Idc1pdbzFa43nsfIbosM5vbXSYB6LiJNlmvyuTcpFP1CcHMHNbRJ7wbYkEEtebEci
b0ghYbY+dwNl17ceHJ0Jxd7P+Di5dACP48loIEd5pb0w4OUYw8GoCHqM0qTmsn/wvS6I8z2+tRS1
OIVY46MC0mIHqAwWPtobNqofry1pp5qhxD2RqjrsAqFfR1KAOeGiQM8HfoRLHo6Poqka7sQtCvam
wuv1OfXXUw6v9Z8zRR5ebwIECRPjW33Q/znzIR3skPbPy3MKwEeFsB8KG7e3ScQ5Vtmro5YdpT9P
BsihrDDHpFu1WXslysGe3Y0k2zGuVYLly21cpWjbWvCo5KvIkMdN8eDQOM2vm/Kbk5ereqwaGBZv
E5j9dA/JS8zrlpJa6MIrJH+kF98Eh2q8U20Kp0fT5CrzxhbKhJFdK7DCfIb8QVfrOWg1v7QelTNH
VEBGFsO4KujE+Bq4uZPv8f8enCcPywUnicRsDtOAIcSUmjH5W5z0pz71ycwiHwXmumoIjyh8grmL
LXvbydyjqkE9aYsxwbw+I1W0ss+DUybx1gaoNqOF82mzbLyk78JtCAe1iBK3TI4Qxvpt24hpvY7h
joiDOZmptU+MLkjFThZN5bws1MwL4yVsxDw/07zC7m8NnOeNR3YMf/jmKs9TL6s/JtipyaaBN/sp
nNeyOMQZ6MYeS4SABnVhgRgdhb+CnhK8m1Ue1N9SC+r2jIK9X9rvGFhNGGEV5dSZ+bGPa0T4W84B
bukd6KpceHcg40ZRHEZP0sQg/Z7icNMzyrOJRt65Xe1mZEqvpupk+sn2RE8Jqa4dKf3TQIPNtLyp
XbzOEkDJpJ/Gm8mNkyzbx041De5jjPdwe/JyJ02CPXPFo/W4HFfBto76A0UKzEDHawEgY0WV4TQl
nZFmhymr2G0wkJscAiwdWQb3zwZ3Erc7MTkmI44mm7TFvBskWRfagMWG53iPZYPPj/78SyOjr1+4
QbKNMBOOe+e07+vQhtZ4lUN9SiAXzIbh08Q+d4vBP8x1blJLc51R74vCNTIeJ7FdNpW3OQb4DrFh
SUM3uV8mOUn/IaeuNJV7v7ANS54KnJOD8d7LbTcLN20YakzCV72bFp/9JI6N9dpxyo6RMhZq09Ut
UbtNUfnZsfJLetu1mVk+5PmUB3DVsC7okl2TmciCIkKWvqVlxLfQQs8FFbfdClnkNIfEch3R359W
YtVcr8rLMHwZkqBtI8U5mJGFgJGxg0Qmch6+hPsnZdm0bahzeiftePpIpmZte/s8hYMebmy0lPxo
urQ3nuqKSjVpwtgngY86qG+YAGtNvnHoQwUReyPPj5rCSmH42tznf+wlXczVytTkkIn2Sr8eUzpI
Gf8wy1mPc+2EOViSMRi49B2NuqAu/b1tOdC0e5Xh/+VHU2Aufhtl9Dwf8KRuHGp8n6m50v+I8TLS
tTmkw+qY822Q+/qWqewruT55zCyuQOHUbN9jY9YTDD8H/ebdxeB3JSY6/G4cTT7KFhu0E/eAMJvL
Rj+eRynbbt8B3FJ+584oGJ4K14npzEilDABoI31o/GL3Y/ag5w75Sj839MPF/fIxGAOzRkU/ctzQ
henHf9mdW9zaIlPG04+hNs4f//cgnz8HUmAVt74lK27ArPGTey8yT1IPzDBw46FbCxEXxV/YJZl4
4gCeNOHGPb+oZh3hH+w4eQ8qOenOJB8qxBQ61n1YDQ2jNFpVyUcs7Nq4K2COWGvzxKKT3qRyLX5Z
+omglnIewUaygohr52dKrYwzWiSxaJnM4zIE+nQuzq/2PD28uIDxvfMcZOhi5/qlfvjZW1LmaWIq
fZnUST1+uTSYI6UvMOydob/iSRFFQQ76mEjrgMqO/Nuy9beYmer4O0rqNrMLxxJ96+cBpTPiyn80
pd04/g4zpbrITytdEehmnGhES+wmmn2ypkP6TIB8oNht37PRt9p300tqpk/nkrHy8ArPDO++A8vW
X2iN+oczoldkRGqhl0O1uvr+6wH3sOllKBM47Nq8he/FSMZM7GPRLb7ZX9vnuZLlXdj7hx9Djlmi
4nbmzC74EnYASJ2bXGYF+/xoYiUnXsjcYMZgkGmgQYtEl8Rc3EVbyJGpLyXYJnIDjdzwmtLhhOJR
L+eB/ZXfFcvg5QG8ocKalys77Mq5OfZOI6Chl6GDcQ0MKOimJzM0Bz6f9m3HD5JGt7yrYK2Vd0s1
AaIhNTSBinB/Csq7segR+JLq5FzdTDEb/uzV8cwpIF5WPfenkFCe72e7tYgwyJTLIdghHRB8hEpz
HELVpha1zl/glObEm6RsEGMff8DJeV+m6CQGVJON/Lo4sOHto8ypcomD/bFm2iYoGbAunop4/Yxx
fjP1L/RuSCfv2J8ffQ6TjiGy5bwWPFGR4Hq181aBjjnqIQfyb5ha6VkDXqWn+Bk/DToYMWKDl6J+
3j7LLH5Q1m75fJsBhdJtrUTT9IoLaAHlAcgCStqtLU3FJzwskZjUozt0zKszyLLSzUPFe5TKVP5P
SdyufMd6ht5ijuWghq3rFOClsVlw9K0qzk511JcAE+51VWBziFuXM2WA8AmMJkKl7cWU3u+6hUiT
7znr6cEbMltDBdYQFGDxeVkn/LlaSp7yy0R6FhvQTjqlsrsQ7RUgZTOw3d36CHa8/pMDjLXENJzM
jSXde5N0SzhcDbwqZ+MDAnmv6A1NjuRshiEvf4VWz1N5daW3jQpzEUZNWcpk8p1HMu/hat7ZWM7b
49W0ulXsfypWKC1PimQaVGGVbei9Em+ZX8YkV0Ygd4R+BnxKDII/x0uNUpUZ+SqZdQgTXb564QIZ
+N2ZS6+kj0crl3jvWA2GQX9NmYkL+o4dzS7dTVeCfxtRQHcM9RlEcir6Z5G0OdZWMWy6dH6cfHKb
9htu6WNrfeniAGjioIphrELoP2tXfF6dwcLOkqZRHDiwTDMbckrobeFgDszyKg+taOSXBuR+H09y
Z97+eJLzu2xlDkAcua696Mf6CDcl1H6mW7gkOpqQ/evFm3WV/kT9gd7HuaV/55rUjYmJyaI/GNug
E9WOk7uubdAqR7KUE7LF+G7tF3w2cxaqXpVhpf/lx5QlpyQSYZSi/+mMh+twiihKzYuy/Y1pKRE8
wHJNUF5MogY9d5Y1Dq0T3BW9yqlvaziwo07ED4e0rD+1q2B+O4L6wx24pb7zIqPS+PrjQq4K2dJa
porxdD6x1Vm++pTkazk4n4pzwCrOQGMbmBqMNpDp6XtUnnK0E1LVNvCjW28wnnD6ljxzP1HFG68y
uH+MR+rMXAM1nb6t4WPB4RnAPoLZ0aAXubR0mREZ/qznpB+vFt2bYUvXVbVL85LVuD8PCDiwDnpF
4OkUy+lMI79OLfoNB78Bvi4O9GA5xAdmsEVwg55wCSunPTUE8GrrKUWdwl1j6j6zGia8+O9wcdcr
qBwBXtLNmLX63n9zuvv5bKcvD4XMc0UI1YDrXxxsFZ14jKnzgarOoTEHA+YuOAewkn59qYsiDatJ
+AL3Rdx4bP7/stHIFBS4tpFK/nuOiGJuYHrK2HHuMb/WszvE+IsfNLzhDTcO/m0uDmwfwfHX9/Iz
hIColvmDGzUPTzmceX5xpI1H2wK+zZMnXOYIY5lr6ny862iRu1sbUuffjfM/L6itnym4B7p1nhte
4IpFqoRZViJ+bOeajSIp2PFP/lIQ5n6s7F8/4KU7M08IdouzFGpoC67PJZA5l7mT1H3pYc7zETHQ
cGrQfvFgu7v72emCcZ/LeFWfhsle8i1GOTqe24rQYHSrw370mzv6eaYz5lqVE7J5IS2gX/dlWWwJ
hTH5i90+ludFNZHXscbnoYiJ61kwZryC1KGRtrUNbTYHUgsDaqRB8mO3wxqNcPjivVvZjSs2sBd1
889Wtnyc9RGbd9lic56MpnM9S57D7K8f4vI18uIcgZE3FRManOLD9TMUwr5LW4HZGO9SyDQM5/qR
CMnOrYdPixEMzm9Mvf+767nYmaLdEsLzLr2F/JlsxArEcPdj25uTtEXO0xBZaQCPq9H/CFqDdKYZ
8yCLBG6W6j/CgU0DQTyIsvzuvC2RJOu34Rcl66LuWr1h/HpAdXz5D1QLPguviomqSSmUbfnvnwcU
x5EZfw+3OPq1oQoX3Vzl26+eYsH8bgn+81K8uoCyV+Bw0v+H3VWFtGQZEg+FxEcVa3RBR5hHVlvx
49dPdVFb49thaIQU4xlFzgFE1p8fqxZ9GuezDL8KNE7/XlaWh0iXxNGu9HFyCkasmFFKKcvfIPql
0oGJuDC7qEf65r/kkyAI/ua+zhSRvw04GCZDQKdQ64MwEFzuN0JQL/KztDuo1RJpt7PcWbMkBizy
hwYedE2hPYKxDeZL07t45RS76d2kN6trsgioQQnCPgkidWM5YCLioYrdJGmOCzmL29zFM9rzeYli
i1LYl65tK45nKrccPHkgF65WjxhUeF21DZQLBHhjz2gPvIfwXGcsPA5J9n1cV2Y73xZJOoZQeYYR
U2qwmhwKyZEDkJ9V0CFzyRT5kTj5Bn+WbopzusPJIWAT8z7C6/kIVHyM5pRWFlsKR1adnkwYbZJo
N3QHLe9qC4npE6mfN/h3Nt16+ALjnHNJira8NyEDc80QmfYVOgxsZsM623rSL/MB1cAZimnZzlE7
nhOsj8yOih8eo9u1DXRyQRdLEC/OPIVHp2LMR4wn7Nx1BiOoomSQWGccZ7IDdQZ0wS826Xho30Hb
Dh15yj1haJCiGxX473I+H4bTgrh1mxZDBRwMMuRT/cABpA+Q1xhDk0yi2rQ0fXetB0jY0p92SYtd
YfvsLuG4Ns/UQXSljdwU/+S7pu8objxnKHsdKOy+A81hn6pWd2yoTJLhvxaOxF1w5XrzZL2a7rz0
wR1wXiw/IQjJC2uX150hOKET0OY+gklOjX9Xwyb0gu00WytuFMIAMcGWl+nuBtEC7X66KUKcstYN
ZfIp45SP+Q312iwVeCSIsp/ekYcXS7rFOkDSbLTy64ouoCBCBj2Hz6XAHzGypU6feDcB/nAchPDg
8qyB7P4j/wOQ1/nrUvd6MzxPjfIjS61RH3CUVHRUHvC5V8KrTCJs0vjcBuxGC/su7Ime2Vya4EnW
oVHuq8xN3A12ItMTJsduvl0yTAYyZ7SPmbDXU4WB2hGEpXlEQgifGvOWOz/DwBcse1TPMZP66GDv
2W1Yfel7rmT5ZyKyZjvj3cIZubT7A4dwoC6rdq8DKV6bguVYT9K7wZBNbn0nTXm7mEHsc392drjo
DvdrXiLp57TQ7wJ0AggYO6/6msrhCYdqea3wvblG4tnv0OHMEQSZ5Dg2Q7hNkZB+8iWtR4pMZt+y
roV0nMoEun2Nx14ctlfBalX7BT9rOKmQd/nqYKkjJ6/9/cRXnvDrT9/V3AwH+BjxNzj/5aGYTQwN
lhA2b5qL5kni1I8RO9BRB2m9SV6meQ3e0P1iDGcP1fMUWNlOWL24onlHiqTVMOwbB/hwr/qu/t7l
fvwJUDODR9Xb4TeTEhTnLFOaj6OVp9leLrWxM7uqf+xGByCEULDtlnm4sju14AlbTTQc8cM4Df7M
RitcTjAjhq+d5eTmroE6zPErq1LswPDh/B70rl9tjdhQmH5Ak9g6Zp9/mke74PxWNUiZsB6J4iBt
3jBTlvg/O+K680w9Q2NX13aTEasi0uxb4RfjCVTeuMoKO7W2AdHvmzlhtoK2NMBLoYfv+AWDjel7
axh0EsvM9a3r8saC6SChNa5rx8xNS6RgMLnoMyDXqcCURVsFb4Qps7vF9AnEHPUQ6dilfeVgAyWR
DeLFbcnBunZLBFcg0J/dafkqhji+c0yWz4hKfQvkKTKkItWI48jS2DvHpwudRIX5BUcgckVB2T2B
hF/AzUAtmiUuupTBdt6omDcb2yrrQwOAsbFE1X+azbpA4YXWPCr6Pnlp06X9U8348W3amYbEsalk
jjxDoB6HFBAXLDx8pyNnDqaH0OrSEhHpmL/llVw3FJ+qz3WDOEvK0fwUUtw4SUsF0aBEfOVktfPW
Bd58k1OHGCmHOAMXjXtMdxHEYnGX3HiBQfPCEqbyG1o4tO4BeSOODnnXPnh0ptsT6D0vCrPVP9LX
L32APwTnZErVi9XU8jAOs4kCcPTelB2/TJzfX9a2WoNDK51lgzYg+b4wIIe094dhR3q6PPVYO8cb
5bRUkum0gNvLOJ68sJCHlvzYhF/dhS9h3Yfv9iztZyymmncExOv3gQm+Hf3GukWcZR8EO8W2ndv+
ibzX2LhTPWLc0RWvq2hqmhpok+oamPsuXQRdQa2ZiCTyDPfn3i28IzKSOEKglh8Kd1AvcM5s7p9e
vKao7T0mU90X8MKWPhmpOppLGT5VlVqvMVmjX5JPyNWS2uyOXk79lRqc6aHuYvWs6Pf31S5GgoOF
N8adgzyPTiX2dG/a/XCNr8F0yqaZhqnNENSH2KucLcd2mJ/AMeFpNVR8E8cpPdTwq3kJgHS+tGvQ
P7PhJ0cWm3+7mkYPt8rL9mUYuzdU3k076quw3GIPhDOGgCNHs3ujecBVJH1IUAwjOJKl2Cukp19k
PyAvjvHOuFGhM1xDoCpALarmObHXsCJmV/PO9ovgaFKLjEa5Ovf449lUDJTxzYgtuHE3i4svWRgt
1UwOvvUHoPbgpnDt0e93AhfSst/g+xXfIF5JHkB/yjuDpnOfy1698TcJAHRmfkYfTnOQwc/v5jCH
FupKM7sKG2m90t54wLQ+ncQtFKThJbPGsT2kVmk7UZia/rUTNyrYh6Kqwyt8FSX2g+gqNyN1+G0Q
rpWPmrdHa4G9QX3XGPAQrhcDOa+z9cTUq5s2pBXA3pyRsZyw867u7RnncB/9G95es0qbHaIw9ZjT
eKXC6IAezNdVVtCWxUCLClMzjk3j4I9dtz4uQa2G9KBTD4Ej2IwHTsGoNVNSXBVgBapEH0bmgkv7
EI+3oDh5h97cTJ4nf21o4iJK7wYaYWxuJ5MU8boHIEBcmXEq1fo2JXvXI3FKauhOR20qeuVas6jz
59VeYgu/sbkV4XBlEezECf+XcTng31KrbTp27vAUGgmC/8lKStrQKiNOygKFVjg/ZTZsno2V0t2p
WUws2CcOwHkk/NYSNxMe4HR3UdQXbrFKWrGUX9oVX/k1u8ot2hR5pl9coX2eu/y+XAwvXG2Gvxa4
44EfVYVmj0nLre773skxxV+8nGYuAP9dw3oIKLtGg7lY1c4xhzK9KVKqxsgfgZ+1kUVbY+i1UJDy
h7w40lMBo+9kcnHWyIBvt7jWzEc7cUw8BQKR+kB1uTJPRaIkZdLB9ZeNNVGV93qrvzMw4vSjKo8d
nCucwgYiBEv8bEpDfUNSnm9tJRdMPfBXt3fJmFrou0jhUnwM4AxAkZvQ83mPi+E09JpuB+SitAik
4MIHGmFkc/aVINQGKJclgj8Xq6853CGoNP10J625cd1b0xi94YUicxUf8zZw3pJxfF3XNHlJUvma
hBLfU44J1dME52QXB7E6CDYPnEMGT1GW89frcrHKO2Vnw54eAWEkW7nKjRYs4QFSudWTqkvENIrW
GAMaPeLr2Fdf+0Q72zV0mGpRq99S+QzobTF3U7td2Wych7BL7ScfYhPKylHLdK2UCYMPTzZ9MxtZ
fJJt3QW7zqf5RdfUzdPQdn2C9D4Z4xNodoKCuJrDU9Xk7daq23JftLH7VGPnvsMKrLku8F64tYrZ
ubYkxdQmoScOqpikwaI/Ht/qwR8O62xZeA35bMJbmnFioSExJ7uD1zj1J6kwnQi7ScxRWyT4hnrd
KDHKrWK4rRA1h1Pn8XA7mj2YT2ussm8x9fj2kFP32yoW5bRB8a/QLGLXOWb0RdhmOfkFtxA/sutk
+8EPPZrhyfRznuF5DyI47yEThYdGhNXel37+YOSCZj04+v0p6uqlzGGoJRzc9j6N2b80k4W5kGs3
zRdbxOpqoG3wvInVnAdY0Q3OVSwtHjoRIO/ZPEYcwv+LvfPYrhzXtuy/VJ9v0JtGdY6TFIwQFd50
OG6YpCdBb76+JjOrXknIOHFGoV2d28i8CeGA2DAbe81lRTnXklcT4J8fRWp538AdGl8Kw4IHx4vy
yRFt82CRyv7Eo4BZ7GvaIg5Wrrdv3BhWAXgB9IdMQvuHXeyX9LWu9l17Mfvv6MW07Iz7Bg+0JLkb
96F26qw59l22DLyBbQ1JTA+MxdEqWUdgx2a586YUvfk9TVPwXmZJH6ARehhQFLR7JC3HnEhX4TxU
7mh6J67wu9JRY/t+VYlm+Cy4tWEuJixL/8bGC8Ap0Px5uteGYpda5dp91jrmx72e4WJsE8DxbNVE
5AAx/j5OvmB74OZ5acaYKq0mdqzXPCl2oVgpdjl0CUea10s/iu+FOSzZsSf9OSH6L5cfw7ASKwQl
97RRkF39OfGaNu22atO5zifrFcnzhFKubNk4zFPO+sumtDW+VF46hLBWO+6yHEeGUxm3mnPW2opa
ZH2bnE9DX5ZfPTEtx6JHSYsqrcVwfPaM97z6+QHVSpzhDu6A1AuQQDwAlNTr+byAgEMph9IVOOjW
a82jhVpTg3W0VwiuwI/EuRMTygcqZZhEOwwyze1iuiSTyxNPhUq34JDW4dTBOeIYr6jGOVNbiLe/
1D3Q7shsjLk/cauIi93dysV44dgZYAvXO00389qOXDgf/qEw2sz6T0k5q4aZmeYveXzhIa9Y9DcF
psY4R3PbXoAIjVta9ePRY8N1VsgK7Fu4h1Blbq+nelrjqghXPyalc+xHLmDiqZzIWoEgovw8GC/d
KNrsS5IUNtrumVDheQeVkAXkeFraxh1QshZu/TCmo1b91bf9MjlnWMyQiM9Oyxvg+1g3eRO6ExRw
DfWpW2H/5U/5KAq+g61RxoXvyTjyNjFRfs/P/1Vpgaczjn1er6dA4DX8xekcM33/TxJZE/tDyFAG
e8rWNOJFhPj17SUF1DHs7zPE4eb9xP5LX9w76r034q01+iD7Ooo51VIc1EjA7WDqOJ9dtgiW4+HT
mJJQ8F8PHCiXRz0P9NVGatuPbXG38erG12LLy5v8u+WP9VSdnHIY1zrc4SkgazI4PSbqc6e3qvi9
NTgCiIdLAW1mvdLHsV0b6qPAhdCmZSftRQg/Zz3WhuZUUB31xqTIjKO7CFgxVyi7/eDbd9ngVesq
yA5PZHgzmD7dWO5cpnqxsxI4IpVAAbmDuvFfbxz9/HOslW7M69wUw4g7GHYb2Gdv3Sz7jvfI6pPw
x/IjDncIp80GUdzBRnMLpN0FBqjXBacsqvLTDsk6qJb0NIEyg2q5mS2PopsLdC6n+v9VkCXTk0PV
7j356ex1o8fWsTDdEZbvulZnYVUUkU0BD9RCQ3QeLDMEZY5wHkYpYrUPC9Sy+q4bdKorF1/M9c4t
L36KTY8LllaALQeXfXQEtr6t7/pMmxcOCFp55gTKDTHOhePcda4NBi2u/OW7tsXAug5GMrfGO7/I
Cuc0Z3X9o4P+36FhBven15sG2BP4NdgwjhNdfz+CzZt+Jhq6T+3IidoE+VmkyQX92BRrIPkMn6Ih
sw3qY6zbTXO2V72/N/rG+1pOpU3C0ovNpDmSUIRTd1i9FTN534W8YOrOOHyhJINyjkMnqP47UmsC
trceDZN6J5Jbjwk37+pgt5zD3yw8BC6wCgvv7BVu+UrDkpoS+9FB9EHNn6goKTHXsT/5tRPwVKYN
6R16Cj6MtyTawaLm774VZYvrKwmz7xuFFMyNOHg7anrD79zExTXE8rTysU/AGvwA/Fkz/wIzwqGg
yEXyWmMZ7r9xuZzTt15edfupyzKze04w7qsOM4fsO0uktd5Zk52/a2YrfkP5ZvIz6QxG3p+3hTK6
GPhvsdOhDgKfwY/+4oxPc1em/ATkdbxae1XDagoNgZpqJwCHnBneCWH0/GCQtMhOeBxln2fLRt/o
FL19X9t5Ttlk57xv46S5DGatf3G73kC8S31kCjES5UC/7Z7kzvqI1hNUljn2E2KzsqZwP8hgET0k
Ls5YlLCDVDok8bzQXRwDKNngNnwUtbeaF16ueP+F5pD1EDStiaUXFTNZGDyBKHuEI91yKKjX/g1o
2fF1YhoI0XUnER54sFJ8mBdvoBp6qPmVVCl43+wu9cHPcwCPWm0/8fY+Nl8HztTwSNwiDiiTKdoM
LBWMXCrCSJc8bRUZgMPmCuGei4nCv5MFsvK8ISkmQ+FQ5kc5SyVOkyX+msHInM24X4DXO+tXj9Vi
Cpeh7sSpbCf/Xe90A4p2zXFaLgQZWaDKbN5YZWyGfloWHuVLMTZenREHoQYzD/l6Vrxa4Kw8UUOY
YyTmm/9BrTPWvH94wXrMnB7Uowfgez2N85rvLgX+EJ/HNPNL1t/OKsPcMFfnMriz80mLYfM9krmC
SUiBSbUeSlEZX7OASoxDRYHIY0Pli372ZqhJxy0wUVu04P2rM0Zo6YfCWbr5yL7JqY7z+Sm1utbf
x82NZmsmDW2ZTfzol5X1paX6AzfLsfxq9VXzpRuwzkizmtwjlZ4UcCUTU77sviba7ppU9CDjNU4e
b7oR2VFP3uVbnYzaQ4fCffdvKLxoACf5anCw3+VGXmALR3ZEi3X/ExljKNlJnbjfhQl6eLH1/t3U
reZD0TfYbueQwPfTml5R0lOT4vH63sd5MwXvvAUaB6cqC5a72jGn8h0q3uzUkdw6dUx1+9haznjm
+GKE9dpgQZXPxpcUPtaXIMaFTvQjtCMejM6VX8Z/Ue6swya0h49YLLR3BpL47w2V8V90/hOAdgsD
hxThC1og/81C8cGdmAaizh//Q+H08CRGfYXrMDS6QRxsT0GCgyazwa7u2A+6mmtGb518j6IZ/uvX
c2t2nwFUGyd/4aICfxq/hCU1mk+aX9rv89Syq6NNVv9BiNrgiY4K0MKyfqwj2X9Yb4J8UPedDaqo
AGv76Gy8L9xoscV+19l9YzvRkKctqzw2l3vNVNeiy6Z4YVnzquWtgYfQJrJXSnzWu9lEQ2KerEZf
hvRBHzEd2B4oMF+Hj3G2zM4Pp7ab4j5v/Gqwj7Hd6YMGdcex547Fq6DKhrc26jbyALM8/URBoLFx
bPT1NTt20P/05QHHM7KYB9dcnItt17P/za3rgUWlFUW5lKxjTqqD4J1q6idO2urC1W5b2PITZdIc
46n2WtFoEzSU19vgAaZUNL/0Vlu9/sRDKwWE517MAF94Sc2SgiomkQBtM4/MwZZnkCRPNr19O1n+
wBUmsxa36z41/hxP+YkHYp97H1KmbMkf87zpx+bUzy5WS2ddWGPffgc2PIESpBWRrce5sTmSwapO
WRnuY+SbeXAkY73/EpiMelDepckyee3nUUs2XDUyOKX8O2r0PXcJtaHnwhzmax+XAIihaXjT5c/P
cy9fyHk1pAJkJ2/sSl4eYHfB/3N5N6kyf9BRL/yqGrFrm6Z/alwsp+54KO+91B4pSZv0RUOAAaJo
7m904OVz894BCgUQ7wY8AFOGLvtBZc6KNgrw8s/inw5U/1SeVEVQMuO0hnexf15K/z/N4cMqfv3P
//GjofSqW9/9Sjj3Pqcy2Az9dZgDX6/m5f4XpI9h3R3F9v/7PwwHXsv/C0ACymofvQGqFF7M/0E4
eNZ/OTymw5NHVWKbPED/N8LB4V/tZko8Rjs88vj7zOKpdkgBPzj/hdfnboVOhcau7f9/Mjl9+cbO
JQNLMR7z9X1iPQMTDNvEiY895onL4Xyx6sK7p/pyvfGsfq11KS4QMJNnANr9FAdrc5xBg1+6vCtv
TP5rre/yl2d95/bFKjcZflR0247BzMGwxLa4f/YBf4NuuNa6+bL1BJMH18FnNBIxT9hgcd5QxeLd
0ujQyP991P+/wy55h6XV2AtPX5zI4THBcvyPrLOe4qBLukA/h3ra8vwb4d1wRyo/nAvjpDImVCO8
HBOqkOF85JYdgaX64MQAnopq6W80LlVA/Z9BgcXwsnVyQYj1Js2OVtEUn9OCtDF7X/0t0BfvAinf
OVNYbF12ZwwSNpQ+eY2bv1H7ZfsK/2wuQeR0wfN6dtRxneeC5txvk/lDrW2ppqTiJtvHCx/EWeYo
CTg5N9TFK31tU/Yo1guNbIIzW9HA9Rc6axLVJXAktZ7vsfFsVDzNXH1egc3IWd0fot0+IpL7pda0
FLyD0bGpoSOKNrzVTxvJczGbptLKgAfry343I41mcWpyKhP2pTE0/d7081QpePG4e9m67iIMsIfc
jIIZsdEMu7jzFQdcil2xNh33Pr964oTXnZY4sS/mMgZ3SmPuS+HrWAg3Bgsv1nUuAyCLFDA8jbti
Ta338inEsdpp8qYufeIsm/IOjrzf6sXHP3fe2GfGv9dMqqFeDrs2xrVDuVXyVDv5B/gWwQk5kHM3
Nbm5HgytnnAt6o1fLm44MNAcirL9wUXHUy3vMYqdTo5G+kvxl0oh7bHZl4s2tFFs5HddCtTcrEX1
8Odf+vudx/SlPXkEocF7dtpGQ4k+e7Kbo7vFapum6UshnZiAOPNB+JHTBlSlt+I716BQreNSTHOg
GtpG+CLKIHF8hHp2zJYivvH9r42KFNPjlqHhqBYR1bySYH5OWTteVhgXK35SKap5A+diUVUi8oqR
V8QKpwh3Sq0PakMjBXbQIvEal7iJargxhzGw5zfOYq1f/tz6PjN+ExqeFNgWmefND3ovmiH+nsCO
Y6k91s4rsFe3EIdXht+TNmcrbqf9Mu9HJEfOMeVLFP0oflpPimzKNeJOtLYbjW6Q3lnUWmAGB/Xj
z4NzredSrDYUF6PdWsyo9Uzep8rXbVJ8U2taitTa9fCRRGMemXnr4keJxcdnfHlbtfXa23/Rs+3X
n0uEDa3hRZYRU6KFntg7/7nj1yaMFKkxtTetXq5elNmpfY5JKnwipZNSSDMaH//8JyQJ/n8f52T1
uav5Ira63o8gDlM3Fhj9qzYZ3ovBG46Wn2XuadGS+lPWzMdpa//acqo4WviZH1cL6zN9FcbdkIiA
KnLcxV4ZlL6yIeLVmKZL8Tbp+++6o6N4E827cfejwfX7iBR1eOjaygxeLZn56c8/5Mr8kXE7diEK
3j10I5o9rkhOXroX2Kj5jS9xpXVPWnZ0pOBdq8V1NJjbeqx4QjzxUBffKEe/1rq07MxNNgn0pGbE
E9WPCb53MZlvlYZlv7Q+n5x7oVqaaG0Qedr82XIXrN/qn2pNS2tNSVaqXrcmwAPShLKui4i6P7U7
KXKgl/2u1hprp4XGE8cL3XCmPvrPvd5795tF2JXWmXhETjnQaOR5pf4I+L0/JzqZXr6veQbE1f7H
TwU8bc2woz//xStR7O7//Nn6gKAfc7JCeJFtGevrNi4Lig0HlDfD4pz+/CeuTCBZZoQp8+S0vCVG
DWF1EEH5BpGW2p3LlRYho0YwjVlQELlGkH9Ymrb9MsZ4aar1XDovVGbMEd1iT0S+9Ko1m2/CTG98
6WvjLsUsHBrwjUnlR51RZo/4zlFskGpmGPvjdGPTMq79DSlyqTgiq4hJ1O5y430tVioPhWtqvAxk
/YcBW/G3Hria+4qyLf+cGmK7AzamncFLGvdbLoynah3aU9V47nnBvuOH0qA6UtA7OnSgROhOtFi4
jdh2cWe44rNa21LUI4J3O8fKOWEExb2v18lRQMlWO905UtTXKJys2MObfSw684JmOr8gUfii1nMp
DjcDg55Znwyum31+ELzafp78JFZbaJ09NJ9H+UQtGBIDMxpJvpyLNZkOmHhsigMjBWGdLqaHoYQb
JZRFPlQUzpZBO6ptP44Ug3nCg0mHs0YEhOCdW5ng4ztHcbpIQYgkiTeanNzEIkjuB9gH5O39n7+n
cWXVc6Tgm3hsCRrUFlEOUCnkTTn5buOH+t7lNeaYU+hL8TPQ7Xd2GScHTE88hLHejyCpqw9UAw5A
ORb/cwpZ8BYs9EqHbCnu/AJncatyygj4mUBRCvH3LbYirtp3ksVcerIG6LHLKoLWdsem+51SCUNt
gtlS5Blt4RsQBMooqb38MuNScuABaVFsXd50kQNoWNCWUaZ57hvf7w5NYvdqG9Sey38eeUZu9G7C
TT+qahvBqcszU3X68xS79kH3f/4sqGGwOR5AKexns+w1Vkiu4bxSa1kK6MJu3WRzjTIK9PL7hgVj
bxSK00QK52qrqn6gGCfSNP173aEG6YY1URwRKZ4Lv6M0iyrSaLEpE59zE3s/v7UV54kU0X3pF6Vl
+XFEsVV80vIGj+bVuEV5u/I1LSk8vdE1ViPLNlg4XnC/lAVOHLl/6yVij5TfHCz3h6Pnc0VPXR2T
Dd2PYlv/tUE3PM88bb5rPbu5x/vVOvZYuTwozR5LitZZGJMNs96P1rFOwsbErnKxyl6xdSlaAx/U
IEzvIqrR7+yO7R8Q39xYtK99AylYR2AwXk05RDTmQKygLWNbsXiT2lJgSfGaTshntjkuIi0u+7sK
J2w9MfQbw3LtA0shu+2YyVyMceQ5Tg69FBr/G2ecS/uATwkqQEtk/n7QonJT7StLgYxfFAwRjBIi
zeVSeBhNA1QXBfHDUa19KZaDtY2FbZs5lShadhJ2C2dRM85qjUuhrOF0B5t8xNMmEQCYKXc8ToOz
3JhG116hTCmW9dTGLqHRSLq0GI9nHpyeDSb1XdVTIV2l/fCqnYKVIzf6rwaNyq+hMTj1Kf02maXf
YRxcxLaRR9Xu7439HBCLGzSHK/EB9P/FKlK0rd5ScVJEiY+rDlCuJe4/q/VaCutKS9tkNvotssF+
AIEwj+NYKa7cf4Nfn+2U6aYtNjDbPEIsiudWDSNyNm8E3rUxkaKawnjDpBIwfkSO/VMrub01raN4
5TClqMZXaBLsZUvkzVNPyV7y6C6VrxZhphTBLPgY2DV5ztt3iqkZj/vOVyqiZ5XmwYxIzevNYsdU
wm5h38ftcSnn8q737FzlRkPr0vLgzrHmUxS2hnCXuTXbFfIShC0qByBal9YHVIy+LyrHCZex3h4M
K8+OkMmVtnrk1tLykAexkbpJ4YWgPz94JZn2NEDroRBINC7t9J6+2XCJEzfMEHseZmCpOA06s8ri
QuvSCjBUmd6hkl9DnvFbTuJpcUH9fSMn8ttQonFpDegcLYeEYFjh7Hhfkzq72BjSK3Zc2tpzfRRp
7RRWiBvoZQ0+1nFzURtwaQEw8G133do3Q2hqAfZoHXZldXYjPXdtSKQFAJZwacBTMkMtH8N4bDNE
RMYtYsW1xqUIzWs3ri3AQ2Em4vXUU5p2yq1R8WNKAer7XtCkOHyEW2sA92sG0IcWRZxqgy4FqF8b
KY728RI2dlp+qUx/7u/TDYr2nVL78nlZc9Hnc2uzQi997Wd+dqj04haE/8qwy+fj1Gs0YTf4RPOe
1x0MTCsOaWkrdlyKIfDCpbsiMgz1eVpgzuOrTWWT4pou5xCWCdEh+R0zLIwEGkZSvip9553SkMsJ
hGTumnwr9xRog3Z+Fv19q08f1dqWlq1gWql9hFcWtlZqX2oNydwUZIbakvu3n8Gz44WPaAFo8EAK
aVixADCHh1ijfFyt69LChauFu41UkoUut01LgBRG0KXWtLRyVaPlOTvZLUwW+16fHPxh0HyrtS0t
XBzfPZLmrhuWY/AB8dhlmYxRsW3z5TF0qoRXQOX0Qhwhnjp3A8DhqW38trRqCQsrZIjTS9hpgDuP
wGsypHbOat8ka//uIu5SrPmy7/sln7IlmwiymjeYQHzOx/Kz0pBb0kzRATy6lC2boRcHWDCB4z2U
mpud1VqXJkvu+lW5rM0SOibC/ETv56dsWcYbV6Zra6I0XXJhIqZrOMk18A0OnvAvS+69U+u5NF2S
0tp8rQeBMS5TaAzz/bptiqutNF3azXHXYJ3MsGdkLpo9BlGL/KFSm+iWNFmCYUGpgTgKmejiHJvY
yj8AqdPUxly+pbZbgLGKWy9hOXjWxefIi6Z7KdUiSb6GGj0mR0YFAQMSr405T4LYRy/+dwn5VQeL
K/NFvolCes7NJs2WsHJn4Iyu2d3z4nuLiHatdWkTHcCflDPu7qGupwhip1cwGlR7LkVp0On4Fbna
HDqTHuBXt073rrHYX5XmuilFKV5R6EKXeA7xeseNlrfRj57dKb3kuoi4Xy5e5OAF7LPcYsOASxDr
Zzs3VfLCNC0FaT97mb0zT8NcuAiWseg5Ih4b1Bavv01Dnu3Q3FrcFpy5FQY8pD8EPgLNWMSNYiBJ
YWq1Dtxom0HXnSJ7MLKxC+Nq026MzD4x/pW6danXfzno3jSnVskNjkUgGS5oSKyfJSY17y343Td+
wD6vf/cn/Jd/Qh+6UvMaxwg7r/ZJ7mCnXbodr74YzrKHWLXabcaQj2GUkZQt+vLQa9Kvttc+ofT/
qDTxZeheCQOub2vbCKns0SMQhzVeNa6rkvjiG0hBO5k217psb3323uqBVh3AD31X67kUsh06n6Ab
5gVrq7bAmCWdqRICaXljD9m/4e++rRSz3jrqXl/Nc1hpYn0vDATth0RvxbksTO20WVX3lHXJApoE
nNinP/+k/Xv++29agRQQ6cJW5XXJGDal4dytGlfXTNMuujCMz7iFrE+As/rsxg+8slj/7Vv5LLbX
wWqgX9gsqBipYAz3Hy/I1Pawv0mPz5pu3XR2RM0ug/ztODb990RsivvA37njZ23nGFi09mZNpA0o
mpvE9JRhEqG23unSmgFRHwzh2k4hApTxwUy06cxdsz3++fNeGXHZYgkJEg8Noz+FQ8ezY8xLEspe
xUDWpTUCyjJpAr2aw9JpLOh+/E+y3JiX1zou7euOCSNbaw06bszaCV8e7YRJ4y0fsWutS4tErnuB
X+vM+gpwYDRr02HU5+Wt2pjvf/TZdOkWXLjKvBlDLrD5feZp8QEGvX/jaerKBqBLi8TSY/nki3IO
JzzJPgxm7nuHEiTh0YDgiKQ6h6Ki9jvMl79DQ/wdOy6fN9vMr4MD7WFKFI/LunQa71cdpELtTuGU
9c4BtBFQ1aL9otZxaU0TMLm93feFLSCpD4sdvAEvpLQvWrImaiKWqmJuxxBJf3mu7a4hRen9VOm4
JUuicPSAPT2NMzZMdn/Xi8Xnyd1wlFYaK5DClTKMGcx2O4dtkrg7VqY64HLQKbYuBWyD1hfJ8TiF
W9aOO8tyPFRB417+PDJ7YP5um5ICduzHoCnNfAl3TPpFZ0V+ndiNf7/CJFTaQXCnfTndRwhY85Qk
fThr1mNtmX/xTKv0quVaf1t3PVsSaiPJ3bZgupsiB+iJmv3gOG6itMhbsv4J3B7EnzgeQrh2zaMp
6um+GBzvxonz92slgv6X4xIEaMc9HDvCtRMNHObgfZ457//8Wa+0LUuU9g0ba9V8Cmdbf8irb1Oy
qsWpLE7ybQAvDi6jYTOjRV2HzTxs1tgoLY2IsF+Oid4YVoW/3Rxaejmd9XXIoBtY7p3aqEihZFC1
TaU1C69urnlYA/oJs85Qe17B1uBl3ykFMLweU8JQxwr3km19d2z9/j9qXZeCKCiCYsE+cwpxhvg4
V8mjt+lq89CXNj6mOLgpbHsoUwHVlNfxU61r64315dpElPY6u84qWFHWEGbZMh4TvauPbX2j7Str
ly8FUOWMhTbXwRi2Q7AcK9GVdwugEfRsuVpO7l9W1nD80wyTqyHE+V2/9GRd77LSUTu2W7LeiDd4
fdm5nyEoj+21pm2fjaluHv48Y66Mjqw02iaLKy3i6JCMKE44jZOUbwuYFA99Yrq3/siVzytLjrwR
Oix3xSE08+G+NuzPq5e+/XP/rzUtBeu4UhxOfe4QNkaHD21HdTj2Wzca//2NkBz/y1jNsinTAYmx
PmaO93rppuA8L6OHL0TlvzfgCx1NkYCpjpdbd9BrP2f/5892qoF0j9jWaQo70VHY4eolVnVbdlIb
LCmGTeg5Rm7qXZhn/evF8Z+svL6RTrs2j6QIzuwSsOFA2titTftBm1vtNI6mwPhp6m6cEK79CSmQ
dZ9ig9Ljwc5PzeUXQMb8PI9EHUCz4NYxat9BfnPQ8aSzqx8MYwPSdAlxhxp/jDlWk2NvNac8Ww3I
UL1176x6qXRQxmHl5cfWRr5xuSUA9bbmJwXV+RnFsKbyrUFZSaPlJ2YvVuAElNOmd3DijpvXqGyQ
NC0NEjd7vCp9O4t0D98LwLqWTol2pqk1/6803jZh34X5Q5QtnHhg977HfkdRNW3sof4swAz8y1No
OUskCrCOLgDcGiMGlXOJZ8pZO5FqG7KQZIm23sczYsWRDidyofZF5cRdKqg42vBbiUovt38uXtEd
8Iz2PymsDfRdWusCjae7tte3CAO5X7iVRcF6qxjut4FL09KiBhzVmHSIUlG69tlT3M3jQThZ+RH+
df9BrffSyhaU7uiTJh0izy3yt1rLDSutKvuzWuvS4gaqH1MUx+sj3PKy+64S/hukCv6NLXjfqv61
5jA8UqSmydRDW2/7yEthtHN9KU8YmIq7NYlHcKbJzXKKfV353R+S4hYvBOCmXdNF7aC7BzBb3n9A
7IlPi78m7wa7hVPeAARXOTB6ppxZw1xFJO3a+49m61yyAI5apli9LqfVrNx1t5RDUaSPsO4ANMED
diZTLYrlvFpezH6e4OLxWDTt68Z4b7T5jR1sn/C/+QC6dFhxGxuARWv7j1s+jsd+Xu42G5yl0iSV
4UJZ7WNUktZ0G2LoEVOX6lDuQFy11qUYtuu4xEnO0kBopxjf9Eekbye1pqXYra1gAbZnao85vgzm
pj3N+nZUa1oK3GyMQd4jo3t0sXRoDEiQSa44IFLUar7pzWO30fRYv9cbsB5TNZ7Vui0FKg4+U9qk
uvaYao51TFMPm4IKVLNK64acQytNK8M5ytEeswbGf15oxiEblxtvcL+f4iCzXu6vzog1mNeP2qMh
zBnMbXsX27mr9DnxWH/Z+EQlUtIABAbjP3/knoupZ6JShOcZsvOcmeTxtFL+/Nj6zVm3HdIht47G
14ZE2lndsTeoeqTXfV1cjOFTryuVyNBpKSipEwqcyV+1R12vXmPbfhF4n6hNEikoJzKTeFkSOeZg
v8VpF7rjoHYGM+SEmaGPeFX1dHtJ2j03fC6F+5dat6WoxOF4WJtg0FCE+8mRu/9XpzeUVm9DfquD
pbtWU03bECj9wzYvT7Y5flTqt5yJo15Iw12e6Qen6d1YuQjZJ08p5YR3nRSTrmMlmDYtTMDW24nN
91gAqkWknIlz464rzDwIHpdpNQ/ryl1jtKftojYq0n4Jzb6FGD0zUZrl3nW0E0JJxY5LQdkXvFJr
th4/Dl597sCfgIpReQJnuKWoZAczeyeg1+mE4YjxHhevGyfFKyuJnIObiznB23HSHte8cQ77Loy5
nlIdIt2W9koQ8izbwHsf7Xb9aHTAve1tFIrDLcVlm9hz0FR5G23mqGERbX00NPcWLWf/Zv8+Vhmy
ZWYwJHWaGFsXFVvzCQOD8rJ62ztQjtpZaR7KGbgeMHEgloo/IKBV42vdHlKX85Va61J4YnXDycR2
ATmlaYKRkHGoUQ4pNi5tmU4G/hjLUBHl/mgd6wRT8ZXXS7Wey/Hp71Qla6Pnzlhik9P5D5hp3VLt
7q385rPK2bdSN7E3rSBzYU09fnOC0jzibjDeYzPngJvFoOrG5Lwyf2Tyj2i8BQFdC4wKkwVORMgD
z4NmBR+wGiXG/jxW1/6I9fLsgknGturTKiIgz8UTdHsv9LP8O1XLzo0T6T5ffjdecgCLAiAvFE2U
q9jbrCZ13KctsaH+is1411K5dGoDh3rRWseg8c+/6sqKJAN1Mp96P63T9j3R+hAHMaYDWvdDrW3p
FJx5eTv7cVtHpmmZ92OLAdlQ2Jbabi4Tdbzc0axti7l1JEsQ2t320OarmnYbi/OXH1uQXOKqnex4
yDR9I7CWeLcZ+XajBuHKoMtQHdNNYi0OtolkR/7Bnuav8+hUN6bptbalkE4AFlaWmfdwpIonHN+f
MCJR4y0aMkFnrvfqiKrrI0dvzYMoxEXPt29Kk0VG5wydSZVQXvURZSU/sBB5MspSsWkpcseRPMZk
ln0EOjt5jWNIewIrdOvt6Mq6IIv/mh7fqVTzp6jG6RY3tIr7R6ZjPuFPFPeohamsAWyEUa7dro4U
voYworZDox/fqY28FKaGoZmDubZrpBveKy32vo7u+FOpaVn+p7GjOPNQ+Y9Lr7mHfjRek4HXT2qN
SzHqtG3qGlOWgm5Y84NdF+/gxqpNmX+L/8xgmuZ4BmkyPhVb/M0bTKH2LWXt39KOXpIvWvDY8aB5
MMz+rYPIS3FQ9ln6LD0+ZNuIsWsVPKYZEwWHCrzAAqwJ1IZ8X3Setc5hIe+Hrh6izfVf6/76Os67
D2pNS0FaJ5O51JbWRF7D2mKv1sEi06m2KMpknRaDF7dtgy5KneBrYluYO5PHu6j1XDoaW7bDEc3d
arA97RPWWJc8vRWaV05QMlmn4WsWRs4Oqs/uL6wWEpyn3K/j0Lv3+Nep5UsNWeqGpZ7jxqvGX/F4
+cgH9+Jhgam2Tctat9pw8Wgc4jxy62m4x4QB67WqvnFi2ufdb05MMi0HD48eGI9A14153l2m+Q61
vY4aI4MT/MvZXuHkkc9Tmkdm6oHUBqCAqbci/teQcTlV0/hp3QwZ1Ifgg5aY6cHX1bgkVKm+7Dl+
STgvmHoWLVt2tznxj01rlXTRnmFLgQrztey2yc8is07f4gb9l7M2SnVetG2+7LdZYESJ4VgW9fHo
vQnwD/tqp2oqIFqXAjWoskrTbUbFzbV31N3+HOppUlsZZbGb12eFZmVNFjWt0Njp9OHQl5mS1BVZ
ePByXHpLgKa19DQqff2z79ifxrJv1NZGWf87uoOHpUGbRMUKs3BOsnsb9yXFxqXbq97jpDD1O2Zd
y+KjvyTpAau6T0oLryXFJ0Ao/PEceq5nS3P0nWo65ItbKHZd2knLbUj7yZ/ix2CcsIoJcNFailUx
nyITcnCpa1at6sm75cE30x9ftUb1pDYsUoDiJraVTd6QB8rcu9bq4C4YiudQSwrQaXLXSfSZ/6jl
jn7OlyE5YUKoJABmmksBattZVRhr45EeCz6Tg8Nyx/2oNijSIVeMfdpi3+Y9FtXc4L+1aoesUBxx
WV5IzUBgN4sWPza11t8HgXGH3Y7aMywWzC9jX9g1RCDUi4+2t/jflnx1/1pcssxqC5csL2wEluoz
npWPq2j9C97Xxnksgr+URv1v2PGz82Kc9rk2D4v1yJvsR28V4SYmtRO6DLoxN0jSeJqbj0kXiENz
NHNX8YAuKwvHXs+xxi7mR6206/NkLAcX26mL2pBI0bltRaw3fjI/2rNPwfG+EVlq2TxZWNgGuIVO
yf/i7LqW48bZ5QsdVoEJAG/JGSVLdJTX/96w7A1gAMAIguTTn9Ze2bBGU4VruzAUwhf76w5tCYhT
9n46YjLeSLEwPyqp0EUkYQaD9+BbWsrm6Dr0ZhrIei+znzF3MUmg5iXyGOOljIMZgtHx8U+2E79r
6AKSxq5aQGj3Ih/dR+etFiSHJLqnSXQBSSN0aVcoCS6lVcvdYYJPGBj65HVXXDhSChjMsKGWXA4c
8mjhEYscECW/hOs3NFLMk23K5FIKrW+oyr5lL1Kpfh/u+M5mXpcNJNRzCZFgVURUQuc69gy1XDRS
Fsbm6ASbS6irPnem+8BW5WdU/hPT+MledXaaBtVXc5m2SSbykJvwfl/S9M5vWxzv2TaGgoaKvyxf
/60Iiq0U2ux+8YqLQjpAKWahpDaXIP6AniaXrBiP+bPflzvuM+Rr16Kg2JeYX4gKDi1V6Mn7TTOB
1McJb5MU4qdKtH1ZZWu+G3kKEy92GyzteM+W18uUhk0PrER0Gsz3CNmt15a4KCOTQal9WbDyTDdx
o8Q2nATIBfwWp786fcibJePSbrrcsko9YmIqgthrJ2t19lvfeaAQeq7NekS6jOhejac2Sub9FhoC
hx9wh7gTOyMUTjMCWHepD/mQHiY+1Zn12x3i4g92EixWRuFQkqNKi6PtPgYi+/vtnXnZgd9LCsQd
1wlsu09InbE2xAMfqgWyli8hWJ/Htvd0pMRJzw8+kz0eY10uc/1uNXOpOfGZ28F9d8IL9HLmNaWp
LmXcYu44BHyV5ZCC6f0MAXFMWLSJWAbQSi3XAc3aIp42/e/LoL6fx3PnGsMDyuq8sn2ZyhVqo0NF
8zVQkV+ARBwrFqsRKtehUGWmZmjOjn+bZPzj7WvzcnSvXRvHhB0jgO370Jpy3P/UM/krSZiXT4Le
5q+m4JhTiHx3WHmxYZEeR653L1Y0BnXsX5dGH9Ekk21MuYLqLtcJKVoBKWi/HXFMWEuZsJGulrIy
qf4LBaPjGVmSV/ACucdfvxx0GSKF7LYuoVuschHvn+mReoE0iAvKogsXDa8SXQ77mJ3VLDdo+pJr
7LWXLopzBwcw9HQNxGnLcKJDg5lg2x/vm35Or6kbXfgBF4lUKdCdz9MxlVwE6ZBjqiM970ES/+11
rC4WaY8Bo7bCDuVBxXu5Dvq0qdYPD0dcNFJv6p2z9pjLthmfoi1431StF66RcOc6cpUqA6YYxF5r
+yVbp9s0nbzMCmZ+f72MqQTDnZw7mPE2YAUSxy+KBj/8tvvllH+KSOt2WUcdNWO5JgGwJUd8v82j
XzuHuHAkkK0ddRCLsezGePvIq+godqjDXynOv1iRV0yii0cC4doCiZdgKBdNsv6UQfr8z76ptzpX
CzNFOhlZtIpKz5DDnRM85m2smlGNZbCFUIKWaFadOYCx0+nto7gg0YRxpV/PYoLeN0mqeSqHjhn2
/QjB2vcEUXT9Db1rbp4VhRR7BzJ2wfQtRBWhIgQ5GzJ8tYRF00PC+lgVTRjMwwOq3K3OUZwzOzTn
uxbRRRgfxZKBFvSWd2vwpRrBOViCe+XLNk+ZvbcQ0VbvmmCJze2qa8g9N2KL8jGImddULgOHw69/
n4lYvw9bNJQ1G26B6f42bdey+ws80cQdU+QVX+M6GMZSj+agD1vWE/6/NGiQ/vB+mV7E6fb5uQe/
ib0fjB7lzVTNxua2n+Pz2+d3wTC6Pd1ZdFs8A5dddtV0g6LlD3CT+/lot6Ur+pqvMyRRy6ObTzzr
b8LaXskZL8Sj7uhly7WtJn6MJWsmk50XbjZyWo6mHZHOBKDr9Noc5phH0vfhMHfxWPIjOWWhZqeO
QjPSb3HHQI5BpAzvorHcyWA+hZKN59qI2e9cXfRXRENIXHbLWGLab/wCifb4pglM5xfYMSegpswe
Ehp7cxnvVZ8TfDWFHkLhtzHRry/OcgzhLQb3BrxaWx5X/AHMG3530kV2HWuwH9GyY9NlhfGabJU5
pAn8hDGJO2dJaGrqUW8jKjzpnEcivWdBf2XLL1x5F9llqkWt1VqNZXXItCAoS92zhkHqUG3VlRv5
X3XuFefkArwiKRMCMUI4C5Wp752e/11Vpe9g4sEkf4jtf9Dxrd4FQdWftg10E3OnzJ3JyHwTjqb+
qOK1Pi1yQOcT7I3zfV1F/KGGTANYbvFPVzbiksVyQn+dDXE4D3g3ou7+naRci6batluvu+eC0Chb
VEdi1pVr3Hw84rE+pSvg5X6LO+ZEsSxoLcObBMvLP7XY74fRTz4KF+3XNxPHqzrqXU4l2MbPhnbv
oO7xt99Xv5zDT8EWCyDSnc79WEY9Hx9x8bI7M6vlyp27cJqugBs9wh61RVjyubVPhH2o0sAr6Scu
BK3baF/1JhvLbAy/MFPT9wFrd6+Mn7jQMwx7bsDxClTQ4g35ys41GO67L3477oRUlalBy9+hiJbp
vit4zWVuOB7R26sznNsrj9yFn9XpBj4BIaaSGBRyA5WuT+1O9MOcpvJBJXH/FZGVuTI1cMFqpc69
FALiXX06ITGSQVX0BvzCe9ADxwuosJ+7cLXNwDMcsmkbhjIJgwfkpbfTdPilR6nj5uJa6SEjCI4a
tqZfO9QcPm50WPxsjYu/StK+rjuJY4YAdFD0DSrfa+9XyySp0zWWU9dsNsCrbdagv5EWOtpM8B9v
X6ELj9ZFYKFMmjR1pXqk6+zvRNg23wblRTTMiAu8sr2odtIh/6JTsJ2qHULN45p65kMu8gpTPcEY
daYvSdC8OzDZjrFPpOte++Iirw6ipLEzGgL9UX8bEEzPcvWzZi7sqkJMBBacVZZ0DJaHuc8KtNcn
v3vuoq7EUG0W83t9yePkBO34Pzotv/ptycsV+sl7HHWPrhHH0hRwsVMjxV/9AXZqv8Wd9znaZaxM
NyB5IdC83aj4cz4iz/jchV3FPYEqbQPT1YNX5y5Kgg+86u2N35c7z3OebJWpmOhyNaw/78BfnZqG
ex6n4z9EGw5D2r3UAYPlB6vFOz168XYx4mKuVNquEsySQ5nVdXxrjYjziA9e7OtY3QntmsBCEXFD
Aybs4CMaEdzrcbjiiS7YLJeWZB87G7fC6jIYTjJJUgzYx5XfPXQxV+CM4zOn8BNk1X/Jer5vQN7l
ubbjQed6gpZThtJiG+85xJ2KSXjGoy7cqm7WgwYpzLiZ2dcUXGZz9c3resfOw+yAgFxDveKa0CjL
x4IlNPPcj+hXg1INoF8cmkaWnGPNYalkYZMr2eGFaMWFWvEl6iKhKe6IyBCpsNZs/06mHXO7HPaL
39Y4jzPbGJjvJiYBRFvkOeDt+y2149lrcRdzhTp6ZrMskaVGxSxIqntTWb+0y0VcTfWh94jAt0HX
4SHek5uKjX+//dUXtt1FW02LwLDjsPflgGzzfkn0WLQo69wn7PD8eCfzantittFWCFjsHJ3DlCdP
7TD40bQQF3XV7xNRqBP35cTNTaKmGsgR2VwpdV2wWy7uKtyDEHU0MZRapLcdPenab+4Wc4e/viQz
BZ0IuqYuAQMiudTz56Vr/Kyti7oymqYrJmaGMhh3k/ORvZ/Da4Tol3bE8Z3NsrZJOMEioobzDcRE
T800+UUrLt5q7iLG0l0OJZfmq9n5p3Rqfrx9yS98tQu3ilceL/3Uv7SIFkiKZAMq3ekVh//iH19J
6Vy0VTx0tlODGsoxJENB4zr+hC54e8vpkp14WtnTVpGgGMV4rY3xn0V57Sdfssuf4rp0PVQzM96X
clz2b/tsMdtbq6o9m4w171QT4tfXcMqHYAFl9qSy7lN2EISvPRv+aCe+faJ6MQWqCeZ9F1bqtpPt
/oWoZDmJhn2K20kWfTccxZxl3eOCefa86wZzmuaB3zbD1N5O1vKbdq/+7GcV3JJ9I8LPxbjU3Cup
0nBfdlWmlH6UWfZXWIVeQ47ExZfx1IgkIHooY7KoHDNIBjxvk2es8Bvb1dCIqaG4Y8uMZJIc7Mjb
yY8rh7gIszUDfJqIbiipENCnnZtiT7vu5Pc6HFskWy2iinW63PfwzPaozauM+eHticsQ3/cry6Jm
k2WoIH8agCEwi5t//D7cMUasDS3mJ1NVinD8RtPsbo8GP8Vu4iLA+DipjnM8GtaKv0SgfkSW+wUK
LgJsx7xnVhlsSRumy03HzhtKD365jYsBa9gSVuvMBJimov4+Ir18DNdsvvI4L9i639imWLBaKXtV
tlEob3e7y7sDYIHhYHXRsSQ4BYmG7uGa+hH3EZeBKuh1V6/od5TTGq312RgMyqUqhC3yukEu7snU
TA1k0BomIbqNGWZkgqH3g4USF/m074wulUIquDbNc5DY+TTWR+ZXwHJhT3s16Ahy222ZELCUri2p
8yb1m+4hLujpONBqIFHdlSNKznnVRRKa7+yj3547QThN4mmRClWJPhi/NVsS5dmivaoSNHOZqKCk
HcTAU/dl3a4V0vpHKHJuVy7Li3v9ze1i7ZdX8ZPbnQHWiKJaaIDjqj05kdk0BaYJxmKcaHSfKDO/
64X2Cofwa46Tb1hnoHwWKsDym8+1uodQ6h8eB4CVnYC8Q7sb8M1FlbvVXR5ranOyq09vL/6yyGub
9JJn/LRJ4RDoXbEIiLY9u6mz7JS2/JZk8n/hcQ0V8J9Lfe03XsK8n35DN2kTL0eCP2DhZDtb2vyt
U918CCQGL4O1Dr8cFiKsIuRLkncr6R5jsDyAvt7E44ekYviSIbTNXoRVvf21zqG8Br2/+GmOLwV1
QgjhCVRRmvCYx3wd4E2lqIbHRoNzpFCx6snNlETN3YA85bZmU/yYsCD6pvcmfmBjt98FVtZPPWP0
BOCXn2xI5gJUs0g0ah0DVR5sT0+SSAwbzV6lV1woxw8v5KBJm8APG8gr3KQ2ksWeAYv59o16OdXX
TtuxF2D5pNDTm3vwqK015pisPlWgbfNb3QWnjVNEY6MHlB1CTHkvBxR6ttkr76CZC01LUOZagKxH
6kssg3rkSMGvGl8xRxf2xYWm6ao2O2VElfFhi16Sf6soOK44+ktrOyYizFoUBRSqAtAExlXRSZuD
te1KxvRqyQG74pgIsg5TQHuN3oto6+IA9XKh9xhSJ1J5wV/wEy9/108WQmpQ7yU97coXMenTtKiH
dW+uXZlL3++8cXBxNRTtAIXJPW7voV9xFN0YxnjMI/NJVfD90a/f3zQxQvC+VeVI0/lZ2uZDHCz6
q9eDcmFpHSibFAFRcYluZAjoW/ZVLECS+C3uvFaLTvimtcWXv0xOsP5R8uCD19IuGqzeknXilQqe
UAWHsDZpq5zx+cfbi19w7m5TOTq0jeZQd6VcNp0UYujIDYX4+Nd+BEmIYXR/3Ewsz2//2oX35XbC
KjWzOlqjrqx2o4qRTF9myfy2yW2E7X3d8hZTfaXZ676A48sKaP14Wga3FwbEgKZ7a/GyEhJ/thkq
CmFk5ZV7f+EUXFCeVKgB6QlPC/zl50pO7/is7/qYnxvMykXUj+I/cyFs+zBlKanwAjpRfctE9pjp
xQsxTDMXt6ag6WuPmL+svf6TkPpOZOmXt2/NhdjKpS9bV7SsUyARUdgbUdqv40HfE0CAbnVnsj9E
wrvPb//QC77yFZfrAtg0uKMh4JDJMhMpn3JJ+xEtz13fLgex93ofN2Dzt37KeUU6YIDm9dogyn91
gVd+2m2HZqnWNdy9QhV9WJ82u5NPbElAYLQKfbMsgckB/8iKRjfggU1FUES6bb5QzZpHyD56tQhx
iK6JJ7AuluIQdRh9a2T3Zzd40URiace0b9qAK7NDmyBh6qZTmOXVU/L97XO7YFZchB206se+P7D2
Eewf23iJ88H2rZ9ldwF2Y3hsTd00sCusf1eJtD3xhi43Xl/uIuxQsu5X9O0QQhpFis4s39H+9arl
0MyF1nGw5E1q4m3Z1BEQk3Rd8rgZrkQzF/bcRa2ZsK27XogODd/9LxtOS3HYzvfLnTgM6O0oCBfY
w3aJbtYl+LE0qxe7N3bFCcPSuh4t3XCeGeEJGLz6b7NIfVoQWPtls36Kv9a1t4Mc964UG4lvqoqm
Bdhcm1u/y+K+ziwKY9bCRuzzFHyGYsFDH67HFdt36Tyd9zls4Q4FGDi4ZD/quz7j8h4l/mvd6gux
I3XCI5n19YgUoC1rkjTnlIJhGax24rx3vVetmGYuxixmTBwrM10Zj+C43OQnzJf42ZfUqYAMqTYz
39YGvY7hyzZ1P3bjp+ObuVh42SobjXbqynlj9Xmde1Ngikf4xVsuHN7qpg8oqqwlxHZo3iTZgySY
hfC6ji7ObtdJBnURpL9R0kNFkEBRdE+9CIhwms5LIqjmRgNUzcu0AUogI21ODHy/35c7D4mIvV9H
SA+9gBDSRx7JLCd9cA0GdyFccTF2Y9iNyIjSDkzOYR6s6R9LNZ/IpJ7brLWef4FTetjrRKLon3Tl
ganYqQFlftf8z29znKeKgZpoGYcM76jVz+At1sUqybXRnQtWxgXapSmw8JlYEEaP7ZADl7zl0Pvz
KmvTzGXbCmUSbLMBklqFyWlK4+c9Svx2xSXbWpM+imYO80iP9ds83ijL/IyLi/myIQrOCkSEZbuN
99K2Xzppr82VXghoXaKtaePzskZTC+55Nal348DYs4h1feq1BjEpaWtwQdEYyqVM19GPzZjqSkZz
6aCdW8TjYIvmdlNgSk8AJZ5B9HxQ86/XFXURYWMSg5Ysi3FFacRuUe9Ibpd+NX5vy0WEqTGT0KjZ
ujIIort1qnS+Zr6RjQsJowswIYkhCJu6Nf7SRX1yiuZ1vRIhXHCzLiiMiimFHGeNJGzcsjta7+ID
hMPTf2cJo1T4bb4TP/Fk3ojpV/wFk5xzbSQqfHrz3HvH7Os5TaZkQjw8pPU/quKlBfGi54c7Vn+1
aFQ309yh34v25jbcth31Igen2W90XD0/6NQYVU4iGM4RjW5Clnh6cRciZtdjiBqFGGHiEOULIvFh
1Med32k675SZVVor8JRsOoHVBmQI7ffRAOrgtbwLDuuTvZmSFql7hEnNAlq6WZ+3EROe98VFiKV0
D2eVDKpsaPKZNFYiac+8GJxp5mLEGLxsMzaojYkh7IokCnSeivFaU/nCW3UpuVrJzWheIr8IvBn3
9bEcd0GnoiLtosAvu3RBYvESpe0uF1mSpB4hTl30JLwmhXHp852XKiKAfNEJ7FDjn6TO57SbzmO3
6Y9NPawPb9+eC2UxFy1Wk0oChj+h1E+O4cyPzhZGhwbBGi6QZeybEaOXJgkOO/o1dUt3iJi2McDu
mSDs/V5zdc+bxDM5cRm7JrDSSqmQiq9yuO3b73Tazm/v0QVH68LH1qMLamrTFiRMqTmvSZjeBmP1
7LX4bwCyyaZQU0HaVi2sL2gk+GkLN59pfZq5CDKMEthRQWG+rKJIFYQt+hTE5pvfl79cqZ8yca12
mfHqaMstoX+pYbdg7cq8eHrx5U55gozL0im6oLCCQfI7mVTLQyK1X2HFBVRNgEcnurWyHObK5uuS
/ajj2fM8nUcLoBO3ESNtafiS3W/QODjtpN78zI1L2tXKibEJEttllG6fxsi2ZyhXebZDXUAVm8gx
cYK0BORL4qGmk/ow19ns+eluPgXFqmEmaJzZuf+bR9u7nl+TR3i5FK9Udl1kn7E9JW3c4pqP0bGg
1ZqhE36EUGZjaOPc6T6kV2Lu/+oRr/yUC95qju0gAQXCapdS5rQRVd4xwu/WeTH36QSS80Vs/8RD
NqsikUGSK8LmHNPa852CPNDjxCJ6Aymp6LaaWl6EKak/xNQkp90Q8zEDSRJoKarwDjT+9KZfSHtT
QeQVLmsGFfkp2g97FlUV39hskGedrRXJm3FJ7pixGH9ewKJ9To79uQ60upnarU9uwq0ftgLt82rM
zWbBCiggf/ulayLFi20J1HoCwjN4iqoDnH4QVDgT8jI71YDs71Yt7QCcfH0wnvM6lfcNHUIN7aSR
Vt8SE6rP0N1BgyNE/fMrj+b9A6Zho3vGEegQwoYPoHzVV1zVBTPsgtvqg/a76uBqQd5QRtFx0pO+
EqJd8LQuts2C54UG4YT2x9rMNxRDe5Cak+ycBqu497KWLsAtiudp6xrc0YgfmPgYyR/9sFzDD13a
mpe/6ydTHLCkZTgpxN2MZcWxxf25s2rwGVKjmQtlUyMILUakmqUCG27+TJLIa1QFK7v5Aj/AmbKj
oDh3e3yn+h1SYridftmIC2Sr94H30EBFBWeddcFBAHm2fO7Pfgfq2DMxre0QDwNgclGvi9ik72dM
mPslaS57Vxow1qLIitAvEHc003WBeotfRM9dJFsYSdTmVI9p+H2+idv1EQAeL5A1uLSdOi5ZgVlP
ASAud7FD2DMg4jlbRfLl7T3/z8/9bn65C10DujpFaxLd7SYR7F2MuPgftKHj0wYsXn7sFfnaqXkv
loH0tzGM4Y22JK6LMdzpfavt1uB/4n95XTDu9q1SGbSEctUA/t63j0kV/Zinbr1iMF53atzF0tGw
itcE08OlCgIB8Xa+R+BGRcfpNC4vrdNohACa13Xjv1GMxcpSpBdtyevqsU/rD3wjfirx3KUYy2Jp
oxdRhNKKo0OwpZCe9jr1eoXc5V7UqPMQJGAt5mjmLcfAXgJM0ebVa+IutK0eNpMKxhoQ+cQEdPEC
nk8lXvEQd6FtTW0tFOJhnfqsD4tKM3jRzV7LtS6+FLfqAL2oTE4jSuTJPn9u2i293QElOgOJPPN8
QjHvcYc205PaFCQIlJQfNJ/mHLPI1VQMqTTvt8nGV+7y6/6Vu1A4myguDvOSm2X8z7kGPakYdIAS
6TZf8VEXXouLh1vR5AmyOm1AOKH2gmAGFyAGoTGSw9O1K+p+8APHcRccJ7aw2o40Q8GXHo8r/rS8
kfGVv+J1P45Rx1/8+Ns28tIaTizAhp5OkLbEW6YWpSzbInLrjFexCZQ9v3zg/6UGTeLMABsOwSB6
zsZ0P7MueH77y18nzqLc5WhrD2o3QDLbMpxDWyD+BE9Gva6gIYJODhDjcr6bslG2+cGSPYdO4/QU
dGAuffvnL22cU56IIH2gzNDAlKTR91Z0tzBcV9KGS0s7sYKOd75QiiRfJuYj2yFuCPE+L4lk7Jrz
0uU4IlYdcSZ63kCutizPW3+1mP5fHeIVj/sbNM6u+14FCHP6nUiIMo4V/TxvmAbLW37oI7c67f+S
rJurorIoJ5+auK2GojvIchcOR3KbLlXwVawd3skkq1NUxdHDDhgTcP8LzyGUN/6Yqoh4VTwwK/zr
BQVjhmUg9GhKsOHd8KWX4McQH7wuiAv2YAeEg4b9EGARilmeJTvPg8OrmMJdrEcMHMNRx7TGNptC
7v1zYgLPpX81Kv83APy6yCasS5AgHadlGdtHVJy8qAMod7EefLZjwCTyxzrT8YdlS5cfsmOdn71x
UXs2GqIpMHtb0tV84a0GC+8mE8/wzSlgKRGnNSJfYA6aotkw1Zim0bXS84UX72L12J4ltkX2XBob
7ectilaQQIorhvLS4o6J5+E0dGOCqd5Uqb939PwqjDP6hYIuQA9R52Y4yArLJBjCnHLxfiHko9cD
crFvxiYAevUIafdW3VdwUmhUeD5OF/yWRtl0tJtsyooNosiWsGCjtZ43xbHfDLIHmzBZU65i/j5H
7ZrHIl7PXrviIpoAD05nHCfAxyn9LLj60GfjJ7+l41+tYdfpSNNkw9JSD0UW9/w0x9zTrjj+kmOW
H+VqGjxlrRqKTd0O27z4bbiLmY6HNGrBGBo8rZg0L8KgavJkGHa/O+5CpWpGug0xEr5cLuFjilf0
pTXr4ufsXZQUuF7jKl23GoXO7lwPp2z24lCi3AVJdUcMb1lPdZnw8Xbs7d2e2B9eN8UFSSVqjMUa
2Roc9js7JXTZMWHON7+41gVJ9Wo8FAnx4d2BHCMJketMTeJFFYZtccxhckwoaEocp6ktebRJSwoe
0covLHRhUu2E6ft2bYOnSTXVLYRg95MBdNhv250HKhhnC1RrqqdODB8Cbd6tI/W85S5Iqj4wrQg+
H7yhTsO3SUypBMPkeckdi7iZI6IYLq7LgEZ3adiLu2HL6ju/XXEiWj4IePpmaEq2H/LckoYXqd6v
8WFe8J4uQCqLFVTlLFaf7fs9+75U/3p9tTt5AZXdpp5ChBOx2O4oNU9jc23e91Jm5E5eDCtTIQ0D
hIfdnHxMwZKdd1EmTmPf8Xd2pf+KTuunsarXMjBmLcw6+vVVuTuWscDT1UC51OXW0wOciMd6Fptu
T36b5rzdnepw22cqyhSbNtd7l3dG+FkdF6sWhDjlMeFgQiHNUMTB8bDFRHh+uPNyqRbSiiARJZ+a
05CYIvHTKafchatlxjIUgkIsXdE2b/Xxv7gevVqf3IWrkRHcmUGHtbuJPmbN+G+vQfngd5bOszWW
1h24wUUZjaLJNdnaO4uozC8VcBFprVXB1iUTVl/smocZPevK7H6f7gLSuo5KERktStXOJK/bgBZm
gUyp18a4iDSITkPTcsPGHJP6ClGx52ypvZgPKXfxaKLPFOB/EiEekOp3SaWf64RJP0McO6+Th3qy
iqy4LVGMFmPwYIEb89uTF+v8U8uqR4AUDYTDrW5oPlTkiHLLjV/rh7tMZanQI4VuhihZsKfFYGME
kfWUXnn7L3/+KzURF4oGRY4O/B1Z8NQGYZWjZTjlI5fb6QB9kefOO/4VJAaZ7cIoeFog0wXosQBH
vPXM8WLnofKgz+gipSj7NdXFETef53D0CyRdOFpkQvSvZZQ91Qhk9na942Hm90hdJFoXi6Ht0X5/
YqD8w/xUZu4WZhO/ypELRVMNX21X79lTsA2yUFPITmO1P3vddheJxpYmGdHoRJedz+eq2d5NTF/Z
lQuVbxeBpqIORGWDDZ6AKtA3ydzb+7aKl/uVLuk3VKraG68/wW2/gwheVWKdMhAIiFOw7TvYWDzB
ndylQ9sby/iBNO8J2mLmoYUs3R3Gy85eX+5i3LjIuAoGBNnVrsh5GUGit+ogvrL//12/V6yBC2sz
BxONNHiqKPC2J0JI/9DtLS1st37f7ATzQ6LtCdydTW4r84El03upSXXasxdt9kx8qi2lt9uu1gJt
WeA5+uNzH6eyGMeU3BpZ/yGNFJ/TZrwLl+n93IJGhqRAeaZsrR/DULVAdvGvfnvl2B277QJ9lKN6
qvEHRdsIaWc6fvFb2zE7NIoizsOAP+1NNJ7qqv4AIM01/usXv/HKKbg4uqOVutnMjkwqUY98A0eW
xvW8csaXFueOs9Ij1EpAm/pUDexxSfgLOtjPMri6l4sO6kDRNnuSU2znXG4kGIohmZXfDBF3kXRZ
ZtupjsLsCRSvS2FN9ifa/X7G3gXSxaGZQsNW/pQIIuhpWRvbFKEO2JUI/oKjdcnJwilBs9DCJned
mIoK5Cx3NjXtOVzE4WccXERdVG9RMy00e5ooeZKjBs6WK88kwUXU7Wlz7KvExAcIY6jKMUAPepYt
G0TiV5xwhTDbbADfRbVlT8dCRxDPSX2jA82vtG0vXXvnwbKoMjIBl9+TMNunKSDf9iT1+3AXR2eP
FTbyGPCiov2k9JkMtaefcqr6xwHKznjo8aCS5CZFLxqDDuG1Bu2ltroL4wKYQXdr2+JEV9Oetsbw
mzk65kJV2/AQ9XV3go+U39EqIlEuJ1rdWzYE55Fl8raV8JcrtISvXN3XhT0odznMKhoyQ4e4emID
mR8G3umHzKLYljcHEWfFZTIilxHT18lOlSoAI4/XPLVAQ52ikDYP6Nc1py5mo8kxbLw/KHEsNy8t
2CYnddPdhh044N+2/a+/ZOaiWZAkh6aeRv6kl1ifq2iJHw+90S8QSmJe7oW5IBaVgHWf2pg/NSL5
S0TD93GkXnoWlLkglqpVYLmcFFxX3ScF6ac0XzfqFeszF8MybwfwBHPHn0QfPacYyiwMGf739r6/
/oRBiPir5wKl0gJqTc6eAO6g51oetxj/mU8+i0MQ7NfFN7BixcLw7IkkwbtsNrdhKj/5LR3/ujRC
NoAaGaLN8Yie9bRAlWad/ObT+W/AQIWXcMg5+3/OzmRZTpzbwi90iUAgCZiSeTofcFO2y+WaKFxu
QCCQQPRPf1f+Ix/Z6YzQxAMPdJRCW83Wt9cq45n+1Zr1qUOw+vXbOT8tPI5GqicsmSJ9K7roy5JF
fquxywTyJrKxJWjaRvurRqQ/gibxajpxicBtqhl0pBA6MevbE0smqBVCFstnSBIXCazlYPWi0rTM
+NqexQxOehvaG2vgtfntrPY0Ft2mkUYvtxR0Vth2BwR2Eq9JmLiIVgbvxzgERVqSQ8wPAuJ2KHml
7/88LL+/tyWZs7nSJdo2PEGnuG/y5WHtmjCniTjOaj2wwjQku3GvvYzErwfjxGWvoEKJslo6pzjN
z0glrLDaq6GST8yZ87B9DLMF9GoN54k//6wrH8QFsbYgG469NUk5mPDfrG/ecEK8MoB4Gnm5JqTQ
74nqYEzKHg+OOePzm4O1b/26fflKP6WjIJQFthSWM+XItvfGVl9gm+t11ElcUTKe1BOvmgj7ktXi
88xr+RFGt16+ljxxiSwe0ezYWnQ83cVyhujcp4ElfuwmqP2Xo3I0S2SEQOPtcKR5kVHAZH8e78vN
6XezMnrZ8hrTOqrhm1sOTUyf44Y2r2TTLA8xLD9zFQ/yviVzcN+HlbkRb1fiwIUPWjHVW7oOSSl7
hjzmIHPZVT+SLS4TvNycI7V8+PNPuxYBzhagZJbiHjon5W5a9toElpxUkPhRaolLe8UXremaL0l5
JAm45+GioroFfvuAC3sd7TAD4Wo4MmxKnatZ2Tu73NLvvDIuLsvT6HoceWJ4CZCiUFv70I/im9eQ
u6pbTNZLC8FdXsapzM5Hk73VF/dov8adpaGd7XDQmTNkFrBa44ZYvwd/U914kLnytAch+peRwCC6
EU2txnTJaKjzvmb2U52x+HW22c+aDPudbo/pDsEy58O2TM84bPkpiiUu7DOnod0gKcZKlCpV56mP
23saKeq3N7tIzrzoqNqPhJVkFzE2/ZC+OUId37pSXNlAXUkqFdUjLGoTXmZjDYmRnTdnaFTjxiLG
cHt34KnI77yYuJw/imSPiOH6VXJC7V+M2+20MWVubNBX4sJFFmVFwq5pKC9ZnaV3I3QTt9DvMpz8
gixOFdmXY2Ll0o+vKhN/q+ZbtRjXuu3sxiqUqAxG+XMZ2n2+Y9EeP1m2mrNX0HE36DDlZ4D9lyHf
5pOmHT0zOAP7Ne6E3BLEfGg7ilFZ1zZHZi94irvk8Gz9MmA/HSWqsTfjQjBbEqJh7dtu5AEJ6K9+
XXd2ZLlIFMk3GRajAL7JOirx6udXu5O41opzdqiqrbHQWd6GuTnm+7GrPVdRl+gahwlF6/pgZWWD
8CyUQA0AHKQ9p4tzmGbDpnfJN4z5Kn8kC19PpkKljNeYu0CXFigxUbzDXFR9Y0/hBEqUC8r8qm8S
F+tSSM5icVQY92X/K0T+Lp8o9TwfumDX3i+jJm3PShkG4mkazbcDusd+K7zLdVUHw8sTcPkym3b7
JJZU30P+41ZV5iVgfnNGdLmuJGrlFKFyHXdp8m9ISbEN9vOfP+kl0n/XtBOjjZ1Qx5oeUUnbNnrX
b2H/ZEYxPlZb2/gt667LJI4I6xDCtQnvciaA4liSw36en/7c/2tD4xyfKaqeCOsCWsYEsj8V0/es
iW9JjV9r3DnAxuORduE6oHG5TjmkH1/x/vC7Z7kek0GEvEvA6stcD+FasCLfDq9fvxRJ4qJd4K8E
gSo2K+sUokWdOoFI9eu4S3fNjGHKcM1KWO58H5vmcxuxGzeTK+Ptwl2irkg8KvQ6btM3x9Y8LOSW
F/21pp1tdDpE3ZtaRmWsNDtv62DyQQd+HEHiKqoqUa9JQ01Uwq/tM5HB2Yb0h9cEd9mtaOsZGyQM
euYM7hzwMOhzXdHj7Ne6s4suS3SAANa0nEj/KWMKsxyQm999wcW3zIwC2AXX2xLPAVveNlWVS2B1
fpHvAlwsnQwUQxZaQgHb5LDf/e/Yun/8hsXZRY8hqUabrbTUXfIjGsMf6cA+ejXt0luj1GkmF05K
M8KRNIdGpfq7p+nil2P8hR8IR71U4RCVttIspzp8brPJLzxdNmyMUj7iXBRhBw3PvG/Dk6prP2Yu
cdEwPa0yFFUfl0yobxRPLkr5RdAvYBiELgmFqXoZHvQtxGOfM5J5nhRdLixa1kZUw0rKiUKQIlkU
8rpVKvzeQ1wDy37IZLbTkZStUie6Q9Wx8ZMySFwuTAM4aGMyoGnKvmdV/VcHhQy/Ge5syX2Ehz7A
+VHJYQgAQYzgu5k9M5+uPFk6jouM1z0qSTOFd51O75es9m3cifqgy6pmaKu4rPv+Y3x0ULpspk9e
g+LSYCaG1s4yoY5S203l28jfGqSh/ZZClwfb9QZNh1RFZaJ5/1/chvX7itTf/XruXG+PQSV7o+eo
HIN9e4zX9p2eNs9XCxcHEyKkYbUQUu5DsN/HdgjO6epXf5K4QBiN93hoIONeTqb/sCQDbH4mL881
nrgoVW1khxzLRMqlasdTBafJ/CBAM/zG3Amh6hBdMxlcalWrf2zVigjSfmq3iSsPBpGnjh9NFJay
6dhDEnTTKU5R4ebXcyeGKlvJqiYmLLujP08qKgLa/OfVtAs21dCmMVGvQqyGR1mz9O+lW72KOBJX
Hmwdo2HYmDjKdoMn7gmVsvTjNG/iw597fuWS5aJN3UThb76GYTmvU92dk2bUSGGKOPi3qof+Rrbl
iqx/4vJNAGUX1R9VWMadZOJEY6P+UmEHY8lDq1MKed18oz3UyXDxJhF8BeBFuQVYRo+g2r8yU9d3
f/65vz9r42X9Zd4n7FqTDbQ7yhRmow9pwD8Pc+onO5q4pBWk9+t4zsRemmbYhpMdocGbk56ksOAQ
ae+nL5a4wJXZYp7YMDvKfu83CEas/NR5H7td1qo3YjLWYr51+/oDmm/yRNv6xk5zudH85kbvolb9
kmV7spGjTDJg/LSJ1Od6rqK7PezYq3nUDfMLdRe5CjEelYySA1kytn9OJBtPBLLxt54DLpfs3/0O
ZyUxxzLItJFHmcXZcocClua7HFL+NQDF98STtcZnD4fxTi8HOXMGCxaakAB+YEcT+51kXDarisba
QkQxLA/6LcFSnI+h9MwtuBRxRbZJ4/EkLCFLxk4dfOBj2Y43Ov4/RcbfDN4vOl4BSQyKdY9yt2EF
MTMIYGxQNy+metdn0aTygRkUBq5b158EPUiusqY/tUTDpEtmbc6t0Hjij2ydp2MQ30HGFm+p9QIf
Jlrv+0Njwrg7i37svC6ieGV+uWasS6cjq9qt3GI739kM79pHuPsd0+EI8rJ1Iw2/VKGj9b6qc7zM
L/cJTVfPvl8i8ac8dxiMnQg3tV0oGtRz7iqv08pvu4Y6/cvGVQQM2R7pWq4tXqZ6BXFJGEp49Txx
IT4Qt1lrd6xDAYEJsWgeNf7xWx5cJi/bj6mWmT7Khe7/Dkoq8KTsrc8Ok7i8VU95ulakP0q4an1Z
3h5t89Wv4fjlaE8oNhnTw2Jh7rsBXgAc6eh8ht+l54BHL9tX4aFQ0V0fJYXo4HO6GnOi43zLtZqi
ld9FvZOvnMXSGyPMUXI6RTmc6/q7PdK3SIVrrTsLcjsNkR4GtA6HeJHzegjzhbVeJzDo6b8cmAB1
AHut+F4OU8U+NJbsb7m1gddchGb2y9Y1S2kXBele9rVWd2pHPWpGJ7+aOej5vmw9aBTVPRmWcqTk
v4iMzVlL4qdFCgHYl41XbQOMbthQN9EtzcmuSjyAW6xubBS/p08gPOi0To846utpKwlvk/tNqFid
MxkmhWpZ84Ul0fhqSyqQBNk0ef4il8MSabwaCLrN5VZjsRlG1HqHu1fGBBpAL38PkhlyoLaaS7AK
85OICblnKBT2O9i63FVMV8UFVEbLaCSwmZRJ8kDwRu3ZurONrIbswDe4LduePqrpPfB4L/AKwgAv
R8XGWTQdmtrStuJbKH9I2OL5RZZLXdFuSxaBm1nZs+Me3mljPq3hD5/FGCWdL7sdLAeqTaLJgqp9
TtrN5ICv5I1+X3b+X5dK7ro/7v3YMJTo2TIz43jPzD7dAfiIH2OYe7/qFxF9SarlVtX671dO7rpB
qoXgUlzjh8RHSnLWZcu7zdrmX79hcmJYZZPZjikeUZMzH0/g25ccdlZ+sBKI75cfYee6Qh1WN5Zw
Cf++irBkqJf26rjLQcV9S6xO6FCiWuZvFmz/yizw26y4C0JN7ZItpMeU763VZRNxc74sO36h6ooa
aRbEIgiWscw0atVYGObZJv3kKrjLQfVNPY8bCp9KrGXNc3IAJVGB8TI159wlnWLbBls1rRCMa44G
itwzCiG26Z3fF3UiFrCcPjL4ppemne6DsFM5zCv9as+Qc3s5ExNc9bld+FBuTRI82ibrHnZlPWPU
hajigFSCR3Io+z56jyKEU7dtX/48KlcyMzAMftnzDWVO+JTDUMaR5Y9iSx6HdcHWoU8i1m8Dwu7G
LPnMq7V+paaqeaY94Kd96269I1zZ5V2waq83pHzWbShTonaDkhZFH+yQRl/7ut4KuLJWJF9VvH6R
Q934TQUXuII5Nczd0syUPbG20Ho0d31Pxw9/HtIrK6qrEjdj3NoUR90yBMV9XoLpk1F+dwDuElfh
OjfEqsmUtv97Q4Ij17Zfb2w71/rt7MSJZtGQ9VSXMP88j2RCZcStvM+1pi///9MtdN+2HXoWLYZk
Td/fE/zjN9ROTI8mSfdGrWgXBT9wmG9zGlC/YlXuklYmtkHG+GZKLHPDfQK10ruYUHHy67pzdm6Z
Fv87nJdzIkhuqi4fUWPq2bgT1C001mYVEF2up7YPk9zuvefm5XJWYBUmnE9iXY512Bd8GJci0n51
ttyFrLposHUqWVdaSZ6OZfrYbbeUmq9MQRexgpx214jk6MuGp/+iDK3Kh1X+5fUtXcKq5Z0ADbLr
kqbRhyXYiobhDO7XthOVGlRrKPEuVwaUNyrvTFMVEBKQfkuhK5yVbTMNVcRVmW7zcJKq2U9buHtu
iy5eVad6F32U9SXNxJdAiiOfJ+sX+65yVtREtazTWGGuWHJ3xIE9t0S+9Rt1Jzq1mCiKHi+jPoaP
uKL8Pdbxw5+bvny435zuXbhKxlQ2hO2qRKUD/0enATuzA+8EFjapNyqyr8x1l7CCvs8eC6GxktPg
A8wsIDibBX73NRexCpI4ajZ+qJJuS3oOkrECItr7SQpyl7IKOz6TilR9mfbLfkq64dUBU/YboXRl
5F2RLDbVfOsDbUpIOdh3E43WcyLS4VkJUPteH9eFrS7O66gplLqMDoTTYafmxAdd38ktPLyQRe5C
V6ZajjWdGsQU1yVMkx/ng9/IuFybN852WuvwwA257cot6mQJc1Bx12zxdmNsrrUevTwENO20GbFZ
U3YQI26NyPKArX/7jbsTr6mMoSEU6K6sw+54qlaWFsZs4gzf51uPIldu5dTZU1eIgIQLE11JAhO+
D9ZVyTxuV/ssmxS8cdDwu72O+I1V4spguS/htjF2HCAoV+79/obL/+zhh19y1ygLqgy8qjbTlePB
/s4C/S5ubynIX+m0y4+FYxWBTUt1aROr7qaxOIbIT9Gdu4BXoGCyi7w0zh1aJ3nXLK8IEZ4XLBfw
mmS4DNkad+WkayhABEubV0Pgl0pwGS84UkCiC1IwJSM/9hS04SK5Z/LYZbzacTE2WqUp210gvZVF
7ZOdF3aj55fs3m+2KpfxmqIktjIYVDkBgUlf0YjVzQnU5AqLhYRV3xUzfhoZ3GW+RoBqy256BRHc
8CGZlvdm8TNvQ233y3VntWnUxnrty7ZrvyCb9o8JIAHkte64zJdeAUgbjUNIndVqOCne7B9aW6E8
soEqpt9p3lUC62bVCkJwRtvsupxSdcDjTtxSRroSsy78hZMIymD2SJUkptmJ8Lm7M+nIb4zPlUXT
pb+oDFjWTRb7eTYMz+sqeljsanha4TW+WU4kSszD3ilygzO5ssO78mDM6nA9hqXH2xvRMD1YI2By
KGIkSn7/8we/NlyXUPnpJksrRhRqVLFFBm2eRvCuiFjlp0vAXShMW2HhPIzGV01p0ZH5YeDNLZ2Y
a2Nz+UU/9bxfbbZNoUEYQM3lLquHbx2d5Ks2itSNj31tbJzjQ5clsKixpCtVtJ6sgPsA3boPfuPu
BPGUrbsMOqvKhVff68B8tMFw40B1ZY667NYMi56j2teuHNg6/cWBWX4aUO1Z5W3LxlzLoYdvaOrH
EnMX51q6RYx4OMdnYJI88G2Q50zQ2m+pcGmuJe0PjoQ7lorGfpeRfSRQifY7v7kM18K3xhy7UchY
1/15q+M3vJ36O6/v66JTW69QNQffuFIlUXrOuEnuWqit3NjIrsxMl5iaJQxJomxWJdua1zHuLHk2
Tl/8eu7M+rmmpAbEokq98SdteZ1XcHb3/J7OtJf9ESZamLZcafq8heurbpr9bv4uIjXvc4OjCWnK
fqghaTboLSd28rtJuGaPQZTRuU3WpoSlT3cC7ROcKnL4XUFd9AnpuG2aDyLLsRd/t7gnHmq60fSV
tcAln4JJSGNRnljCoDxENloa8UTNOL1aQ03eVkFA4Mat2s9eU8cloTIoMPVin2Wp0zl7hG9kdUI+
U9yI1ysLvgvQ1LZSnLWHLOdJ6H/XfRrvq4jsryb4Tt5YOq/ElcvRMNHsldwmWfZSoDzHNsdJDYSe
/Ybn8ld/2rEmoVIo21Zone1Pi97qu23g1u+CFTphu9t1M7bjFWo6ljeGzY/CHn5mP9yVLiJ8mwRV
cVU2IB5PquJxHsBD2W9NCJ27bovK2X5J9qpcs/mftoaFaFK/9xtx546bzGpOIpB/YLvZR2HH113c
/+PTNHPBW0ErM6VSoek1fZyV/hSp4Ktf0w5YAVNpsdhqqEo5W+jz0ANXOO6H57Ff8Lx4G4zQQVAk
yp7Xzj4txHzy67dzloyCNUQODU0LEn2MDm7yJoAlml/jl1Xhp+AZsFcvvJFVGSBld7cBSIbkgvTD
itgvSFSwzFpGWVCwsH8r6VaKOfU6CTCXh6p6VIdVWxQUqTTJm2nXyZtqFl6bHnNxqGheq24ydVXO
Ol7epDVd74YspV55V+byUHuQrGTXrAIPRS7V5xI6sSG5cc74/dbEXByqloifLkbX5SyDOs8COrxh
0HHuIfcfTQ8zXrTPJAtu3Wx//y7LXBIK6OWSknkNinYIJDttgZZnXfHpR6omfo9kW3+/myE4HZTV
XksyVB9fTlkSwLZOJjIo9mPWP4I0mM64UAiv6kPmAlJkW0i12Rk/iJgvtq7eJhA584o1xxHw/2qh
WQfpYOwl/Afk9fVZRiy6sQle+w5OHNPY4ijSB1XZw4+s7Lgx9weZ2ldK4TVIxdmcdyjrf4W3Wr8E
M/DDl5+Biznrp8kGRb9hFqcNLDtb41fUy1xuqqbZgtmL3BrZzB0kOt+asbpxdrv079dsFXOxKZFN
cQMOMSvmZf/Yrc3ro9m9zjkoQXk5JPWyyqBHyUJJxZ7kZt0/TYJ5Th5nzw3XHdJyPfZcGu6v4oT/
6LLRD2dkLiAVRZuVHOpTxdzbJ7WLLo8ICf12GBeRmim0kFm1iqJtuydl6ecd9ateAeUSUrZO4mmp
4qAAM/mNmNU8RGTyUwphLiAFO7luGI8tK6aw+1ET8MIj8mlehzPmAlJUYW5HYsQWYCDLkKrl3ySc
/d6C2S98VGYGOa59VuzN/hlGM+8Ws/7jN+LxyxlOp0mKLWSikAdkQo94+bKPrLqx9P7vTfY3oeni
UWpglFfYSAqI7fTlTpLpfpnS+XXVzOH8SuIS8TCgZD6Hwa54SCoWvMUS1z/tsKaEN+Q4r/+QbKre
RgQmRjkEjehp2qYszc3STt8oymA+JDpuvzb8oFUe1S1/Nzd9UuV9x5HHqbJ4/iHBB/4ThxRsUzC0
CqTjGt2pKlWnKQ3nL3Vqjns8MKAoeO26N3VNgjnfmmmFMSsOwrkJsmnOa0yZUnN6wDQ7ik68Snvo
KalwzWld43F+HZNngBfN5y0Nashzpgu7j9ajLaouUA8BxHSf+LoadGnN/KA5yAa+/HKG1vCFiGNY
QrdW5kdj8ZTv5+zIXDhsZxac/piJgsHERa9c53OEReTPU+73rwvMJb9M0tftfOm4Qc37jxGXvSfY
kn6XSVe9riI9Pf75z1zZFlzYy25mZAPloiBD+CBS9X7Fkf7GT7jW9uWs9tMhW3IF+ZtlTAsR4l0n
UPsdo4OfaQxzWS/VpfwAMiEKPseFFOwj9An9DqquH6hYkJ9RmU0LRVKRx8H7gJBbpXe/Tzsw1ykx
1YkOETxZIVqUwE/xXj10dian3h5+BseMO4sV7xY7dwNc0Cdu+5zTvWzgf+v5TaOX33Q9AOe2AU8L
JGWeyNGQk15I47c9uAJb0QIOOmmPtJjYsp8v1lenodWD39XJtUystJyCGnrtxWDFN6nJVzi9/vXn
KLpy+3CxL3ZMEKgKJ1HUC+3OsoqWuySGv3aTwron64Pj6YB4/o0/diWsXAxMIS2zQS1dFJtpIiTh
+resS7xSwczlwFBcTsdaYtXZp8yehmy7q9bEDxlkLgi2MGrTnll0XITq3oTmdWWFn9oec5W2UJoS
wYgZX3fpUwopgrS5Y7xLz3/+wNfG/PL/Py1lrNs4VANwKrKWi1NAhibPjsj4BZULglmTwPYxYVlB
DZ794AGy5AdtPvp13YnYqiHyYn+dFbyfYcMSfpNU+C2UzNlc53ob273DqEDN+DEdHnUy+N1WXAzM
VHCPCw6SFTB6KlFiC0EPNr7zGhCX/0qCsZ/peuk1R4F1KNpTkgZ+JQDMBcDSlhz90BxZoeE7U5tg
yyk8Dfzmict/YdpVsehpVmw6e91383iuw0b6TXGX/5J7bKEpUCXFJvuHvomXU5PWnqHvkl82bWrV
yooXcpPPcSee0s3z2O8SX1stueas5kW8VmPek/UhGrN//aaKs5UaUhM4GzS8aO3fE+3ftHrxW8Rd
ha0OOtph0kheKIlozyL+FNLeC89krr5Wh5WJpLuBOeIUFMHyb9we7/3Gw7mNb4J0fUguYx3wsCBB
EzxuI9JtXq27gJTq4F027h0vkMtjEAZYt1ObkhsH3f89WP/mluUiUnOnNlg9AH2DWDHCfe/n8LQ1
vHqCjQuO7yz7lgVJne/pxp5D1vEviOXucbdYe2oxxDKv2nC94/HE8MwYoLigwob2ZjNRTfBGrcRp
bwbit7C6YEgMGXO+ZooVG8kvk9p6PTwylwDh1axZo9BuyPkKHRMd5n1z4xp7ZYt0KTERWVzwojhB
HLbPqLWM8yhJ/NzLmUuJrabPWE12XiDd8ZWH3ecZ0eg365wUYg+rck6ijBV7H65nGY7rfcyOWwnK
a6PiHBzautGWVBUrhoW+Z61pckA/fnkglwrbMgKzHnAyheyyE86XX7Pt8Et4uFRYMMNCmwWUFRku
z5ChWZCtaVPPTdLlwrKswsnMQtQCcnrflxSabjT28/plLg52qBZ64wsgP0lNAMGcQUM14iblcaUg
jLlAmIriUasFs+UCIeXLxYgi4bAtygn2t1NfpfHbSkTjh1DAMPUkpmyUOXytsod+n9YTmYbdb9r+
or9lhyUMMhFdjOJeB4cpUFnlVdHPXNBKSqQXxn2mha3jojO6IKLybNoJh1TuM+9NGhfhAtYtgOFz
PDW3cLorseYqe2FNk+Hcx1Fh5HyOuXogx+J3M3UNEifDjAUcGRV4SL2TrH6uN3aj6SsZgV9YZirx
oJBhpLk2PWxS9x+xZcP5aCPld/F1meYhkr2aaBAVOEg/HcS+8o42lw7TzdqEEMmKiqnDmPDwnVGZ
31RxUTCCg0C2LTsp4lTMeRLIZ3JUfsubC4KFTBpjCNmxvA3NOavnJIeCTe/3UueiYEFsIpQj1WFh
tujbPg54F5E3On5lsrggWDQndE/m4yhkne3PprtM8mlp8iWjnqcwlwZjajvq2URHofnQ5ZkQn02T
3bpHX8lquvJZ4zj2skqHA69nZvnQ06p5p9ah/sw2WT3SoRk9bwWultaB5CPN2L7hMSB7j/pKsKKT
30HHRcNE1IGHXNlapIvaH4NK61MyJ351IPCseplpCDM8YhCN1rM4OU+pHe6VDKnfzHTZsCnZj7Za
LEZl7tY8mLI3A9J5N47vV+amS4cdam7HA5fIQmKxOXWkV49WptXDUrfRjbXyygrvImGo3Z+ztEfl
c6XBskDY6zTq6Nbt+lr/HeAkCAMVmT1ci2RP4LpNTFdAVUW+WQQ1fudvlwgTdTvAhMOuRVwPw6MN
IGPdIJN99jrJutpKEJfRkMjG6MTAEXIVRZ/jZPY7a7pA2KB0A6svtaFopYGoQZbkI2ybbsyca581
ejnnm2geRtj2bEXI9HIfwwHnIexQt+w3LE6Wqgszkpo2XQqe9udRjm/W3t5Yjq913AnWZYgzYbp5
Kfpgf5uqOj1F1Wy9Jjt1mTCk6+xETTgWagrOc/8VvjBej+rUlWyLKOOLOjZb0IzA7bPXd+vS+j0g
UxcJWwY6bdEejAUNdHWiVfouaGo/q1vqenAOCe3SJtS2qLOPbdjNuPa0vuN9WRd+yvEG2RKigAFt
z1R/lpX9C9WtXpFJXSBMtaYdVN1YcB2BzCHnOcST8goe6hJhdRcj/cUqixsm6Ig6Ck8BH1KvDYO6
RNi+9V01LpeO18txMlq84lMc3fkEJubaywHfWg1dELj6FDAZK9sw+bJnzXu/pp3APAbIpW4otysE
5F3yJp7eysxv/6cu+zUPM7bRtBuLuQu/i4V/CNXqhTxTl/FC5nhs1wlNC6tei/0hnKzXdZG6fNfM
RG0y2EQXNZmrszKSnODZcOux+vfrIHURLwVT5cHASrWweAUr457w+0sK328hdEWwkKTTilWBKfZs
+xD1pKxN+8Frnrg0Fw0bWGzoyhR858e96sJvwZH4FbNQl+Y6DjO0DaoAi6na/osApszTzcPWtRF3
tsxEZFl/7FIXW7KWfDSnfd28kt7UxbkaVrfQ3d/6YobF4XPGs+UpJJ2fACR1zf8MeI+ZglkqcLSV
J1QfnukGoz6vz+kSXbGSkkRI1Bc9lJHvDNXzXZIO5K1f6+nL9UqsCg4NWzQU+549MVbEC79xRPn9
+zF1ia5+oVGDN4y+yEQbTHfDokH22HDWXxMY274jS50+Jqs6jF9EuZBX0maw9CQTxony8E4kc3Zq
7fjFb5icfTRiHXR8eaKKZAy+Dn3S5ekgOr89w4W8BOpGyRFkXVGN+iOBQbHMiNdhjrrumrwKj0FO
uiuCZI4fZ8vOShyZ18mfuowX22UWiWnqCsvAJE8BioTTEBlDvyF3dlKsj6nRc9MVrAvNWS8jqi8h
z+/ZurOZLpupO2hq98VRJV86vRdihlrgn3v+v+Tcr88y1OWcwB+lGYpQ+wKjMz9yYeo+H/pxP8+0
615D2Uves4Ecb8c1mcupsftdRzR5Yn3QYO1LJviBSdWdL4thlq9UCXuCFOPwLJp5IXdsBPUVDd2O
0YYa9UlRHAd0Uy0lHGf9cH8o2L5cF8IZhk2DRPTGe/JtoeRhmHevXAN11bLqKGl2Ave2wg4i1wbm
mmymfml46iJUHT22gTTII6lIwIFreCNaT39y6jJUMk6XGGvZ/rzo7lHBB/dHver6258nzZXNz4Wo
sqNdl5k0x3Mgl2+dzc5rlPmxGNSlp2YqBmSp2+O5DmPIThELTStUJ/lZTlL3jVNvbbqlUvBnQAiv
wVGueaObv32GJXZDKQtRLpOOZnnu4vRTZVaZjxWeH/wadyZ5jQNHEG7MPg8x+44nvlfI7/zwa/qy
K/508dINXdZ6ksvzgKHXedwv6r/BGuKnXxG787zlEr4WWbI+RypSbypRQ6Bx0V6Jkdid6H1jJJuF
tc/plq9HL7+NSoRf/QbmMv9/GpgEsglLN2fjcxfoT10k34069TOzjN15HqOqu4vSXT/P/8/ZlSzH
bbPbJ2IVAZAAuCV7UrdlWZYneYNyHJsEQIDz+PT36F/dMFZUxa0TtVoYPnzDGfTSpV0e3zWWvhG1
Xs7Ev2M622rDFf3LXKCJqxtcD+FRUtxo6HU61pakNp4eNDziT3H5lqrQn6MB26IGledhbIHzvSGg
6YyRIk65LPVl3x5sHr8kTBzofstwG1hefRcOilcjAXlx16dvgYNsScaKeOxCB8HmB7VYdSbjXBz+
+9P5n/dhixSEW/EwBgkZbn20sCqtJskyAbGPPCUT9ZkTdJ/SCtviBqO4kwCGh90NTkkyrSAClFK1
+DcSkJfM8Q/naQsc5NxBc6Za21vIF/WkYbp2K2tPTr0EWuON35G88js2WWtQBX5YZT7dkrkkGZzp
8myhPrif6GAONinyUzUJlsqJUCDx87zbF1e3EnPQ6A57yztyjWdVH1fIGx+DeR+glm2BhS1cApt5
Hck1yAuWqjVG6rmz6GdbibmpjAqAD/DhZVH6FEhsiLXvexG2wELeMg7bN3x0wgFRkb13aQ+3+/++
Fa/Eiy220C/rOFaCjrdknXSfMnDqbo0V8xsQ2lcO6xZeuGjNcxEhAy3HYlBp01XFu9wLdnOzZI+7
/oQtytAGtA5nx8bbzPXvSECasAcQ4b8/+39zrD/cti3KsHAt5Jfzrr0hOykSLDwSzgVQrx8FhCGP
aOjWFwXrrLtpMS7r89qdwtGpI6uc+/XfX+GVHdpCEYUt3TBhl26xA6FFyh9cNbuKU7YFIlo6z71f
uvEWkBmyOx+N2EewY1scomlW6NtFPbIYZz8Ak8HGfbMXFjGErP+XBkwxhqYezie3OA4el0T8iPJ9
umHsXzBEXyi0v1rcBYjLc4GxUSftX/t2cVOUQood8rvL2rwIYf/o5kca9Duv8FZtriwnP/SyIFeX
OCR085G5ZNdshG0TdEXYXPolR+hxAuyqesqiyX/dtSJbCKKFHUwRKXx2Puj5RZwYtSovd0Gm2RYi
h9rcMFJpexu8f2YuvmkWvjXafeVCboXU2BAGtRJJeC2G5SmJgs9isG/kiq/kKFsVNV1xGCj3QXjN
WTNcghWZQ1TX8r0bwvgA8Nn6ad/aby4R60NfrUKFVxAcUmXVexARP+/7aPrP+9nZjhsIB5KrSvwv
0+nDABXQN6Lxayu/uUQmmJeYTzK8ol3xKxTi29Kqtwber332JrUNVM1zn2NJcl+/bxyND5Av5cdd
i7IFyuF64hxSfPHG1R+0bKB4mHT7kF5si49tId9qGhWHV5j+PORsuAzLPsIg20JkgeRNnLT4aDnr
TLL4R87Dt5pdryz4FrNXtdEId4AIX5t1qUqqnwHKpH0HZQvas6yWuZYsvHJpP/my/iIr/0ZG89rX
fvn3//f+6IkCrNfia7OV3I06ObddvK/+2UL2WkgfCfi+YEWKH1W7XKXn+8LhFrEH90Q6lgTrQSt7
lH02O33ad7I3V5IpEzTIfF8iif0S2jVd6n3tPrZF6tEF5I5WYzlakz/40qaalfvq2C1SL1+GIoZW
k7t14Vin0s3rYS26t/QwXjkiW7DeGgk+DdZQCObln4pgAdR1XXYWl1u0XlHQiYWtptdkUM9mTJ6l
nfe9yFuo3iCbaWbjy61p1Hs/6Yz7cN/R3kL1XFUk3TjhmKgB9Vyfa4A7lTjsOoNbkF6Z5HbJMR+6
tbrWFxCt2WEw7K1a+LXd3LyVZT5HYeAILnwyPI9le5zrYR++jW2BeVKu2lR2tbekZTJlLvqrnuZ9
udsWmWc05SrIHbkuYwAnneG8Tm7nR2/eSm9mpeUYmBuFdE1k0rl73rWTW0ieoJVL1IwPnuoOAbbK
3CD35SVbQF4MSgAEvIf1OsYjSw1vZzS1ARTZ98U3Xds5oFbFJDG3cTAw9S5/Nrxp3mjGvHIAt+Js
sGS3Qivjb7hAZZWG8EJlKZCc/b7d3OLwIEkwTjbsyttoi/XCczhi8nFvS2eLw5tz2yVxZ6sbTN+/
t6z+2YppH/+abXF4ZaBc6Wa/XqEawdOFjmFK9T6XNLZVZlubaqRGuPXqWH2InPrMWPFWW+G1Ld28
mo10YbtwaOsFzD6rFRPKzsU7y9hwczvDTsqqgtP5dejnuczi1ggwo824TwaYbqF4atQIVqQtbyqI
vweARpjQ7Mvw6RaMN5dB2JJc+JthCvD8uptPTCfLGw9F/Me2Jt2i8aYu7IA5TarbUtfVj8lG4UdY
WOunfEzesmz4887SLSZPgs4RyZX52zot30vj7qkOd6GWQML6Z+YJc+9QkXnwt6SC5H5Ui/DOxs3w
Ronyv1zw350uqDr88+NFH5t5nkp/AwkT5t6za06sipZTXi4ko3E0ZnlThSoluu8/r1yu5wln+McU
TP03jAXybxTvuzpAglqd7VjwH3OLFgcnbeHPoBP0GcROiDrSMG4Pue74ae1i/8bGvrbqmzeaFQPg
21j3K4ZPB2ir2bSdLd1VTNB/wf6YXuJoAs1FDmtqXH22PXkjtP+PQvanRd8EAgN3qR7MteqmA4Tg
TCvg3AGiH8TFEPjEZz2EPOIsNA2AuhBougi4rddZEKg5G5M8OnY2Qlcw7k1woKUkJoXbe/eJlSS8
qXzU5yIfw4MFAuUswFT9NjRSvCfMgMCpk6Q9KLJgY8hLVuNZRL5MgypO4EC19y1NzNHBTebuxTH6
pprmrfnFK3u1RQyqTlvTdFhO7v5up+QWDvu0PuhW9k5AzmLwdVchLYnCx2bs55T2idg128Qx/ef9
4P06OlPH5Noxui4fFIdVskl7aHAnu6oSqEv88zeUlU2GtlzCq9djP9zaJE+SK0x86Jc9SQrdPpeW
YfDFlphdRXz0bd0kGBw1k3pjfV4Jrtv3EuDpiAFLsqKfN3X9HQusAlc4Qa5Ca6rHfTd9q2jalANY
u3HOrqOMqi+89fNXxWS7L8Run05BWvh0coirDXPXt4cgKCdIKUMa6o37/uezT7ZPZ20K5qq8Wq62
DYYuHbpZFmkb1HbXCSLb5xMsegYcXkuvq2zntDChSE7QGmjHXdU+2T6gYH5PeTQV9Fp2RGRFxbxI
g6XaaXdJtq9nYduWeS/na7gG+hmuW/27ZMyTN56411Z/c4MDJ9qw69AoZ85Bq8c1oj302iz7Hgqy
fUHDRag6atr5CnMNOL7AwBfyjoVYql0PEdmC23MR9OtC2vBKnOkwsXYdHrrCuH1FDGwV/hl/oB8p
1dTgBpdhFB9BSoZWx1Ks0+Oe8EO2CPfOo5CGWeR0TawlH+hkK3WoIP0td16uTd4ryrEtBjou17hU
ww8PaP5lRe/y465vv3225NTVbOiK6drl4XQrKo3vLaXr90l4kS3anYJLnbgJqxOvXVJljSLhRwrc
+K99X39ToJYNi9pFLvO1dFN5CK0oLATaWLtP8Z9sQe9jzHt0c9l0VcANPKHYGJajhSuC2xf3t8uj
+3HskxxZA1S23vPpm5Xs856VoVsyQAKBJ3TnJnNTPD+MZHiGzdo+Ogrdrkplobqr4sDemrl9SgoF
AUK1K5jRLQ/AioCWStLiVpvJpr1szRkyZ9WuQE+3VABHZ+Hrsi5va9Cw+1lUM5CmO+Wp6JYLwGQY
J6pI9I0b8Z6HYTZAfGjfbm5imApn5kqwFm4u6f9SQft5JdEbCc6fnw+6pQLUI3SyA631DUv/QQSY
Jwo379MOxyjon7HXGV1FEHzTtxwdwXRxAKfUudnV/qdbJkARoZgI3BRcIxN8tz3mLVHR7nv16Fbb
Ne9dsORrH1zZor/SvLpF5bArnYFCyj8XRZcFzDcrNNL7tjP3s9d3jWP8w66TsoX9d8FS8kKOxW0K
uvfI8cbUdPU+IBPdarvCmSeORFTnN0+L+TDUHtoy+bqr2Ui3sH/m8yiH0COwRkSro+jLBbmA39Wp
h23XP9fcM0h3BpiF3lwZzMeKKpnStXzat+ab27n2tVxn3KIrZkb9XSzX9eBaug/gRbfypkslp3Io
iLz2K9zYHWARl9Al+yTB6Fbg1BULKPnQY7y2sLPMKhOzdCjGYF/A3cKVfdUSO4FJd+1IYrOOrIe5
KUi6a9m3mPwlF0jX+SKvQVXJ1ETie1z3+3xn6BaV37WwMoRcurzqgBXvVcC+B7xv9p3GLVpZ9qRs
JBLrKy/Mk6rYdCzjdXzjCY1xpP/QfNmilWVRtuDoK34NRBWdBGxcr8AvNwcY0ewrmOgWnN/UJLBz
EfJrPw/kQBq6fErmNnmjoKevPEn/wi2va8Nggy6ureio+B4RIZ6mMgnTYtUE7i2myjgDu2ZslP0A
O3bo2HVkeVqKaHzsocj9dw/lnPIUxaBBqrJkp9h000dBVfgQoVV0gjpi+Jm4xJ5HvibZACr9XQIz
Z6AnIeK963Bu0bJxMZJobGx8jZmr34PVwe67ist96Ci6hV9DyADAVcXjazSpb01QPRE0iHZ98y3W
mgQ4Mi+5zDUo4ZWzymbOcp681Sd77XRuMgIvEzB6mjm+NoD88tQ1fM0ob8lHoke/LzHYIq57GkOC
cB5ijAry5VkOcjmKsnirnnx5pv9wv7aI6yqECKyHAN9VA5H20Tb5fGcQPPOsGZKOZWHdgvfNI/oW
kY+/8vte/v3/QTMAPRrGam3i65TI5FBhU84F2lAH2Dnok0ea8vONfX/Zgj/9YS9b9v9+UUhW25sJ
6AxaDmR8qiJp2qxuPTnIsnVZBbmGdGFx9ZS7OIwOkNalNi1JNWAHuxayLsma2xtt4+iOWxN91fGc
f7J2SR4BvO6qNGpGhvvoQuAm1wngG1h1vCS1jzIsiwfTB/nZlN30qYwXcTf4FqZcYe75DU37z6uJ
8mNVVPbsxnxpy1SykZwTeMOeGxb4zyWrgndVyfspjQUzaVXq7mtO0Q95Y3FeWZuXUPX/1sZDjL3U
jVqvfvCgnBE/H4V+yzX2tR3eJCesHVtMDiy/Gtzqc6Q7c4pdVB2dbeuPnV7MG4nn/yR4/rTDm0Sl
WDrT+KTG0wAid3hXu6mBMhLQiukErbYjEMb+K2+65mc4N/HR0uIXoTZKiVvKVAOGcO6KRb4BCnwl
yP8LSxs1xOZg7Vy7av27I61IlcPS7tquLZw2aKplcRE6htHAv88uLbv+jbj+yl5t0bQsyK3hJZL3
MPAwsvW6zcJwgqfnGsmsDZN9jRO6FfiEowTXRDUUW2VZFqj+7MVOthT9F/YeXlHgaAtyxV0Sv2sh
1akFrf+v/158+cpd2YT4YVhIrgcSoWOVJF9E2M9XZrh7FxlRHbs8r05TLZeriOR0/u/f+NpZSv55
O9twXPhom+hqMPy8RjiqB4jPqn0l1RaJT4oG7cLeRdcmidqr9p6krSbJvuJhC8VfKs5CTC/Y1a+z
92lbISPJJ0k///fSMPnaCHQLtce4uS41BrbXKuRFHmWFAZG2zaqQBRFNk0Lm4cd1Gnn3t8YUOfGp
Wc28lik1UxC6VEsaw1p5tXgP6hQaoN7wDzmgPWOZtR0ZxgIGElwCNLNW3UJsBrutMvrS/+8Kpv0M
ENPvfGiSfE4xxB/W94bbOP+Z16tFa2rOobBD0np1xr+neiqP7ZLQcw65ieDYhRUei3kc9MVNXMhj
wUAF71XTngGie0ftYqDZ6qF8P9Y+DrPIFfFhikWJGrLAA5z0cMG5wLk5flcaNjwSHaroEK66mNJB
2eIEZvnvXAfr32oEErwcepM2YdJ/VWJW7yvYBz67ZB4emsKHp0JAPmJalTO/l25pq7SceakeWhhp
fnNShsG5qOKyfBBDh+ORdsj+HA65NkFqGWkeEm3bQ+dCkzqw27N8saM8tEPsUOuy5p0muoBkfVOn
lpdPtV2jdwn+BjDri37OMJlQBx5Yk1kzuEfRztCxpW0jTjW280OoQz6+T0o1V5mKffwAMQ31EMCB
9lIOjgTpANGEzK6gTqN7PNP6CWQomFkULvkWmLZJpcg5hdkU/RzlOvypIvqbL7bCnE63X+JE5lWq
ozLUGdDb9gD+VHxwddcd2qgfTkbmHQCYOlAY5YoKY+qxq7/UXUkhllQWkINui4QOl6lYafiQBDMo
cHAUaqaLadXMPjdV3YhjUHn8/LDE88sUOPI2GwV3l0ZzcocNqPAtvQG17a6echnAgwjdnz7V0DA1
X1QuJ3oTnU2W4oiwWZk+C3wp/Tsi8aMp09WYrW0eftAuDyPYVHt6UnnlIDo+TNEQHPpuqvK73pa6
ePDz0J40zvu7coFU7MDqDlqgohYH32mWxihK/MGXrq0fhZVleIq7RoQnj6kgP5l4Tlp1qN2KnkCK
EXZVP3gRDPI+blRTfPFNw8OHSpK156lC5hhmvvC2sfgmTRmc0Tykq8+0B5DjyiM/lCcKr8b2RANI
g/8Y+1GvHwLlIaClQZqrv2E2YCdIKFaMTk1KgRcYYVc1jv4dpWHJ3s2Aheifes2Jfkd0h//VYU3i
R8h9hUG6YDPiU6Fjz0+saxN5mbxqZeZDBXh3WoeQG8vGbknkPbxpkvxZgJnSnsAzY/5BVviBw+qq
IPfpNEe9eoRYjmAnUK34dCqaOtK/LPcdkDQozsb8oWY4iGc5jCO/VlVtIIdZO41+Q50PwJj1UOIe
P1g55EfTBgqQqiZvRpF2yTTxryVjrH5uFmjsPsrIxchYQonrGQ2kZpfVR2L+DWveYHyEjLNuoHwx
B/kdcx2OLCmMKe56XtT9L5a0ht3L0Nj+2bbJLC+MxTr4nLuoRgJZdWKWwEMaFmVSTLX6gp/yw4e6
iWFGm04skP69FmE3nE2/8OEYuS70n0oRzcO9IDjXNzG4QBwbypf6Kwe6JUalWRY4x9ATSs61HZLm
fmV5X1wSY1zzLVwldfdLVHc5yca2CYc8hZoh43fC9L3/u1Xmhc1ZgdN5NqSMq0s5uyW/1SA8kAsv
EmTuYFHN5Xo3J26c8szGMfzq+nCOXqLrAGu5r3BGrvpTPTQ1e0cRjZb4WOlKmavVIDR/HaEeYD87
7hNOU+8nGFamtFwBmi0RK9zdjL/JPLZg/lZHlaguvjNexeUzDFw7cS2gx3vSbRGX53LC/w+1hrVS
R7542TwqCi2/MjXE0uqCNAZe04fYj2F5CROjZ39aEwntiaXExrwPeAQsDqS4B8fPeIjA2iOJ1v3d
VA2T/yUgh8wvtKopvAVHZ/O0a3nbHurOluTvtR2D4exglgQUQ9uKcUl5EQeHvCNwz85CVzXDj4qK
OfzgS289PB4iyFUGqGPCJkebiqON1JWJCdd0JRUeqCR2Wv2Vcz0FH0VDyHD1DS/mc+RKId8RS0b5
01RwFfvcWwpPQAP5cPWNkXai905ETf8xMjikv0cajOKuAHiqCWGmREn0VxTSvr0w+E2Ft86Ps09j
8O2aX2Icx6VI2YhJ1ldBdUdOlQZp6d72IZ/fTQ1DcZSWYy7tj6EfVPJekrIrnmdchLFIIzF16rNc
tApORk2Un6hY5vydBn0vyBq2kLg4OBqxG1TnpuBs26GJbxMwZPoHeke0bMAdhuNLd1BwuESfJcRj
Ev6EZGioD/hFztrDy+XolkxFGAVNKfW0DcWRchLbd5rCH0Fna57z8e/VNZ39YXxs+h/9qgOB8gze
XZ9lJW3xiVXAaP4aSs2W6tDKgA/xiWuGftKx72si39kCUfaRwhW0Ky4uDAs5ZRXt++YyFM3M8kud
KL38ciCL4XnQMYvUcVmrxGk4j/E6nlO+Oh3zgyh0GEdpT+tgfEdlo1Xq4Tou8Noq1dVtytu+jckR
qDwuu0PBfFxFZzEAsfLc6XCa4/ME6Rg9pksEnPp3M8RNv2R8GAFVc4sCDTuVi89HnnJPYHsFEq6e
zzDwrTp7VhAsyMlB80QG/or2/MAe6ejghJWxOeHND+P8UNcps6TQ16roWbVkkSalW9NSTsKCOTzW
Kz/IsfeiyBIggsKz8QFE59LAMRPfrfC3sBcReDL+jsOai/NEdVCfC7Se5CFeeQtHeuEMEqZZd0Ws
T6QSKi8xlIGb7pGbcV3OJZ8sfQ5U4bvjPMjot1mFJ7+EG5m91DOUrXoa0azsYUhDgzkOU26Jic6Q
m8/lLclpOEPxMpbzcolXwq4SSi8L3uvJ2ZNqgzH87JnN1yNPAhWbc05nC6/LLhjJT+loeIkiEpmz
hKC3OeZed/GYJSPkTO91ERIKf/Fl7soMXToKLC8wPh9yl3v5RNw4NqAfsuUuGFoPP5uBZ2U9hMl1
1Hl/TpBGtd8BogJsHH8yAAF3rU2mJkkLPyfiKJkE7jhdoR/j7yZkloga2ughTWZwGiUQ0L5JkVVN
kT8vtqf0I4HJfB6cmAib+ep4pc1jQLqY3KKYUqRruLrwQQUR3yfFX3nAmvYitbgSoHvuCgoPNUTY
pHqe6iQYbk23Wn0wYqHyLiZdK/HfOh90cE+DivFfdlFgP65jERRXZNacfetbvFwPgNg7+lHVa2jv
4CWHA8iBDsRgozdx784wbWjwTaSN1uGC/Zvt48pjCEN3Tv+NoRMeQ6PWSw4d2t9CdAWAO9Pox/oD
48oP70RdLOaBgRQcPywzmrtPCwMJ5gKWgNNFOpZFzG6iZMtygnZNV/1KCAniU5n3oXyOBjFMT/EA
mtWTyl2rfhp8V+Q7Voi1+K56AW8J0HXWgj+sLjEVhAvKsg/xl4Xcp0VYalAbu2jB/W27cSYZOrZ6
SaswEvmdRH/7ZOYKeONUjbU+UzuKDrFituZB8SEPkFGWIeSAASrUiQNg8zhKCcX2mIcQw81C7drg
aagaXU9HDCZUXF9e3ETPiZB4qnuhZFJkLUydGJKzNRZ/Kw9dhSbjsBsM3/NxivUdnde4Suk0zufV
ReZJGJdDjd4K1HGnylSRlukUwpT2PpKtr4vUGuma91TZsiLpwKGSjvc5aGmHjQtys967jhRDlZl6
WVL8ewBocxkXw2OHBwLhDzQWBfhT3ml/YEs713/Hagke4fiH6t2Fort5pOn9iohG2xX9uijIP+HU
kigVpubTHZyZqjYFkXsJ35O+kRjGqiRO8nccqqkRUoYRhl9HfHB5sTMu8adC1Mk03zcJqZsPUwXn
z0M5lGX4iERBhxAysEufnwIXcvFxgPkoP/mWD/KxTepiOneDUO8i2UO0I4nzM1Ku3IL4GdrEnUGA
YuRhRRrojjXFuaqOLRQ+uuZujKu4bpBRv/T3CjIGcPs1zfi7m0wv/pqIoV8mTuUvFKcIZqdkcRVP
R6rm4VBHbfz3Ai27TGOUeOq7kC4qa6XKI58h+LBxOZoJ9NnmHA3oiDZ3OZTvmyMK/MTKQzTAa/dT
AW/kqT9gIts3+SGIVsn0KRpaOnyIk26iH6D6HTzrZpIAq+aoDGTGFq+t/ILKWPa3wdYQW4VUH0S8
RWaClsNG0aG1GsWHIvK9T+Hb2N8XMwt/dAzWpDUcSgJD1YGOdUBE6gx4eN/gIR9Mh4DNfrDwZpjU
eN/Mk4GyVa+QyQ4Yd4UlPXZzrurv8ImW09HiRsQfJf6I4Zo0YorLDCOf/mCaehkA25IV/BkD/qLx
6fuCUJS7dTn+qFhMyHmRL9JlmZiDNviCIOt4i9o1sMtxLaAfNaVJS+coThu41Q5nbou4uF/mlrHL
BLnmAQ4PPvdF2ucO45ZuxWQifoIMmm3fOR/BeuMOorl4SVXI4GYJi520R4/gyssXeecorMlRTkN8
8Cxn9NDacH7WkwzOgtLowQ9LEBwCGEqe0XtnvxpomtSn3jTmHmeF32C+lGAI1S9B1o81u3NsGT+Z
mVdPg4gtzJla9DQOHo3MPiWYFi1pyIiokk88imaMIXz9ixlgfNBaB+QEQLc1nfOEP8oRJRZSkjoj
BGXhWSPSAgi+RiDQT/ZDx1pE+Fmt7Kor195wuzo45UFzDI3uZL2zMnQZ4LU9su9pvMRhjwRlbuGI
sEiXgcPUnk095gcCZNSlY/GL7aearkYjQEkyVlntqvieEDRsSFEbJGyApctItTf4T4VH0bUkbUpj
M0nZlEEctjqPY1Q/d2OHoFWV9GCUIEeuEHYDB0Qjk9PXtk8syrIIiVOPknstu/BYGMSMgYo1sz0c
Y2QFzeeFoeEB14YvrBh7HDnQzhAo1DFA/4RiDQJ16m3YomKq+rslmH9CxZgja8xRsDmB76MrO2dk
7hTWP6eky5ztmxtsQCiqgGj43TScfK5LhI9IB+NzWXVT1kQt/wCdS/PZMKPuoEqrrkY2HvGk6eDR
2PAMAMf8uGi2IhHlLj+Cs4W0qUia4AJU5XBYGoOUjnPffx8WA3tUBfKSAU7kEzjbmDZxlp8k1N0v
tkYSCNj7vEZZHDh1Q1WN3A7YozMQ1vwGtElVpzFCwzmvRg4hcsb64jirSLqbH+L5L0AikQCjuI0+
wMBQo/wXc/0L1IXw0kXB8jGC7MK5ysVoQTiE14zLdXzITRMeS9bUP/04ydvAefeUw18IJ59qDFM4
OskFDsOpifMZGKg6usQmd8c1YTjorfOXUrcLzFeTfjo52LgWadio4ldeOv1gEpZ/qybLUzoGzh1Z
QaovpVfzcrKAVvKrDit70q7nw4FEpX+K87x+rKMy/qFIrX9D+DKABh9HYpZI+XmtgoDdMy6Lh7H1
6m6iRRKkM3SfDpCFQQ6w2KE6awyBfvSIg82Fr2hzHUyRq7OJFaRho7oMiwwWnstFJSQvjlUYBFMq
QmvIoa7gGZ7KblxatI7M4A8Wz9cRdp8Lee7cjHc51YCN30gk1v4LjftJ3JJ4DPSxRB3THVGtw56l
W5PiPVtFfs8ItwNUrkWJJpJbfobh4p458Ab3PBDlir1DiYiyckQ/Ae9kcOyFbJ/6lVYsbQfWlb+V
NrbOQuRQ8OWlMweho4fnAuwquw85QYrZr2a4LgOFNKInssnfYxpW2/cr0t/8aPsof4ho4pPDmkPs
HN8e+UUm8dT/4HwWd8D5VSfKg/a36sN2Rc9zUlcwawqRwqgqiTOcDpNnZQiZx4yC8vXAxIRrNI0v
io+CxJDgKdtggqPuHIs2bUWSyGzoRO2gomBYc1cKvH5H51gDow5aa2SQLn4saNPx+6Dt5d+h0L7I
ODQAUeNB7f05rP+Po+tarlTHol9ElQhC8Eo4wfZxvu7wQrmTRBQSAoWvn+V5u1U97R6fA9LeK2YM
TzEYANJCEIMxheFble1UePMTM972DfmY3V+pdEqruIg4On9thtFY7MsBL5bDlln7ozx2vCwb+d5L
uz/iUIg/tRL2rwYt92wLWPcrQkY8k5EN5mZtmd9ZwcXvfDL0F0Y29m0hM8NOxpcjuvdWyH8o5Moj
iOwzPzQcc9LjETYR6syl5X3MtwSHudmS1xE95GtF8PyLKhwTv08wgYhaDUuynTq3heXEt+yQ1zyW
852KvyAQhn+srPAjFoO5cwaoMSkx1Sl8iOwb6gyyqeF0h80ngcWP1rtFWOujoWREWCBaOcfwvDmG
k63IcP49h7B30XeHqe6OamfacRcIQQjEAXEtSjOWLQQe5i1ZB/TJkMwVtOrSjpcvAVzrBYgHdjMc
iqQDMFRM8kEZQlTNFh/BF6NwXgip8uSb4Gv5FBIn32XcYwMPzHS6zpgA9mFUh25ZXAduU28T2pl/
GzPsF0eKLWsjPy+vKfoafkZyZmepC9Pf7yrF+Ida4HG7eNv3H2jaTY+GYJ99sYrzv0MYp/ECiV3Y
a+0A7Z3yGaEJsCNO848JZqQnWJ+Xx5XBM9t2VArdArPIj3rBDsLvOFD5/YK/Ud4lkBgt55TF+dBk
uZb4nkiveO0Kotc2z+HwqQVhAjsHNB+mMTpLX0rr8YXiZwtVMbGEJzLDOVRJXBbdyaUOV5bMZLHc
Wz7Yz55um66Un8Bn5CorziTTBgCK9xjCs83CA3T0o2UAZ7loBKLrQ9unjsu7Pkx4U0dINZIrPjee
txRtRde+BMNnFxOTa4KP7jPaLaD3CYPJrUzhCzx1ZN38lY2jzK5LmbHvepfH+MzyHl0V+xgWvBC4
2XJ1BXggxlYzAGSXELkjr7N9Lu474Tx8nYrhGlry44ifMHt5gy3hMKIuDkd6rHDDYRvYE77u36ST
ZXnhho/fsp6I9aU0sYhemI8TX2NAl+4cocjOnEbP4uf9WIbP0QQs0rT3gDMRqDaCW4mz+PckGCaQ
tKAbb2OzwgJFYFDYbxn08QY77UFc06uePa1DdPzSZu/TCx1l2WLDA7ACY+06VfjCpk96DGnDwj6g
Crzwh2iWHJOBxmImT0VpxVkj7IBVY0+j3+Fg7AZEosjPPlX++pXwO/xOV01eD81n7EK6mx9Wgl7j
ZyZScgUE+Swmmz7FSO29i7F2L5X0EskGOukYwMZlFul52Rwkq0u/8x9rOfmhInF6XNF6PmR10jt+
DokVWJnDTFuiNo0BX9qHNRsybOnWLaqhjnJyjli8flPrlpQNpl4t4RyT+3pGz9iIK3nHYlatY1K0
EkBlWc0yHtjrkYn1hh7GwVQbJssZFWezeRUL4pZwutj5LOMp/BHpDlZ4EqXNHtfk0KYtS4Rt3FGF
ox8ob4HpgvbL9pXYF2FYI4lC3FdlaJ+JxuVBHi1qOMrhMuakyGugo+l8QhjibJuF5H1ZW44YnXyz
OTgPn8OXkaNB/KhiYnGiptlSPtIicnWUFf1vl47jgR2jJ8dpIFoyxOc6zDzE81OeLOWAJrU0BdK8
rpxUXMjZXMOyetUs0ouimqZDzs2sIGFrvyoPrshRzp+AW9NmmFL+WHQZnpOkZx+5SYBXFVhzKwRP
dfMHj8xGq9GVE0a9oYx17WQ2jA0F3fj1q0AEUtly56qycWrOcMwEUs1bOrWO0vlHtwuDKvkdS7/Y
ZvAsR6lfdy39T0p2ilybGQRCbTVG7nbve5wEUJcX5Flwl79PIYxIwOzW8TUaD589qmJyHsu6RcyW
BDWB3vIuckBHIVFezxJ59GmNF48t1bZ2fVSBSvOvkiu/N8D0cQ8kO/C/yqDh2FwJn9gnL8W4/Avp
aocK6yXQArJKfEgLAsXvO50OSb0s2QI9biei8Kxy3o1nLaNDYUI25QO0+ua52xFd2uZLXxRND9Ga
aRwrx1DrTvFXB1/lUXskHL2DWdN/15j5osUsNVzoFA9n3PO4mbia72bgYrAYY2v8YhYO8dRbPFOI
ivUTvRfKiu3O9+i0A6EGnOGy83J27TT46VMB7G65RJmVzfLjRzrH/o/HYnMHAB5PXerdO7IT4X6b
YJUtTmOnsqcdq80Vr1ZvG59maqoXDbswtpuJpQgOTKPtPZaZyc/5LKf1+iWR9zXIAfu4ZNAF3IPA
Wsqf3oUYbJzG9I0DQ89/11X73zqIhJ8sOeL3gYMd472Kr1Au5Pe7jTskMa90O7vQ9ZjQQcb8NbnG
U8ALF0M+k64MxHCusPd2iLSmOYC/A07N98Lap6SjWTPTbDwuGBBkNSReYKZQ5k8p3XbcEEu9JO2S
83A/ZnlyLVSqH4yd6VmQAintgOUEBebLsBAh+9xdJb5oAKQyxgrKNlxwmOb6rZpdpgE7AC6tpx5G
iTPk9ckfgbadqDoikDPwah3/Drhvexz1x1hJ3ncfflKO4fHamGx4pA8cPFaZG41c/2/OSgzBFDY4
WoHMBMvCeG9vq1mUvEhTjG8uEiA5Ydn+z+Fqw2W8hR4ApstABKtiuevmMn71USr/LCIi7bEmso0J
uLIBZwwOuhSTYVoI1iK+ht+FdV9ONsU/HxMjTlsvgfmVMDvtM0ieamGFOAEWRomqZUevGngZ1es4
ltjEeEAD5KRJd1t7iZH3GJ35PIZRNZ2mFLdKNM3VWiTh1PXI1wVnxTu0zZfJxbLl+GBu36faoEKk
guOE3ezM1kvq0Y8MbqfPn7CBge8GaVYvE9UAATqe/tim/jiZmfMXKAeKxuTMNm6l9tsebb5JQDm/
KhZNTzNFNjtgTnkRrIs+8LZDLkoKaNqBhsXnvdOktRsABNyF/Dyl8HRB99FhLSk4S+p57vFezmHB
COfh98it+IxjhfADWkisbv3+qGfoPYsOc28dg9q6JBswAKJ5f9vTJakAiTqsnAZRxU5nukJ7bd+g
WCZt/KxeD6hCmiSFkZk6Ri+z7NwlQ2sYThHvH7Bs+JPDG/F80Ki/QJJEr9Mki5OJ5nBG5tf0YCZa
tqgb+b3ASF7jr8ISveoO3TRyRCa1l71vZOnK53Gg5MP2MmlATJIngLrT49rP8W887GkTMiHrND26
rnGSgOXgCa9kKkjVLaFru/EYPlMOzDCdCUcbWCwaxsOGUzyKPiE36wBo9p/odZ3Pue2K01FAj4Xn
IvvDYPzfRRtSwIPNgDaBF8F6cwIiDVq0c65JNdvPzHgWVX13/ELQLaCZYQ9XJbM/GLj/Km7zV4Rk
IEkeoT6PbgBnZYHTvxNO2Bm0b9L0kSuvRamjx82qz3yVazsqAXaFd+Up20DtYQUZcFsOLHsHsrCd
AVqNdwRlKieIDhUucj/8TTIjL8Ah85dJm/eNTf3HRPJsqnfMAHAobR3CUcfx3vSmeI2nnjVBA484
RXk5V6PQZVJJ6efKG0aabol/w9W94fM8aBNKPUO/InzO2gWZGbqGkmWpSksPWwuoJwQue1gXGjVC
1qSc4c8oGPqRDMjw/BR2SR1yuhlZ8qzlTEb1LgL6gs7W7LgIxzwCH/Os/ED4w7xvSRqdfA5rFVAp
Y3igeAFmenw7QumWC8Y2794ApQ4SZJXXWfmf2I7sNx29FE9EOKZaidpp/Q9N4sGMlbMjXRuxCZXc
QhkK81n0isg7fNwIi6EJlASgufUqnhI15ulD0PPYZPyYk28+jYO6S9C/DLoxNVao1xKWMo1r74hx
S5JJxfY/OMeF+ltENle+WtBooyHnxR9g2kDctK0M1Dmi3rOBA9P1cflzNxNm6IwV/BH05xi3+li6
/2cBDG3CjHkXdu/nym6FjtruUIOvAeoyjJaZgXQcN6KZ8XPpKhPx6dWYgfPq0PQ4Pfa8Ux9YKFfM
SBOOm7nup+A/iEO2x0vZF1acECsZk7qc1HoDqJJAzjB24/rvgHpveV8H6pfXOBmcrsseF79rkBmj
URaMl3V4kNuq5rqMkW+NvRM0VlbhWl6Wp8WYgE+aB6C11egBWNeTjTWohhTtW8tdWaYZSi7RIMC/
m0j64gnTFuk/vKVhrcKOIpaPflF4mJIE1FPcpt4mP0C8FvHzCJCF/xMI3/23MyixEfAKoXrfHJQU
2GYlEIYrCpzitAbSFKJnjD6Gt1shovfS4ilB+nw2CkUgTOgZjPFcUYqWgWjvl1NhTA/c2NDDZXNd
iGJ3b0aAnGn6Daon9Pai8cdDSyuNm0H7ko7s/2K7QsHXgs+TKCZ2k+B7teUdpA+4941uyy6O9u8j
jRb7twSkVCSIrdUOlQbJjiR1Vytc68CUcT31IP82t/Jv6RCBEUc6V1pE13kVWzE3wwq52d2UQHI0
gowvTXcrPZ3jC/Q+2l83HW2zbNg2F9Pj5rQrz0wMxaqulsUcYxEv8vAzO/aZ15bA/A4R2g6mqZln
ZND/JwBtpS9uJ35VjdvYnneIqkJPBVLL40Afox5zLkjrBAoNkuETOiraQTCwVlHE3cMWpyyd77GT
YtutlgRRpX+op5Rup/TI+wD5j5CALO4Rq8GlPrn+AAa2E55PNwU+bPoNAmsJ3zYcWPTfEBsCYjLv
J9uTC4ENNJsxKzBo5cBtjfjdG5PMfRG3Ic6XBbuTMJFBfniII6AN5xlfJp+uOE+wwF2WRSbhO+EH
W5t0M0U/voIs8FY+FiRhM2mQ/aXCrzzmufuc2C5GMNw+n345IAK7OvVpysVpLXqn1npLaFA3HkBg
VxpLMGkc4IH5HL6Sa17XkGI0hd7JqBp8KMdmhDBnAlPoAH9Chdzi5B/w/pG1ePum4mgK4/UNqvRp
ucUUq5k84S5lxVR1O8V+4lOcE/ik52n9hZd5yG7EJL2qlE1tdooHI/D2jyoV9RFvBdK/TPmPC9J/
Hph/nAHPJWix1WMKeQE/rxkP02uXb7iuA5n1Mw6TfLiC3Jrp21j0e/dkyXSYW7RCnXqHmChzirtN
zw0067RFJQfFbHKo4o8oh7GsXDoovKIcYwVGRmWijxlntmzx+09720MaPSG9pkjbOCdhf+wyADqf
lId8/QnFV/JHpS4UgBZAoALWtkX2QEFSY+cAtZGeu1xDcBXLcnot1r6M5srl6FJujokkGmE+2fRd
QGSzP5VYL3wNYpSpG9zgRX/yKd7fdi1BAlfp7sKa1AqdJfTDSmPTtoyJ2yrsD+HJS2mDrA4YPEI9
DMBfnyOoXugJFPMxVwNCOjwGEqfuVaJ2V3fd1IkLElsFWEnho7HCywM3p0zcq+KRzb4RmxP3SZYi
iRu/YyEHOHr4D5fEh8ZwjNDkH0dcyrOxUKylPGfXMjWA/Si0pXUyThSV5gnBqwQgY8CL3jMg2GWS
07rEPRYaKaECqGgQzFwWPADJezdSoETrFE3wqg/T85YVKn/aMO1iaBFmd2ALh/luHHsWrmhY1FfI
1/PftHREtBBskO+wkh1vHN8sgn+t8khMn3OoQRnRrxoaAfYnBzb/q+vwtlzQiWOXBilEQAYZwSh4
ZWDfszuIEo6XrM88QP55Kbpqp+R4tGM0jPfDKCSmjXTeP7O1TN0jceX6E1ye+zN3bB7rcu1EVsk9
y8DqcfhEIqhXa1t2R1EPxyBmXByUXQAz4j93TMKgmvBl8aoP0XRbpyJvFz4fZ1owNzSqt4AhyNeL
LJMSbIhf9U9hERtTb6DTcVccK2eAQpPxI9kO+XcCUfgH/QMyvAVUxv30EWwHL8M0qu5e6zFCwr+P
jvLUgSHXLYSTYW3KZZsxmNhULI+oUbJ4bHuAKCd4voboNYe+A2avMOpfoOS+dMZfcP1WOSd3IPpO
rKDsRk50ByaGD2lt+x0KOOrTUlZFXKQjLlRKuicAuPB6VdC7jtu/2KAcrxWQsmDYIuVejs1C/Ryf
o1VHyXciO6k+8FYx++V/AMBlFRmnpxIwtq7wxc3s71au468+lirGMxR2cUIK9prfQ0OGq7rf4PvK
y1GxOkRxcoFAaUA2igCwYDa5vhx5ogBuakgV+meeyIy/AqjKXwHBjvxPvmGnIPtwfJdITn6BxdQt
dZzjfIBlat9w9kf7FL1ynF0vWec4qxk7aNHmToyQnTIVZf29ndZ0+jZm64LjkouIXtAB6tilLAAZ
nVgOeOQEhRea1BH+AInK7At4dyhX0PiwaSD+TeFPna6slxnOJZYthd/a/tAIu0o5V8n77ADuuvOU
zCFtRhj3nrmRpGwzqJLwXIXZzrXwpQc8iwIfCFcq1LIw+ST8KLqfE50G+gBA6OiKOl+7IqsAIgXV
pipn9FZwjMZP82j1dZZ9moGE1grn0j6U250pvH1ft6BEFdFkE1WpZrAOEhTnefY7v7IZJ/3l8Ptm
K8CmeQ+CA+fQ/eq3kNxDPkrGN4lbCaL2JfP49fgKoPI7DbvMWlsi86RND3voxoYev0XeI38837vl
rXSWvROU5n1LFJ7k2sSWRP88KrTw33Tp/iYm1T8LcjB5cmCwDgQGrY63UwB0XEcYy/LfCc6+SFQ7
esmj18LmNLTHLDb1kcHZH50mJIt1fxaMGexbWOnxonky3UcYdV63tVDQoCBT5jJPHfXgGHZ0m5Mo
GzYAx8wjZ6Pap0WJ50wtE3k6YuhQH6bORA/rDEULbs7FP64Rxiqos4dxfFRGgFOB8hOGq1lMU0tZ
hCANNplAwZbHPH1foJu7ytjk/HmZtagttoRqxTJ9VJbm5UUv0HceS6S+p2TaymriiXhaYwTfPVOc
iqIJg5E/sJlwCABUhqlLAsRZbuM86aldpIXDyAzjIGpSZA6H2JKUCGVLXYIzqhDhR+5jWUO2vKHu
Dxkoz9O2Ef4yH4OWbwWTYrhqMamv2R+vShV8CnjJHyl9dbnpob1OIPA7C0z/s6kYKuagfQFW+YaN
pJSt0snxmCULvfG1U9cS8wKEFmWUpK9QtLiswbK1bR9hSiCvZDafp/d+7cjS9txBsRODgwEiaLuN
P5K0JE9jTBYKhmHcxhO33VxclvWg/QNEfAMA4kOZ7h8ohcH8UOW0yvcuDWCFMEgZfANh3m4dANns
BA28KQA9Hjv+cDNSnRFvBd0/F+CYLqU0h71OUPa+DnsyJqc1WbupATXs+XMcOlDdIoIY83EGGYZ4
tznGbl6lMiH2NUQ7Hvt15MbAJYGbj95AcOOXWPoEQsUBbxWc8nTLq6ULRt1SFNbMl2wMIoBgMdBy
AiMP501G82mCxueqLI6KaoDf4qgxqJrHLdr2O10gEG+Rkr+UbJN35khyVZVRDjVQ5KGe0uBaaEuF
Tm8c/Fct9yiz90p3afodE4XPaxZlMr1mgYZ/w4q36N2Gqb9NLlE/N1hOOKq17MFrrOvW34wpc+gr
cHWYGkQslH/o+o6H+x3skG1nFW1Xi4xh/N9Ukj3T7iuIPtrT/dGjLPWXLvP1jC5GAn+SSR25QMJP
9am0gSHbN2BIrpcvlOcOWCa61EgnwjmLN378LUpKWZ0dNl7qvTfLFTIE/apklAnMmz7zZUMlrq4a
MjArno89QIWAN9FgVWPkH6QTcz0bmYwt/nGVgW5QeXqfqmgtr9us9NTADsbzuhuxg//GU73/5MGb
Fjov2BGyvJO6XeMZu302zclxSvi2YiCM3BNVR3Ea+IAevGPfEchpYhxWjVTEnFXY5B9MWGN70NE+
0CyeT3BM7o3DePewc+CaEp6Dn7aUAx7IdUQMYVhlk21mfo4HlGKfJ7SoPYEamS8idvOTivq0xVmW
gHN0/jhpzELVUIbyQtfBP+NTNnuLkXBaoSbJiamx4UJdmq78tHPwBS8rLhuNLxAhVG/EieM+K9e9
gaQCUeqO7xCrZrqEoluOTAMWDBb3xbZl4ESkvmU08B90zVzy36BjE2dnCxdR8l3roUflz2Cnh2Qj
9C0RefGtg/INzdUUL1dVRCCJGcyrW6XnIfmLOs44VKQ87E1QaS9TOkIEMwcQtIv+gg3QXXKP+pKC
47PX6e9Ujrk8gVyFdwD09jTXx4JimCsP0E/MccLXC+lomWIkSJAXSXj2gG8MY4DTHYRVY6zQKkCy
x67oAZHmaxaZE4U758kJb274Id8h20KwCYIIwhu8hzC1joUe47oTO7kECrVRy6cxkrWGXi4gExF3
RRE2fuU2ctWK9esC+fj2JkeddsCU8sO/smIB0BCQiyurUbPIP0IwC104hr7ov/xIQYdbfXzd9UGe
44QW5gyiy7t2wZVI/hKyJ+hIgtJprAFMQGNo03QKjcGe65+AC0OshoNF0bWNQjxbdD3EuCsCjD3y
jOy5LGoU2FHxCnKp3x72qMRiUYHcUxgsB1JG5V03iE5D7DNhOyqhOKL3zOxgSD0u6AuOQQizzLJ2
WDCtPJ6xz2ef5brlsBxlh3DVFGX8I4e47Y6wSD1TZGlmbRa0jB8xbu5dE0tI5L+RfowAC5KoaJl1
mJbx0BYXhWcCcxsGbFFTrI+gxWKnQgNT1+6rmeVSP4fFig5gnosVkO+Nd1B0QFv7hknl2PF3ew5L
xiSXd4SEs+jOrtj42q2M1X9ZJl2DA4W/o70Joy1ibXuM330o81otoKREBZ02DgLAiTjFCUiAR2TT
YugCK3+0+I7jT4LFpBV7RukJVyW0ChyyIXBeIybpStsRyhProbC9HRhY8xq3KbrgUQWjhlMMEYh/
jne1xSBNUD53+jqH0ToHWpIUFZ2gYqjhJYlFy8OQ58/WwRterfnq8qdypiw8Qcgn7BW6iK/eIIK3
6jbgVZ3vDka37OL52mP3I85m51J2sfibwHKAtF50OWIYAuFqKzJ2xY9SFln+XMRyy/BSRyKB00hO
vMkFcXu9u27Ma4NDYan1amAzqRS0b+rFG9y9OPr5BBFWjaxkstTIL+tARuydgZqz9inEtg/lrjSF
iBZgdvQf/rdHdnWwHVc7SYuHWUvZ3WKdTl1rF8c/0n0Rn7CHAe7OBLWs0dpTwLdllhX7B9jYbLmf
LQPpA5gSsk3IWRV02anaTivBBl0dsEwlwFWhAWhGqOMBFm3bfwlMO+tp3lhPzkvBjr9crIgvzMO2
XkyKfaHicFKcGFSfHOzMvj8qafb5FA5f6Ncl7GME0UvPUdOEfm8t2qNcxt8RSPztcRG82NosK/05
Z5H1lZWTiKrhy2WAeXnmJ9/1PcwjMCvXucuLP9CZZa+qW/sHIRkY0EIk2GwL20NsEoLxJ41RwtVw
yZD1HbwtPvqIMwIUHmULQ8UnVH5edrnO3WMaBfLl9jRLCkE5gVrsliEeePkh7dY/LcvCfLX7nL7T
1UYpdnRSDA8JhWvyZjeQE3/5yODzCotgb/pLxgWCDhzyXQZEez4lAw2goyIXbniQYkzSow2XbaPd
8xQgrXybsbA/Z7h0oSGAr67p6ObCQzL0IzsVoLl/YthCom2y4BTtK+icwzdiaKnhBdRQXhc+PQD1
731WjUmgeHCk+rGVamk0mJ+/aAr2GFWQJnuJDiu+Cbst73ibQVzSLrnsYHl/q56GN+do/pAsW/jl
+2E6IRNpeGCE5eizgqYB7AMEhr0efiPoYl3qKaEepmvqHiII87Z618qB9eP6+wxDA1bTdWePM5yh
uCFwd8bRMsOZOAIiZ4lZf5R9HoFOm8IHRIzuKYB9vE4Rg3dw7sq+HVAkcx852T/G04HNOHQR0C+m
EI2DVSxhUJjz/aTi5DhDOmJ+QlcWPVnRg2GHEvMexlJVtjC0LX8gjSI1HDNA6zcbvRfC6lfpV/eJ
Tgz3EMOs8uyYuxvxIJ0xK6k3cijcXYTp/QzxOb8rDq2vMkqgro5GzJiI/yJtTI/fwCXgxtnE8ABV
GFxgiYtRnVbSHxAOr0jxceXXxThDlNN1Rl4Dp+SS2MXfGE5hCE5m+U1yiGojfCO/xdHLf8uE/uDY
mejdQTX0ijwD+zAebr9mEIE8pOmg/4w+ja4A++wVPwqbDcZqcSvysXzgx5eib+tidHGHGDZPjbl4
Olbd4CQrADzGCwcZRnwLzhQsJATZFPCYg+amHMBNwkUPFwzf8/UVmUzugASsiFSF1XN+SRIIHKmN
ljYxvf0+HzMgV4Bbomw8Qh0vm3AGazEaY2o9YOk70qxvVjYnuFIJRKeVw7yC4xIId82nEvIIs+od
GkCm+G2LFKQIupNTTcb4cxtZdEU9VHfXFY79cFGWApQr6A0ciPnlh2iHaIMMHzZmYF12mzyAYLHX
6Aj7PYwwS9OVumg54pHv1j3qm2jg7gO0KGLQC+Iqg8n3y30Yn1Msr0gCdycYpD4Z9LUXE8rjgmU2
/SzUau63QOULQEOgr+mGWRvJdXW0smMC3UIyHHl9dIY2doQ1gZQnBxMm4rS78DvEcJoNMIN/y82i
f3E4aF5AjcPwbEFUrtF0nFGRanBD4jGC+ljvDQCsZKv9wsIHnl+IVpQs/uvAb41NchD+z49L1III
wM4KzvoxxjsH8nbviMFUSpbb5kca1zTN4jceUeVAzZP5zvNxxSI9uOSGLYzcrSA8cdmgDAEiZrA2
qDyKN+gKevohvDb1qHbeVyj4hEW6sJggkrA1Y7JDBARUxb+ZaF+LUzb66VuRZ0BhAcG12IeglWPH
NjxDEwZUB0BBdPVrOV9kCg4QJbkwDuGMXipM/mMDz93+O1/y/jv8GRtID2YRNJaNt5WL+bXcfC5f
5gwuAiHW+fu2WDibS4+0lkqYrMCCA180HHUTFEWJGR/XMYWEC8Ky80SH4W6fO8DeXWocOEDn7/o1
I/dwaOtzBO5lbjH7ju8OQyH0f3C5wYwRTWAYUQNKkzX9Nsvx51LkCr5js+Mi3PMBnTwISQExmadJ
HVuIqy+D1xDpIssUDDRc2w2miqPJgSlAPrTP52zw9DOBKO9xg5ekSYoFNy2+1hy3iMUKJMBN1JiK
xxpPmfsgEJntFagx+O9ydPJdKXEQk6sNG7qIlv5koYaArx18A7uDHzJ9kTbXLzwEf1HxPB5gl8UO
VZOK/41DmO9gUSfQ888RdIdlhgUMoixV/kU0M4QN/sv6V8dpb+6TbB9vSMAx7B7k7kBhzcdqeIFE
3UPdBG3RUGHYWbrKwpR2wShY3JTQXQswGHISvab1jIqe/zF3JktuI2m2fpWy3CMbjhltXb0gCE7B
YMzjBhYhhTDPjsHx9PejKrtbGVZ183asrllulJIoBkHA/+Gc77zja2ORjBJMhnrfyocID6Z4AmXg
38xCIdSI23QospVjTngAMaMMG7eUYl92SHWwfA4bNcZ4vpK2jIZg1KV7aIsYKl/t19V8ELAJKM2k
qLaynwVser1Zrm2Hoj33m3Fcu06xPEVOEgVlAhV9m4PjeY1rp/+gqLB3ipZqs9iFHmKfqe+NxRP3
izmKj6bGvWIPXsS5tLDym8wifk260UiQ9xjWMSkrGcJiR2bMPMfOVybOPQZwEzB2P9XEAcXFxBxS
aq/Sx4zHgNnNH9qptPalTLU3RgxWtVM4oC8wl4Foz8t0P+ltd2nHWoXI06/bY66NfDdI8Dslip/N
t6ltuaMYScGIT/Aw9ZO/Yvo1/7CctA9xHNi8J92+n8i9SVesvNnLod69gwEWXeqIV06x2VRbxm0N
fqRWbSTjA2ulxWOThOD36ruxbmnWsoJRTJKZ9UmlVf1epVp1rfmOtrPddrlvUX/h/2QYtQTSH5oM
r0vGpNJx/I0x5MXNskzmRkyLzfCh9j8c/EkADBb9LMbO852EYhQO7J2uzc5Lj3mkpsezJOZksNl/
cF1rfC4Sqg/8VMv3TvSIxeVI77CigS0OjNBUYHZDf9DQ/9+cTYbYXjS+FEHr6+Pl3JeYaaSxfEt0
07x1kVrvgYyX15mxDO9mZ04m5g0nr3nas2pA6cuUFcxazhKApq7HAiF4EFruEG2sORpPKPmAHIJV
q7LA6jOG2YgjHJRRsVc/eCOe2ZCTRl3FcsiqsCfN987ROSZy/K3v82AhLZp9FtEnHS9W9pZGgj2T
UKjEfWYnP3SUhqHVDcXykYIi2/TSGrwrbxToiqRWDMcuxndxILdQf+x7xlRhYustEkDZuNk+idGY
1AyFY5mvoz5Dg5NmoPG2OK+98g7Uii/CXiX1JUph7cFoGEJv/Mpqk03tssEOcvSO8QYzkf29SSKn
3qoWp8wq8Ti/gSEZpf6YC8cR245kVCNQBRcBoMY4Lp2D6q/ClT0PWnTo1Tj7bdBwDMCtU7aIVEDD
N7VHVHaKsF6/w07FOCkbbTw/yaDoQTFJb6xBMzPmAchs5k0npb3XXNUaryUL+UAWkRhvOQRdeT9N
Xpzsl9qYrBvQasu8yluNO5dmzrxw1U95eR+pK6RfXnEsI62A5kYhnfUnu2+zWTKHE8sGUgeS8LlL
LW+tNe2o1RvTdto1InSDCLvO1ZuGPwrnfdDXKnH16QVx/nldSKerYTlqag+sCZCYYwF/z3ys2Cf5
9+xm85onY5GrpyZhApteNk5vommo2kmEeglKUG37RdHvspbN7UtoKcYUMN1p0UbCHK/H21nmtEG5
g/iljHSrmYPMtvrukjWa5+E2Ke0uRkfmor5b2XHVLRfN4JvV7dKhvLvSHR3xd4DdcOmuTY++HZWz
bfv3eqWDip5Ha5iPTNvUm137iEFW+GSGTZ2w5/RXXYScjYLatZ2RUEnMK0ALoOgjpqhvIgQ42IZI
6n11Zg9/BgPC2QzYn6W3JTXKM3vC9sAl7O98O48YI2gWZg3Xtt5b9t2vMaaVw9BaqPTFBMKhrkqm
Sj4bs3duFwbjHaQaus3uKhEyDWobhaHtdUhQJungpsDA91KZsqJP9ItLlTTePaeCv7UaycGU5py9
htdvF3Sr9AjMwNd0zNaLU+hmg68BvNoKJYMIsu6simHsWAaFR6O1TpmZkJxUVxunQMre91lhMzeN
CmuNAsm4zovYvpDdWB9QttW3SOnfReOn2Pay/oWyMdv0hpOFKubW8K1S3OleI69BpBf38zBGNz3g
ADtARaxfOp2L/17v+zG6y8/j88DRxnhct4vGScPest6IQQE8WNo4f7b8qJ0epyh1m62fMSeAVMLT
HiRbF3PsWcIaUWla0B+8CX3zmlNjJMqrnqtkm9g8ianI067ZONnMwTpG6BUhGHiM2X9ORsvJmMSO
Lbx3w/XIinCZPeGf6swzAXNIZP3rvPCS+nsC7CPapJBbnBOaoVIFZON15aVbzWm2MZKlbbc2i2ue
DLOrXRa4V9BmYV19dYYFr29bp2+9gQwuRHphXutRO1NfOpDjWd5opv8CZomttIHAptm0+cCtPPtQ
evZO5C5yz+6OucPUVf3bhNA+3WOtKjQMbjNRiAI/rQ/uJkOr6CKpKw6V00xv7eSOyC2QSljMI1pP
X5mdjusN23GX78ay4rGAxKI3rhdS+IZrx4szue1sQ7n3Lmq3oyFVk4ZKAQLZMTwaWd73Qy4DpC2y
DGM7NpawUEZa3hpMFWi6EThhoEDUUT/n5aLGY1thNV+PSTZQR9u1EKsSESBNDrVAcyTAnpLJ1VmK
hTlThGCeynm8rnSXd5lnjVatm6he7E3j2mODjCbvlxUGMoPmJhucH2ZRcqRwxLiPg9H0Ozmn+avH
tMY+j+lGntqOv9c5W+xohe7XGTCg5nZ06Y5YK15a3ce9o88sLm57WzeyY0fas75SAx4hUiHSsb9W
CRv+tEzFXW9hYFvjYlZbiYWqQ6Baec3KiNC0MNzCdxbWM9kMgTHHlYGEmInHhiENoRI6FxaRSayz
CkY9NmdXuFCaV6dvADqOjTVQCsE4nFcTgAc2Z3HHk6YfiY+iGBiX+2rJ4tcs7ycej27FnBEFkAMF
R6QNznOcPfMxyQr3WU2JZQc5iUrpfiCeJsyMudKOVpPn/VaeCSRbFJZFswLkGM9bwehT+wCMPmZB
n8bdWZ/jZ/G3gpttIhFvNBTqcwGY9U2z/QbtKjieKr9VflRyKw0yBzcwRFZifR/TrC1/yNJlw89g
Py/2CnABJUo0A8dJuiIZ177RVYjvPK/D0bEkRRpfqIRsiVecy67L6eBWdnPrV3piJYFF+zQeCmua
3C1O3qHHwFT39tZMJ7fbgRuobtmk+LddI8Z7OTWzEXZclHLNeTyXl5osh+mCmUl2UxEn+7SMjioC
x0MStTGdcoo2BaCaXd1YzUVa5cxfaftZuICgEIeZ712Q5K33mMoOx4lFwfotNSIVHcya6uIlAwjk
4IwAO4pOT6k3xdy2JaFs6t8Qe4NQGwdKzAu78yN3y8DZjsIWqeplnIv0bcaMdGdqynqS1D4syJG7
8FCyk9Q6DEAV1KprBh0EEpWud8f2YGrvsqgOEIMwbio5RxvPv4hgC4ReNuBu87BlzCGMNdT8yEvk
bc34dmPIRT8poASXLBJtlCBaLOE5QjSCe8ao5QEBQ4ZANY+jzVlUhf4rQ7pDf2anQTnYwz6LhD2s
pslAZqQX1WtcnIeXy+hNb4yhs7tkmIuPeWbnGXCHoZiTFEFrHmDljtFNtCF2m+QNlnvN4wCObDu6
iXNRRgAkLN/QTn7MsTM0zJ63sZgmpLUam7iSVz750nONbbHI/tTDpcKi2UfucXZQzWS+0WdhElFd
Brme5/f+oInnyi9NKL/GIPZ0shnNepzN4WTGtb5mTm+zf0LSzxGxaBmqHQZsWysy7bXvCfbpjXJr
EByYUFZLUwrMUKXUItazXcoYL8PfkffACbrW1dmaLWpvYzwEgtNayzai9VjBHR7fWreZsNrn0p/2
g6/cTUf5ubG7rLpCDwWIB5lLcagzkubY8E2noszPlUKUnKo6ixDUSPPBLTWRH7KixNs9sKM4ebL1
t2bma+vO9m+UbomDBYOH9VyU+wd64ea7ZGOyc7O5d66rNvL7S5aVDzHtS5i5Rr1u1QxbytcSnkws
zLit2+WGd2FfKoOGgMF9D1R2kqDCEC6AYikP+FYt6tPK3vc0evKqADKDaQ1OcAyawEMHHKVJ+aFB
a76o5zY/YDibgsWJcPflffwN6ah89tKqQ/eHSR+cQA9SxPH4eG2AfCsxMpRm1dDhaSWNMD/yfZfb
AppHWBRDT7+AX/TcGZwXONPQYfd0UDmvI8u0eQekfoR4N56gVNiBYzbfS6MRJ1kB1uMJg9E4Gctt
5S/2/ZDq/bdy9jo2GtLfd2lu3tVoW+Ab01TG3AoCjY3nIuPwRLM1NYZiDGbYy5MZ1lJq4HZ0VlAN
1IXZzxM1B5XbintMWIwLLUsiqKy6iKFgyXCpqXOGr86SXKIl9Q7l2M78GkTiEuDlrB7nVjRhBL/l
mDSW99bkU/9egyk6KufMpHEUKigWyTvsfALBF+uRQ++ABnENKz5ZU+HccrKO61IwWQWFYd/RpWhH
p5iGYyuSQq4trn51QAAoDo5F/i03P0iRGnvqWQYw+I8V+noRzJzJ6dEqiuat7TqxaxKPj9VGUxDG
lsx2JYDYizwaprOVW067kZjbPfvgYR3F0ninPFD3emSw6vbmtu4YVcVtiO3V2UwTIUROlvk7gzBF
/FBRQckFvvult1s0+y32oZWNknjL1JTbkaCnRoUWzWq88+q8vfc6MT2SRhEjWas0CHgNaoHZ4IuJ
TIELiFSmWY39SPnTYxZeKAVvISXaR0/81ElMRkvNpfFQZV1rNKtS6tWJUk6iO7MZBEQLSvIi6dqd
Kvrq0k78KJRWJC/mjMU66t7oYLWa/tAxP+xYdGlYF+ozC27Vt/r3pqW9mwq8IMIRyS2Hen7lOEm7
jg2nedTzodghUXAuWaT2G2XMPAMa5rzbrJX+mllafuDBxrrGSdLqxURqM4ayXByolVQdEeq68zqI
e5X184sulP009YO20WYru6RrwiwthiJ0TeSXce2NwNqgJH3PsXy/L+fnrXKN/IpeTai1l5bzpRhq
vJjDIrMQUITA+1LTp0HSgtk5kbWQQky19oUBgkptfCISMiALKWz09yyrjeaYcagluJEmu+3JqkFi
X6yAhlExrzrNtaOTnlC0MT0nnG64RWSZWhlFcVMy98wg4UBhNBPfK9F6QgtD+4QiqLx26NNtOC5R
Inmwlk6z9CfG3vQXtC6yzK84h3E3r2qnQGN5yXqdbO7NAmIk/lAlwOmNt6B2u9WQmNUf/3dm6r/C
yX4CYct4QoTjxuJANXfykVS2+Nm/9tKf2LhwHEp3Uo1x4MN5afv5UHX6/ksvbX6C4Ka9JdyiqMQB
iySWsG1fyC+m8phn0u8v9GtNoE7JKaMPs1S0bouz6vWp+Rqr2fwUhxJrEbOPLjcOcT9c0e48cfT9
BfD6X1xI8xM6XUU8xJDlGQcwd5i14zstR/D9tY/705fEmXS0IgY2ibqM3i2pXl2+6l987fPP88vn
zZYBnYvpDgcoNgXParFPtS9mT5ifYeMmtkyDqfchQVO/NlPDBEHjdV+8mJ8I48jnvczWQSFQUmJy
yjeIn75G9Tc/hYqWbQOYIbWbA1TgVf1sZuovPu3zFfsnVHTz0z3ZcYAm9GTNwUF7oQUFOjjkM4hw
UgCyX8xZMT7dnZZrY7yoO/4Rkf8wm/IKL/D6S99E49PdOTMc4IyvmkPhe695V18zyfjxtZf+fG+2
psxLN1cHDtQr3QrxuH4t7cf4dGvO7dCxUErVQQdE783Xtsq/BpY3Pt2YQOdSnNKxOsQkCq8tcU5X
obn42hf8Z2bJL7em2wi9NXpt5rb3zCvUEu0exeXwxUv56eZMerTFvTdMB2caL3oRb/U6+1JOofGT
Dv7LG+dKLi18+vFQGTIkvumld+UXP/FPd6ZnAgCUoh8PEUHUIUIbO3RbZXzxE/90e8LDwu2OeOcg
VBadupkWF2x9+rVTU3y6L3PgDa1tolXtzz7xZnA+osj+2jsXn27MzEfHMHUQY+2Ezb+v1TQLpZX/
xWPrXxxu4tO92WllE5XGIqFKuhJBNjOlKBFfu6Ti0+3p+X2SQy0tyX9xEevHx86qv1YCiU/3pxb3
Xj7GXXtARoHEvsBW3QqAXl96Yonzp/XL19yKZxsENeRyHuBAIrT4IZuz6WtH0M9cjV9enBzrxbDz
oTlEQpztaC7FbA5K6Wtv/dPZ6QmkJItb14e4WjxAGeOJoXwdfO3FP92jFQykTKS8dcwg+QoyyEZg
cv3ii3+6RYeiT8th5HBL9eIeugu7mGrI/uJjsX8exP/kgNY/3aNYuHRTZTYfDB7Ze0PLtrU1PLJF
hJjWkLMIl6Y+C5bdfeMuh7nuAtVXy9H2/HLZwJOIHzE05vvMJs/GjXqfXqerg3Ojw5q2/27PKFyQ
cA1n4nwXsOq+iTq6XRgNqEk0vKWdQpM4oDK0lWEfWgXefRq/uTNoVNyLK4YB3vVU+flVoaNeRLk2
n3BjpAcXmNQqSbR9MVh3aedfZSRUDdP4NKtkDuclZ0hGm7dU/LONW2nTvVdV+UY6ehwiq/E3eeef
t6rNTY69JCziQaAHTsa9QCBoI1GAna4u5tmNN0ttD/0DAQA7s+imeoWtS/sOAthlcmCPKCCg8Y5A
URDxmNuGHfsRJ2rNECoDJJukV34bRVfwMEM97scX0oNxOEpnTfivGaLnvxBe97ywrt1bQ3GlVSPL
h6TV7t2unt9mn8rA0S/KKockEzXuTmgAefBUAiXw0jPp1xUjYId5RICp9fNKmBUCFLy6FQYda8WI
4ZjGA4LN+kI0xZ6mtbqbvSja2hrwawcZ+wl0GdY2hcRvhAhoGdejbV6Pnj1taAJLTKPujJsLQ3hQ
RZoMzWwaAifzi6csRVaVSm0rkIhc5wCuYLCdWFZV67LOHpai9AKqs0ptlkbbwSu5bzQ1MRbBQkm9
ufbZiKk1fOVrCxdOgCgU2FE3qx3cAFD2eeIdoTJOqAzUUcNriffNDkQcRQTpQnHXTNvFu+/M2wiy
6M4xBSaDyt2gv+ofmTIiRxjZKMP8Z1rplo4PraZAxRgYwLcCwCb6xpk0wwlw1uJFc4zuwjMh1EOz
sVoIy+ztpNnb+6ZV8hj58lTzZTzDaUPPB9O39TqqLDg6kx2Uo9oN0jlOcfUwSbUVuTdUYT1ibrJ8
p7jt2dQfla1fZpAowx5acJC4PpYlATpzhDN7gbtJBrLVHwSKkI0OBZsvWuaXge2V+cFdWMa66Ood
D6evFW8B5rN77M97XY8PtBl++Lmn1qWLH9tl+LQfsEStWwuDZOx4JYkWC1zgQf9YrOVGSmKnrv3Y
7cGY9x1sITEfId8peM7ERKfOyTNQ0bB4mS8VYWiwUFS74I9kX4RdUI7mISan4tkaBlyQnaffgaVw
jvZUYySAXVs+TdBe+BCsKSDwyld3wGsubeYaxkNUDwQd1PvcdPRjCtL1uW97fTMY/nWrZc1umdgO
uckajNHeMdnr+/O46c+7ZuxtImztbjVYzC89NFhbL43h48ArgJfAdzo4W3vwwMw3OSSgTTmlB5mb
F3DM3t149E4iM6A3yY47Wy3N8rykRQEWIU3tLeh/I6gnZqZjmxxK3WTnVfYKxASIW1ImfATkju2m
y6YdU/NoG24Wr41h1jfwmi/t1De8NexxhGnQuEJUFZG2rlRzrqxek4RQCygnRWBnTv0hokpjcJ63
j2nKylv0VRcm+D2P4xI9Fqlz9octY3llMfrZGGV9YAfPvQF81x/OM6zaQjWIaH4FN4fHTGTtcBm8
YZAUj75GE4dknURYtqftWmPCiQYQ+Sy/HvUrG9BFOE9KYw/fnMVNbqdpoYcb5iHBLRV6feeuPeLf
eQtxx7VIMNepVK+OvSquENZEl8Q2XGk8wpuKCaBpaoiz0dCQJTKBGONxIECIvwin2VV5t+MLpl3F
WHY2kZsAPWbB4M3otOquRB1gt1C0MPpxO0ft8r2pEEblvZnfIeAyUBNO8bPQ/Oku0y3nuasG7VKv
UT4G0yB9/5Xl+PBNA77bQdWp2vuoGz4QrmkXsO/QSiouJQrX4RBrIOkUV3TdSne5pahYNrJMmmWN
BBgJAFuyb6PV0U+PDnlsGgYUvcQBpKzilcG4ItJ0zDHPNUboL127TvyugtjeXcsJI14uidozLRmj
M+lmroxVOz5ocP+VkWK802WbPiEJkPVh1KxRBRIF3jGbRt8NTF++dD06UBOQ+GEsJ+R0ee8pFjmO
fBvQPwSVLxdkGZZ975tnMYnEgBixOFiDN8FRBqMY9wcIGgE6JOibptv5Y+Ntl7yOjyxOQD6L7oAP
OMFb3VrXSCzKtcm6ca/5OisHowlNG5h0oMr4mrkjAUWLNUwTKB8zYaU6/2B967gXGtTw9tVlvRPk
cxdv7cYF5+V392NSiCedS4qur8RtBY6ithq7eYDdtAxrr+1qc+1lhvtcjD6btlbXvVNbLjt4zGpn
2Wh/ZuIftm22YHLVrPwtzhOnXDNIrxCcmT/Aani3dcfGVBbpd1NnVYeqTtTPg6r0i2b04+fxvCFv
8feuCx7IcCbqxM1W1DRFkKSDxPaRwr3ICjFeaQN+6iEqoVO50jP3QN3vcWiJfYxaEJupmzy4baOu
tKy0tuc1B4pgaxahb2BCA0DHlgnY31Umx+Xa0hcaD9M+8ECLQSYWEOg3TV+4GSkWiDoClz1uG5R6
0XFk1SZabF+w9Cibqr9ATQiuimCm4WbC9HhfZ2N/9NyxesAsNYTSNuNHZKkNBQJ6eLkhFUjt2P7P
9SEXpABB4kts0qZ61nRDUvEMyop6NTU0z9piYeCwEm2NcD1MoxaWvqPM9VRblxOg3BWWaZ5qU/Fg
9dFEVEF006LhFpiXumJrcJJS18GqMQf+hfyntyRtHyIKsQAtWXWt4owrV7ra1zIx9U+dnKyRtIEK
sw6ytto8yIzWRtneo6L5i1bx3Ff9sxL3UzOH1VQCGVAmzBKUvysgCXzyBjgcYOIGAGc1TV/r7PRP
nV2W4G9PqHIOnDBUkUOPhZPxK4CLn43Gv32b/z3+qK//8ab7//wPfv2tblSHA0V++uV/bj/q01v5
0f/H+W/995/689/5z/u65L/Pf+RPf4PX/ePfXb/Jtz/9IqxYpqub4aNTtx/9UMifr847PP/J/9ff
/NvHz1e5V83H33/7Vg+VPL9anNbVb3/81v7733/z6Dv+7deX/+P3zj/i33/bJm8VHfA/Xum//vjH
Wy///pv4XXDymrpO4JKFGVSns5s+zr+jmb9jnUNBBIaAEstlYfvb36Dwy4S/xV8jA4+geF13hI57
67e/9fVw/i3rdxfTkaEL4fJqFoCs3/7rff3pwvzPhfpbNZTXdVrJnr/9cyT2P986GxG2QGzCq+k2
79T9HGlq5w31gf8GMsUjqKnRcXU5NfCQDMWz9tC1hnYs+/OjcU7mJgqqXqfuUn7LnlCpugEZY9oT
FFoXnFLX6OaLgToh23VJSYkqECJpQZY4yCMHkErwZqK0Nq+jsqUx6bXFB1TMQ2YWK5OioLroM1QE
RxUjukYjCK/yIsIzijXCGeQ6Ba5DZK9P8tHKrKCM7AvHZaplxlSrM/9H3muuK24SQAty3Uv9g2Vc
Ex9hq7LrRGWVZFt0Pu1TTiCcvrJ84aLpTsA475YMjOVboRbyEZZ2MZqd54/EcDhxUzbrWZjncAaD
fBWv0yFhkVw06vsaxp+5G8C5gmiuTddflXbh5PtuAAxW+0mB1NrvrC0OiHEI2VXJGldg1fU77PpV
HJIYh/GxEQOLCSMeneOcTiTZ22Nkf1Si0tD8VOQxaYihHQ5jIDErV1/sBw81r7FaetEcagec5srj
nKkh6rUzQD/ScV4XiAVvemYQ0+cBMdnGkeZDaY4VfoFlWjr41D7bR1KT8wcTiOQHNOO4XpNXhkJT
9wiZc5uBXfuiI+lPdVzax3mJtXYD2jf6GAgzY1bO2vUBvFWCfbHw9D7wEd3xvTGQS27hFqcQj/0I
0S1Tb7FBExu1oSMt+Q5/NdKDps7cOxzaMxUpihqNjfJcnYtHg1wIpituRHvoI8g0S0+uUXwC/rNi
q3uXpQkAGnVGIwPD1/IXQn/K1wZswbhi0qlrqxZEWTBq8zytkBBBdgQnn1BwVv64qRBb7iPGQmpN
zo81rFOMIleG3S1aMKdsUZH/ZNnFRD6pgU0C1vk+p2o0EUsMvNVM6/n0cFBpxqod6pG0XzxaGmv/
qkwRwA4JTGg/ezfHNO33MWs54hF8C2q7bch3J1LVc2c6Qx9qyDDK9aTjhglnsJwX4Czq99KtMzOU
rJxv9NTLXKCudvqBw8jBBNrFRQiLZm4Co7TmBSMRleGaxrT8rkkXrt3I2peGC1Mkxlhzch/cyIJh
CLcVOkSUe7K+gLglngrbLU61ZQLswSp9dljG56iJOhryu6YjeWeVJk6NCGKILpzR7t9x2VJgxrkV
PesZ3D1wS4468/iaFAiW7Mwfut5n6En1xB3QhYCvWc2+zVo/dzj+t5Oedt9Tf8x5dyTs0L9C2+8C
wJfSDaByxs1KkN3yo9OBQgbxaCC2HpaSC4pqoz0ylV30bWz6S7KfUrhqQd/WEZck9ke19nPDt7d1
N3Z3C+JqsD9Jb3ibaLT0dNVKJGgh8III4quffi+yyilXbBqnGl01zO0g76wphMTCKh0UiYaMdKp+
RHA4cZzklfE9IlI4v0sT9xyVk04/Ehzp7irBcj2tbd+K0mCoPPFM1o77bDPfwYmdC++xS7vRDifd
LV6RMdXXuIZnZKyTyH6kSWakpOgZ/pvC7wRVoqwSAodcy7+EDBt/mAgMZ9J9cI/TGpGIEzBIgOza
6gt823jWwNJxWfaI4XjYlF2DM3qyfe110WztBqSmrx7j0vKeOwUzab2MHekJlZWg7SOdI3BjN55w
2kmfEQGb9bncVWXjdLewNRz1UowRaiTP1N09Tw2YkXbtQq626xryVr2ASXdRXhcndpS6u6GP9H6w
AuCHqwYJMqSRi3kpcvBlzEdS/x09tweH3UkU3hpG4ldohfFMoWOuNpha8xIZWWeu+DriEl4QhrrA
iGrQ+0pp8tpj128yolmwNMa2VFiu4M5Xa+yJHnlT6AenNUB2596uZ4Rx8MLiq3SMJpBQJObcYoFQ
TME6hhFh1mLTD5aisG6ajOyn1ZgS2BQk7EbwHtp95a5TDxVKAOHP4H6ZDHwDWQXzMfPcnJbJ6XNr
pdjMnAqQEz+vO6NHIsNSvkpl+53DgDY6FXbMTKRGKcQDt8v7AJCnvWxsYakhbPDf+ytcCjH4eYTN
zprVAE2nQTZivyrwdbjPBi5CnpIuLIBLBQEHmgDfTzJ8mnrhdqtLMEeghZxi3Vet9dhGGm3SwAAi
v5gsNT65xmwOQULEHpBegRxoVehN9s2Z0hiJPFE1cXMcsYSLR8y2oIlnADv2SlIXLjdAQjMYERww
7RqWqnxa8P1PW0Apy4RgDEzjvMJtHJFXBgjuiA2axzI+q+Q1w75ALqpojJtYTurH7AFLwk2N+ZWR
xdKWr3FWGDshKD1PxKSJ/HnmbZn3UEyWnG+FDnC0sueBfjb2iHppZpKVJ9sh6nLOiDpyFwtdN5NO
+n/rWD5V0rSgHaGEue9dxUPF5CuRsqwQ8OkAMSZgXqQX+Yw9l/lHVJi8dSubaIoMM0KONVBmgQft
s6gIRBUlTzUs53fcqfAnE+3Vxex23UkE6rs2K7q7KGkb7aih0+UawNh7BkA6L7g6xtj12aNH/TCR
QLmoF99s7e9gmOtqOzHfOsbwH6BZV0wd+Ue76I9c8v9VtX2Zfuvqvv4hP9fSfyq+r5qP6k52Hx/y
8q35/Cf/P6y6z3qQf111k8xRfaS/lt3nP/9H2S3s300ev8zowDzYzrns/UfZLYT1u06ZS+kgqA4d
j37uj6rb/l23bAt6k+tbeCOs89Luv6tu9gw6nm+QYY4NQ/R/VXV/CmF30Y/qpmGgkUbeSsLc5wB0
hs1Im8VU7heUVyszftA64pZilOrcY+pxImlm5WdYmfeNXp5B62O6W5bmpPzs9ZeP7I+G4NcG4M9N
5x/vxPd8AxyGcf65/7wzG9j1lVGUlns0iHvsSRGjeSt9QeQt/mKH809/aD5Dw7QMF82h9Wn51/aZ
iWt3KPdSj57YQoTGbBznyDF32DHFpiHqjmHmVJw0EbOKwbYbOl2RbRbyUHZi6P2/6Lc/9z4/f3iL
yyAM07ANhjl0Wb8uDHnk2jLl4NzJVltjNW5vs4jCnwUE4aJjiHj1IicXet3pwFJhqLpgw2tP1y98
Z2q3wkrLC4WqveZUiDGf228xsUAlQWZFvxF9Dy57JC41e1PSwGReO0n/PVp4JKy9kvOsUUdLbg3P
kLsBdukKTPIZjPJE5eOES0nRO5SHVHPXyfAwMPdctZU2nyJSMRes5JdWtveVlv7ggHWBIXjD+zkl
QerZiUySbmP1mrFm8HPUZ/2lbaMXzo37Yb5I/FOsm2UIlXKvedndUuFAM2LCMlBonupx2Duki7zX
hICrsRjvBPb6C6sGo+KVjN+kEs510nbZpWIOHOgje45kgXWqJ516T5aleKpTkgUwDnk2R/5iQV/X
2vISxOxlFbtAsTEAKFU+T8AU1qBoed6aE5BE55Is2y0R6GGBt/tkwCIUeC6vI7d5gA5ohbaingky
zGdBplIK0tJIopXb9/W6wtMSsLfr/g9157EkuZFm3VfpBxjQoMUWgVCpdWXlBpaiChpwOBwO8fT/
QXVbk02b5kzv/ukFrY1FMiMjEO6fuPdcgFIzAcZjlF4GcktuDOGlx2Lj6BP/yiIF6iXDqPWtTGka
GaWn7WmaDG9nIG7HcDZcEMez3G9VcmcD3IapeSFdYRChs37BccpuGBF3e4gcXwFIffBzTUmjKsrd
bPNNLhdrPjaU70dwBCEWk9wFEN+1LI2MLGmyiriTAiSLiMgcQVAD2tuRtwPQgaRvGTW26rOMxI3T
8MWg0VtW66I13fMWEMWEuHlzAvNF5uo1M4RLMYciOFz84Wxyt1PDUdRlJmiAzhitSwodjQGEz5VR
pXlazIZ6BChMvAVWUfWGPZGyVbtLx+Epy/sgrj0jv0rttXzonMx+VrUVfRDUY9xFTYMHJFDrEg/G
FF4Ersw/B+qI23Ieg2tTUOZgfjOdtyEro0um6fUF/4doi5Ch+jk3eOzL1ci+IZlOH5x2SGHIdd7y
0S6DfeOUZg5ZcfPpmLb3UNQo+dGCgjfeBVT2jxFAn80Mzk45Gi3ruhWO9xE1S97usXq05xq82p1D
uso58mccz14tLhCkhGcV0L8j6poelDusmxoo6k/rUFTvbbmsP8FFpqdJtElH4NkndgH/m2m68t2D
n3fH2BblPhGVD9OcTbAz3PW6MGV9BwVAXyMORj0/GYJ+Civh1SACLKIrA9udkHbo3YDJVif4Y8uz
6AvnTo25vvbKxXzkePusUJtAjAua6UdtO9cgN/LHVVhGv+uDFqCsdbL0sIdiFEGGh/TsCfXZe+bX
qEbx3prq3ZvFrWGGxWUo9jmAaUTFhKH3jS5An2Eg8oY3TLzkJQ3OHojRGK/N/FI1bnpCjzJ/C2Zr
o7EFQIy++ds/L9jl7FiU7Yz6UtRlw8k0PDtYlS/GJTzN9bxvDPfaMlinZYgo46XwsKS4+HRsPfVJ
6L4twWJiheq/eEucpKaEM9Js3Neo4g0REjJkj3EBHgGmHVnmCKlrdYEk/jBQ/LfqNtXrybHKREeM
ohFVkKRH/2c8paa4tJujh+WRk9YCL+t+wDIcoS7CixtY5cwHi8hrAlvtizBAsFJZ34STFA7khCL7
xkiAMl6f6cqSLnMui3k9CM+9nHIY7ZDexLdeXyKrZ+1PnK9dxTmklYS9OcSoT/KmSZCoFEtM46nf
MrOsw2SfqmBl7s/L0+O1HRi3EBRspyLcDWZQLne9956H5h6h/Skz2/zEAMo/DXCHmP/vsNs2OxeG
xBmzE6BCMt/jXpwyZzytziOTyZ1sDUxtP43KyIGxiF3WQzvhhNXmeMlwYTeBnU+L9I4yEt18F0E1
lIecZaRmfNFvXmLV8Erawt9lLeQVnUMbxteJqcVyBAtpJgrQxQvzPsNcGjmELxKSrJJ1PdbLU8CB
NqIJEC4bJr5z+qnOiw8n/OET6h3XvVsfhS5EQgolWqxrI10ejZkoQSJ9611gGXe5PSSsLUP85qTF
AZRjpsCIuBnanfB/2S+dG9mSlAtF8q/LGCaf/zI9/3WXh6CkcECEHgPN4E9CESuwco1HrjoXoAA0
jr2zyG4mFypiz9EhpPeCJUnSmBn7rLpABWEj9w9f7WXIj83M6jo8DNqPgBp32VlNR4KOF+LU2uom
72DMui0RCRmG0ZS4apif3YPl2dbdyCqFU9H98Mr8Fn5ZHnel9QrSzSF/HQqIbZ3yXD8zEukPgz88
lwYoQKaBfKdyhjeob/kYivS7Cc3o3p9qLBEBBi1IV8A6wpsUMcZ+ctLuRSqXUSnRTt/twbhZ8JNf
LE7+ZC6jPHil/mZol2zbLc+duZu07UdrtZc4wh1+3c3RdTS7x6GBmpHmCAIyIFzWlh2ApyC0pvBU
WlYUi5mbSWYUgQMVB3cX5PKumfaInK1HnpVLN2urW7D/e5hh4WHZfvVgJcIGNSe3BzkhOnqYINSi
6QIv1Q81Z4LGaMpRNBr5d1UbV4VrxewnCV+hVpmX6EY6MxGA4tmcmtccj2xsO1DkzWM3fAKswNdh
FOmJHUV3hjwlQFmAzpqH6DR09olC9VUv6hav84+qRLcht31duDCnI/MFaC+MDNO3mRuO40kQrBOX
k/OccUVLc/gg6povW9/x4uq3sOtCsBuwclV/xGEQJZhGct4p6mHpZ82VN2avJuyxox5Y8EtVgS0f
YHS4ofsopbKgZ/Y3QxbWDME8prAVsHysancYrXCPuPwDnf+CEoYhCB7avVk04Ysa/QH7Uvlmd6YN
xolQnqpdjkEkKHpXRti881BXdFDHjEXtizn0QOBM7asn9DvxMO4za+oPHH79YWHynJSsnnEpozwA
LCeCmVPF2RfCvlpM+wiLiNPGBOLXn8ug/0SLg0NjuSe2YG/kFHFQ7mOV52w5c3VhNJkVc3ld5rgh
gaaaiGCmByYN94PJiK3sjIuq6W6gnrFPVjwDtZGYWtlJBMhhVcXDioBlYZ6dmHN9imr7Bb/zw+z4
17QHBPJyYc3lt7AlO9V6JDfxnM1fWW5f1TZOq7k+1noPkjCp4eSq9sN018TT8hym8prdxl5k1a5g
COzn+TnoHhFAEJHjEtizxkit4825OwevQN2SaWj2dp9eNKO5G8Zh5zdXndqHM6Mm62zU6DD66CVE
dyL4HmbdHeEFTmsdXe9HID1CHRLbuA49UCzj0XGrG2qDK1GBWs5vIpQkozwueqJ9WffmmpiK22t+
y4bjqDhrq/Fq7G9ZrxwY/WFgf/PC5d3N38X4hWFlN+IQRGURlF+KGJ7aImXyWSoUEcDKTRvjMxkh
sA4iQ5z8PJmyL0ZRO5n/nFciLIuDUF/FNNMaJGtjXCrIn6G4mJuH1hngOVn7SeN85OGBn+T66qZp
OH8sIqXwQxGNstvuDdvxGUPzrXur5ySABbnY8kKlQ8K7Gw3zw+zyFaVUKaYb/Gy0B7zDMGklYTFk
ZN8YPYxQ8xL4N2iEFNqGiwSQBDXqr5KCvsIiFOnmAPB6V1CoNv690396DVIHhx33cDQIRiVv8YD2
59bWkB/bcL+4dDZw/+S491Sa1FOdSJzFNoF+TWPGPWQrezhB691Ba8MWfqBSfvB6DzTFI0XYnqjv
hJUPA2c7mVEI9L0+CKzLQ51Bs30li3k/rnsG9PuJJxB3czLO02mJhtjawH3MSYW9XPr2OyLVQ0n2
1xiZqF7CiwwPmETgJl98xkWEBF3bZXVrWnoLKIs9jHsNm45FItuB4FV1ySCN06rd/UoIn+s/uB1Q
Gk9edYV/oZFB+f6lD+OI0+O6xTrsu7el/WZhzGoaK8GPfO+MHNryfWpvs3aK1+zTI+Cnmq6LeUgY
Xibehl+fUjSNN6oejyBJ4AQDRwcmy1/QpiM/8+royAyl2hgfW2kqbipSF6vKMY9NVdwT1XWfq+qp
SOGeLQihD9lIH2Fu7mdwQ0vs5KTHan09NaskW4badKEIYlz40sjsZ98o9vX5ekG6xOPsZhiRLcUg
t66aC6GDQ6CfFmbDjq3viGdiA3qEykm0GRR4gAXxrIhqbFeebGoFbdQ/0nXjOvIiVYFwxy9D98Ua
etBhXnP8LwRpxRpUQXXuUylvVhF217XdR699v1rHrCy3XqwxmjMwxpof3YNvUQUI3bpywH7MxVtl
peFl1SNItGpf/Q/aAOuXhP73NSozHJYMKOUcP3C5Ky3/T+WH6DH8L62dnQW5cCx2gLE80BuStVNa
IX9zEw5v/ckatsuZ4EN9VyOzOvNbFRxeW0+Tbt1Ns/U56a+WJ9y6H0IVaYTKX02RsfVH6dYpuVvP
1G3d07z1Ue6vlkr0FVY48HrfLDEPX6FRFmfuugBEXSjri0EO0WXRlO7bEFCpxo7lBtehlSvcKH7+
WYVeeOEY1Axe4dHuIWkx7rC7ph8Q9+znURnlAyu34srI6BVHhq6VySvD9ySh6TWAO7bect26TChO
5DDAAMO/OFv0+LMgYUAtq3FfY/j8VGSAP7ZO9M1tbIPBP8ercF+zCOBKA+SlUtYVQR5ODEj3ffVL
ixRPUV6C8UDBq9PbNaPNaeCLrHj17co7muNAEJGk3S0suKvKxoYJmRJIVfBtRj5nake/Vq3WPJzg
BstzprPxFc7KtquZa6Kw5w7ZMujFCGLPagXQjlBUoTrbuOauDXY8J4KYwzTqo+G+4XF6HLaWjh2n
c9dtbR68AXXqfvV+868+UG4tIYDW6GrK1+5S/eoY4fTq63xrI+utodRba6m2JnPc2k3Ete0dC1f5
bm3NaLu1pZr+FFJ3emq2lnXZmldna2P/unjeFCy/P7u/SueAESADTt9FqOBvf/4HaTvBGN0SkcF4
TjtoKoyrX6ewKfZSuOcc0RVSWVAUyvSf//rHbvO+v/qxf/rKGD6wn4XgVliyyLZbj7rKQl23s8Lw
/q9/0n8z5PzjLxj8WaNuwe6opFWfQRB9GFlxBLik2TAGX6gZ/4ffyvrXRmQ7CewgNP1f7yVjzj8r
1n8/qfK+BGS2nTh81cNLdzuF1HYeIUiJztqfskO5nVZr6TRno9iOsCUbrGO1nWvmZLfr3yew/9Gi
4L9X3PzLluB/t0v4d/qe/w/XCNt4/d+vEZIfTfcp31Xx+beHH2L8qPk/3c+/qfzH33Zdm3V/XDBs
/6W/Lxgc6zegcWwKHJtVQUQb8c8Fg71JftDbek4AisePfpf1sJMI0ABFPkx4n4502z38Y8FgWM5v
rsd3cNtIWH+X/PwHuh7Ljravz+9fr9Die+y4/PTtf7Zn/npO//Ct1iFx2gTg5fGGZEiTKEP2HA9j
QYzYz87kAGMLL8BWdc4Ww7ZEZGomCDjs74LguIqF/IT3vqlJCKC+cSpw19LPz1pB0I6biOyGJG3W
tTgy6GP+TDjnu88Q6ZHNOPWswwI42G9JESt3OmMEWFpoAmPtYPnzvAppQxH6NJCllXc+iaBm6CQZ
Y8wrF/BQH+toxNU+LrP9zXBb9sOyq+vngcyrjEhtk+mnnyIG2RFOsJIeY6wy38Y8isEMw+MVqsPq
f+Z5On/nTVfhZVf5YO3mtqu/UhlU2Mi6Lr8ezRL4tqrodeNoDeRFB3WNjOHFX+udDCc2EMwoTXIu
ZJ8+F07Rfnqg5seT9oitp7juIis2B1U/Dd2UkhRLOnq4m5DMvo3AQXwCwCz7aCoALDS7oj1AOAF0
EXlqwo48C0JkMczD0wim/lvvRFRnrSp7NCgDTWRMOYVKSKUWFn0EV8jJuwZQBeXwLEj8Bv70OrU2
czjk5rTgmARoZN2OClLbG1AjqLX7cyGz/Lax4aGS+UDQzAysDhRrEYmfgcEVF1MK6vnci9VoT/ix
EZBHSw9RdTXHkO5uA5ZD/5KefSgG1ul7WNDjozm35sbiMEzC7SrvrQDyKuISuO6Lp/NBH22ELC9d
OgyfFTo3BR54Ni9X1jk/HJnpF00yGO24TNeBmB7fvs87l1TIUTMqK4qMrEmMJWUeS0/TtaAzXcr9
qju6F3scQ2C8GhcW1Wvaky7jgpRPzwRfeaLaVcVUqOtqqE0Kh4bdLNdXb4Z7YmZwUzSmcI668Yy3
Xs3LjUn05JoeLdHm7cmXgiOYAWN5IZ0M4i8ar8VURNEY0AQHkhtICqzHNCAvNtMy1gE0MRLG2nkI
79OBii/nk8DUf9U3s2qrHc0TaASpaED38G/5axj1SwF7I5LOod6iF84+o33XjIHpLt7bYpN4v49c
aRX7ruJhvFxLhL9XyJDS9ZzKqDNJ+uiNkVfcj9U+ImEYoXNf2d2FCA09EPLkO+FOVdSBCZ1KZV5j
bvHsV6d1QV6uTst0KPVH2FCDDNcpQbxWm8+6rv2V5AL2KW81sT/NCzg4GzhjzhDyckTQ5722XRHV
ly2c/BXN2tiL6GPNSlE+1KS15oc54gR6gDuJpDifoHIfTfRXdI5iDPSlQEnDRKsag4g3LDIMToIx
JEJsGpbJfHQBT/FYlyXMw7ZM5S2pDQU/xgrGElKHcrzvtTGt2R5KtUX/MxT+R+OS55eYztr637O6
QDxSEvPwstllpp0RSRAfmeGxR5REG8FVGSB4Bsozd81UW+pstYP64eqqCa8nTM5tnDWO67IXgdx1
GzFeRynBMaMOMs2d8R2l3PoIFQO3JecudIy5Rrp4bfWM1fdwdJrhgRjOCjcJWPv7YOrC6gBRhJne
bNs1n3vOoeTZDpyLVHnTVZH60/QTaBq51qnm21ygTJriwuEjjSOFTwUZvWE/cj+VzaNXFsVDUUmG
I1W7ZqdpIauWaQCoPGJdlLemB5PZ6H01LMPnWoTjK9GM4rMISnM8TN48fcDlNIEhEZbWQNAsCzzA
ve0MKs5Ag5Ynp/IZ3UaRI6d49AteSabqwNjLqaiH+6gtAO8QhFeZcc2YOt0BGuLNMkYgx4eMto/4
87ZfWONYg3ssRhezQdW7zTUQxQWgtJ+vAWBEG3kMY5PuVoUeOEAsbH20/LRF3lTHcgzDGZpkyvpO
h3VTHwYi6MRRI2O5qARhsswNUze9qVpVPfs2Msr97KMbjKPU9O/qymfG3dazU0A8JV9ll+VF8apg
UX6vg8Xmz3xLfHf90keVtbRwfaGKDP1Db+biylt9hQiEGCSCmju7dXfrsoLqrvk6v1h9xEKDyZ1k
HABH/HvLsP8Rh6kckhzx5HJtMY+6KeDi/2QpwW6kDbP1CTzYgG/A4sHD+KUJDkvDnFx1D//eU5oF
LdLDeZwZK3DnRDE+mJkcGQtBU9w6ujs6PUYMxkPbS63gEBWo6RlJH1wvQ2OXwjIjTwsBE3yyFBTk
Hssu6U26CZf7vKkXACMc1PucgN86iVTn8HC5BthVHNu5T9gJmaO7zJk9fF75GDwzLSFUA9yfLmLH
cDAU8+Q6p84Y8BWtM+dZnDrj1OzzcsHOkBudedUI0MNoaqI22rV2MTC4sSGgnqppZiFcCFNjs1sn
pPuuHnxktLIOjrNnhkGiSnCVdlfx+Y3TEj3ULsPVGO9b+VFzM7e7acVxsGvStbsbbAvn1IIg+VmL
FREa3oCBwVppvpW9N6AHglwFDJB344OKxjMOU6Dm7zUg7A/80QHbxsEGCow5NdoeY8d4ygc3f4Uf
HX3VdjWx1aY8YOjhZLwI8ERkCAVRY3Jt5uG59CWvp9qs7Vem7PkI6X4rjRTXx7VGntrKcz83iBpt
zGnQotiUPYZ8Z5h9thahSUaG6h6VWj80V0ENH5ToaMv4UWUD0TEC9I17yJQh4N2H7KA7l/zMXThZ
0auOyu52nCvyZsNqKDjdo07e2uS9sCLguibVbC63BXmKlw3XUlfsZkVxRcw8fe7eRgnKpjfjbJKq
Q33r5N3oxBX2CoK6dWsWe5fBw4bwWkMNxHVk9Fj0gjqlmuc8PWB1qa+mKAzFadgolMnk80YT0bmm
7c1aGMt3lHsNaYGAb3+CE2SuR6pyOO+9nuCrq2EO/Xl79tYrX8LmgrpkfKtSok8yUkL8OFRTBOq0
Q1XHGbn8aMwgZZzJg/k9nY2oOUzk31zBYB2wxC0ueyv+ZnHS87C+wzoOvdgm6IWlWeoYPKOhiQIV
VxWIOSvg81nsIbgBYCrGHUMz3pupRj0Wk9dVXjqkbNr7vmAybHq6d0gB0+qeRPPia8IIa8UrEX6P
A0Grb5Gey69MzWQEmjpg2bihK976CaEKS0bZPmNvWX7gkhB35VRgkQxXM3qSQVRd9NM0vlO+pnx+
1iQ/uZXlfSd8Bhk4BQO9TbvKl8IrrJ+2XNbHqOvX02Q0Ha+4N+w3bRrNA0w70NdWV29xK6ASP8lg
6qjLhiz66GudfVuC2nsnTSPi0x+H9kOsUkLQq5boSjk+9VWapyg1qC7D7w1PyvUcjBZzVjiRuJCc
iZ1kq2q2FLNp18hQma1dTQF8JbrRcu6TqDOIwDObQHz4fT9hsAYr6cSMGcVTZjA+bXI0+3Gb4T2V
rsuqd7LlyEoAIfTjQloytCmkCmckNBUDPhCz3zjTmADi0JQkO3Nws3penYCCyWEms6cp9gi12p4W
u9IhjhgCbKt90Ei/iIdQYvuVi1A/hD3IN9co2S76U5cy0837jo2MrYxv6dxMn/gYzKeSE0Og8lTo
QAqK/OeFkG/FrBRg4iFS/oqwKnUoFuouygh2GXD7pWr2l73nKR3EBAIUgkAKgLIn4a0udt1pyTJm
TbJq91A6FTEIpXQomHtMaTFTymILdajQP3h4zcodRj3kXNTHbLSHVE07y3CZkZPH9NIXJf5Ee0tA
TbB/L6xpqzBz9pnqF/d6rtO2Oclo9T1Wt/VEeelr/5tvuaT3OGBQEdNoKnZkrw1GgipExhvrpuxA
MW6rzHSi3oWmL11K1iXiZjEwrL4rnpImFs7M5SMUJOLZmOgAdS7IfKuMZmCDkmI/20EdrKc9awbn
lc9Z3KHq9b6TceFkyAXkdGMYUf1K7s1osweMVLgtVPOXvGGPRhymgXqK3hIOCx0YCvi2Sqcfq1mm
Li/JggknYN8ThkafccK4OXpkmtUT40PYnx2KJBMtu6TV65JwxsxMiUyI9q7Bxobpra/9HBL51CyJ
Tnsay8Em4IRAmnqzbpDJS9qGp0xWRFUbGCwAOWsOg1cDs7YJ7uOjQdmSJ7VnNZAwl1la7PdZapal
u8yx56uZriNbgOiGrtHbcQ0nXd4Ynhp6JNMDrN+51DbxagQY7Zj9ph3eD46yRI0L/uxaz/Bcx9al
3gyAmAyksaeMtwV5Jf5j7aCETRwjoyUNSJjMyH3ouKbQwrE4mjpfl0fgnkiv566zRKId8hnPWKLD
lrV+RYtQ6oULHS9ITS1OOBlBadwsxBY4wM2PFDPDE+O1rmLmbLKSdGpYlPQmFlHytcBXm5BD491E
pC+HSUtS2MPcUNoeB8leGR3aWEXX40IgPMbAkF+tmqLoq5SG0GhUtn7YMm0BK5RuAw+jR2ApcTBW
X5xQfOjnvq5G4yh8Eem4iwYWl3ZuRtmzGfXK3IuiIncXBitaD5mDZYiX2ipIzYAPH8XrsIRgx1G+
sIPKuIbY0Bak/PYkDeYH6Wt2MrUOS8pOp+b5RTWeW8lQkzaZ0BL2aaK9lOmAHLUG2pzXY3hsrKFO
L3JnwC84NHUlTjVupfxsBzm+4IyLubtJySgoT2uI3efabghOOnH/Fxnfb+Xn+yiyF3UWJoleO2jq
gR/jg+dP1Qxamg16wcdsgytQd5TZEyRgH33XV+oEQhyEb7bNTZa5K4RlI6v7mzl3uCmtullL8OVT
k5+E9nNrzwus8BfLTDr71cOXiRfXI/i8gnDP5psG8WdpTqw7gu16T1RnRM5FzktbycKA63o70quj
noT6vCbz2oMkUwvmvXNEDiE5r+A/CxLZgDQf3Em37U5Dahb3g7bZJcFoT4Er4zmxEry3KdNrM02D
MYlgjDNDsnsZHrQzDkR/zV0w3S7om/RNrboRaQ5nRH0fdUIWT2nQk/Gn8E9M37WHp6eNC2tdgwe9
0mxeRU7toaKfqmE+6IUjfhFalhcTT3W9m2xBppmDICJ9GpGaWCG19MgGAKkMjAaS2bSkTWdysueB
6knOLvn9d4jB1vGqUr2lUF9ia9nX7KPCHT28IMCg8RVCnNJF7GLXimSGqF5ZEQw5+s+977MR+KhE
Z7yiIGr6C9ENa5gw8yOnbeEtbg7gS5W6ks6wKG7UYjGOpGw6y37tx0kcfQcA/S50VwAjjtAtsVM4
9/BEuYVp7qcJ9lJir3aZ7wc1iGLn97MvzkXVjMOZC37kSfOk9B96B4PGAzRj+KqOh73pGFRObx28
qSAvW1sFAhRrhfC+6xzeyqMTzc6VEaKXT3BJ+gTu+hmwB2078qEkKZDVYeYZSLlEPe5QiVD6ymEl
/bsbmTmwJa2Hm9BvgzuyUxrgv0SNv8Fkl8d1HnR4RLBq+PtZEprHvtFH89i1HiVh3vGsT4TmPhaW
mSIaXUsyUhe7JkPYX0Px5GOBnxkBWMqMGT+2y75kIMg2oQracFeQvd3tXaDXd4wHFKxRMsHOjN66
abd0pZ+Bbymb7yH5zmlsTCAtMIM0y8Gg0X0tZBi9oG1YgEbjETfRLnbBm1W41cdisV6K+zJkT5ti
muKK0IXemPCFjCub95nTkhki1zl+GbyMIxthV9aLSOxm8+obyiI0y2LNSB9IDh27eX/Ykg+64Ysv
v0HSSCB7Arz0YC3fJGniDfAvgpLGEeEdb76UdI0ZSSr+rtLT2DENy6qxvObL1MqW93dWgH7FWIz1
EaLoQCHVmXTODv6hPPMT32iKeo4N4dO3HVkGzvIEgG2cbphuldlTk86UFqxS/c4hYdXCnpglI0gp
cSB4noR50we1jFzMIwH00awiBLwga1x/T9pDNX2OJMVbmKNcQkUk6zITg44HAp82sh1J0XuyOqJR
9qEz+2OClAxSAjaMthAHfCom9qnBHVnWxJspn8AqkkcZdeaaGK6DloUxcgNEtX+qAwfJFXlmvrig
F9Qr5isaOKizI1Pxo9tuwMFjCejAetc1zIiHOjMJySUWynP5sP0seGgrc5l/DBrxFiqbeqSrvJyI
DULbQ0dDC9P0mcfNQ4Occ1yQdxiOn3mU6wkxqqSzk+hktQVw1zIxElG1Z7az0attVDtj3yz9B9TJ
JX1Ttl+xyEwbxfASHDFdQjx2PoOxuO0GVQLcJZ7MJUa0zocnL1vDcocaPcy/7ALEhBdzeM/+YyAi
iu8IGw3Z366KiJktCphLMHUIKXvgQgKJEMP3RsDENamIoqx7RBLZ8ozwfS6POnQ6EiDCMbgx5Tbg
BdfM9NJw1xOtf+8nuHBHb8cH17CjW/3+YjQwCycqnzHjTnNe/zCXtP8husJ6URbAXUQbUEf2To8J
jmbCJ7NwolkUxwzlUo5Kh4COs1sRgJ5IzINXgVDSuqhFNG8u/ZB4ugl5uxfjqg3nY+gUlhtnmaBO
tjZj8M4nMeNxQMzWEH/ZT+rCWcdaon1yMVpafRVSFfWt1aAUwZ9HW2YNNqpnpkmMh8z+FWBz/gXF
3IO3vFTGo8jJLmIZIBp7vzBhWndkoxbuuZ27/E7b/JdQchrqmjFRRtJqPxn8tVPFnoHm7N21dofg
gfE/WkmZYe+JAUfXX13Yzi+IuSYjwaIqQnQGOepAYxrEylc7RTzPFJRfIcgNRMfSmxkC2PNgo1II
sgH5W6g/8ZQCu2ZahpwmTJVl7ZGaSbLZHaIrwlrbD+WkZrR8SOM/adOyQxHUFRiPOSeHc4P8rsrv
n8OuLJHZrl6gSUq1B3oHEPuKSfZUhokpwuwwDSrNY55muvHZsfp5h5gyeOvmycPolNnyhw5GXyW9
qav7JTCRmIUEFN9m2lzFqeL5f0jbgFRI0rb0g0uD0iU0efkPRYn4wDhkU5IqOT0qNGgMAw2JvAyX
s3dnFFCpeXFzyqnL0j8iaKspURnJcMQP3hYgX2ocj99ITkelpgXr6ygoEAfJeaXANMA7I6nSJV3j
BC8ffgXXX7UvYPk2O8IxwnejiCYIDaZofnZZrX5oJyuSlCFRArlH+leEvHJ9F5JIqzhnEM1VRkQO
sRZNWH13qYaXpO+yLUseIMITLvIoP0e1kU2soYo5TGwLPPsOJM10PRMzjbW1dMsf9FFgnGgiwqum
Kidj36aml5Q6xOEuCTafz3bhhv2OiL3ip9eafrErVcu6xhMe8xXXKamTy8lC3lUKM+BMqSu3TArX
78ltYUpi7SWnX34hx6yjRFYMkLoqQiAMxxgBYc/ZaCL+MqynjABNE3loYYLLaMIByRTHkhsLI6PS
ZxfWVtuEhnWQH0paTiENBh80vf5jOjnmS6jSaD00qB7uye7oeYrKtYRuzaTpq+JwZxwyhcQttp2m
HWeM4WJdEKL/jOZ+frb4JrlknljDjRgbBDbk2KLHWDOSgMuAXB9CZBVbr7G20yc8dLB3WhJqtlQp
g2a+j1iC3FAShvdiJscxmbuafzOFXIFck7lvcFr9xjeTEePda9TPwFQb7finNXWJQA1DJsM700aP
FSsfU+NOEb6I/ckc7Uc6t+AizSiR94NbenMCRqwJeLLYyyExRwy7K/0WsJDTO7L8Pqyd+ln2OHRi
s6n1FyCXpnrw1QBZ2za3ATBjGBZBYdiND0qskXHpI6y/UZE346EBa/5KiLt5P9F/KdJyXFlcDby+
qz4sgWRPJF2/uKydyMDIbYx7s24F5JhuHXcs5akyBgOQTuwgOH7QzdC946zqq2Qx++GFhDKE3aao
u89fK+n/aHX/v9vL/1/z+LmIMf79cn733nx0X8X7vyzh+Tf+4fIzg99gV9i257ExILfpnzt40/4N
d11ouyjCAwsZ3T9Nftj//MjE7GFFgRnaHnv7f6zgo9/w5bG4Bz7osOsJ7OA/IWtYm6jk9/17wOJ/
87mxfw98n+v6z9DViHHvOtrzeELZMlzOhAlSQpKER4AoEbeOI2/QIYEizAmarwgiIV6xzl/+8Gbd
/f2n/dHdZ20Otj+9CCQH/DpeENk4aLc//4MIgFga6Hf4Dk71dlM7y+Ylb0oJsy9fgnEnsNsg2Rb6
A7VJvRwWNZmnRoegJyUUguem8ur4r18SbJM/vSZIJ6ZHA4VEAc8dYU//+poIX5+BolQTmStBTZNQ
hsi+BWYeVll537zO05ghrO+A/kEyxKE/5mzjCu6wKZldWwoK73nq6YnsYDogNxiK3TIBc3ifvD77
6THzN2O7bJButyojKyrwJU4Q9/+xdyZNkhpr1v4vvacNHAecbcxjzkNlbbDMqkzmwZnh138Pddv6
k0rXJLv71kIyk1QZkRHguJ/3nOe04/wtm0rK40TY/RiqeFEfacsSQPTY5hzaUGFRZieRHay2bPQV
tu0IBaC1/W8Te51L5tWf0hbRl+0q0sXLheTcSypkwi1bd5u6Hhpaxu2klOGeirQU6B85LqBDbGl1
Y/o9401sFhaNn0SVw7MVItDtS4cVZmfQ9qxRN+eyh4RHB9spBcf/01MBAn3jRT6/Uo0BbCtkkDeU
BdQ20iz9lMMqCgyLBlnOWnqtHHJbK5LCOl82VsPPTAtS+72n32h772gqyTqmhVaUz3Rl5g7lPW2N
UzkP8vIbZ48eowg95cnaaWbcSvxQFFASYxoLhIA0YoQR78cJu97fW12V28zYzeooSPeNK6gkiGee
VuM7uTjFHKIsmnKrhkWaAltIGIDWRHTvEGsxjl7u6XFbl139MbPZ51BntXV8SF010jhgo01QHOgh
qdZOLY+Y+Wd912icF2uwIlG+Ri0Ut4wMps8gZo+2H6fRfC2AFQGiYLMoIYoE5rGtif1fkGzl21DP
jO1xtNYXCU+NuH/hcjxwhfWyOCiXWa+R3M9Bb/+guUbeTPANM9JEQ/4soxQNvfFJgq4dCqJZ70fP
uIl9M5frMSEMxxczO3pXZAOJidhir9eOwj0L2cJ5c3gP2bkP8pFdPF90uXKxKUt8FblABhut+aNj
WqCWLZgRr2XHiy4uxG7tA554qlp3IWCagbF33H6q94LTr2Ic01C1ifJQPLGaUYdBkwJmDTV61Ai3
XH5hsjUK2cqnucpCcWE/xcmgxoJWrcLanYJ10zdeR46sGAi2DsmEGQZEVLBK9IjZPc+RRRv8n4/M
LNjMcr6LsI5navoigDRfZgh+2WZSbe5tzaIsy6O7SOabuct9e0dGpu5xgHYOXBas0Zd2ckLnfsRa
Oa3kSEpybVWTYg+NifVVRWx8JjN6qRj9esnwySLuhcD4om3nVO17ZPSPEP2X+OeRUOdHNTn90Z5n
8zqU4kfLgNCtTzRQiWvqEQRdjRQ3qVE9h9P45bmE60RjRkyM83pX+0inZbGZgoF2cId7Kk5d9LX8
p1mNVw3GJ+QDArxymlsKcWrvWrEP0qy7Gzcf7722v+AkONFZ+VQyE54MvOUSUaRkIUlkuiM9ybwm
xoWNWyOq4k0UP5l+80BJ3AZRGtxLyiBwnE9lNdArWKD6rkD7hRtrKK2vNpbjN2Xqs7D4DZQTHYDf
ll3DF9fnq9AysPZvZAvxFJzRhSDyqfYSCczGJmKcO/JJhYQyfCff4Q1b5/5A5XXB2XlVenzKZudt
C+kzEKH6JtX12WK+vnHq6J4k4YNZ1pyOdLgBQHtfqqHheDURJMhhVgBm+s7c8jNOVHVvlZh7o8l5
bfL0qs3s1lu27ZwD031Gjd16bEBFlUU6n/Gd3BbimzNkd+hth7mkZj61zJ8zBnJhIfdgXl5MEyc9
2lD60D6SMxCZ5spx0kJ4zuMXy6+egwq5usl2zImSDSJ1t+kkHSxMq6j4FC5BwgqqbtPmVCPbZbAm
m7NOCQXfN1H+HNT2PXyPU+jV78gwp9BMqq8gYL9tMfp8C8yRYIiMxTbKmSRMA561xtTZ3nZyf8tx
8iFnfLCy3YYTDqfeEDEI6smTMQpyN/iJgNaVjzbnV1EaycYctpMVl+mOhMoaStxXuDBIPTk9oEDi
rUpJuFgANMhPsa+u7O7oj9NtY4z2yvAgC/r+fRXPr0PCiJntAsqic7Ft8WK5+WPAig15IyLBMmOh
Ici1psGqfWdweYPWeSuWqpxo+qHqn1bk7zBHXf0GQHhRUbMZ+OVFBSgNhyFpfRazRn8zBuu8NLzw
8cmDXwW3jei8ZGVT2vwxTXG+9urYXruN+Wzk0b7pi5vOL6fvI7iOLfxl+1J0c70tzL5+CZiNyu5q
kc8Ms6WmwVra8EzGlkSRB/pVGfkZhvXah/rNH8OLp+6xfHurFkRGZYeXLIOV22RyHc24n8z6lKKB
VJ58s6mdB71CbqNIVMx8CN1/jnbYDkgHxV1yMChx1Smjai+k9CZMTkzpvlmjrfexqJnuyzDsd2ba
VDsDCzdkJRAZbUWKZEWvDS3ntExSzZpxciKCXXrPgUijKwfdi2Ckzpy/esbnQa2vTVyVQNg6jGeg
XnEf7/WShcmS8UFDDQp559S1t2HzVFStQ43YOGE5V0H2ZNj9ukrCb7PhH4sqfsNYcOx71dGQ1yPQ
lWi+ogaY6QQOvDTX7cT9aDZ3ikOOgahiVPaBhdXed4VPnu7FdxNUypjT6JxG29rq91ow0qtjH2Ut
X0VmeDQTnJ9D8DK55nTsdHOwXX86c9h/9kvFsIqEWzOiihaI+5lhVXfIIVjDhvls8J8d/GarpmJv
uop53pvueE0CmlHPeY4tUwvnyfKooGvc+BQy813jiIl/Tl547uoSJvY87M15SV9JBYOWhc5DTlxX
kZfvxeyhJfhmQ80ukvZVTDnPJMC8zEzximw1h2HYBa71g1/w1q2hO2PBpfArdJ4LO+zYuqgvbdSM
qewOCRgLyyktg707p/E+dYvzVJknK2ms8+hCdh1GjyHy9CmG+lzrLthjir3ivlF3nGLHgx7mC8tv
cRc7y0FZMY1i6HqrMgSXvi52HlhNkLMvsBR2czQyuADEeYETs7fZh66hJRx4eDHO9521AC++Y3wF
wI2W9CbbEEEzZX+xXKCrVC2WCPfs0uhdSesVZpsnbFZHK3EXzyAPFjG9J0aZ3kEPuqviJhGbuqIJ
L6SvckjMn5M1bGX4g1HGhdnVdsgpsCzrl4LH19qW/WFKip+Tk9NISbXj4DOiHYr51OTWbVX70beC
Y3FtspvxFronqFiO51CjmjwK3zupZpZ952jCbzrrdnZOTarOEyByQ/I0H/L02aMY7HFqGqyKomyq
lwwDxYLGHZExsPYln0ZTEtxkmh0kuzaPk/uhppIWthAxy3WOp5dndAohWzZEqlZZCXJ37fSeN8Ec
NPSTS6XGW+KNkEdKjDHryWzUbd0OBif9SfQHs+GOx5m4GHyxIRHREEYqoRGiFxxzdoxse7LFL5bC
Cme/hf8TNBujnG+qqPJvGFE4BtjG8BYKlezMpMw+3NbMPotsHp/1ojNjVMzgBYhsvtgDrpY1mQ6J
nmx7uAKrGIteDTWOpXGxSfJZqijF2+LJ99BfBBKVBQTXcR3bx7Q14GDFM1BP6HJIbXuGtdWxKH0s
LNKI7Gid4fpBaavbaIs/SVVXGi8z7hcvQsYM6sSTq47x+GOat26982TRhztNgea7HGfzR2LyCjxe
vfjVCqUaYG7XTKpLInLHIjFo/up9PJR+DRGrs7LMuMl9VWU7AAVK7OeuHR+ryvSf+3YkSxNTvbYW
oZ2KM7PXlOpRI+/pKLXBn62dGevpEuW2j+xgY/yHWJX49AEZkPlNQ5O2uk6hA46maun4nRBeuFlg
pUPFU/dxB2cK9l85MOYNfF2tDHNizWCLVGwcx+C6w4fCtdza0fwqy4CBGqWwxieVNjV0V7ho91My
WummYRPINN8r4mQzizy0V1Y1jtmapsqOUFk0Go91Zn9g1swvTKD8TTfI46hyhliVZ3R3maOjn9zp
XYfHw6OoLzd1OK/NWiUfTHAIwzInHJbJXv4JyhzWlDeMXXfDmcRlpcpzerXi2QH151tDKjYM043k
oKlLJyCJhwy2WkNNLaYBOd0AzuvFZiiGifNpipoGQaGsP7TvEEFN6ykxbiFfZS+FoF4VuRxm46rI
20BskbESGu/crorwR7l+fggsN3jLB2OZjQ8QpByG1DgCJVtshC5cCRQR6/gjjWKmeqoMgBBk1JhS
UTFIDg1loJxvQ+dG3jbAPuZsU9H1V4gjKP9RGGFSGVoa5XZNYKkYcn7Xzd8cM3UeXV305ga7GucR
XJSEh/1I5e3BANygF3lXPJlxFT1qho0fORL1W1RZ2C4Mqtv7Ixo8ma8BH9CnjlVsbowmD77Xdk/y
dQLv85V5ZAfXTlz232MGeu4GPmn2xgqV0MPL8cbHcWdKnmXRyO4Ev73+0Wdl8BmCJSHgbg+sez4G
f55GubSWKUbtF9te6Cje5CQX6hUGUP1O6GF68kG+mkAitM8TNkydguY5SvLAgpFzMLo5vq9Vjy+H
o1a8mJWahrJbNPsXaOj1sFNeAva5dmDAoV/6ZyeacUaYWQ/4B965+cbrz6QBmAJU/yCW/BaRQiKR
PsE7QZc89CJXLcGmP8g3tjCQ+vHrHDB6BMfSBd8eIG3tWZvCzd/rMihif1KKfr0UWQ3XUr/4Vr9R
iDHNq06ULmxS/pcNWny69gRTgv/0VRyLUApWQOUJoma/vQoKvCXgFwG9qG24z6ImeaxYYf7+VZaf
8kfVS8FeINchfJQvz4S48uePzbBTp8KnVB0AhIEq8emc5UTmdHcLmfIZ+Hz3RNf4ePv3r/rXT9Cx
OXp6vKbw2ZHbf35VsKde3jKeRgnnWGfWXGpcdMUibv6vAHr3V03v370MQGFCRIibtvd71185KR9P
qFkcKF6Nt54okmvnAM39+1f5Nx+h/JViU9L1HPeXuvmHK4+MeATum7B1p6JhR6nu9OQGVn+c4BPd
4Ym3VqYRpP/QrfPXy92RpD1sj5ACx/vfO/t8RRDQVFNzEAZW8ZqtM/AiCZ9lkO3273+/3zKP3Fmg
eTwhSG7ZtgWd6M9flgODlvPLchZirvXppthDVlI2mlSU9I37npZZNrJFtLR35mr8z282gkLIsh4h
rSWA+edXp4ynp1Z4bA7mnMUnyqLQQuKp+wcoyl+vFHB2ylQ2N7SUXJl/fhU94+jUoN4PU51YO0hR
b6Gf5v/5r+LyF0YCXsJSv/8qNBi4hDQK1o2x4OiOlPoKU/E/vzJYNZDloX5JgXT/20LYYtKaPLtu
DoErUT3y1rnt8oT4DOXmh7+/Mv6imbMSejYmdM/mEmHl/e3LoeK7MgsdNQeLU+gATbhEGQIYbK2U
W7WPBmEjHMte6T5HE1PaFTku5yeVhAneGs4bep165J7/YUn76/XKd8gow3YF94X/e+PXnLRYj7y4
OfDI+1CQRLOekLyrfkxu+GnZnGVzQ//DSvOrpOzP6ygvqrh2eKY4luf9dgGJLrcqp/PqQ8XtupNh
NV9lPvYnIYLoNCaNuK8blW5F2frA8vBo+lU2n6soEre2nXknJTkCxJ7G+OKVKPYiBz3AFmvAymWn
/3BH/xby/XVHu4IApeRxyUDxt0V/zNCqnIY72heyJ/wUFrf5ULspZPGguvq+dKJ/+E7+ulyR9xdC
kPs3LWZKvwWYqXvJhROP/aFoC7EvdOlTrGVWsNbgU/26KP9v/vdfrL1/uD8Xcv+f0PrXzzH+8acM
7q8/8K/5n6Hc/2a0Zi/fNwxHKZYKv/+h69MoQtp2Wf9cJj4OS+D/jgBt8d8ep26TC9pRBHJN3sH/
zACZDi7LssuwjDgqA7z/aAb455vW4QnGHM8F4b9s31DklwX6Dw9RtrvY9opIX6PBj1G3SjFZtykt
EuIH3gsBU8vgeHluPcyjuwAH6vzyh8/q3+wVrGWW9v/vYN4BvzdPGY8xm+Ji/f2JSowui9K26i/M
s7TYiL52/UfJYL87To4fgYyZYGPewdQYwXAkyejKU5bTBpOvQ6sOZ0qn2Lgzg/mH97WsoX96Xzz2
aD8wHVIy/+Z9cRs7rUUQ7yIGzMqcW1ywunWsBpiFSRr2qyjBFHLTjDYsiTQnxrxRdo5cn9H4ndzp
KSVrJykR8U5O2XTWP6wl7Bd/e4fWrxg2U2LnX7f37wtuE1cApXE875vSmCA+Gs301drz1B/Ihkpn
21YL1xG62ryGZe3S39LLc56hom0D+rhuba8lIppK/4hTFt0F7Cd5kVKdgxqlmXQ/uCpiBtg82v6U
ydx+1Yj5B20a7sPg40MZ6wJPcNfe0GoYPfaBNzAwyqDo+8ZOxyOx0ZNpzGNrfBLfbNYN8taX3wb1
R0VgZhcaC+6AZnGAa/lH3lWMjsy0vVpjhbHfMeu1LwLrkM0qxzjCkPCMLN/u1ewvwjZmYgw2uO1D
TCNjVVJZFlX5hQJOcl0GxTKrpCCSERrEz7jGn23Xqh8ixk74HPN0V+JEPNH5EO7JvjwPVTrf99jP
YM3REd9byHB077lYr8sFh9R+wZZcDqIy1ZQIpPOK6d28wbab7n3AZWvt1Iwb+RhggkQSQIzik+D4
jauwqqxDa+PqH1h4X0hKg3tyma6u6qqo35lsin0wOd4O72r5FOpGbWczKDbcLdYHaSsApZOup+1U
htNVOuldA+Dl3lFth02lte5VEaUPfWn2Xz1C01oljl+cOAGQQZucobhna4lQwDvBEh+iWa0pbFjq
zZWyvzsBrTprF9f7RZQT/dmQ0ddOFLR7Z3L9PVD/xyQv7FMZueOWahkGfqUOSOPxvxVd09KWgMHb
OIuwmS94x7qngMK5t6QvsmBjKT+h2mlyHy0k/VvGsv0L52BqfqLe35INNs7ahR45xmry1xPc35qD
srL2vdbR1sgo9V7VqQmKFoR+8iMdHeZNDZUOG4bnwDt3nqETJ3/UocHFdUNvlNOdymD64bAjWI9u
YxHWm5qjQezn3PvS+9YPRjySriJNSjsC3fUtiYIDO6gXohzZT3tyrGOliEQmtoa06Gb9jfYWNuuA
HkdmZo0tkNDBiCe4wnv1PEl6QWefb6iXs7fLRIzRm4D3LukW8qTgjF4PExuSgIQJPpB+iwUjYA7k
RI9ebV0S4WTrySt/unQF4GkMj0wb80fLiV4pvW9IyyTtzkNIWMFsNd+sWO17BzduG3YVBSSduSbM
T6NYP5Bln8elrDQ5jOHYb5F7UjI8wcRVh/q26y3Uo4Hh/s3Qev5eCEriRF6Vd4U9NY/uHOQ3sY7D
uzgIp0sS2pq6gbE7M21HA288ugw54KCUrFrf4r6sRN+HW86SAQn+KSNzESCCfNpVLBD9iGbgpx+z
K+SeJD1zOMuyb/S1ZsZb3E85yD4SiZg2qM5IomtFV0ry0woS60vzzYmXucAeXkyF4yJP6ba9UQm7
qVe8zXHwUlf0ziBnzXESn3rXFOmXKoEVrsECNe4j50TzZ40FF/k66er5rkfeH/ciVo25IThlZTuz
NO3pXBhATZFfVdujwUWSd9VM9FqMg5liRyVLxDRANVjjIDegfbHkY+DfNF03ZjsyjwxHBiIbal1O
OT8BJTKqVwbI32uE3kljxFh16hIW5gwEdyzi9ARpOA3ghqZjWV9GK5P9jcdKLOVWlyrjKWbVrCsv
XZRijcsDgUGkMDt/XttZHjZbyTrqrkv2qPQ+kiBlprlk8e6kqacOBNwwB5+wr5rsmsNQeBd1Hzun
amrm58LnEgsBNmLhv3Hd0Gl2no4D59uoLT6bRrF2IIjCO50FlCfEfxI5rLjkWPuGUck4zRl+DNtq
vf6B+AFoyi5yq/muLUhPPqFsl9kW19Lgd2uuzp4g2LAYWfliKWFYtK+5+MS6Q5eIRhIpz6KJ6+iI
16QKk3WOQXdwd7PJN4TSXFC+gVzoucXVpRvO3hWNth9s9iZJfMEuPEkXx43WSX4lsoS6e3a6HMcU
zEF8xmuHVd5cK8RsuEh8w7rYSWH6xT42y77h3sfGbG4LcpgjBvA0JeI5R5TtFRsLVf6nnyeKM3Vp
TTQT4qprJ2PrJU3v7Z1QZ7syJo2TbGQv0w6Xgz2olWFHqqSI00rDkz9yTHnxRzXUnznCarcxlFn1
zSaLooSn5cDfxj27wUTpbYgzOLkI+lS77+0wEF9f6ZI6hOXxFJTyE89KW9nMqQKntelsZcn74uhF
1yp9ReZ8ZJGUzUMYsGCui0JjnyqjKoyf8Qo17k0PJIpPKrK0HbwVNXZlVLkuj4MHJtoUPK4A/GZE
7gb2OCD0sgkL0FesubfJsGdFT3cOjXm6hO/YTBzQmQSPXfJkaD969cLE2oK8JEIGK6Lfo1Bq6h8y
DNm07sgbUAjjdwe3yrOFyE+hb+SiApMRU5nlMhd0X3UTxkxyCPGS0vBwKdm4q4CynV1JyGmnwVsH
qyovUeu78V33y/yvliCRVKKuRpsHQGYnrjNRNUd3DIxHswzAlgkc0+UIccWVXslLjuY9U+xkcQt5
t9A/7LUf++7GopRtE2ltYa9WrgPrweu2cFHJNRmOf5rwscMkDmdmyiMLCyGbdDP3Zps9OCrMKDfE
MreiogciofbhSEdKQQLrHF1ePYfg89GfpXkUcx8c4jy1Dja5/G2CBQsVfHixJmJsK9dngOQXrsYf
Kp1zP9bTCV8pjop8GFZ8JzhxCq5qp+WzpvfKJWVUVM4HdSvM9ZIA8u2CrWnyjtBdofR9OS9dlnY5
HWtywVuGTp94TusHUggkjoFUbMoZv6yFV/2BDIvi34Xes0OxKChyqapLbRY4oJiHebfJUPvsEmya
UjtzttY+7NB+7Rhd/zwPVZ1v47aEI9L3wPfWtgeCZMsYzPryAwxoySTtFwGIkUAiKBsKFQ1tMkzF
qd3FTduvZqeu9RZZ3HlJLTE5O5JIDNZk7YfJTT9MCbQVFt+Ja75hAEfTd7QpHFWQIixUzWZIdDUT
drYHzPKyrnqMeVifQrqQPuywDM6pPYijGDOmtb0f9nu7UoBjlSOmA8BTQqwwiZNulfR1d2K2NLyW
bV3etU7NhorfXj20ulxab10vfSoIqhKxCnvxGgtbPUOrGE9R3ZQPhMfsYzSaNG+RxmyOph7Z+dc1
Tp05xdy8hnErybtUlbuFvwmPopNp8JPopf/iWLFWa+YnxI86AwsDoxINt76GVFystCKekHVJe+AH
44bXvRlTo9LKbj2OXmvtOnzcJ0Yr0HBtm+dWT26WwpCY0hJcWRUVuXFdf+9VnD5a2eKW93U3v9p2
6PJAAZ6986Dt2jeqNUyYkmauIYLUZXJ1Um77k0LbfG4H3dyzoMMcsswsua3HIDu03QAfYTTxYDZD
P8TbMNE2qM4MLoqckNiwjNN1G9puiNLmR8PA5zuR5vLBA9AHRHruLKbQoEZzHt9zBqtkt2Lrse+o
vO6BpKyj1Al3TT06+zoIS+Y9efyUFtk7bY2S5kZAOyC1a/uVj1Y7G9pnm43Ax+ZtzNl3d4aIpn0I
Sf6sEWL2DKjCjUacRv0iG9Pf+OwP73RsDs9u7NELynhzgClRtCeymumFoqL8WhX51aCp+MfA7Pjq
Zlrdih7XnTlOzoHZn4vgOnggVWMoFcziOfKlUhAESeoLuWEusUbg/2e1MA4VRq5bp5yNd8VBBWqH
Mc8/uFlFDhLGLd4yMFfvjiyGvezUT1GwweTX6XBc4CAiDGmHA4er2E8OMuY4ljMtgO0ch5+YwN0T
2Z5oUxextU+abIbxatWcr4rmKlocOZZTfXRtOqgdQN50Y+AVf3TTCtBhTpbTmDooTpPz6YwEjK0m
P8PrYHo7BP69GQjzqeUMcKI+maErTrSbdiDSNyvMY4E7t9u4pwHIaYLmxkjotFFGS5WcJELjyco7
OmZf7XPZOFsrZ6iWqVavDakv6LKUA6eUIOhxaBbvH38U+/wJLBX3CEmcN4mLYFfJkNK8xa3WxhBF
eoWgSgEHu7G+wrJH7pD3whsi85gH2FnTH0SpIviThr/te4M+JKudDgVkoc0ERQj9Ig23uU9cfT9a
9vBjGuRzhbWSmlg3PNF7BcPLnx/czPa+OGOVjz3nyBtwziYhFRcm1XZQAPoDyQZ5o5quusWmV3jU
HnF3rZgjq3OUj2aMC6dWwBsIYDvYpMrJhdTrGE8Oxyu1JwQfJ4ek8LBMVcQkvrP3oSi39aH0T27+
YNqm+DbVutmT0MJsp8KUQ5llpS9qzAB1O7DM0iJwHph7wlolvnGMS/HWDX31QMEw+ygd9HdFpYfT
NAMJ8GvPOgcuZVQB+4THwCSvk5Q53U/j4u11bPWq3VqtGzszbmHTvyStJaD4Tnhk6RZyN4WfwR5j
DVN16511JHkTfZX/YClrmFsa42tJ/DVdy8HLjjO65mbC1puuC9c1tpnqx5ux9qYL9zbZ7l76l1FH
7ikJ0g+Oxsl9yjFkPRJbv8f8ybXOE+owFsLdhWbIpozrBAOJ0OkxL0c4mvQrPjLV6W+W2snq0JuT
WCOP59+lNqpvldaa4AfdBoSzND5ybbwXtNuxhc2KHVe0lx6UMGbYZlAe8OME1lfNvGY9e162rcBO
bZmMEe3w6xhuVwrLjSXHazjlsTJuZVn0XIzYeZu0fI0wI9+JNKsfXNdO15FNz3NkTGaxArRw9WP2
ZmYxNIeq6n8S+6zbda+hqOybIoYmhHD/nTyUXJlOzAG14LnN9Td2estu+N3hx+agiLFNJaZ1ZzVl
STUuz1pTi+ZsSw22vhfyxoHyuoSioYnMuScOfRTQbh9KjXM38/BatJFN8Niy9y0hQGAnbAAfo0QV
t51txe9kf7gB49n8ihA02NkHHFcB4mCEys3gUZqteUPCn+axkT3hpQBXsSPu05s4ugr3VOHG2C6R
tX0oDQLCsEjCzDB3YdXgD2taC2cCR/T2Ex6Ls5wme+K54IKyUoJflYn7vUlN8T6jxUBn71jH2O/z
ganG2xE21Fs+gM9M+q8wiwwsktJ/kLNVba2BapYpyPG+D9paE+FraK+qgaXKGlBQOEJ0r4m+Xgxs
6Rb7aMd5ZbrU3o+91yOJkO3MSu/MkdZ5NuppfHebpkAO73O5HQFkc4ryqrc8HKY7pfHuYgXMHTou
mnl2No4LNWRq0+x7NmdD8zZN3OXsjuhrtAqcf6uiLuUPPw/HTx6WcF75Yi9Nj9nSLn1TYR+b5GNH
SyOWSWWWl4wUGCsmTodqbRMY3GAzSOMzklEQ4vdSwaZJUY4+zCGsvIPNYoefNHKdVziKwzP+aBzE
hM4j38Bvl1huqy8dF3bXvo6u1Q8aNJwkaK1jmihUiwt+M8ZNNMJWb8bhOlmR9QodwicIJF9rnrRX
s07zT7QSthxVCKp/gdxqIs6QMOC8VWtCLkZy6n+dYeoIZeCmAFXc7KK+zeQeBaZ1VzjsfR4NHtuk
sxYx/1VUsHquhC1rvZqngH9DmQHd7ewbnRm2IoG1mobKujT9m7nz4nlT6F72TyE8jmvWGoV7rYba
dL93hS3S6zwMU7AN3Aw+kxebbbEvMhL3xKK14k9N5PqNPaaK1L/4mi/8YRL2iFBcmHnCd8Ib44wQ
V1T17Ktfx2cW7mD8YUQ+PY8QVBwYinXqNvbOwmPW7NQQqvwzxqA6P3hwDRH1qhkyyDp16RzGpwTF
46ygDSVn6Am9d2cbLW753I7idEIbEBH/kJaeOEKZodIshiMMofCopsUV6inl0dRnc46fE5LO3wmS
Q2kBKcXhsZtsQhWrUjSeOrWJIcZbcGgc/FPPtMVZV9aYLtyMyMjFamrw7G8qHeI3VH5g53eQiSpz
V3oUy9z1KXvpo+6yKT8rA3Pw1vQHTx46VhqTejh6TV+dELq5XFv9kocgWhnIvbJa0e7ZmiIWALow
reMUM19d4xdqwQdIZ8pPJvJCt5GeL9PrQIAv+TLiuuIQ1LNDP1ZWAR9g7kwXjjwaczt9zZaqafX0
SCq7X55jJyXFRF3D9UQPIMqMXZZ88LZR8/fA793+wTEzwbkUDg5CuxvAb7pkkamTM1ZoXrvw2Np+
YzFOxB17oaRmh2zpe0Gb+Hsa2a5DrpnTGm0koV2P2zjkaMydU4Ebxi/V4yWZwCy1zCr9oXa6YGWT
zfzS5Nf7pyH1bb46cB4m/8CEsFwsoCoc8BqOVbJ5ogSW00gVhPiAAraYT40VUGUewI4kEDsPdK80
kSfJbSQsUlbdzvY9lVdliVmuEsWObTKwFElNkENyxZ2LOxCD/J5RU6YIiwuVoThlcWh9C3D0k11p
wsGhTIVz4ozp2SOWroEQXGa2usbWVoxarsXcSL3iwT8DrZQNFmQokMwrAhgtyFzKx/HV5e2Osk5+
a8QO/2zV3ahAR/aLcpaGfJkuVSbFNoCJPe5i2x3gdOVJEVBXYNFrRSCLvRUL36hPRS/5U9LrPcWe
D5PUqRkUQHonABtwZMcDe2sbuxjBNvLX10qhRk2lQtbR+6J7z9VwIx1TQ20y+vliNBnelBJeQL+j
h0KJrT/3Q3FDiBvHKn1OxpmLy/BvulqWx5lXrB9kYqXVu99YhrGZPDfdI2Qn1YmjJqx8/EudR4k4
KIlDxsDYfABiQkEnC6EzbwAp9smNBmDkIytYTXEl+QO8vsnBx8xs9heHme/6Fw5GND4rMx3zbYV+
nJycVsSIu9KvX3s/L4KVCW0Xdc2y8a6nNC82P2SSymxjyV5/TKRM7kA4Ku8wCatufsIylCmb0pKv
uyM3T92v7YhXL8u538qq4jAl5rD6afNVv6MRpTisCb9PO3f0VbkRMQWzG4x6ItgudxhLtOJQf8iK
5dJok2z6+NfN2dZkCHjjNVRus/1lbq5FM8yHAuzPtIlcgTCYd+XcnIikga7K2Ci6uxYOI6EAXRVi
myZNcrZ6OnjhP9qAy/Fvj9PJpY4hvLVBsehz8v+YO48kyZEty64IJeBkChg3N+LcPSYQ9yDggCqI
gqytZr2xPpZRXZ0RvypSatAiPfmSGfnDCAxQffrevecS3qGHlKIDqtsubXLOlT14FGWsariY+GNx
y0EFqka4+31QIMHHinAka1Qme083YL12+ohxrXEMFN7CjN2cC2fT2QE0ZnkHhiJV9Wa3A898Bq8U
6kxbFTROExztNLsWiy93NU3FTyA8uywQclfJdjTx0oHfUb2/EJZSYJpwetzEuDlm6MkhA/86/5HT
2ykg1QDZOznAe5p5BVF4ajeNWdFZ1xyYFxuRE3wo53q+g1Wb33Kl6OLrUWABLTpPRU3dnbejTKIi
8Nzq4Cy5Lje9DYVuDHvRmPFL5qWO3Aaa40McbAYqbdbpKh4vJbC07ILIJm02eHy5I8y+z6ztVCrm
WamDzhMPCoJVvoOoNDDJRQZuGPW0T/reqPuQgdAeOzuyVPt8z3EjeAa1A1qCJ1jMcDL0nuc1b8D8
VUsnP3WVcezuu8xwNgYtsbdW4khDMwr3Kfq5R2j5zEWeqrTMsYvlxqOTuU1y4iI5zX1jzzEtC/4f
/YuY0949/1wxPWkWxrNq9SbfTIYOy3XmZGGBGLQtlW61buA1Aw+BHzwNPNyswH+FUC3Tku9Nfsq9
UKmdg4Ox+u6b25pxv1LseKw+btm625k67LmwW98GXVh278KAo7FWs7/UQ+RhV8LRAkDBpVLmRwbS
OxP2pu1quKoEHs4xNbFmgD65Ij2leVLO/aQR8pBNwUWj8xmHWZMM/pfS8Z3yZOPv/kqbQc53ndbb
9grHJmUGFZGjHkAa0ASPTdD9xFINksd3atTezjVX3SFK1ZeH1vL5jy6T/oE2CHdSRl5xm9pfiXhG
gbHJdDbJIxaxWX5nPylh2HPJgKyE9K8X7dxhUiUphGwFfUe8+K0hrA0mssIVR+h4Qg6KU8X9GpN1
caOAQb658/FoNAhz9cJYVjBimyVdNZMJNXll4G8ZxiMikFmo0PEbSGayQkcOHZadHuuUckAVjO5t
ps5wIGBEkAWOCkKDtjn1cOultXoEOajEPYeJGTeD0Ts+xEiUzFGem1W1E3GVv6Mfxl0YAmRsbz3s
iSnHrq6kb5xv4W1yzUmvtw4JQ1Oa7XDocLP/rJEc0ClUXXPi2juSBG7umULXwX6NvPZCKmShvqFC
YwXQXCPVbiTDORZfWpLLbXoBoypPSa6J6dEX5H6vsmTgPqvJQlFPuE2cZk/rQoidpmnEd5ZIEofH
hRRzY6ff6J47tXjaC4OmbjeO+iwijPh1fhcrR2FFwwczA4QyteS75zH7/ODMqtVvCSLST08zc/lV
n5Hg1DfYiesRdy3TiRqAmWWqFyEuyuQzUN2Yvo3QDuIPZ465N2Lam8EPBiyT3M19Gqs90utsRVhg
QXDvmDKKOFpopYtTl1DIr2OF0elxpp+FP/J2YXdWl2n9XQ0xpj7HqEbEhrQ0s3h1mPMTq1LAcAZ3
kqYu1jRiXk2b8SFF1ze0UK7Cdxs3vhvVs2SkWOYdJ6rOSDE1LtUVFqnD4ws3T21nPvIIecYq8uVe
xIyljw1Ip+6zqoeWWCs7GUGxLEyhhmMrTNHsWiQvUL5lkeHCbHvTPAs65TUGslKRtdOMHM/icNGa
fn5rnBIyW17XzniqEKzbD8pgc9xh7mRtlpzQi1MejO4C26gERbSG6up7E+nn2I33WQeb75rHiNPO
/oJE/YZXQJBDU0QYt6e+t7T5yJlhGNa6QU/k1XNAfaxpA0O4Wpc5qHkzGkanpVcIDCQGPQpDBQtM
ACOIRPsKTYUmLpameiM4aY1FPDo0ZArdYb3wtkje/6w9+U2Uczu+O5jPPbSRcNjQtiFN+Zsox6Gm
hkvUTlvkW6712NvE/7zW6D+LjynFm74NDCbuVxA9PKMBmGf3/OcPYPyqG3N0ogFg0ZoGz7VrmCiR
fv0EhUUDX1iOuPtZt/0cmlpC86/aren9YyrE0h+NwuL6KrPFIjAxyfE/5yIdWoyqTvsAVMdXx8Ts
q2VTsopk15GmjHP9h0/6K8PAMXQk1LqPIgqMATrZ32WXRjMbNjZH0kR1ciD3qkb1spelTyMrYSyG
Y9Kt6u8Ae4d7zi0FcwWa285O2lOf/UPEzq/yPj6KdZPs+vxwN1UT//DrRQNBQ2i3a4xHM/ZUH0mj
YhxLMWbxZMDZEu+ZK3vu3j9fgV9ZBX+9q8fXdnUqa9ek//Xbuy4kHxIX2hNZRC9jhdkR6pzjsm4S
kYTf+4mJSw7DoLaZPlLO8OczQAP18OePcbsj/iaX4svzOzgGtwviReAIvykNrVkw5uTceDTbpuDU
OwgEIzcqS51O2z+/1W835+2teER8fm3kYpy1frs5qxqzUVeP8qhPuakdpIUUek/eDhmIWKCz5n+k
M+crIbbjGfDJwaYLiO7u1wss48QlBMzExJfTOV+Jn5fQSF3rWHmdVj0jX7KX/dw3LMd//qY39erf
Lyobo+2BCOFLmnwM+3Yl/rYQaK5dWgHnjoOrGTmQK7caVyZ9fPfSZJj9tj9LNJkMHOn//M6/X2Pe
mbqEbw4R2nDN38XneKASRi21OHQJY+FI9hVP+k+tW0oGxn/8pP8PxKP/XajLL/kw/3WEzP+HuS+m
xYX/T2vFv0hLn/7Xv7dFNn//O1vmr7/yU1xq2//mw25x2Nl4+i0yVP6PttR0/s3FwcJoAe2ij4af
teo/IuRtwl90biVqbFZ4m/HDf0pLLYfXczCBeDcLDEga+3+Cl/l1OfRMmz2WZ5R3R0DJW/62MHnB
0LnCJksRDvr7kI53qgyOFQY7rFj/IAP/aYb4v0/KzzfzeTH7pownaua3tbcYOrOvJRNCmKPV8ljl
wuDerY0MqVvfMFc1obcYp9QJ8h8QI2t/W6XWiCKrG/yd3pHLBmvEhfvpo/0T95ovB2dfJEneXU2A
HvWOxOw+3TgLReledmD4j5xBe7lzvdE7WVkpm0uR9uYdbtc+OddpzkhkJONBHlOHM8hmsc3y1rfx
k3lF2MqtLtF0+iZGTjRjIc2lXjGnvP0lxyQYwo4dq9j2Q99fqbM8Y6OsAiUePBNZ4J6TlNr2LTr2
psW6oAXjlfqpVnnkikq8BwXJNUxRFovMXWI/7LBVKZciHzrrysgLSKAo6COFbrtA3ZS8APA9UN2b
oFl0yjY9B6Hb+3qqnUZmvnuWRYAGjPlHDPckgBVyW7uNUd0pkTm1vSoH3SMsZXHjfk9WZo55kX5H
gKgtg7Xgd0bQbkkZy4DJjZo+RR36XpNTSo673umG5AW5zFLvQcvYr7nGfMRWifaZ5NXaMLR7oRCD
OSafFCYg5E5TgZgAbhGa3ULJZpOijUSIV0JhtRIa76h8b5uNA7IpaKel0YFKTqckdHsYDcJ7SKAN
roy4fyGHAcWNnjQratRQS02yJr0nd84fNEIc1q1mXrjHzVMnkDKVS30/eMlGxUwnK53zM7f+Xs6+
sw+IUQmzBNkUgxEaAHwGnPvykLnDIZhv/GtIDBanspDmEBk5sG80OJ458cwKPjkdMiYAo70ru5pB
XzHem1Z6zEycgmlOAG5fjrcleFwFpuevJD82Wp5v8QiVo6WJZhjyMOpqDqe421VLhWd9ch7s+iZ2
NZOPtDMPON9Pwi/FirGnWkkUf1vyRTYM0rHw/9VWE6vc0M5IXzeL3z7ggDwXCwmRousPyiATxEcw
qXvdQKZlS7AyoCPTOZG23pBZNG+9cd4tc30xFj4BgpU7BkhXx0y/Uy4QdNG2T+2gHq1BXzv1fJ5p
W4fVED9bvTrqxH5rdk7uJakiXL94P6FIXM1a/+aXSFVND5UlHRc8/svts+EY7ceMiCGwf8B794lH
6xIgXkssGyHQdlHVUctzQt8ufbXbBKZDMFyUzxnO6zWqel1f4ctkXhd8MzSYGEkwnSEF5tvU6b53
k1mGyTyolQ+v3TIxuZfLJr7pa0TRwVmpnsBWp2QwBEdYa3f1kl0hOxJFaSD7W/TzdKNoV2hveaPC
3lR1ToK9aKYNXIsqpKv6YooAZo/fM1taOoChA+Va/8YHvTN9vkrQ618DrViT+9Fclyz90ZbdA0Kv
JWTatG2le6zL4c21JmTFUI/gacCYcLrPtA1UNBCBsWHOZMOqjWmGthZ4V/PozXxps6wC2sLdp6Ux
WOjI68ntrLvrhVyYledXi5JtGwhxDaq4P7e5ykMF7n/QCB62Ug8Pj7upQDMc5yJ5EAapp6BFxzXo
M8Kn8cURNstIuamXO+T7TEEQpUaWVfxIMtDenQpeFupCxoP10RvEO819Rjk1TtlSfCe5hykiA7iQ
5tjGsQlXnXJCN+EmhiB1V6TnANb3zItaLP6E0p1TtdhmmruxqizllOojEhuCi90ZBzxP+yQujjri
5bAIcOuq+J54CJsx0U1K7lX3Oe14YBTOGCmn7CPOMS+JD17X9PCVCxSfHIzNFKGk+4Wi+mg6hU+I
hemhqacdmjfe0yRdb0+TcyedYt8hP+RcLXd5Cg5llPt54d0sAEaReeNKaKmxPBRs02RnVKeplvGW
A0FEpeztoKvu3cr7NrYpHONx3mqWDjjFS8gTSAcrIgxFQ8GRfV1KY4UGygztYIKhWAz9OpHmxuZf
73SoU5gNVL6HHkEK88wnTfuuI5690OHdx+lu8IZNnAiAkfiS7Ty+L73k7FbtV+lwfzdM4dA3Omsc
jmv4+sgZ/FiPsMI/VUTm0i9GtTaSuQLpqmPdTc6d9Newu8lWr+DasEnUZ+71Zm3oY2sQDLAEkTF2
2kW3KnJ7hhTP+I1tb92YOEoVm9LtDuQ6gtdi7hbmgTo2sjxIQUJ0G3g/rLFgNTAKyBN4+8s1XZre
p8cj935NzZ/X+hERfMOYMy52A0PynVln90nZvtumdSJh7Km3GIxVjbdtLZ3AJQDfr3Ugre/Qm7Vz
jVGHfkV58srmhIdfEDK3OPSE5o1PezQQ6ZM5osOc4TCuHFdePHeYiWKeyy38xg2b3+fiNe+0dWUY
VHLe55q+Ix1gWsHS3aUDejVycfx1OzZ7ElL1kAiUT2K/d6N0fqgmtSJTCVLNsZ9dFTbBo+EKa11w
IGeLrKunJGbHHBCUgrssLS4UP1KtT88oSIxwQFEYdCMKTFc8mM5srezMOC1N+aNi9rMJBgE/erbO
GXEeIM86hLkZ5DWNzlCIKIVtth0uQ9BBgUrmtl4lVf1aU6tFQnQ+Dz5xJ20wvMQBgmW38IDUpSi4
6iqeD15L2lYStHvmxTegcHbMuTeI1tBp/nv5Oz6zYS90582fRbDWm+ULvPp7jeUJVziEY3LFoNc7
ZAvgDrkjtG+JABBmKOilhmWfNnZaHPwmu3caUlu9+hGYmrU26Aje9r5x7aSm/YDmnjHdDT+fMJR9
9N3lnQ45U1Blb+OmpKlo6dmOQSeCKVUN97IjndUmJ1t0Ilj5+OHp8rBoGvpw5wY5czbH9dbBWGnf
Rqv8OkxTczam7MHJiFSNPUqegIb9C06tTT062RbUpobUwn1fiLPY6NTamz4lwMmo+NmlNlsXqyWq
AOcLBUsxrpUeg9yw1uRI70kfuRDO+DHa04k73L5zVXXzApYbeN8V8iEGWzTzQmsGUFwQnEz6nUHJ
7IEhKpIVY2baLqgFEaV8QzC8ZvpwLDOHtNyg+CCv9LK0wYUYpiehbLrJ5alNodegG/2KoijU4oTd
rYGCivxjt9COcU3rvl+q7WzabxNA7tijuqCQS6PeJ2x+KvWPHgFbiGHmhW/bhL6cPrHKPNOWbUOU
dEe6dE9g7B8qEyKSPbgq8ktwxkPLRAMoBbdi0N6Ue/Jd5NoEjyA2zwBo5bTP24SizGYwPGz9dhLp
febnFdsKQw2A8u5Yf89G1DuEokplRsVcVg8Jmv/pVLHxGFFG7hAquMVxjiKrdOKbCSzWANhanrfj
fKvXH0W7FK8jQSoKEbNrsUPaSWCdusEGBJtasPLyFsQME+y67i46iSfBPzTzfj3D304mga2bOu/m
BQFIgd+6FUltcvkYWEdN5VHzorpoVkhQ5zsy6WLoYmRfthHT/+4fvP63w9/fmge3N/YCPUBPzg1I
XIn1m0n45toaMOqiCjUaXCym0OwMUE8vRVT6PtlmyLm9PMpnuh+M50DpAYmrERCQy9OtLBwvj/Qk
1FaTpfVGKFK6YT5a6yEIgWS1FIR9rPyZkC0KwsU5pjpbdWUVoLm0GbHGjS6gPwFbSkSEnmT6h77f
v15VTrauZdBzgoOAfPfXzoisvZRGMnzQvmrLl84JyhcwcTu0EOzC2qx5by6qE339t9P39ed58hdY
6a9mxb9+THptjhs4NIRs/3ezIvO33kr0kSzpXJXZyq6F9UwEAvO6dpqYJ7UmXqWwITMb0l01ccpA
CKARv+560N4IZ9b+4e76tVX88+4ybwd20lVpUxm3Q/jfOkSKVqvSzFYn7ia99aNq/zgVnXbKOYBe
NSG0k2y8GEToiALjzxfjX873fzUd6CQYMCVok91+or+9NfMXfwgs0Uc3UMqnSnxMH1O9tEQUmTm/
eustrr/683v+fk/TVYWii8bJpUOtB7/bvXHotbhmbGIFyuVQebs6HtZD8/YPb/L7zYV3w6PZRw4u
KgeL5vKv38wZraWrPExbxmOwKVfL/lK5q20Xfn5Rh3rTvGHtu2fTMORKN6PI37Hob/78EXi3Xxvb
WE9pcuDwpJPqsQY7v3+IIueIR5gsSYapPAZF84Qvj9q04GRieU38CO4SyJ+Gay8tLqJy9qJn6a18
DPhYspaQMu+2L0OBlT3LXOMF3WHy0h/o3/ZxMpQF7eGcAqqxinuzZUyIeQh2VJu+9sgUWeZtsbVd
bKGoy5fO3XQ0DZy5eWxK5+Bl7lXk4wpPJakQzblvzR0BBV3oau2+kVZDpjzSU6ZSYa989msLLH9O
iXjnu4W55hCPJqUar4MVv5HcsIYF+QgR9utiIVAiT4tYk/hcuuNr60wHp+QqO7N6jYfx3eymdxTG
r7FlEk9QHzVW11Xe52uP/nM4GXKvKg3JtxY8JaO5IugJVre+KTIXjfK01w15CZTtHTvf/0rzeLP0
JJGNCV2ppespQ8r8EfLsWdjuZs7G7U17dUsgcifO3oH+ZYzlI8PuD2LZ7sYi2c2j9YC6OxoUBh5S
ht4rQpUwsL1yVZ4aNQwhnuuNEyDTBipVac4bFRqn5uScove45dzUWtJjBR1eFU6YIjcQOgmig2zM
sKn2tWB/NQ3AyLZQ3xu7eWKdDsKiX7ZjNh7iQIeuaDkrrYmfiXS0Ql/06yWF4JR5D6llvjk3rc5Q
vSxBcyCJA1MU/rZQQLzyQMqnSG2R5O6bFmW4CN7rydljfDlWuTybc/46JtmtNt4VatyQlvNRjeQl
DVbzYGXjYwkejPHxWu+ML5rr7fwOwoLBD6vK5QJc7ilNjENlg1/tiUlcbDWyPfgIn5Kl5iyT1+9u
RjMnyQfBfaTgOOrpIwXl89h3RN/wK0alzl3kOrpxP2h0FMb+QtzwUzLArJJw3cIsbsuvdWOhGwWO
HucNJqD66FYDcEagiqAcqlWsEdi8eIcJFVFIjMZNCRMsGH46Sk1/ixCU4E0o62Ah7gCqknVidffa
YPXneiL4jLDjs+V3Rw7CF0123PJz5W+01D7krjhyND0EC88ZkVr5Bklhzqx88bYDoK+1lpjZjuDQ
+YJ+8k7lxTaOgTGRRqkIGx7zXUkoLRxRij4GjHu71Z5tumN7Ww7aPc2ZH/i1ibwlKq4v+y+N3XvR
os0AwSqUdQNP2zprsvc+6J9c2MjRNBNl2HEtdG/Zsh700Tw3TpiyaNRVc4eUMoJvd+G6rqBIdvhb
QUCg2ATmPEN0lg3+woz87Eg3QVHJuV3bZXbyunhXNov5MiPQ4BWHp0Cww8k5XlXQJV59wWYoabPd
tWMAUJUyMXREX67gx/noqPvhCBjlR2w6h3pIyJHWmnQtjaVALm+fgjR4GLvhVetGZOxtlHTpEnmx
lUf4Nip6m3j2mthG9aPLgybT3eIT/GqloAyr4CRyQk8t/0nXrTWSXyShuC3IstNDVzkX3VVnZ0re
O5wJgyG3rTntjMrZCtKR+w56YkyvcWnmczYYlzhwNiZ3SttkH43oD2WrrTGCrRT9CU1OG0xEDMmL
C4pJRt54shp9l5X2dXL1iHyOYzcnDnlZ2EtvSWC+8T4sHzeN7bCI/ECGht1u7arU0teu1dW2HxGX
exbHg5Hsoq4etDX4OSH4wgkfLpPrAZcuWa/fXbR9BLYESDlLhHrAmjJSljFnEQuFYf7Dg0YLjS8B
sNfm9WPpZc7DMOYtLWEuesDamJgCVbGq72WfibOOA3o7B0tBW7h4gSDdcfPPBaKHdCSIaZpISTXz
J4IQJag8/1uvGftFaTFtFIhbsA614WaZQ9/vrDBl9OOe2It4Pbb91SPBIgJpqv+YFpokh7QfaHDG
Jf23yddPTcFJwcca3GQOmUoJ2gMoZctJZPqzYyrjgfBfSI24454HsnrWeWejeIKffa1zowxwoiTj
0W8JnqTu7T8TPFOHPBczrUh4isztiziqidFF6tRfxrlENlZiDwyyI5A4goB7kMONvyzRcnNFz6N7
ypSSa9hKd/7oXzGb2lHM8WgF+YnA2Zj9PRnyQ51gn6cWMOh+UNqmRfvSd9abBOwX4gQANO4hHmhd
qR0sX0KDGO9n1d/Z5IIMoef1zVeimb5ZVT9ujdgl701qNIFxa9DdMsjifA901UQTbEXts0xvKYxz
T89TLQR8zI1810chDipDAB8CYRTdQ2UsGa0OSIcXelX2d9SY/aYzwEKtc4nHHGtnjQ2FhV8uxxkF
i7XC9DAQUeiD8zOz+NJyaNCgr/apohsTkIDTlaidQlXHQJ6S2J6+ZGiUhkR3ql3gjQa5FNWAkyit
V55WkbAFn38koaQDPZVBJsapTgTlif4JuBD+l2hS635Gt71p4phzVzuKBvh4R7ZboxZ6p6VvNpd5
6YY3bLUS7aGRxCui07pVbvo6vfLG/+wGkN0FkZQPE2LkfYJbFshEDVp4OvtEOuE8cCzkq9TdwYOi
vnjqEfUcWuiYIMn7rLovhpkbGZsNKV4YtURc3HEz9qFop43dpVfyrrytrzUviob25FtgbBcTvTtq
sHWO4StSs9j6xO5EDS6K1xRNgxEMDcFhLICZGt17KSscjsoL3vBAAb6zstj+UQNvecJ7acNssJbI
nnJCeuMoyL21LSReydzlFaX/IhucExq3Y+SR8xJJ4J2AgW5ZkGThlo+UIiWk+sXfp7jlHxCYps/6
PMzAAhsb/Iivkj224Ok0ZtJ+rYcUATPpJxuzws9C3jETmhy8p4NTIPLNeLrmxuhsC3wbOzsYih5F
2WxtOT7InHagYkE3MJqFFs/zTgVCov29sWYTdUe+0vjGXMwlsm947JphOba9RguC+D36IwU8Dtb9
S+uN8uA7OlzIhgIvags52htK7HyLhWBTWvqxcMQHl+Z9SoNzPhBO2S4YVsU2X6Ytkhb4Mx6sBdgQ
iU4/vfV2GdPN78pJ6ztU1ZvcqyHI644+7duhjbcA0RHWQS5e7I1lqvIIiJHOKI6v8CbNJ5ErluDZ
Yn6uXDUre1TLHl75fYzEnytfuhEmAXFtvHnrx1l3XxPqih7T2HkQKpqsFHtGIjfqR9kch3E58YTM
wDWHdq3JkZZ2W3yw+1c7QsbXWKj9DUztjx6UM4iD0sHuPl6REa9SdLlMBLwwGYfvies8uKbWcXRp
D5Dx7kZzHCM63tfCD77KPEC2hz91pjdDUCS+baYwoFoTY5fLfNVCIL/JnjhkJ0SJ1W0Z5mNwQPOW
ML3qT1gfrzfXDGjXYmerQEaTmraTnan1lDDSY5bBbpi1u4TYNMSEy/LsG/GznRA2xNgOgmw9PpHp
ShKz07DvgnwldpQQs8ig0xB23WB+GSnCcFxQUVpjvuyQSDEgzDPovwLJOdc6cLLrMDJz7RaLhDcY
wWHhkLxbxtYJzZy91ZSjv9Gu7A8xEHS7JkpHmEG57iX1K5EMCUdoWSI2pj1MDNDSOt6eq4BT3JZz
1NXebpz8JSInQv/atikqSDx8/bcM+f9Wo11x6WvrviztiSh233rUR6KzJNm/oiurjVPZ9Rd37E5q
AgeOd3Y7WtpyL2sq1cQpnjF1v/QOOYWE0sGVWGwCHGBeEHo4hoU1Q5Om/5uM7Rff7bs1Nv2AEFTf
6y7NMKsfmGLEipXlPc+Vd0AlyYKsqzeSZTksAIC+qxKeo1iX8w5ap9yAdhFRjJF7PSbMuToTeCy8
EH9TWRi8QVlfgdIuKHK9c6M35bdOwPcnJc5bGZ5YW391G2Jk8MiKC9Y8qmzG0Gj7gexC0vDuG9Vy
ucUmgc7gJgDi4OARzT0a4iHroLj05brTJ4jcMekSW3Db/mefNZwZNRK2muZWlCSzu09LhSzRYdfL
otK1k0fLUuUjRojxxVV9TWgbffjhqtymKUjsrbXV1Jfo0gloGYeZXqFrs5mjQU0wJOPPO5hjfDbG
fD2oYEt9LXaLld0zvgzTpru4i7xMbb4uNPEwIAYWtHW2esNkq/UYqbRd8KMtfHjH5GC92qOmopFk
etp4+hGrsrYBbi+wOwotGuYEBji+hQi2BWyDxVyTR1KRMadlOxdiOkvLhzKILsCSdmpM+4g4+EBn
6SujDHvNgohhxLPXvst+PdKchO8rcIaNckHr3l6hax2HjjugUfkjhvc7i0knngVSVJoR+aVTR6Zg
juYl7VliDbpOdnBEYVo82OArQrOmdohxUCo5XkuM0+Ht6CUZRchwKKYBBaP+ms09q2Ri7SelE0AT
18aqNc0PWZrPDpFkD0zeKajsfnz3jBlPWdZOXJgCMfpYvcbw38Jx7t8bLSUK0yztfZYtT1Dmm/sg
SSn0bctfj6iBw36u4w2Pz97pgibKYA1sSAHOQzdOJbPXSV/RZzTOHot7lKfpm95QLgITZVTk5HcW
zrw1lE/MecOJjY+sNXjGBLPF7tF0lbUxmYWHQWbeJ13wEGtcdun9aJHHRl4e3HuTS0SNdKiFmiG5
haQdO6c+E85pbvEQF+tSJ36z7q/pAt7Wbap9Rm0TpgEHImIKF4IBM3I8yRM58OzWCBv64LuVadeK
SnxAAhc5Rv1hde5REi50JflmhQX9pWcL5khh7Vum0Puysw5GzXjJsBKfh7dF7Q/at2d282D7+bVg
znRS4ApuetcmssbhTuEm3CZFS+gbbVRkpOR3H+UtObMDXTa7bJD2LBZ2ZbDCGLTLXTKAIohV8sh0
g9jnnj48RcgmFi5R03qu3WN03w+aqt7QaJKGl0MymDWL74v7pk2ZZAqUuL2uHnvZoq1IujPuO/9J
OTlD8WJJVugysrUodVykI1YraXcvUzdMcFIH9xAUKWeqbq5R6ConSut4h4n+E0jL9A24DNmKNRSM
qVg+9db0D0QpRGWav4MboQ1080da7XXRRb3uE1fbe9VYrosx7VZVIZ5Q3RB0U2BbYo1d15X14SDi
jjA8GxFU8HOXjsC4oXCuJnzgi8gOaSfN0JySa5nVeeQX/Ey9pm1c2z17M8lGt86DaatHQmQvXKFs
pdxqB5ZjB4nHDMl1PhJ2NEdOLIutZDmm8XzJAahQYYvgQqP2iz4vZDHY/vM8GD+YN+LQJgVGN+1r
aiiwAkX2VtIHJCdh0tbZ0EqmYW4dTY7pbkciQUiYZ+oChIy45ZR9KmMQaunyU3R0zfue8ANK/XNn
21c61TKqRXHpkEGGuc31dzTn0/Fy3sKz0/3i4oORQjwUyiJnloRwYCT6sa7UtihT8BNUgId0NOpv
ZQmtseevKDd/G/AbUDp4dw2P6qlE3Q5Jewqlz6kd49zZJHEq6pdsWqWmeJZSf4ashNNoAq3VWHwQ
c1rFDrEPlm0+GU52GQQPtKaX94y9vziouMliyY/CmuZotCQm2gEj6tST9uFiSOaBgSbvTMbFEcW3
xObJyRxtlRLRw91DiVhJHfERzlbA2sEUIl3mmOM7GolXipjrKV7PCzvK3Ab9yubPwjLGTzGL51SW
j5ih6wiHxlOnylf8KjuuooM7mn+Yy+sk6jeK3z0eoTHi7EE7sQXHMiPj4B4JILBYQxXRRmPG0Wtr
R4pHNbbPuDqyUOvkfZ6VlKmiPeYyOVn6uBvgfuxg6Tdhqg/XODaOqD5PftA91DkBq23nvNhd1Uet
ht0716vXWnfotJaXfEmfPYTG3ABqY8NZweX7YfvTc57rW7K0IX5Y1ZvblvmLbrtuOCp9k3Jh7pgW
kNIJzSZ02bXDpM/vpqGeQ4M2I7+4ne9x2X+Vk8gjcFkbzFXXbPB4X/XmUKDCqeWIUSHgTQqS2CQp
yppp00OjowQog7H5xYVSPiNkHwKo6xQ9H6ptdlCrqDxy0WzGMlD8K83ZRuiPSqQvMl2+83DbR7K4
8xVTqHKdxJIQbyhk6Ezu8Qw8ety5hGwZBI8aagN7fGcM+QXnGWNkh/gl0BGcA5kpUH8xz+dgv0nb
7MrBMONEBDzHRys+2xUE2KVsNkxM11XvFm9BbsKrtcpmNbIE2TMjRgxL7tpy8YXMms/tVOcfZdLd
Id5TW465G2HqmJbqEQ7MpK7SBeVfds6ZFsLDCDlegleoSrvAfUwqENa9xa025UR/r8n4i3lAi870
LUpnN9hBGaJ4tNv2izO1X8s0cLacsBZWxUmL7CWhJVP+b/bOZDluJduyv3It55A5HI0DZi/TrAKI
CDLYt2omMJIi0fc9fqdGNaivyB+rBUpWT6SU0svZG7wcXLvKKzICneP4OXuvbchA+lFhdYeRpdiX
BkAu2jaXDlvvjRFYbNqC4GK2stNZDKeMvM7CmvaU0fQ5CqnJuVbWfDdOYwOQrf+cpyRxQaTaCzs4
oOlLcI3zIix1CvqgVwCAnOg8WnDZJL394PQ6vuGWj82J5CW4YLxCck5qE4AOgqjrzkOvcEjd8V6U
4W3Zsml16/zUFkbsk2Z6a85mwA2B0TG3G1KICExh+kpbdDwLRX1ejc55FRgnotQMP8riDFHe8NS1
LAHETd9EhdjDeWS9HBwKpno4Hs3lgM+eGipiBjwELUCNsi38pRT3nclbPXIkFbuMSfCZa1rlkmRl
gpA3mpNqflixo0BmaLALhqdFh4aQqaNJQ2uCCuRKLuW0zZggnQmjuJnrkRwXM3SOQjyd7KULsnkW
CavSmXimMg+/xAMK7e6TqGmcmdi6DdO4DN2IzJO2ENeYXmlnpTLWDvMUfB0axA+yXvLHKde1M9VV
RIcKF4xAcIISz6ABWszXerDQxnb7k7JxbeROON2nVrgnUZkZe9JXCSVu4os2EbTHAuwwHKm2nVV/
2wa0ErKs19AREpqkNSCzlF5dwE+JNmZs2/4MOI+S00HR12KYv0cp20IoL9vLORPB5ajp5bZqSLbG
74+EAsdJD1LA7vFSdCqNTsI1uYKVc9/REGVfPuxil+AZxFj4LR8t4Caewbzv1Ihcd9eU5LQycl1y
Xw1Nczo30TUErIXMCPMhS5wZc5MTHFHysc0Xn4opeGq10j6uLetuqRGcosaqN7qTfU3zMPaihoZT
ao+fl5Xds0T2Jf7v2ddlT1jx9BGO1rBJKCBIG1ofGdxWW0ZmX/OQBHu9ry8qm2JEmIk8YiAf7nVt
Un5Hms9mmuWXLNQ1nlYO3+6gm0fTdaPFxjGeCtIlDPlMrnLiDVJnhx1lJ3iCWb8BQBG6QDKy0uuP
NUF3zPjLLZ76E+iwy4GE2juTPfwOyeG2Tpdiy6QQdeRqQyPhMtnXrxIX+mItuVZ5oAx2ERpOaWKf
FnslGA1oYzJXP84jrlQK8tY0knjb09FBpUc919jE2fVrWDdRZY99FJyb5hh6NGSVj2bKOu/0rjoT
ljtyYuZm01oR50w/VE4dnWu0wQD6NHS4jRlcAViZVHrKang3IMaD4Ba2qDWq+qIeizu7tEYW3iyD
HsF3y9JdAyuBfmtYQ+u0Y+Y7OqbKfG8NcV5smxad8kZv1kGSzbacCCj8BIfWUjqE3BrV19rBjvSW
HWtaHdWyOi+WnESjwC63S90g3suYe3S2cYmru9+w4GCjUQTDUYAbQ7AQjAW6YIN5J98ZFTUQVLXN
oLO1VWwIfRhWW7hlB8aPHwfNfswrMhm4OrVXle6dhPKAt+JGo3uehXf0Hy7cPs/OYesQk4b794g1
nowL1zyaCp0gYiCdnozMcj2YFKoiJDWPuVhA80kDKrbUx51b0c3IP1uBu6cVTrsJr2ZhwbPLYmVt
lNYd5wsqNTeYEHyP+6Z0b/EywNla5GdtHO7dsTgbYLdubbZJNCzmPvBmzleHHCr8GEQDqNCFbdwr
rsERxHC4d8pob0buW1X1s0/rne6ti5GRpzOinAzbL3kEIGUxC3MbjEQDdCbbbNMhlS8o7xGrbLuh
IJogOOsH8TQZ8rqZdELFAkmLoSXScu5CLzOG8wJ9kasWfzSNbV8RIkXa0HWWt9idO9SVfOMXxLLn
IonafRYMV+k4Sqg7qfCXnLCZxMy2tWscgVcA44s4zUqoztJ0eDDyhdUIO7aBZjaoDQZuOEitarg0
oi+5UUcevZkDOJGto2U+3+wj82YMis8j+XoaeyZAE57ZPBGUxFvLlbOnxdERgIlP4wqVUzVDt9Dw
eT2fhDRPW9ke2FAe9VPzRV+WLUFH22rpaSF1DF2d675Ooo3qurMUri6gi4sVVcZdc8yWZW9V8Re1
tLgn0ZIcZ5M6wh6LSnM6jnTzOFdRtCd18maZ0D21sjzpgrnY4beibi9hsppx8pwF4Utl5S8acA0w
mxfU4x/TODvRq3BtYxv3ocjQlRLOiYoMZ93FoiFaUak+njrKRrxrUeyZcrxL8vmK+qvbyEjfsdk4
cfPMN2u6nEKVpb1LRtvhxND19VKxXEiYrCTMzbTX8mH4XEubDUHf19dWWMHWcXgYyQyMU2IF9UNa
NUzmO+TVsVHlPt5h2vyT0/iFpvpsm2md/dJmMrxzwybcpUtNgw5juFf0ghjBQBTeYpXGVs7FnYyX
Bb2sjkyOcW+D17Efhap8A/KJX8DAwzgUFfvBJs583b3HThR4QaCegnCsb8qCBummj+zAMzIiVz18
J/12WKwtvgEON6nAIUYLUaUDgm9iK2KSHw178lRIQyYbK0B7pvhCo7ThaYyOYC3MF4taaTeV0PfU
dE9tptwLx6g+LSbTHBHE5x2wtg2v0RZp2hp51RE2F5niOg6l5RuzfbogM0AFAfsYnY+p0FhXDcC/
GmtnGOU8eea4ESnyZ5yJX2UVOz7cLwb1LTK1yarK86jSbUoRd480ei+mZdgquURIaq2nhs3S+RCa
tyqIrgAgnYXN8kQTE25ZWWvbxYwAKUXYhIt1+2Oo8GuPjJ2QIOgtM+kBdhLeq9k8xn1501bWYax6
D2P8ukyK/KHI2S2n7YmEl7fPWJ82aOkBUpFJ6mPYfKI2wQACCBV1rfMVfFLwmCys5S5JZbuqNuCA
1rUWI6Wz85YcuYJen9NemdnMVwi74mRMo6NMaKnPoIo0MKR9IXpoDewCE307PYpWv3vJZtDrE+cT
hue7xa4uxKxGb5JM+fKeFK3GtjyrnHROltqqhQGsmbhAeca08S3JDoOMTaoEn8kK4IfIuMkzF8X0
NPihVnwMi/apTnPKtZLRoDrNF3NDBh65fynPrNld9mUvtypTRDdlpEEsvNVpvBPjnthEqlqMOqlD
T5IKl4cRzsDmCHXeCrM5LNq4jRbYTF0wbTs45FB3CJZva5DwjpFvue6HBKbOcVPSIE8C7bwZkgOE
gY9QsGy/1YiCiNvwcjEIktLm5HMTd3flqObjrnUC+hEJQYg9CWiV1V2rtNhBOizBK0ST1xcpT4oA
2FKlamvRLWHmR8jTQhQKuls8h3r/aUkWbjV+TbkJODzf0bMGeEgOBQpKy0nSabuqL0CJzWEA/Vr1
q8/mE2Ka3qPmvkwyfTemdoCqx5y+il77OLc937hfndqMWYBckQnEdiraczaaZOM4yafJFM9RY3Q3
5lBgZChaFuVULozkUYdgzz6vCs6vwIBpJUibjVwDqp0ulzBrjWuJB6DbpK3F24bxtdeg2femJnY3
XVjdozw/tZa1Cmmpu0vnvs0JWa0atqupmzJFr3kz1nQwmDlhgKTdeZyVkUTstRoTFxssEJVK36e3
apRXaW7nfuxmct93uOG7Ecynh7Zo1bvDXGZzDwGqofFb4UTF12jKPWpMCZ+GYwpPuPaLu4srhaLZ
0ZtWXRgRTAl6mGEIJLvWZzIiTRXSXSVayTrJorXbJfoUihyK9xk6Ud7IC5kJUEmzXfJRxTLhmtFC
k4RL4LLx7SRpUG6nFPcJCbedq7a6VRAzNwgIg8iXmJGn2KEin3JoflBSQdfvSigfW91m17S1QGlz
N8w2/m8nLNOLIdXy56GnttHqiuW77vilp7Gl5narLIo7jDYwmHYtZk6LbVSSPMMCTor7YuIp3+RU
8MLvyNzpn/Os5aUPMsM6wtm8NB/BghLGV2b3NEc5+2Hfrf8MO4SX0LvTmf4zJuENoCXNOJpyVys9
en9fzd6QTHESKnPSB0o/wEuen06RMzQHBkNcGHDw7uewIZ9xN9kDdJ4QrftjrXfJ/DRKsj+fICBr
99EYiHhr8iTwtUxhHy0hRer1MAKu8UGspGcQbtXs6UlGNilWi/kMbnVm+g7lerG3xxCcOIpgA0EO
LI5567Bfgk5OyLO4sfSh28tAkRE3kKG+si77ifO+CHi5aWPP6tJ1TNc9SRfh9J+p+uLSa9F3ll6Q
sXRuRlji2qeELASxwTbE3pUwCVvQbIhowmntQqJlA18BZgwK+62JbixFsVEFVGeNsezDOUPSH7Sj
fmuqwI23GDz0ZQ9mQAMwO7R9fFbZSouO3Z48N3rFa9QOPRnMtxG9GVRGid1T4kZjX4EDdNJiCA6M
1lOoVhl0ugsL31R+02pwEVGw5Nl0VeZMpg+tierez2qIDIfQDGJ5Nip8cvRGGHgEVUJjBBChJjzY
gpO1nfRxeKKLVZBJr5xKnEWDoqoXIk3oW4tUimvQBtanLmzGeWvUPYoFo2UAfCUbLSsQ0yXExIV2
w0A0anXkFLUu/X7Vjh5E30YNephsDtjiYdzugYkMUuHzYK8hL3QU7QOEzMWGyhHGXBnGxYhd+8op
FfSPEI0IalyIGnMm2fqTNjQA6NBKhxlXRpJgXFC7n6ZS2fwusJBY1YtFHlsaTKDzxc54ibCsI452
dWD2R+nSIh8VA7gbhpqoAYCyBCwfyAijGzNdaMMIAGx3RRNGFiOzbClJeK6ckwR9z1dtrnrem1ZY
HjFYGE9R7J8lkgEkPD8N1ckAxuEKiE4beeVE6rDXWnN3B4jCpFxIEbTR6tMQ9ENYwIpB7/owVPmA
MS4Ik13eApzDOsXY0pliXooZnefNFHXMZtFHFBREgNTigXtRzx9RjOiPccKLZQNLHZkYyx/KeNPo
LPO+sgbR7NipudWZTBOCK8U8ZIQCVpydy5ylbG1DVi9G0S5w7mJ03t4oJqRqCYJe49hpbflRI4uV
gdqi8HhE44RQJ2ydPjlGVcoGHiJLhrIv6QbrqHJinA29rU3Xlh3dpvGEOHeS4wonkgA9qkOBu/wl
5HPT84K2Ce22KGPfAmVrCNgWM67CnWneAjirwC22KTnhspq1BXNEDDKTNmb0pKbagTOc8GbpC915
yNOsupwGt720TI2uTkTygLb2sOgxQQe+gxTIo+wSEC0vpoSv4zHoyo6tZHRsHxBa91RKiea8mfpM
ng1I/Y7MLMeoQ4CdwgBn5d2BsiFlItMKFk8xveLpG6JXQP8i4KJ4JvoAnTzzVwIhOb8ISFg6dXRV
+BxeVe92jBh/znV0Cm0RMPtoVlH7HEy9T1OqPsfbzBLJaOWu61pcL4Zs7W1b1ml9FM86l8WtpvXi
Oh24V0xDoZ8YhnEEhS86BcWiLkuBBcpkm6A8HRECUCiV67dydvsBlr6Isalo2XEbjPNND/LlkpYG
DfOqplvpNaLIQafHpEOUusGjOdAFNOlU0Wbbg7hnZavzcLhAmFV+QmzLEkJnidRIMOTtfGSQhNIR
kBuyPrKPCiovz2fjGfeJEflGg0+wi1N98JNg1lxaFMi5+5hxHn2fotlVwi5Pm3hxiGt35/I41+3h
E9gYZOy6pfMeaiaay2VZ8sItHa7TVNrjl8Yuk9yzzRxKmUulMW5w5bVn0WyLR3ROVP+VVtLDMKPw
An0NP2aySuB2mUSJGJP6ONqAsxUvkKpsD6Qqdttg1HHqOknsmJtwoae5ZXmBzxUX2Mc2M7bKZPX/
EVVdFVQjB+HkGhISnoZNGrXaQ7Ykw+c2mZDyOuN0idXZcXwq/eyekWE2b0edCIQNgYG8jkdwD+dp
T+Kep4vJDPyqLZ0X0Vbd+eBiGaMAJuHFbXlxGvrcQfxJIJgP5VTB2rD7s1jhXW5qbgQPhwL3Ui4h
H6LhIKGiLWwEnwgAsfGZs/MQLLH5CYUdf7eQVBCXDvutyBcs7ExeAi26dpuqRIzQquw2iNpTkzCi
bstenGq97abbopujT25b0+0SKjdRmqRRVjy0QhZXkybEo5WhOsiGPn+Mbb2mbWdh29ZSne1Ut1R0
f7I+v2Z6gtpOaJXho2wiGj2tzOG47Rv7Ja4qCqlZUJXgQJY7unDZPdLUCB+SBSqIQG6kObkYhOGP
+mTd9Fndakcmo5ZzujDDVo5VzREZ0XjNfve2yyzJYmWOCJk7a05u5yYonvshe+gRxW9tOnHkqA/X
lP3hpeRtdOUwN0xPEtUgDodIhY07cjHiNnbj1UxGUZisTl1VR5d1VPanECRdP81UohBSad35EmeE
14JLjZ7i0A3QjZhteQdcmg3mgrbHY9SXYgAecNgKfWmukEk4Xzns8MqEqMrVCkuN0I1W3DW9IgoM
xYmGra53nR35IsxIQCrAn8Lf2x/HDm1zqgEt3kXg8sgOtQW3dpKZvNKksXpyswbiMyqWpTlP2FY0
2wUd9LSH6cqC8800sTj90O8NY3ZpYeb6pbQX7kuqPe57fZoLG4FonngGSSfwo1s3lAetK6wXBvTa
hR5mCU19MdD+fv25IXYZ3mIIAWyEz5ownMr90sed/iQWLGk+7bnqOop6t8EgbzQ0UdAcHaeaYM2I
p5wVJisMbmOSEqK9AbYqpGGDoL9Nal4+xPlMaI4s/ppYn6csLIikz0D7H0vBdH9sB5qH6B3RXUHr
3YQBkNht1JJfw3sd/cUmLXULKUqSpI9AGjvf0hPrRNQ2q+5gZi752zTGDkWtgY/qUGw9TfMAJqzr
rQxYKp6BZ7YXwVmJ8xgq7DTvRKhSn5SN3qNsYBQIworLOInUwZWjTetGnJoZIq1ZJPvclUO7aTHn
Flt8mdnjWLB7h2EU4SuaA6DEMIa0buvS9H5BqCztjRHq9v3Ig8xSpmf1uC90ZVYeG4Voummlkozw
jKJBT1rjEXFHMciv3evJ6jryRu7ppmT3PMAWYkS2IuFGZd1E85X4cQyDes+7k/oZPneBSTHjjHQ6
zS3+1QnO0Iprvhid2CtInrpsRDwnyQZdNC4EvhuYgTQv8ZXlSVi4dzZJzHtc5uaNXHMspn6y7iPb
oLjMqbrEBg7Q/MnUpwJjIzEQ2MC76CpqJ4KCJkdejYsdNj6c3VWxjns0vrLRyQagX0Vtbl0tpERq
5ii6Uj0JogdjZT31dVN9ypgZ3UeuwlYQN3dNiUq5Ibn7q76AR3RxFT/S4bXPmAFQsccCzSqusUby
0zZW3Ro/fbYrYCrQKxMDt0sxZzw/S8DeblOWTAQ35VL213o+N4eKbJBzppxPOuSP3hMhdKJtOEDd
uC9lOttbTBtc0CxPeY+koMjMI+FGEHO+vf3HuEdrjSWTR+sVLVcRvHC5wKWuPCdouMMH+izDiRly
lxJmYLGjVK++N5KLYmYIrQYvOOdOaYi8iGgzv/4COuE8ESXuXCQHSdlOl3YNSMg33HXnZvcWL6lR
lvw/5jTx4Kepy3255t4JwqvKCLgduizxmK73Cip7LI6WEPOus5dEntmvwN1udiYgpToRIlbfuTZW
mYETlAYrsgfbJy+oEWZsemQ0oMK2EEQsZBlLz85YduOQHlXRxN//tgowlAnsgwNJgJg7J60nDw1r
it/zdQHDZqBmi07UEDte0JF+dtVHZkCLJIslH4ZEFkHMK7uXEKYVy6kWRjjkpxR9aYojNJzo6dEr
aB0itJHOWnogq5y9xIC8TuBItPMZsj+7N5fz/loQtiw+4g6IVVqd0CIAaow+zU28rkeR6OGPleku
tJTpHrmR3TV73V71kGQFufslKFi85oXnAqVzlt5reVy3Hr1f0jZb1D3c1eg0n8m772Ayo+WAEDJ0
tvL6jkKKyLVgER7RahzbNwTaTHZGcQqUVU+O+mwNQ2hIn498jdj0j9xDNo3NcrLCLRSyns5UQLT9
hmxOtOfSdMObrm0CipmuCw9VvLLgdUh++KzjFDdHLeWcMTJCF71ZFmID9pEe40XfIAyU3Z3FDsTZ
UhZhIuxrG6WU0tbyPVFDdv/tGjYr6XmXtWHaHw1FKkhh4m+XHvtV94kp5WDs6QQxExZGC9ImJvqF
VcXpHE9EQiBi6Qls3mTEsji7BP6WPwr861fsFwK1t6dYYE4Y8/zJsGlysubPc+7JBR40rb9O3IZF
Y9Y3E+qc4MDOntvPbCbmMIii0vvWcLnlYzovhZ+rNEA1lIzyAp0FIQ0aoQOozVh4WyaEKT5+Qn8K
96iddOMLVb7zKa2DbULsDgoy7DWrmlcLw2ut4t4bw+Ke5JeJV0hGeIyJ0cNg20MrYuPOeXgdJkyx
cZp1qJW6F9m4n7EPsiKCHjTKXSemj6+2vRUcFT6X3w2i7T/+40fY1Ls//uPX7Kkff+IfZ/FTg53t
pfuP9Tc/lbDC4zDq3v7ef/wr0tWbn+HTv3+7FR715g/boou7+ap/bubr57bPvv1+jmP9m//V//g9
6fR2rp7//rensi+69beFSEDfMqmwSP5rjNXNP/93+Rfn5Z//56+H4utfl80//2/xFFfPP/2Kb1gr
9QHsmK5emXauYunFhTs+t93f/2bzX6CMuC5vEyRarsD2+x1rpX+AlGiwTK9IOEuK9T8hRe+iv/9N
Ex+ErhsWP+Y6DG+ogiCpvZ7t91f1P//8xgb8lrmnDIGn27R5HMGdS9Ke36GtgCNShDGMKdk/uWNX
EfmwtBMtYAOSaNyc4ZZmijl2yQIEPOvXO96xAIIskXEYIvQPyOVUfsdutb60cHnqwEPm5ctcD4gm
XKe8Ne2wk3/w65rvzMuGMEmc1YUNn49/gup7a2tNkS1ljfo8oOMiymXQ9csIGjrradomV+EqTaE7
WKxFrx6x+AfhBaty/eJIgBpGZpgHo5XTvSaa5CKbQJwCF3F07MbjQomlDePnIa+KW2nwRdBFL/O2
E9TYOicRawW8zKcmsMZnEQ9klhTTtLN6Y3hMzCE+00LeJEM0mDZ6IjTxcyl3bFnSmHdToxVIwNN2
IRRlaV9gPJEOSuF4SnSJBWaQAYX3w835C5f3W/uvI6jTDO47a+29WI7trCbkH4zNHXSxTK3nSXXY
4N3zqCdGgaaAuZWKfZyuN98vzb+1bvzXFoWL6rm46Zrn5+7soXq/fPx3XBkwrP/rhWHzXMRvFxL+
+rdFwPjg4CyntYvDw/3Govu+CIgPCp4di8CKN+AiYZH+z1VAfsCfz0+4qG2Bpyru8e+rgP2BnrkO
pZJGi9AV/Lt/ZwmANMBd8CNxzgW+ogTtC7iXZMu477gOAKmCwUEAN6KTmOL9YDUOUXo6NIBit8xE
2bQTJghviJaamkOnvHa2QzCWz9ROGeKasZ2eTJIJ2N6M7ax8ZpuMOa0pIBWlpeETeOg/imwNwcSB
XS81m+MGbgOpMbk+ab5kqHvbTZZ9HhnIFVHhhgs4uMypJSp4jJybkZFMcZai4WIwN5aV8gQUgALf
a8Ar1xqzGmG6lY3lSWmVKEpNkB39sWrhjl0mtcbTVxHgmQPiCFOB/BIDmtcqEX2UVG/kgrq57Rza
cZxchkXMGDZj16BYJpEY9HfVZD5N64IggsmcT6awHeCySDuh9Z/E8Uut4uS6Twia3fIr8Pr1tewt
BCtTEu1ogte3ZqG7sOnMJrij8cE8HTM4lKg6s0xUIW3T3kjXpJs4hx3Fk8lCgCyxKkfM2Q1PaB3o
DYGegmC7Tb0spCjFtKFeyOgG2zvQlTd8CO1ZvaeXYpZbcFMhwq2eHISLHJAeURhWAL95DKyk37WV
AgpEB3vCL9lKNLJ4cDJPq/rqvkNLweSj16mRiPUMza1FmuA5sTmJ48FniPBnmwN90nBExUTzkzb7
VjZtK/fSmdN4Z2imrnbuFKgvSd2PZ+Qx9c9g0WV2Arq17i7iukxa5rYNA0SEmdmMIHZQ3VEP3Kbb
GciTYr+gikbT45hYAJI+Umsnnwn9vnD64GUOQORiAyr0TzNEdesqHqL8S0lrLgZfNJD8salErSZk
iy2hIm3C9n7fyY456RKrLsU/T93l5bjcEbPSobm06CUW2GDd5DM3O8NIlVo29Vc0jChw2s74AmVc
PSTS0q39tBj1JS+lQWxkZ4MdTFyHHULQVxBvaieFtJDHg33q8GrKfMEYEC3WmrGE05QRGBLHtMTf
oYUZHjuYJsGF1VvdU9uG2Y0IA3ED05xuj+yG6I7WcX/TDwZJ97OTMmNexy0oRqfJ+Ypl0fyYjCX6
BtmswR0B6PpHJrraeR0O4K7cPkTsaQzDhB0KhdOnYZGwT5CqYFqk/yDOgIsbR0zqgpcxzKITc8jC
rwUugWtA6PKhGwwE/zQQgkcMcsYLFrLms2RsfGDUb94RZFZ8FkTu1kcGVgWdxyYK511p1TLZNm4x
HYTNcCv0LNvKIbuJcHZwzyvIBiYPJKP7EMe3Ku1Z2+Ho0xmMNBLGiBMK9MVrDi6JZPTVMFeLxF59
RQk/ihJ3mTehXTMW0XHGQH13k2qvwqwmMNUyFFGLenYZNwVJTaNB19pHNhE9llQDn0ge6u5G1pYb
+kMxEa5RI3mknbl/tl+vNa2J9jykMXjJ5SVSt9VRX0VV89gkVkfs8WQ2j1pSc1BNjO2Ie8NA69qM
Gn1gEp+s53B+DZTAeV1tompCf5AOsf6lM8rupJNtnSI1p7kPFIgigS8cKvJLdIs+/Kj6/pYUIAJB
bfbgwWkxNZhcWsI8XV9PUBkAXnMgEpha180XDop2+hMT60K27XUzoXk5tCqOL9GOGbB0GeS2wmaq
o7J2rne4GppHYVJQQmWq0Oehrkib3RKG+ZmLjc0+bUN+eWPSgPBGm/H7dUwor76zZn2o9usevj8m
24flMcfqyWBpriVmyz4jBHhrtsSs+gyCnF1Dkle6DWgq3eU6mjm+VqLb9Z2z1LnwbdB2x1ocR9NZ
DUQv2qNzcaI9MK5G/1hpUp+fZteRn426EdUWg0/TH1G9lpcujieaAU7eKjRGGo1POsP9BdAHwtHT
dtAY+Y2aPePJlzVdVHfoHkLwSsUW5w7T2mAMZLjhBR6JLeP26i6WhvgSBklwLzM7uORW52EJpJ6/
IK2Iznnnxpm3kLaln8posL4xyf+nRvqbXJlQ/7pIuivi7vnrX/+reXj8a5vHzUP33L7ZOa0//q1o
suwPq3RZOUoaumlaxv/fOVn6B55lCU1aUN1ikaeo/b5zkvYHcDogoiz1bbfFr/teM0n5wTZ0G9QR
1dYre+ffqZnWiuiHionPVIYEUQSnHFY5trS3dbXt5jmmtUSiLXKGXWq6xXEcIJP54eT8onp/vzdb
P8U0TDaDrgLIrq+7oB+qd8cA/l81vUTFg+tLK0fji9b3JYooEZ/qSmmbeqAPsuDYvs/GpPwDmOod
oWg9SLah/E+xTTCkevfxGX5gckJnk5VUiK2WC+QYBFsxawOP9PsjfVeBfv8odrt8DI+efPdRRpZF
UmoT9N3a3aE+uh3tzKLxS8uDgTAwGw0LLRlFn3//sb+4jJxf5LRcRP7lPVesQVhvZbnGEUYgYPLA
Re2Ez3//+095R5d6PThKe84l7DQ2Yu8OLpWGjWDdsnyhRfHpPGXFF43PRXabww0kwOrp95/3el+8
uzt5XiBm40g3FdX42/vGZdyq96MyfLcbJoq/Lj/WeDFSAQWybPwOjR4W2jRXu15K+wWf+BdSxUkF
KvTq7g/fxfj5SeG7mKbUaTKAD3x38G08K0UMh4lHkaAPtjn+PMUX5Hf5YTAg0VyIsSyD9ozQaf3Y
oeXVx6X9JUzGkMyXvvZ+/3V+cUu/+TZ0Vt48UXkrmCDhGLE0wmtBVz+IIBQHURLZ/odb+hf3Fkw5
YlJ4Q7mgt94deGeCRAynZn16Wvd4qtMbODfyDzkNvzwezgoVJ0siQoG3x5OpWe+LQnKleVIPNHsM
b1JJhO4kqP5wF//po97dVGbQOZOdEJ4q0Cx7oYrcDezbM8Ql6fb3F+mXZ45QFJpiPC2Y394elCFC
5v2sSD5wp2ZbKlGfjEbv/Nu3gkPDS5msa2yiKUPffkqaDB0hv8z1aaCK4yKHWzSkWX4crPlUvz+g
n0+dA2GPSZJr0MLXjfWAf1jHIy5TQDx85ef0b+8ZZ2nQf3J5H7ZBc/b7j/r53EF9WDt6mAtxEL1f
a7oe2WzjCsZfo6r2UUlYHmFT0x+u0Nu2EjR+i0tjuJLWJq8G3g1vD2i23UkYpU65rqT+bLdGctou
tutR84s9ozv9MZGExv/+0H4+i28/dF1pfjiL/aRqIgpJ7rYD3bknQnoAXSjQc8LUsf9ws/98GtdL
Rd+M29CSr1XNj5+F2ngyrcbGCzwCpu/wCh5qswv+EMfx84uBbHPr9e5zeS3o73qvNGoIyBus1i90
TT8y2JkfCd4jG4OIwj0Oje91J433Xzd7f3HZLAIFbEd+oyy+W5IsVDM0WPTeJzaN8UyxlKMXqKk6
mTCnAyJGBIq4qPzDQviL62az/nMSFehOKd8tHKpEtuvmEXNB17BwfTT5AdFU5yM3aP4Q9vOLE7p2
07gxcQEIADtvb5GVrTqF08ABin64KK2mvxELg52ymuqdGbnO9Idj+8WrlresRV+fugUNgPXu4BhS
QVmvY0j3IjFo5XRFyUuuJqkTmajaBDH74Y1dNtZDpcC5e03Xd1euPtZXsVuTZP37R2T9tLcvfopb
zjFLGjhUokrfHn8MK0HlWYfkPTMCEJbkWBdbHWs3nbkirK/bZEa5NqPoAzXAbMn8w+n4xQ3Gusya
TVQHJ+Q9ypTAVamPxEr7MEyCnVFolU/CcOdnrf7QJ250TE+o+8Mx/3R72WwDwM2u656QtvXumEdn
1BfEbL1PyGeybYd4VWE49NLK4vn3Z/fni81HsZIz9eXYWMjffVTVMW1FKtHTyGTjzQBQBntHBO5x
g9hE+GM9mntwj8l2mRFheDKI1LEzmj0UjpHI9d9/m18ct0EwOF1gJiHc7+9eKmORLV0vAU11ebM6
xRS+nEyPbtFWJ394qfz0WGG61dnwsHFab3P5buVdCoeuG/pEvxIg72h+KDgm4UQvM5h2BAw4n35/
aD+tvnwePmZpOrZLxfzKE/1hpbe1AYVUwIrRoCZ/In5U37ldox3//lNez9Cbp4WPMSwuKCM1Vvn3
lxO4QhAvzHx9ZGHBid66tIkJiIbyqMVSP8xmg1Nt6ttNgsJwN9chaM50ivHHON0lyZUwAKc+NE/R
FMbb33+3X50By6R0tJngkCH57ozbBJgQhWXwIAtDHGCC/T/2zmw3dmvZsr9SqOfiAfvmlWT2SkmZ
6vVCSNbe7PueX38Ht2/VlVIJJeznAoxjHGzbTC6uJlbEjDmGJSZDwYXocZ6vJwPAxjyHQDxCl8R5
in0a57D1yENqU+2Sui2QVXVTfBVOMQ5mRdnKKyTb0b5mS3VlxF5rLbQs4cIkluYX+fYTFMPgO8zb
tnUSSfilFEu519Wuj0BhIRk67mkeXSE9cpMd8rsGdQ8CK9s3B+OBOWrd1piALsy4jlHsV9K6EJF4
/jz4Z4eFgg2jMsfupzuKL+cynTQtK8sjk4fVmchdYexFXCs5zJCgIIFZe4hklnLWWIuxQG5yYVP7
tpHqWCtwVHMvnQtGc1rk85epcLGjz3iemhE2rwWjgYHFGG9aU4SxKJgDc3SSLixz6ftTMecVNTIN
igIrTJ7//NN80FtxEOCWQs40FHAj11ne7Onyo4VPtXX4O5CWNoruOwOtg9G0RJyxUYyPrrZcYJAY
ITZO6k8XvL/P/CbdJPBjqzMNgzzQ198UWPiwinRPuFqltFeUmuTrupDK20klhBCiqboxRqN4/3kG
fN/wmJKWKhFLUJ03TkMWAJR9a+q56NJGFO3G33G9UIeCbq0GzOfPjzrzfhyZVPM4N/GC0U7GPO3V
rDWneHLxvKkOtDi2CyXLsjtKBhr2HqF5NWF2sv35od9nOMcGbtDkd+bzQ5nf/9OHRq6ML5rJoIYm
oxjg3balIF2vk7HQ6G3JzHDtIVVWaCNvx+tGLqYLe+/3w4vnqgRMHCwKWYqTsMkvdC1q4Gm6YkXD
csBNeecZef3SV4l84VHft1KFiFCH/sZ76lyUv75rEcGYgwsyukOieR+wrcPHrFVefh7Q7++jItPA
5JoyrkLN9uQrFn3r+z61CbRGbXVXSlqBqDtQ/orxFLkwYb7PTR7FLUAUVdJuRHlf36cf8daRgmgu
ilXJRq/VAhcPqjhIuxPFCUIy6P/4MJpPSFGU9PmswJvi5Im8F4DnZnQ9JBlrpSqFvdxjuPTzEH7/
TvNT/ly3KEYTVJ88RfSrVimgeGtCPFDz0LBVitJ4+S+eQnxMUZ2UlPynFP5p5k+4W/dDWI9uIhG7
pHWk79rIHy7MuTPfCNGPIbKHzEmZuXT/eX3FrdiRXTMJFOVB3uR5qW9SwSuPqhqgURYl5cLYnZl+
qHcYPZQCc2r85N4D/BeLddqzXDzTcW+NqEhRzEkykCnDcOl4PPdyJmXc+SsRbpsnc71OGrLONQ0p
Al31NGCLq0j0f1OyvWX2XOLHnpkV3Ku4Scw71Xw2fR1JCXmjXo5m45ZVaXFnaujyCMp2/fOsODN+
81r6Iyii1iCejF/edqQoBa11I9X/lXqhSrCjvGCWlq/+zYO4pHE/JUF7OsmFtqpArCu4MbdldqT5
0KcRyp+uvKn95zsSswGs6HyO66QIvw6cYFLhBnuEkt2Silsl13DxNoTibqDqe2FHkufh+RrEzbnt
/3mW/PVZNJjLvmlw7S4Lw7/qqoIGOsXAxssJM8k7KE3dgdsSJCT0nVVNiKC4kDcryBcEftSQ0Xvj
lE13eKPhqovZ1h9jAKkzaT7LqiG774Ws+FVpnQwYJ8Z+1E0neFPuz9/mT7rl9DVknWBrlsJAoTwd
siqIgk7IOxe9tbgIAqXet0PTPOPVVy00K7UWhuchkwGRCt+sDr31iFb+X0zFeTAxQEPgR4Hr61hi
CG/2o1x1bq5K5cqXiXNpXWrhJEvahUedWchznEekY847u3Yy60eIT8Baexh6SRnvZ7NfvEN8obiq
8ECxi0Ap9Qv71NknUlKYgdkiE+ZkomgZisYubjpXJW2ygWzdrivLx8vfbz1pr2C9fPvzNz2zfagE
KtR3CJKo151uH1Nt8sHH3g2sHN9oGr9As+nRhZlz5rVUTiw+2Z8g4BTc3CSqNyLZ7d0ymi0p+qTF
aSqq1gDZqxsad9sLzzs3U1WJhAfpV65E2mlMk0ZypMt5M7j+bELnjzjjTL6cLbsoyu/HMhHeUgxt
6eanhIgJo2W945dYav9i3RPDkaPnJCDtpM2j/+kw9f1cT7A7GFxRb+iuBHC2EcipQ01Rg/ZqUJPg
RskgZ49yIDu5nut2AznDQTUGdiRpi9sEADEZyBGcnZmnS9Rj+L91ICwTj6VIIzh1qsmU2wvH85nt
fq5HidwqRCixf/azT7975P4ixrnQu4U5hvSb00mKJWIv3WZZ3//1z2cgM54lbYFgEs2TKW/1Pp1r
acoYBZWHyqgAJI22fvkvnsJipsxgiqiCT+Z5L6BCkotsIJNcQDmoo3xbWF1wad7NR/vJDsn2CDea
qxjOKKdi4TELepEQpHel1Nc/UN3Rq5tOgbWQY0+3NmI6e/PKJHYfsFDNMIzVVfG6q0VsDxX9t9gb
6VojIlmORuzTRtth+whgqVoPktg9/jwiZ38q4T4xiopa8vSKM4SaOiQ5406SA6I1UC0s0yvcVibP
W/WJjOmBVKjvPz/07MSaUcWYYyFLnpUJnxdESYtol1v54KZN/FS1puyIYtlD5ZzSxc9PmpfWty/x
6UnzlvRpCtPFKUS0mPLBO0zZMhR8+wAHsAuZkPPvA4mYsrVCd8zJidg2OhoZoxrc3MSYF0mlSOtW
A30kk60ovrCdnH0l02RdMn8pmZ4cR1HstQjD2NRifDaWYy7OJpZiceGVzj1lzpsaOsuR5N9J9Ioy
kANDqwdX7YHqSiNmpXGBXejPn+fcwH1+ysl6jCWxLiWlYCJwj7trc61zmyEfH9WCzugL43YmLa0C
qCZ8ZdJZjN3JwPWSOoqR3/RMg7YHq2fi0ixkdb+d/X2f4BRK20Exq+ehEJMH7AOEKw+gxU5NRzrT
f37v87/FUJn/JmRutM1f52WnE8YLKnCZkXZCdnpACSky20EyoCbr2e8Od8esDf1t2CCDpxvHR9sY
Xhj9s9+YZJFFbGOigzn5xlHrBTgkwTmqrLJYax32e3lZpxdOEWneuk/XIHUtiTYNZe4cOBl3o1Ax
jcgZ8rryjd2U+vEhJna95qytTVf29GaLdY+BWC7O3gWzSR1PMsxnmZTe29iRErowEc5Nus+/52S1
4vxl0Azf9+B+6f9tKwaAekaxQKr8b9aqCrMMTd/cg3Ga74jpudYphXAQIHlEWKyOblrE/oVNbl4l
pwOM1GvOSXLbhJb2dTJVbY+Mtg8AdBCz41CBQ4tKwx21p4MqwkZ2OysprsSxJlOlwEyK/8U8os6D
9pq7LrfDk1VMzdY3Jl/r3Tyw0m0JXANoWVodL6yZc9MV3h0JCXrh6WyZ//zTXi7jAdk2JkmPShmD
t0TW/NA1pla4HztL20n5UINEQvB7TStT8Bde+0g1/Q5xzGZqJOGpl7ELhZctUNgN0wCOx8+/79xJ
ypjOigJjRtKfjALeEFh1dGJPMkNU1qkvjiCfGuN2Ms10jcFjbqtqqt3//NB5nzj99HNcCUmV3gnz
tJLo+20o007IPpLjUoR3yy3sZgSnuvZCg/+FWOHcBzAYecoQRNUY/5x8gLzFEn5kuVAwlre0FNMi
HGntvzh50POZCkl9A5XbvHw/feYOjwEjDRlHZdAXGJ+lt1PTVXc/j9u5JWPo8lw7o9wOyOLrQ0J1
TAixqQ8khlI/eo0lXYPbrreZUDWvnqBai8hT8JMUe+nC6537YgYqBouGXeqkp3lJCnT4u6MRwnlD
wJMsrIJtWQhSsEj1WAKRLqbxw8/vevazYTqgk5JEaaWd7HdljhydXzS4fW9Z0GFidM1dGC1/fsq5
XXVu4EO/Q7qLNOjJiKISN/tQwnjcS6VrpR6sLaWYZiM28XBhpZ37eCa6J4StpIgQmH59VFKpuqBJ
8YgKXumvY0tGZ2802XoAqL5I+ewbXwj750z2lH8xlKRcxTktyrGpnqyAQjRqKqQC8YoyhI9hjkdi
mmbqhVrOuQ9GToN8FDchg8vn1/eDlKeHXaKw0dUAwlOrT8Eoy7n1b/Zt07DmCt6sOTztZyo4hGFA
cy+drEEChmyNK30sSvfniXFuX6RoSSCJgodBOxmzkiZ6qaLj3dVUr99jr5sEi55+bhsqVaW71ZgK
0FGS/oLG5ezl3+I44tEGtbrTWVJkNACLErFl36pib2tZadx6zVg/sDnq4BgG3E6QgK6mPOpueivI
bnGaff353c/GeRYhCnkVMjkkWL5+SiBedS4NrIoEaT1AN0wpO10s3gCfhatxytQPUZ6UF+4JdPtg
8xJildhot/h5TBeinnOT6vMvOdnxokzXiziYCOj1ot1JWQCLyarKC6XyM0+B18rZQM6A1P5pKKAV
jeqHWk54PXUYKXa+AhZ3SArpwtc98xxiVqLnuRuX3uH5zz8dEgXWYfh5NRDqghqPO4gZq4rqzoUx
OzN1KfLKFMY4XSmNnRxFmZiVlaYEkquaAi6cnT7+laZxtqrQ51AE9OlrktE7rH6eNBa//eRMZ7qq
pONkHkk99+u7RXJQAnFNJLcvA/nQxkawtGRpcOKZHdPSBLKdIiBJogcGA6MEXA9+fv6ZnRyZDFlH
RO2zZOjkraugCuLA9/GVhVVxm3IRWhhZNd4ZwAD/xZNIihEyUgFiwnx9U9OSJj8xJyRBtTnuSrUt
F1NcCnei0lw6M85MGJQyJkcTh6CJavHro8I+KnovNCV3RF5mDwaeI3IeeO7PL3TmZMKC0kJgoZNL
If/z9SlmhVVIpamS65cGSiZLr4MnPzLhnWKKDjpwjBus/2WthueQZYBSfn78GakOcdOn589T69Oy
0OMaWwyIO65XldVvMW3bm06VAcSGFkToHEbLSmn7dAFsp6ZlwBykleXpKpBAYWd6DQQ0E6M31a//
+vmHnR19S5w1dwS/XIS+/q4+66YoJ0nrBjldbuMwAhkeAZD9/JS/ZTBflw5xN0oU7iGUzLkKfX2O
aLS9JeAzhBRjMvq1MU7l84TJsypNL8qYOXFiVvFK60zqYxhxBvc5DMvYraXAQgXcetk1NrdS5zS5
pwhrHPEb7R52muDfsBtl+6GdfMiv1dy13pW+KW7L1AoazMgGU9/4QLCLZVhVhu/qvh8WyzwurVdv
KEIYF5iDaHYjjNou9oJhXE8TpKrl2NSyf5UGuGtANuIsppVwxBUmrXBPp+Nr9mwz2GgqB8YTAhIx
4jrtSrJfo3GpsToeqpnCK/VJONlSpibmwho9H65tMT30+RSRVcsmnj/g546tbIeD/cLsK6/Zxv2I
9VtIiwXGc0EsePxXcqxR5N4gX4a9ao/RVAtNyi1hUb9U1dTK60yD0rCsJdJqTlBEmAhXHWIbu5br
wlwBLI0DKjL53IUS9PSidn1k4F4oWMnWrFrc6WIEl1j85JSrdrVSJ76Lfsen/00t9DtvoL0FdxzM
ZiB3WmFPF1s0wE6sQzBtih8O2kNs1tNB1vqxIjdOm6nNvUsol0EbkjEiLKRfNwzl8Al6qEEzkNKV
e9ydi2dNwwTGlg3cgzDJxVeWvkgcgPtAuctIXYBNhBKKYWdHvGRbdTutC3Umf0R4po42ZXCTVkSf
Js5dIrc0mYZdXR9rDSaVK5kx6Wq/oaC8Sv6YyKXYbF9FulHh5uVN8rDC2EZ8kv00woJNi5VrXBiC
yLYC9voNiZ9IcQw6H2VHhzxTXpW0FMnLFFk/NGOlBQaOKxldkkECtNtqjVx0JK8zynVnikV7I4OV
evSKrnuuxriNHaOnarAz8SN+H5mxb7qZ9TeVlBU7M51Sys9iL9MCWIn6Mu6i/l5UUyuHGlT1WyM3
6fBAYyM1juTnmNqyWlNgEaPpm9diU1vCuseQbXhpTbPR7GiUlYku8KYDltYkaeQmnaj8HjIVj25B
VKJVJ1TC7zwk5WLTWoMlKZhAZiyNo+ORzTKxQMZN6ZOW4hMIvJxkiUNCMHiF9GpulDBMf+U1mJle
GrroxvMNFU/3MprJDaok4/EWBKJrYmCBS5SZotRNrQYoU+/XsGBT3HixaNLG8AkkLOgs1oOX3w7y
hI222VIBwmE0rD40I8CGME4yYJOeUXSvTRj0cBMafCYXRuRrT4GQ9N1KknXc+ykjKSD3Bkuj0DkE
ywA9jbBoEky37EAdWZRdloL3U2Mgvgujwi7VkYXJuolx/caT1OOHYBRM33zCR0sAIYzSR8VV5zqz
lO7dr0RBcOReA82pmbH6FKLm923TKGigjvF0w9QLDQreVTTTmBtLiBsR92WTgC6zBF1x6noKb2XW
MugpfzZS7zxaDXC2GqCPYZSTbSw1VFU7LDKFclRFT7Zd6XJDw/NQgvuWsUes4W/LFJCHIGxVtxTj
rHBB73TRHpJlr0GbnOEpphBgGy1YXeXbZa1gls7VJXuWe7HGDbRL8wjycMXqhJAC55amcS9eV73e
VnYphy3gmIxNgeq31yDsshT8CwdTuxOCvpSXZTJVkJ56nRZiTKLC3k3bGsSkhwYXm6RZgQy7XgKc
DS+hXw16NdK7Wnr6tE07UEKRm5a9hea3xUkxhTeBV6pUvyOTA/N9EDGd1iegahDjkgec0kwdC7vB
kymt/R/AkIFsopJy8XDNrsl9WXcaW9G9hrUu6bTSAsYc6sk2KqHl+RJ0NtmAXl6VhvwwBlLEH1t1
9UDDfDG77OZCdiFG/CYINdF6UFmiW4AEPQKakzuij7ixywZLdSPdv2O4cD6WvBEDYTFxcW8lMM0A
m9Gw+8GpFGMJD3MkR5ALUJPNpmjrv2/G/79X939zgfwUhsxOSv/tkHT9luKQtH/jFv6WJP9rUydY
HdWf+3T//Kt/9+lKhvQferKJPrmtINTU5f/rcEQh5z8ImHVqErMUihvr/+vTldT/6GQacK8jrUI5
cc4p/nefrvofxPVc3rm+yxqXa67V/8DeaL6D/0/cRAmCSH9u+TVJbczZm5OMSi+lSdqLYXqsBsCn
UsmKE807gMcwk/D3vTB5v0bJfz8NL15cW9BF6cZpFgWOQj8kQpEejbCOlylUKP+mB3iUK80+VwKs
hVQjXH/6KLd/v8tnA6czz0SvQqGFIaYP5fRimkZeILfpEB+70bjBUjRfg7tbFTVG8l1urMii7kJL
uhCQnhlW1J/zTUCk1ebbsHZ6Bz1aSpKjPGnTumvMDS1ST41g7rAilRY/v6H0R4jy5SvSDKBTQ0cp
yriS3Pwa/eoGKoIoEfWjdaNBcIOoEbpm/CEOtgSMq44+QkjuWfbc+ndSdBO113DTlQzHbruC0+W7
cuNMEnxj+ApuG3yY/oeZPwzlU9Deit2m6X4r6sYE4Io7ZbBMonsVbmuwS0yn1BaAKwwA0CmGyi8T
iIbML4hNHfm+rTZ14KpX0YGeiFH5GLG66uCOXaN6mIwXXVhNMLfNFVhTfCkK+SCqR1OL7BpfW0zy
7L44NKKwIq5sgUOvBnmNa4srEI0pR9PbKCtjq3CAgdbLjRvrcXrTQcdpDdmUbfhCsPAuF04s3E7a
X4mQ7kM8MorQLvPbvgYhmP4yxZfRvNPMt5LO5rFrbSzw5PK9jLgV5JFdyL8677XRPEyKUd8sa2XT
YdQMZdBWymdvOngZqK+l2GPE0iLDqjTc258N3Ogk5UkIseXZ6hwzCa5glrQTi22BGeFtBu/Is3XB
yYl8fWvJXPALt4p3OA8b/UsrYKW88gU3zDfGxTvinIg9nSX0/hs0+NK6x33s6ywpI8AyaW/pxz6c
WX06uCtsoz13nElXWCurS7MOFUzUS6I+obzPcX/5p+uCxTBXcKjm6BQeZzenz9fU0aDVCptO9diY
b80IarrpIRPrRW/ZFJnkC5fyb6twXnpskCx7tNyoP78+jRZm2j2nSj/iFk0vDhgfQ2+BhndwGSus
sn9eht82GiziDPQlPJF1T2v516dBggIQqwzJ/UAl1FaG0lUb48EovE3TpzvdCh9G/M4upGxOWhLY
UnkqSSN81siLU1k4ydlw5ctENTbi+2rUXhpjHaSd+UBzGSaMGHsuiEgmuwr0YVHHXIsNk7lcBPdh
2h30HiugGuOgDWIMTJHCztWH6PjzoPyR432ZdAixVRQmzDiKY6Sbv45KKGtCGsu+dZcVAMFXfG14
bA20ANm1FIfEHYahY7yWlsMGsnrhuVgZB4jDf9FrhCUyVc1Os9W7Zh0JDp78+2onbcEWb40VRjdt
5QalY+11WEmBwz8Im5d/T0Jo1tmSg7knUHJhqy9xv1XtUrSFD+Gq3uZrrbD16/odp5stDlqvydZf
BitvUeL65hArywbhsusdtZefR+PPRvx9NEitkRBHB396APoFKrmxjK0786EfHeUvv3QiGX9bB0pO
oDreb2OXPyTwp26THQMxwOoW3aJa4qqM51b1WHo20WZ5V+z7XfQrf+c9jMJGzvDz7/yjU/rpd54k
zSpf7PupC6y7aFNcqaPdm06wqZa4h62FNba35W8MiXBLup6W3qF7lm6yq3HbLujn9K5jeeUFjrcP
NtbaB8Z9VDZK7ozhMszx+1zQPiaU7gxcCVzaqTDfgqyKTjqj1EGVtrG12uEEg94QLwKsZdfGztv0
t9JhOI4CcEwb1kdfuoMGpcgt21WCR/N0ow67SVvW3t7Koai/iflL0xyz0lEqW31OrrGuXqrrYhUd
in1+AxYkv6v20UpYXhi3OVw6HTdkjrNyhuIsot+vsz1G5JbClDPvwkdxK90Ay7ih8/s6vbZsbS08
qY9Qvw9tyWyF02b7g6019jSLfpeC5ESANV9TMJnwtiCfDJuqv62qVSI4M8Zndk2zk2rVmgsjXE7a
KigX3M3M3glhF8Az0ECJ4Cbt4NaMp2N9Fe202M1eOXcMcyHMxUYW3TJ5Le+Ebbsxn6JX/Unad9fp
UqB27CjQpA4RTsCAVtg87lrR1tQ7q9vgacZ6KPO1MtsiLYVo1QO26hZJvICUluLwdaHN6k+7//dR
JGpBPqGcUdFFxDgpjRZ33t7bh4/tVtkED7Cc3OQKdJ04LAQ8ofMlbETozVZqp3t90y6TXbYLV3hw
H/LNsJCX6hIkkfw0kjHY5+ufP7T0J238+TeiGqe8SLqcIhOqtdMKQaHmQzl55XhIzFWYrnJpG1m2
CaqY9egnMvv/Li48m4RH6m/82Qh4kxgHvTtEuBRTIe13dfGiWg8wR2rAQf5eGx1c9UdvDU2z/Ksw
l35nN/m2+T3ekK0WgFkcMhy4sVWTbPUjxsvtzb8tfsv4w+cP/vhsVjfSsODPlRnOYkcIRXvHbBea
4fQ9DFqwoW4o3025W5c0623z6Bq8Fl261KOSYBn668bIiG0CR2LZWcoN8NlOfIBe4YzR9RTvqZgF
sDrZjesbOlztKbtu1NBpDSBagCyVa2rMLMyu/cWPL5uVIS6io4mM8L2WcEe+i9tdJJMZPXQC1cZ3
IIgQ49eYqbotluCloSxivPsrzQJszCvyY1TQIWZFJAglh2sueyT98UxRvJrRH0zrBs2d5up0P+L4
b1dgyYajEdx27b42w2VnPobGvZwNdgopDZjZz1PgNLjg7j+n+lnqtGZyhTpZ6qRHa32aAvGYqQ1E
+CHaYAWkLEoSCc5UGhdOjm9Pw2QBXwIkxPosHDsNLkQSXHoextURlsUH9tJkQOKZL1waQMsK+YJU
4aScgDoTWyYateaWGQTUmjin9T+VE5oQowoNn5E7fNNLhKDl5IZZhiO0Osf52yDCXj00NlnXKVd+
WaJI9F2QytXaKowtfNpL7Z5nfhDVDZGLKqEVckvlJL8v9JEK4XkQj5LpPVV9oC0JHO3A0K98pU3s
wPdWjcKhKqQHKxauw9I4aDp41MwXD8ink394kSXCI6whMUXURdvlaRKGvQk8FQVcEpn9SsWJHsYF
ENOyXMLiEcBzgteeXbgunMtzMPdl08GXC2WmgaydHBRlpq+fZQiVBkOWVjy2YVEvxBirvA7uiQOF
SblwqTyNZjWNfmckVzSXz5fmU1si+p5BtuRpe2zKhpy8t2gGIFHaRH+WGb8qSqS7saReOD8Jlb+9
IXY2+CPM5s089tQJZqjkAvesQj7G8TY3MbjaBOqHRd9enF9jeapiyG5dGz7QxQ7vRkDaWEYq4jVu
jfD77CJ/0cp7tTl6xWMm3g7DLhvuxuJxrN9LChwQG4Lkqm+go+zU5opoOc6gja0hJmflfiTxT5pU
XURgZiU0QKGaOs8pMOO0c6INSfcYTxAVNpJk3kzVIpzWIC6G4mCErPrbrN2jLkjFFxEH4VLFZnJa
q+M+JgfOnWOSZ0wqLpTC0uDoVZ91/9haRyN/LA1uQmuDH2LeCP5SVv5K8kdtXOTDde27vb7mjOuM
QyJu0LpRFpCy35YBX6++0mFsGrx06grJCqtlcEFbdv5JgNbwZEYP8nQtB0du2IZOMQG8BKMobGX1
l9dSCXuT8C1VDmF5n3C9RYoZSSty3243biLGSuCgrYCnXoVN686W9JXpuYq2H/Nl+1eQC5j9v0kS
Y6q9wgt3ILUUOmUgJ4A9Xx+ykcvOugqdXNsU5kJWN9yfdeO+a+8D/tEw1p1KuYPgN5iPrbXEMFFW
1uQoQo+L87xX10Awo12vXejrnePWrwuIZNrs+EXudLboObktlSGgGUPz1CNu2Fi6znCWYs6NZrlS
2KMmUG2ToB7/fFJ8i6bpBMDXi+Y+NlIeexorBNQO8bkXleOkf0BSTqvJyaeFWJLbz3dx+bsWrkVw
6AOHqX9Qmq2vbL1sJXl7tXxs0iUbSj28COYyMfbpsJfT61AGWqUdKNmW2mGUXmGAkNYvyCcQNFbb
Pln4pHb07Rjd1mrkKhEji39NvsQss9vKxhU9zMoDUR28XAw1rYPVtQvKPz2+X/4S1Lvs4cXm1OZ2
AmteiNtM3A71Lz9bqhr1jkX+4ekrkbETt9ahi/fXVOOq/iaInnPAERpmriWkSqm9mtRDYeS2UT0a
ytbvqGXeJMpydtYNL+hPqIp8+7az2of6O5dhBGKnVl9mXRY+zRLyMVS2OIYSLXRX4MVuvQU6699d
Z+d7hPnVs2q4sCpImUPSjkZqNt5BnLYDTnrLlCvpYOyL4CpR3+f/A9/NDtNHaA5pBxnHngpXVux8
cMCwC3fjdT5tI2MfZPubnFxb7IhtRtSsblTOZmX8BVRxESvPrckQ5PztKh/gahVLpbOt5NUK38Zo
b5HzsRwvX43hXRAu5GEtvBe3MLSAjUr+zofoqz9640M3k+78Et3Jm68elKLjorRXp5Wg3xSoe4kD
RCl1UliZRXUzjm9mezWjGBrjKGBzKrZXdMyV4DyOokDOLneEdpuZWCfTIwWmcnIrfRUoYBvvay1f
eO27RN0lEmJbq+5Fa26mdkbug228FjkGqr3M5Rp7Ryu08Tso48HWMa57lK5aeV8qK7m3dfFaDY/V
G4og6bbHrRogtCnsE5yD/fJG8669qAdAtdKqD+zFrGAvt8M6bDogU9pVVt3W2qPke+vY5zpe3JTN
4k2LA0dr3yFvXLVNuAkU/oNDaRfDeyThNfNLxAe7TAu7ngI4Pqusqu2pXBrNX1LoGClgCWUJdHq+
CnkVEiwA9Jh/dVj/COp9Wmy9cQM2B5irW7ftra+Mdqq/F8mHptwDAIFyOKy0eNWGxMxrust9k7OA
MH+Zm/YDH3OVvT7K70KxDCbK90uRPrej8NCKrvQBTBDeTlIulX5hgcCLF9Wwj4MV50F3aK4HEMzD
EhxA7XLQJKsAdvgSFEcuYreSgrjfopooHpp4R1p1mcAXXgwqBw9soo3oXhXJCrY3TDFWfb0P20Vg
LPU1lhML9ofgJfbt/NXfWcv8On4TwGbZqWR3x2HRbvp1S3b4Bufalb4xyLscg1c/swfBFtflHQSO
7gCnpVSdcFPsoifVFul/PODYpz5lF+580vcAlx5EGh9RkRtzL/NJnghhrJ/GViYfoyrCPP0P4xMD
My6IgU1/QegiHFxEGGWzQMlr+TBNrNzawbqknllijK5KD7VgXNVifOHM+CphIRYmfzibrOJnNOtL
5JPQ0yqrNMQPcjhGWOo6vibnLuTP8J9GlLy6MneN0+Fp4MJ6cjIpTeiVZjSKR1wuyD5r7SOwlltV
7LjkT2+NON32kXVhz0Qyd7pnkqskaQlOYx55agj8+ac4X9ENQY6iUTqmCd0DjkjjsLgmEYWmJPWX
ZYY2wh6UhS6tM/kakUPAPJ0eE/ZYsvDFxvwlhe472w96ElIWbbIzJEAsuTMIL0ZZOkN3HWrsGbsx
+NXqt1P/S0qfjXonJu9de1tGt3n0mHW/J3NpKmSxAMWCf7BLwabSEIMZ1hxiTvyhsW/Cniykl36Z
jU41OtawyImkom1YbTKK1b0LZy4JHVYMJVmWLpWHAOUJaeWl5qhreUdCY00gcqgXXCYd8oUuqasV
bVROueiW9cK/Ng/ea/7be4h/F8/5QnPzHXUU/jmqRstyoS+6l/gpfZdeyp20kV/Hg8Dftdvec+iQ
NEXKKHafu/yV+Wv8mOLp2AlriPaKcTX0h2xlKusife/iv8Z0P8g7sVsK3V6Mbpp+I8BGl6h+hQXs
pLuovBLz59TNyisW+CQvw3IrxTtcKwR/k4TrTFla8WoYbA7szLfFzuF/u6N4X77EgOhfRtLcUKPJ
d+J7QeMoWaPBNl7C95+jGi663ycPxksi7fNkQL7fRsbG5AaZtNMRnaRSrgd9HUVXqrqUhqVnLQgq
Z/2k7srhhhKcjWM+E1t9tUq3UhddcZ8Z721+TS7enPYNgfWIWGvVASIIAIIvNQSxXN8osgMiOCYv
wnOROvk1mgGHZCiboH7XeIteciGKyzfe3fisJ06MwTrI+oP63D1Kv4Nj9pgyGw7+VbHmB23LfbBE
geFYr1j4DOhGrrybdmks+I2b7LF40x67Vb6M4ZNpTnzHdv9bq2xwx2SVJR2osNsWSIzsYh3cGOuk
sMW3rHaNtb4pKruS7vUbfVlsg1fcmRLVThb1pvlNJpCDU7LrF20PYEvbK3ttYTmo1VfxCnz50r+C
Ae76jrisFtxghLeIBA0LCuLfK7kW8c678u7FnnwHWR/xA4U7bhK2EjlmZCNw2vbXyrpb6x81u/Ui
X8rv8hOGPAhIDhiCq/c0V7LigJUXsG4Bjy36cauRQ5UQ36xFalbdR2Ecxm4zKndBMa204coKlhAI
+LNQtedDIbONo/iSPcV7/aVFBMcn2acPJW26JcnnBX9VnqsLdLqAgnBoJQPkGcROiUcVj+vXVr3r
EBl2+7zHdT99rsf/Yu89ttvYmi3dd6l+npveNKqTDo4gSICSKHVybG1J6b3Pp68v+Z8aRYK8xFC1
axuJBsDK5WLFipgx534khomA6M9ha2zM3OkWovbeGG1ixR0eUwBIX8Zf2u8B5TKyGHbDJyFiR44y
9YggCcO20R2gNcHgV+mm1TZyd59mR9H0DdXlxZQ5Faod/Y5UUCG2jjozgr0zwDY/0PaB5TbJQYG5
XfIDZSdJvlnuo/ExJcQabvX+jxrjT10UUsTDNq43rXosYeFtTyNXk8TrOpcf9oZtVhsK5jt4+gUb
jdo0cAhsk0QcyVqQviMTeeMW8T4EogOklyiLWWWI0KK5ismrWpObRpAv57w34K0f2eFBPGVQ6JPv
iFJj36VnqbnT5f6hKD1TA7+HCrLg5KJGiFdJb5zY7w5sHodjQ4GFSya/dp3Ka5RmKsc+ks7Ss1VY
sydqFRnWkrTGZN44p0j1vTM1OvxzoF2AeML7cB2NEDOUKFOpWs4UYGzrfX8/3Y1fZS/xLW98YGsg
bbFITh7t++mpQkgXpjRCxF/kB/VpBvz4QJQ8GR6AwyREzAXuI9yE/diyW0qw442JcMK/y5dZtB3t
nzx3FM3WOycz7KykAt5H4VR/kA0v704ZGpeDZ+TrAdUn3lS6DdcyqqEekj/rRj/N3/sBwYcnVGXn
wQN3KD7MD9VB/t5sw11+ByB3H27ijXVONyDHDvOD6qYbYqvfeN0J8/61+Ge8q+5lf8QuKfeqYtcJ
eqUnEmNtgtiIHTT7Gb2O9Lh0D1N6zFWew1UfpsQh4qvWqzkMFNJfkJk8Shw5kqMazI0zPghfVtt4
FB94/PBHiRv+RXwgvyY+K38EbGR2IE5shHbwfVlc8jBciLAx+oNy1l3dLR20T/3lDv/Wp8bQhXPd
X/6gwSdatvCl+IlWX9U6PG/6ZWTfmXb9m4FeTc122evP0blFweKpfOIqJOyrxwxt8t9DsZ6a1i/r
YRQcVXKEEeUNu/05YLRIJaVcMOz+T+kVx/oUPxM22Zv3/d7a6ufkd8j5PO6bu+xJ+3fey8f0pwUb
FxbrgaAwfwvTPvmiwDhquWrPFdrupIOmrFt10ZHIfWyDg9nej5Yr+Gm5z4btPN1Nw2PfPcTqMVRB
86JP6UKEXUl+bGJ0MA9uJmysdmMprtBvlxiVPX9Eq2R2EATVfxCw1lsMt5u3jpawWuz0m1XYK7JA
sHVv7h6q/ijL27n35fksq8e0dSLdQaBdKO6E/ph1J6ELnFQ7WvHXKtwHrW3ciOt+sGfJVABCAo1N
jdF1qZbZK4YVTN1yXpa8OglKXBwGBIYQCJtUr+60+a9tBEh4RN0MYh8qpUBXTm2CekkyjkJ6Dggo
oz4NmXTX1PtSTH/NpnCLPOUFTP4mukNwB59DhrEH7qB3jOIonShDH5npmSKbyl3m/KcmF/2DYqSN
M3f/ihIGc+aWFHXlCpZ2kXAtHLCfHKk6x1WXoy7IaaVbs7DphjhyKgvNHesmKP56Ghh5okFrdB3y
TgqSr6Lr9dSLSQch1blarJLUTs8y1VcxXFVxlvEmm8eVfBV8F7RHdQA5yRUGYbzcAl55+Wll5Qvk
Z/HZjJfxkNUzdTOB6VMz0LpxvPyLaFXtzYkSe7O5kGiJTIRwJbVwSjVrDkPDnZH+NLaQqMFWt4Se
sF5l3FXxrarpFyKY1zMI5g38BCgKThXGRrsamTYX6iBtlOUi/wAqKkh2NtjZk3BSN9oFKtl97pWP
5EujS7gvfyvfMPUkReMfaKcLEC+sEpu+njyopZ/jgBVYE0/q73MCLrGPSnOaurgkWuDKhH6kmPP/
0qv36rC1znlyCKVDEThafcDLAx+cNHYxk3DyLdMZFk+DaynKdlLn9w1OhE/q0xrxr1FkPxYywdtH
IUDqbqckXlx7xARwROYDXyqCHf8svfmxRv/IsOH4x0oQyRgUQiROjLuEL8d59K3D+oGxMpwYhH3i
NjiBGkKct9yIFfRyPcTUSpDW4R/IM69QQCmsHIRfM/GyVM1d0eepqxiT5mQRB2WFdBQCtvo/Q8H5
WaV4V7l4UqXgT0IlwI6kyMPnl4jrmJ0OiyYloxR0QdAAM8uVT8NVONLZssVFlmOJLE52UlXg1kH8
ryT3eK1f5qHcJuNk3UjeXceBX9pVqVdjGcMJ8XK1ebUjCqXKKdGJi8uAogUSTxlRJArvYh2RCzmG
S9TQW+/zrr7b9HTVgiGQCxMZjheA6OurNrpfXSspdX5JKDv0GuMwK3C5FjXe/G0Wvw8aWzcSeiGI
o8Bce2V44fjW4krTGNekfo6jAgdbMX8jevFlzuJbnum1c8bHE0QA2oA7uB4rV6EbpVZEgtvheAmQ
biQtDHmgKJOy+Xz8Xg6LtwsX/T3i6KSG4KyhdOxtrAJlhamVan24mEeCboRe7emJUopRRziS7Y/T
5wAMr+OtmT1AGQ9DGZX31HEsxZc+3pXFIYnOgnWqpkOlUeS9KS3N0TI/0zzYa6vOQ8B9rO+V5qlq
XapTpHaD8p6lbiEY62JfCw5QOBlcFK0Dsm+z6jXL1go8SyNF7Up/uE6StZ5wlTpHD934KX+SvhoT
jP+eEjvVPb4Xv8++poMtlnYdeRL1Vnifg9N3TknKMLsvFa+Lt1N+nxgIUq2X+CV0IOoegN7Ufq14
IRU1hy7fisEG3PtwLDb9jUG+zvoxlStejroFzANkXVf2VxWFPIozsb+I6eJY+nAix2cvljw5Q9c8
91p5igjnfz6xV/W6HE8SkkTkmVlG62K9rkYujAiubk0XL+QkE66BkwsJe+TBewG2a0CMC4pnQkLD
tC2ELvTqsrqVXn7f7ZVfWQGijSAERdHrdnplDiAYDKNRm4pLJqhfsziPnQYGWCepi9rrEiqTkvIP
xTfZjZ6/36WYYPCYiMpCHgRT9dtm235OGxRSm8usN+2+MzcCWDw0BJ1cCoUb8cUPRpl6cuSiMEHg
BMGZvW1M6MQ+GJuSxkbzUovSti2yhJTAn2h8oEyh4rTt16oYUkhZVd5wBD9oHeSpAis8KECuruZV
ELXkvEcufW4uQiFa5CwWKkDCo9JrtUu5y3G+G+skIQkYfiUz9/z5Ans/zFSCU9cqQ9YHH+yL2/hq
dmU1rsLBLJpLm7eHukXTDpZa7EVPEZ3V3rRTjONbM0VrhMWgC1xR/deBbGsUGyB+WnsBWtFtCWSN
3W4SltDuZf2rIiMNIxcVyrJKat5YTu+woEDA6eUqIoGmMtgU+e0UU5jUwmBJBizPZ0BujfgUgYcu
+kvfCYeiUdjFMinpqUMYy+JAcECImp4a7+BxAYJZZaLfLaJPxZZ+acmzfz4N79xzHo8CcYXTnsQ+
dM5Xh31SZQJg3FA8z9RXOeE0/4mGuvX1smptOSW7jzOANupaoWSlE5a54xJdR9+6WCbZpeaq35l9
CV0G7l6lnGV0zb0mB/FWJTce9d2KAa4K/Sj602xMPPWrJx2KZdQnGBIuVgV+e2nJmEAYIDmBnP4b
1SDKPh+ZdwfoisnWyXuAuaB2S76yA9QctlIRGuVlNiYFSDm4lSzosxt7UFsPyDcrU6Y8H9carj1T
Xokf3i6PEYLwspWz+FIDVqPS1EJIUJrObbTsojou73REhTy0qUkCq3V10DWewxIyhepX/RSIofVQ
BlbqBwvwnsnQ9oOejvcVRLAH2I5yW1+eVTMntdsk+smKBHBDSy/5i/yvCZBXiIKfVhgJOx6DaClB
YTmb7q1aI9pdWKqTNTNoAxFHpVMpxkyD8mxBYJQoHROwLOqmMkRq04iOBp05PC6GlwWydQZWMGtd
+WDUHTzc8Q339P3NiSEDhkh9DMcTh9PVzLQxdIJ9myWXpcuhxqO83BnEunSNTCodEcUBN066YI/4
7gPG/Inin9HuROu32InHVA48ZVKHb4iKO0tDHKCRrcaH5Fm9cWq/MFpczyzXOuA0+GFUu19t/Fou
wt4yi/iijUK8UcZBOUldKXjh0EEI27Gc+qAETVAVNglyoKddv23riAWtdqXTEAh4CIvveZXle8oi
73Jj6Hap2m/irG3vVCE8dIEkbz9f9O/OXJYglQDQrAPH0Nhrb1ej0heNEGnjsCK6rI3Corgjt2aH
ItB10xpLOzOnW7ygH7WJgVz9DXhvMJJv2xxlDYSuOTRnOen+XbL2dx5l37Ig3eVmwCFI3ksQI//z
fsJT9W7f4e/T2Iqlg+Py+kRIFaWR9aybzkXsKsVRVy+G1VOZ8xW14pAyylB61vIjdUhdvc91MDtg
M2ObUeGOCv1xXXtxjMAD9Txz7ojUZMQmrMDc1FrYWo1gscMFKIb8E6WnvvipT8jDKoeGgB+1P/Jw
GuSUgNg2Kew5P8vT/QC6p0q3wfzQrcX4XpFy1+Qi9LVFJHao0CX9OdZeS/qu13aq5VvRH2C/WURk
UN9Aiw+97xe93JrfCh2dl2dFOYwU2kg2KKn2QTM9qtvtEcAPaVLd03vHShK7n/4I1TklOp7XbjHt
UuOo6iej+RIQv9O/qZmKYsUp5IGb80zMrPQrRGQnIrH3M1Jd1M5+x+qS8Iq1XWD4xgoz5aM8CFW5
NlOGLtYbqbphlt+fAmirsa1keCpAX147w5k4j3Ovy1hIhcJipK0V4kf3MMo65Tik7ufLBBv8wTJZ
d4LFaQAf/ztmKi3PxbhWx3Ov+qP8CBlssJzalskTEe9tPS0jUKA9G+Y/VnUMmMQyuETdc9TvW+W7
ov6W1N8TFbNB9RBWvzPhGAVoYVOL/G3pN2De+vIQiORgvkjml3nuURn+Fg6y0/WWDROEH5Mmo7S/
C8hoAKoYwIyMKVpv5zE6lvImNJ97FLrn6pfcNs6iEL9ghto+diQ9sbu6Yj1/s4I95Pu2RjXPqGsO
bKi2SSRlarvdEAmeMhbO7IwA6NSR4mF1JChHYDnt3HkAHkEuDRlb20hKu4MOAX0F8MEsnRyZceW3
pP2KhcoupAfreeIy1VD3JQDkL4gWhM91mW8QXHdm4tkNv0VxCtI9hIT1r6BibDGGkq3lNIETOx++
az8oHRiJxTd28nUArJQ5svnYVOck/aWSPE5lVM6nnRllthU+WSEMwd9L/SyCmImeoWS19AOFwICB
SMDOX/LkHPAwqrWzyk1ffQc+BYwZ4h8F9AQrtt8ImmuCSycSXe9M2V6+lpx5DqW6luUQZyGP1n+R
/0iXCe57ijBVwF3pnUylguoYPHDk9dWj8EhWcPipHKbcIT4fb8rCURtvxCJ0tgqMg3gN6DXZLUHy
cUiKbmr+HOWvguWVoUcuCKnnYXT71AsVp45cGLONZJsVG4u7cbCPgTGOP6yWkORONnb17CeNP67V
eNAtTMJd8vLjaT51DSB06uPa6ZsYzeTjvvfl94k8LijcEcqKr+OvxXBJ5/XmhuJCErSN/GSle1Ti
Cnkfds+hucuWH8bwz8LKRHR9MHE31lx1j649dox1QlbU2pTofJiuOR3Aw2MK+a8Y7hrhkoKMSnfc
ySZ5n2YAB+6ouE+qex2gSNH+TNd88oTm8a6QHlUeXqh+DdLjkMExcUlINraaR7GI2ex0TvQy/VJE
xyK4V6SNHG6ifK+GmyC5S/t9ku1r5N40qku2oCOL5SQVB11yC9XPtfM8fqOQTxm+9Jmf7/ryNJub
SfWr+KlJKQ08S/1DT+I/+AaZtr1MO83yLPMOIHuubeVia5EiBQa110lIljcCTep62r/1BlbOLZk7
HjqxuHvvvNeyK+NuHs4LCcAYbGmWdLZRdLM/S+IlSbJxt9T6eFK7WrXbPERLW47dwAqiTSQSRUHa
iLhwOllsBBBzdYr7awxK5xh6Do4BCe5Ft3treDKT4qkL1vytXHqZAZsPatdsWsBaXR5NmxoNc1sb
KtEfWo6pzBJTR4u+wdOAHLqR16BlB+pOTE+v4SPJdPCeS7lJEWK/MSTvr5/4RFQcrvdASxQpCnx7
8AuV1iYSVA4XORDHB9TMXVSvXVkNBnsZJA7jgWIWM/yJmFVri2LY37p9v5sTHmCtD1xrH9fb91Xw
SuulwVg0LbtweVPvwuqBaMDsV536J26BDnZd31PcQ3C4gWbRKdLlF0Xj5JwqFvrnB806+29Wx/ok
yDbKpH/g0JOuXNpxySIrS4b8smTi91BbOLtnblwlru5Gl+81C7v+eYvv3dO1SV0RSRjDDvbu8l/k
StYuskros0WxySyL0elS41+lssyHXA0pnOjlnd4UOXjYNvACtTk1k/ykcBjua3MG0afnX0K54W3m
3OACFRD1NKltyb+NiUOL6ufpxii9oLreDhNVBibe6cqrJInXLnW8BHE6x3UKDI71MUCbthkmUXbG
oB9ceB86r8qGBcoMrks6aN3EysMHyCzSkHRjX2SDr4aWtJlFsd/IPRQodVs6aR9Kfhi0uq8VpbUx
jbUGJk8AY7Rdu2mlSt/OJairKIr/nQujvZulfIPagXijd+q7NQCJKqFaQNAqZRzXRGPtXE1BqS7p
Raaowh7N9gmC5Bv+/Qvl1fUIvm7kKuQThFoqQ3sOkKYVSXQsRu7HUlOBo+EP1aTizwhlX9czQrGZ
Hnt6az3X/amANM5PDLHxM27c0iifoFgq7HEA8kXWyRGBMrgLlME4sZwME7VLOfKaYPdNiHtCyhIq
wfAtl9lVbrny73fxGkyXiWIhDgV6/GoXV7GpR1q0CGe9A9hUGtHi1eJAcMAMx11UcWmB/cPuwztt
WsO7YdhQVmvqALRG88YUvoTwr4aXzIUOWHJNYXBLfWvSOgtNBa5Jwrmvs43WKcOm7hhFpAN2pSZT
pCBXs49qgKOmmiNDQ3yy4g4ngToJL9RwwrScTEti3AIyfvhgkJyCHWS7K5BUvH2wohqLJGsa4Vxb
8+J04XhWlnqHf5ChbD1S/Ft034c+cKeAOcwj4SASR3CMGZTUIEytowjRBV765782QtzisXrMHgyF
qMu8fawGYaNkDqvwkgVmcb9wn9WVfhNk5nhYimCnB1bjVqmJeJuKBIPKqxy9rfQD4qZeIhym8k4h
S6qKhbAN2y7HV9D/FFY0+/VciM5EXcTLA/8/XpX/scYl/7//zVnyjlbFbv5Z4uw1mcr6+v9wqQiy
+V8EZLgbEcmFb5liuP9NpiIYCjQriigTwueCTwyfXxXI5Eb/839o/yWvN/61poglSXSUM/G/2VQE
RfkvaEHAC4hEBERCMcbf0Kmsa/v/bErCd6AOXoLN4IUlTtmrRaYIYZHIYTPbtdaRAVuirqNity/U
Ev04FN1uGKT3zUFsj8dAPA9uPTgb365pDF3QEy9bSw/aWfs1ZakE6yYKboJ6CVWUhP59NRMP/+nI
ay6Vt+fG2j2i2ittMtyQJkWIV+2JcZE2c1ZPQHTF4txBhvhUx3qyudHKy8361TCu9JdEzskJrygA
wNBXRwc/Qu85kh4Pu5N/2rq+b9v+4ej7rusfHb4/uvzpuo695Sv3ePB39o7XHI98u3ddfrd19/zO
2/Mlr/Z3u5O75bdH3rzjpY6z49P8jc1H8vHrS/yS9++e/NNux6fZfJztrb/2d77zg5fwCLaz/oSv
+cazbWfrbGmX1/KJD5sTH39wXT7qBz/Zebbn8YnP7tHe7Z7snefwHs/zHM9xnPVlHu/n89YPc+74
4khPeKLz2vxm6+y/evv1pd5+Z3vOvePyNb3ebko67/B0vre9cxx/d/TXB+XZNrzz7PzDp2556f7+
st1e1mFioNZ3u8djbq/NXhx+/PmUvUBWPpmxlxKoVzmWPGlaVUykx6N/+rHzn+iU5/zjbPfO5UZL
V4UCcB+9XRvXW6xrUUDsWBu++/j88xTaJ9v7fu+I9o12XsQJPuvR6gu86lFbt1VkrO0wRc+785l5
dhhvpmR7OLoHx7kBcrwKE77v2NWBHkhdnSw0eHR/PLFamKfP5wg799Y6vRu6dXu/7pJcGcEQ08Lj
wT+sC9o/vvzL36cfPnvjxFo9/jj6P46n2mbjHH/8YC7tuw0La3fe7DabjbfZ3Nn3rLC9c9iynL/f
3b0sxzvbud8y3+w8toXrPB4cm/3p7R+dw4HVt9/e8C9vLoQrP4PSiAERJOnRfXaf2DeM2K1V/VIO
+NkaWAf01YBR0DwXGk0c/B+n0GNbst1P64Zn2M78s7M3fLXu6tCmh/s/28oZ7T/udrv9M9qPl1tL
RFsN7GcPdGWA885UknxdlKfd08l3/mx3se1v/HXQjz42zr0cVzPJxDARno0NdNZv3ZP/5D7tzkf3
ucS2beznw0+fD6Arp429eXoYGD4XK3LebVh33p51Xtne/T+Jvb8w1a4r2+4jC+KHZX/x7rEkvmtv
Xe8RO7Q/rgbm86WqrWv9s36usdJXA4/21KRIrFQM9tF+xuYONs/9fePb5/9YZrqHET047sHnITzs
7udPAFv4jUe4OoMWg+gvtAKP/jPm/cgoHFe7dry4J9c57HZY6+0PdgvGGovPKbHxvBrz6vuMOUfP
dj0F3Gcmx//h7k4nDDbr5nQObfsbq8hnTjglvD278BmrvbdfbNluszvtzr93of37vH7oz6fTj9h+
Wuyfob3D2GGHTme+/f2b1YjN3zr3F2wsfz9uL95l+8fB5G8v9hOnyGTbob1hq367u7//dr/fel92
++2vyyMnhfPIceB43sW1/7njINo+HtwLW9T29vs7bPZ+y9C7jOrLMNPzPww3hystcrZsj5zLx4Oz
9e7Z6i8v/Hrhx6tRuLiHx+dnFqLz68aMfG69CF+8XRNmGJSCwRHDKXngf9bu5uhy5LH1bcfd/+eQ
c26sg//gsv7/l6J8DRVLB8MYSpqlTYbjeGL/s9XWVtfTu7bZRfbP9azHXLIvdjYvxDr45/VUZqKZ
eL4684adfY9D4PPV+t7dbnPP39sLg+bunccXx4Zh9ddTkx11z87dvbgL2/2eDbkudX9dgyd/NaeR
vWUJMfxYa9/FHh/WaXS3z0c8HXd7cnnP5xOwng7/ZyCAjq40gcAGoUNHsVU01t+/2pPDslgh9a2t
bcrC4CKOCPGbonbe5628neX/boVrGnxRJiSX10TaZdBWgblKXQZFYlGHKkDqREjgRzgtNUFJS7iR
6n/fK26DhMJWiQLIu66v0Zm0kI2ZzAYuKQvUtzlOfpRxpf+8Vx+1ApMNmCqJq4t2DZGTejNOGhGq
2gQp0G+kefJdV02L+3kr78eOqCGaqSsVNu75tdvc1JkYdYZFwD5VI8OJrKlEvKvRtN4uUXaklK4e
o6fP23x7BVnnC/zmShcCRwQgLvHKTbIKpa7ygTg7cSt5Lwo11E1tmhzF/qZ21gdNrVrv3N0R2sEN
vDoU5CoXIaRIaSojUDpYxUK8HW6FNsmzGzWfH4wkPBQq4SuGkZLMK+OvVXphCkVOCXncJrs+TqBh
4Pp2p5aKdQJFZdxwZj5YH6/bM65s29yVS6kPtNcU0lJtcykgD5IM+i0yzI+GkEIaKlllugfLxts9
HCB1M8elBh1OVkcUGycE0kA39ssPJRzqG536aBDJs1NuwL0crO36+1cGg8JZ3WyTGYLsWU7dfmjk
+wjWQWp6qcbSJ/MWDOLDzgEnAIQKoBiYy9v2BrUPTLBC9SqdScDVSmQv7mTDDmPQV3+96uFtBRjE
bpZw3a/u+ZKgaakwiTDar7S7nZzBJpcssk0QuLmxwd66fC8b7E1TVxtsWIyqaSV6RW7kFEVGuDHT
uf4K4756N6pp/bUx++fPe/fRanzdu3cDGQsTEoMMZATJg9oEmh+3Xej+X7RCfgrkI6AwFD3eThcS
LFGzwCNtV7HVP6QlJY+CWSh/Janz38PHYmczA4cGeva2lQCyjzqyjBpWkrUWdCpJdQ+lfiNk8dFS
h50JZSyRahfr+vrbWEbcUIVe20KDUJhjWlm6z/Q8+JNXbfRkYa+6G5vro8XO0GEO0Sghvn3Vr0SI
sibWIW3riJdtsqH/Du/ET7mmTu3vp4m0FalE1roJNuHtAAJbjcIRKK4dBTBJj3lrumpGlefnrVzd
ftd5IqizIqxQkloPkiuLGwkmtOAaNau1QuVDWyhwGixR4lVVFW6KsaQaQtc2QUBNgqKtMgH1gNbA
AnXpX7s5wP5UBLqI8q+PtW6O11YrJik5DJwyUtFl+mPRqlG7ck3k7Y0ZfMm0vXWoaIlELULPSEsh
HfK2pakNzUia4DiL4ijdi5k8+HVdKU/l0BxDJHf3TVuVqAaX0KfRPjFmykaYg07qrF0PQ+sNV+i9
pYE5n4II4qAyPDXK1fOMM/6RMKyMGqI5wsYYWrluy90YKi4a7DK1z82gn9u+A+T3+ey/NzgrZz9C
tCYIuvfuEVICU95LnBSTAukT8AII+wGI3ZjZD/v3qpWrJQbIxFrCGqPNtW5we1j6AFcFwoYUJEW7
38sE9rr/i34xwQycvuKer2y3aYyFgkdZw0hAiY9gTSpyF11xY/TeGx9Gj1weVREKnOLa1TlblHKQ
tkaHuEYIuW9pzhQdpW2yEfss+dnFzeJ/3quPxpElu9YPgsp/ZxGCtCSAr3Ei6cmoQhhVm8KBvDq1
CmbeHuVhtjp3CvECb/TzVrtX/dT7cKrrUoXPIC+aQzKW5a6K+uWY9EJz6CkxcsSUXOrnnf1ocFdv
kxoDHHj1WpRwqsy8zhpQb2ksac+d0E+9J1sDJJiFJVZUxwvdt89bfG/ZqYYABwwuEs8aDPlbs9BT
SVNoLUw/QwBkCU65xlXyZECxdvp7txNXGg8GIkNxLbe72hGpuizpqKvgusY+g09u6f2p0/7emUYw
D9w/uRcTNXT1at6KuS1LVSaNLxjVuEGFMLfTxHgU61QD8yDeWJ0f2JI3ra2r6JX9HkNZbycdayXG
WSA5SmxANhbIzTLfWBmrf/LWfFPXCj3eujrIwL7g+V41xD6OsygCH47wCZSIpgALaJGL+zIHBFkZ
+vA0jQIESjlhpFtVfB9sBXAsZKvwr7mQXwPUjXQyl7Tj9F+EzrpktSafwDD0oEC1elc2+kItXxRo
N3r8wcq0iLtwQqzYAf0ap86dRAe6M+KKSkFvV4oFkFRKgLiJg/D3tnqVeFu9a51ryjVRm1m1c6uG
FQ5VVA4Hva/7Xa502j5GjXbbIfqIZknd9jcszAdTSoiDuAOOiAnj5tXZ30S1vHQdrSrgPikjj2PT
HeOy3WulAueACu6tMBHsq2N4Sj7f9e+W7XroruUbADMQy3qJ/L5aTVowFlVdY1FQDatsWYTlhVjM
cKsG4HrN0grRB2u9k+FuXduWBlmpZlzWmoa4g8G57SEF4YqbbZXKKG4Um3/UI6wL7ucKSqec4u1G
TJGaiZEFrGxonSZKanth+TEIcmbcWCrvVuXaJxijmDIiAwggvG0nXtALGsW+YlWiDNpWswq/UJ/v
KLNub9iWj5qCDxNpBwDdiNReNdWNQVGWORRjWh3C5DzMglst8/eoFOcbzuFHg4cvxBZA7QFZuXWl
vloOdW5G8SRX4MFUEcYxAV83GmF8/utFtx4zHI0MHhqVV9dYtLcjq45jTJgGZhLOVwjUytz8+wnC
oV7jebRB5clVK7MUVjIV+aU9agPOJYYKckszeQzqcPn+eYc+mCCqa+nPKtHKWaO8HTZDzutICKFB
Uus+8Lu0a51UgViKkMiNXMwHE/SmpfX3ryaoKOc6WOYEdQd9+GoaheKhOlvdWG/ryfjmiAFAQ3hy
tX/YXVL8bxuRuqnOS0kobUkvxbsa8cdLrozlzgo1dbHLcZo2n4+fJH/U4op2R02Aeszra9iCrFE2
1rQIeo0BrKXIndArBIE7gCmKtCDaFtMQenOswXgn1vIfYRb2rVbAC6KM6fnzx/lokJnIlZuM+CyQ
irf9D4ss782AlWNYMBQKlZB4hAh+/30jFMJDC0oJKOvmas3o9bjEbUWt8BRTlgRrdgIVQyta1S1+
io9m01jlEKAOf6l5fdubQE0pk55ZnEVSTNC1KFQuj4IvacO2QB/wxq77aOxMkBIWBWxAsa5dhH5q
9SkfVkA9IiaHdJjrXYUVdf9+8GDqRZsDjQds4pWdMjKjUeYQi5i0eXNX9lHuTZoS3wjHftAXhm2t
DebaQTBn3favNltalEJqxdHqpxrRfTZSLybFWvS3oSLwP+hpEIuiGI+Y5Tp/r1oxl0HohHXtp7GS
H/N5kt0qKMwbNvd9pGNtBnwQpewElt+p2ef6UmpiThl10gfxnTADU5TqbF+OMJ/r4nBvjtq5EkTU
KCIjOBDv3utWVd04X945kDyEhDwxaQKiLeCS3/Z1qcXe6kI4zBZ9kCXInaO2eFAnTRzutH4EpTeN
VhbvmgHmtxsL84NtwG0ALJaMChRu1tVkCmWkif2qOzjniZI6kajP7ljFd4oaqk7fBvz512uUwwfi
BZC8IJeuT+1eNqZ8EbEiKrhae2yVxjdyYLuft7I+9ltbTcmtQYSMFYT4w/V1gJhzODUG06pTwexk
plHu5mIxdmpgRTeW0PsRpCkT6DZ3b0NGXuXt5GErdRGefOq8Ui0W3LnMahMShEj6Qjmz9isa8/GW
vu3q2Vz3jp23RhoxX4gevG0ySmttCmultKsC1W6Vus2vSCEvP+veyFxJKuSfhEFgVoiUcps3cvvj
88F9v1xRYMAx4KaDJ4lVe9t8XtRiOIx9aYvZSsOkG7+yxvihFQSoagvceK/e8irfm5y1RS6tZNOI
sl4TkbdjnMSyVJeQN8lcWusexid9KG7M5Goer4YVOXnoFiB1W8+eK/NJGSIoOMo17CYRYIWmhDN+
riEugseuCtSHmlqI2E7NiJiRkWUwTX0+rB+sWSovcWfxAYkeXeMHm6Uy0oL0ti1kQe1rYTp3jhVI
qOO2DRSDnzf2geEjVcJVGXpT4ijcCd5OoiILqTp2sF/MevuAXUyfJOqJ3UFtkLxW20i7pErOVXkK
xraDghopVVto2/pL1KjwE3z+NB+MPPlYMJrU+qO5fX1rkJFcb5YaxHZaR2zXoe9+jjr+fCFS95LN
QYqGxFepDqO/PsoYBNLoRM7Aa8K/83YQxNzKtLpiJWuoEsA5FQbKsrEGKW5vDPdHc8vFCwwqgt4a
RP5vG8qLIglAnpZ22PbBlwF6J8ObJQsak1jtjRt+40eNQe/FhZ0gD/9fX4wguYoEVKTshcj6vpLK
/n4sDMEd9HJ8+nziPjB++n8qSYipkuxT3vZLClRtNgr6ZSRG8CvppBkNFWPYpEUGLzMIum+ft/dB
14jRgzrWiAjAOnN1UmaqEOf9XGLXS8N0hYgEZtOEZNR5z99PmUnKmSORrhEtvlobsZ5XQMupf/xf
nJ3HcuVGsG2/qCLgzRsCx9B2k2y2YU8QbeFR8Kiqr3/r6N6BeMggQ3egCCnUUh0AZbIyd+4Va2/M
MYRfloyyX4dNpdORC3z7wV7ZUyNiKu+0yyGIP28EqjA4wPlfYD3b0gmXyQILUTFQ+EuzaHJ+z3pc
rePAWfPOzem1cUk3MiQcOsQkZ3NlmYEUYxXCuFtHBkctpffB0RQax64sQFd78iaiXfSd4O6Vz4hA
gRAAyDFpO+tsOazh6rWzyNnqZrIEGQRV+kcwfQvDKXhna3llhkbscyczerLGiNKfz1Djbku4bq1M
ssmYFINc56iDNbpYxqyiYzoX7yRaXns0rtWn8gn5Yi6Lz8cbtjAfVITVoJy84BLgMM2euS8fTFQ2
78zQ0ww8O69OLjLUGvD85V2encNeMDhzrrMusfKy+eCNpI8qz3+vZf7VUTh38SqkGoiZ3/MHstq+
bgOf3WSocHAbMiu6LkAD/+dcmE3RkYxERBLXd8LTVfhf4f5UUHoLdM8oja/CFCV6oy+8irraTvsR
DeVvL7fXZgUZqtM9hqACd67nw1mWCcalZN8S8/xpnc19KzHnDYinknCohnc+1GujkeM7SahIE3Ov
ez5a301V4PYs7lEP+VVXju5hqvPw0lKqvzYbLeFvP90rn4zePjLRMSatlE7Pdsk6dPpN0RRAn1bf
U5ctLGfd5dLO3osiXpnsDHFKjJGj9UDnPn8w1Xt2MZesY7WuYbtr0Q7swlpGuGeX2fjp7ad65S3y
EilNUmmPY8rTzwfLlK26OY8w9owLv9vxc4Zf3ehhip4JErlk/r3iv++OnNhkS4lJqA6fH9sGlrkq
lANpdC0xAxVwlZysJFPri72XAUdRCrvftx/ztXdKUA0QBWdh8kyn1/CvlVDMFUxe4RFjTs2VQzVx
37RuntSe816C/b2RTmfDv0YKemRhqIJgikBwWC/ZqqGJdLpe+7TEpvI9v49XjhpaXLnLn2ITzpSz
B2vnMWoKvHWSWZkZYKQPDpZGrx32TMNeqFhfhUOZfX37bb46KB6W/0iQuC2dDTq28WaXkdsl08ZL
LJGCfG518LkIuvFgBYN72KbCe2fMV65nbPxE1ehTkS14p9/0r/c6RUZOlTuCdenopM+L7iruVfNV
Z0X1S7Zu+91vofn4whovnQ0Hgbef+GUsfaoKsYUSUdN3db74LU/iW9SUXbKEyr5fHHwzm2LMf4hs
WG5NJLL9lA3Treind06+l7vOabqyUoijSSicH0fd7NHTSH4yyRyEQ5Q0ciAflXP/9uO93AW4dYIi
RPXK2Ud49vzlrmG3lKVTkLDJFgAZpliL3SwnCQ0nU/L7vPj5j7dHfPlCT/dcUmrgvWlXPN93irkV
dOITQbRz2W54Gnb+XbwYUB4jZZWD73YQEUCbrbh9ZNV7qoXXRv8nird9vPCsc2TrKgCP2B5hqNX3
BRYxgoVJ7l4WWxpvDT6dZZeZbdcrCxsZksX2n7ef/uUmgQ0xE5lTklwDmdLn7zugIkGYzCbhqNqF
yeL+qHtvOzpFFB3+80ikSMkMUcr5J8H+fCTuDk5sGk7JLovDbteZaNN4j1HTPwSrr4t39tmXqxQ3
Ma4RxIV8U9IKz4ebwOlUagb2EDjN8JsDBG4euGm7zsjAzZ085q0envotBFSqXe/L2w/7crEwOql0
LGas0CYh9nz0eQmCGnuDDhtbHPDpNQfwWXXvoQNfHyWi0E+1B4npWSDAColQaW9EiJuIryrtfVgj
JS7/D48SYZeGYJsLxLmuZkLrJ1Cl8SI3098hSofmVFrW+p4W7JWVT3Ib2wYnxNPvRTmJ+ilN0h1M
pxy7v1080OoY2/A80fupqyiaxX8OSRGc0TNNnYxO0heKsCl3aP8/fSIhKnffrFHzwSfvBUJUeXdv
v8LX5uLJc/J/Epbo0p/PhrYqLe5beC2F4TZdWhWUH5IJ7c7RW3PZT6N1NVBvv/fHqn+iD65/Zym8
sscQxvFKyTohiD/XBvtNvSL9IPjOVC6gUJFRvPOiBj61pcLx0XGEf/L8g07nlbke33n4l0c0ERYt
rKeyMYZ454opKUxPSbmhrmak9cTHKIOkc1iM6YIH8YTUsa4fcqH8/8OGw8DoC06N8RBVTqvnX+f0
XJbTkK9cArQ9TKngF16ukSm+2eFSvxO7ni1EVl6MogdSJCsR143zZEK2Fl0be7rcWdvk7+yomY62
XKt3dtDzpN7/DhOxn2FsxqZ9No86DiirdF3YPNQo5hgs05pDIJRWJdIhmKwP1BO7q9oVd5nKAOlQ
7bzPlvk/TucXP+Nsc/N6a5sJbstdOY5tovxwPBIYbkcZtu6ujs1eBi5o6ZaEn4+Ycf/2Yjo7sf4Z
HYEfihWbTCoZnOefdZSlhIi7lLsoz5crfwjAYeTLepDl+l6Z4bXP+u+hTuv6XzMoMG6o/XaFhxXH
5X52m2jnqOl/zQd+qf+X/5F3/3Oj/3ej99nG988DYUHGJyWa4+Jz+vf/GkWsRe0XZVUABx7D7cpC
BZul2IbU46Wrq9j6FPZz9h+judOgKOlP/sMUyAhnz4JYV3vD6MsY6GVWwENG3rQ7Za7eCVZfebSQ
fJ5DGwT9OOF5qLzQLJIJEky7WOmovV7sxq0vZrcNnQva9Sd6gEIYcO+khM42nH8ejdLlSanF2FxG
nr9PmYVZUWoIVq2yqowCcL+A2wrNtNkQ61WIwfkcFet2zJeBavvbs/PFlKGez9xHF4HYnr327Ege
1zn0RNZ5qT/M+YU1ZjoNEL6+M8rZjn5y7EckThhFmdalFnw2ytKUNLBIx07zUkN61G4jP1aDivci
UGI/aU7rtuu7g+uY/J3t/MXyY2h8jU96OIdyine2q8aVtLK6at3UtmRh3zl+vw5fynl2wF+hcZnm
d6pRr43HuuDMJ5ZDrn62BgvjNU4meifVtQefYDPRDtuHBjihGXdvf7tXhiJ3H5PCR+DEOjx7NCx5
ixE7Opw6uXXss6EDzcK5zJY2jO98wLOI4PQBUUFQYucv/GjPGx2rOhhstWw81WTJ6yLr+qPIcJZ0
RJg/zCs1/mxbwMy0yr3ZXH975yO+WJen4SmNENSh3GGmPl8ijohjYuAC+zEyLkdhcC71gpHENIY/
xAfSun/7zb5cFfg6UYPmIKam+cIVus9VnVUZ25rT1N5F3XTrfiiL+Z2X+vKpno3inK2KGnCSGGoM
c6nohxjIBrDBFMo7uwCcurrvWfG/NhzZ2ZM4m0YKnu/5S/Q7cqcYDuE/H/ZWVx16b9RwTAq/cRto
mZ2nnQ4STVO+R25+7W2eSA7IYBFQvuBzF6Qa0fA7InUjGTwVNWVMOf1HORAfCbcTRNFkdKgAseKf
P10jdVME0NFTzeM8xZbE0VF1/TsZuJePQgMEfrSntgz80c6PoQpbgRzWYrVzHKo+flSCDC1L+/K/
Tj9GOeWIKImSmDpPTU3S3Yo+EtWu9xwiM1peD6U1vTcfXm4fIHEQUCGFoy30f3Db/zrHSdVnGoO9
aidWvGKLwuJ42+zqQmUU699+oBdH3D+uuqe5ZwHyJAv1/OOM8tRlW5b1bqBV7Jepl/bR93O4BZWv
dlMkxVVOEvWdc/W150MJ4VK/RRZA6+vZoIYXnA+8xaosBkrGSNknpwtxrLS3d1bya0OxojhfuK+Q
FzlfWk2xlrR+UcEx7vyxLyQ4wjWynzwEhoe3X+XLGXjq3kODREb9lNY7m+eWGUrdLxEw2g0/xHhq
/o5u8J704OX3Yj5QjkD3fzo2z/fbybVxDqKzlQkY6s+LxFTUCK+4oe91urWKvrntjBjfq4299mj/
HvXs6MwCLWnZyjBCtldzsfblfJTT+t+8pTlAKGmSrDsdm7Sg8w/Pp4WvdFkPuFrvRLSUd20NSkaH
sJ5ar3eu7aLKgAVtmXvhFXP2479/Ow4xbrY4TpIDOXtAZaZeCKW4DwWBwmXVqW/q2Xovk/TaazzB
8Kjuk+2ljezsAasFxVPml7vQWdeD28saDRn457ef5eWU507DRgjcjxQI4PLno8jQajt7hkVkLQZm
vNz6CehbNdYw+Fpnnt/ZEl8eXgxHQwoGWtyiuE0+H27NO28YDLzyzAzeMa8Hc9/5ZbOrxlOuKl7W
+OLt53tlCZD1g/hxypsTHp99q2L2PLGGG3TIkGhjnm1qVqGQ0QUXlfmwoiu/WcNpavdvD/vKa2U/
RnTDqAFn5tnHm8Up+BrWCjA2oC2/w1s3KxdSupLLfLB7e7BXXirBf0BJjuXOrerspcadpcM4H6rd
NM+5pP2M0C89OZQGaYlZYXFRexJW+9uDvvKEXONIY3HAYRMWncVyXrhtExBtGLYUQ8GoeNljsM3u
hXHl+uvtoV5ZCRSuWOYkiinnniuo5gVjW69Y2x06+jBd7RWUlYl//18GIRNNnoNWsPPrsGX3OXq+
ud0hgN72RQfcu9ti884J+uKtkT7hGKPuR87mJHR9Pv8VlzeKi5g301s+3Dek3XfWNG7HQtvB17cf
6MVljfl+4rFQr2U35r72fKhu7MaTuBpcpARvnqHMyi5Lo2ly3clstOIdJ/cWAZTc+qH+Xm0LcMW3
fwEl1BefjvsTUkkC5JMS5AVlg+tcTdPnCT3nWzV94MK4jdPcrY2Z8joNWm9qTRKUrWnihP7JqQI2
GbW4RaY2pbts2Mcl5t72J9O6uvhR1mgxvMutiXrxpQg7MhRfcZisuuoiFOskfndtJTB1FKWVCYih
9drV1d7aAA64aaG7dbB280q5tzrOcTW6j6vqYyHToCi2058vzOA+DWHRzn/t2eq3r8YxgfthbMOx
/T3U3rykzqLLk1mkLIcqqWwQf1dLX5VXVljhAr2E1aq/qaKbKZB3Sz6CeYJN0534wPWKZzoVtmi8
tZqTW0LlFk30hfSO410H+TpZv2NgFPHnmguhWyWStii7S3kzbbhbG1FBrZ9XqbKrfqwg5VK57bZP
thYB7ZJyrrJs11Ikh3+q53j8jJX9WH0cpS/ciyaOMxKEPIv0n4ZGL67ZucOmQv9iHAz2tvt5rZSA
h2o14NEvxmIS2xEcRmWSiZhfgbLSZUQzbRsPcZto3WM+LovM1Q9yMXb3u+m7AMrqjFPg12HiOrvu
mlH24gN6WZlB7YgNYufFnkouKjhF7/BzHatv9pJbNLW6puvMpz7o0bTGOdYRe/xk8YteQgzx76eT
D00Lp1Ms8Vc/0+H0vV/GplhSkkyQbyZZkXRN1pMlKeQdkcX2ReE6wBiCUs01t4jcLAP1ysoSXpU0
zriYr4EKm/xzCfJvEDCDs21tLpsFTt19WCz9uia0zUTe/baBhIL30eSbhl1ONY8Yu9QAGL6OoKYs
7l1dH89fjHa3TCXl6htxH01u3vzyOLGdPG2FiPJpZ7axciIq/pa/fJJBYfl/HJAneU1SGkwHNvb5
GoJ3LUFX2FOqlwHfy10eyy1neBZy/FhlukWzvvRBZI4697vuKfJrq6qhjhWF5mxpFgze2StXx0rm
xavN3bBEyCCPYoo13vJO1Y1+ntb57C4j2GXjZH+msXPwgK+yYKJtQWDRan2LPG0metY9BdMkzSsx
6Ke+iI19tTm9Zz573bjkn9w4m7tHultVs/PjTGy4NrsGbLI1Z91ulaW2blssnWj4JxkPUl6gHpl3
cgkYfNyG8EbrKvC+zFW0mEOUSXYgCKzLVFg7WongY10MuqHyCuLZ0/qp81oW6qG1NDYNSVhbBolI
V4lutK7d0Wn7OD2VwGNrV8yimNa9VUSkARMDeIiYcBF0cmLGv7aL+e0XgirWLismVECJLbUlvQMS
oQ527WQLo+2ksky3PaGwFBUAW8Nz3DhOfqJo4fODLDnRMsrrH/4wqr5Mw9wy1kNQ9Jgn0LWjsxhP
+BmJDBSGrfeXX22lq6KAZ5DH45Ke9BDTdBXazeBBtpaW34yX49wU/XIcFa3BU7pyKQiDXQ9C0L/p
3CpoF7yLAP0VlzO7dYVG2o7nPnHxsMH91xMCVGa5bFHvXBq3ZfuCvOHrZXnoaneo4/3UxeFmfx4z
yd2H6A7M6gl23YkQXJRRGOYjGpqcfZ8bb0u2WC/2fpo0tkC7WGzVeNdWgx4uBvw8ygpF4SzrKgEJ
tsW/o9ah5nGYKx38nftyC69tq56s72HpTPKxDenIR/WHWAnhIY2k8jcUMCtLnJVoId1Uua7XVoBz
4aPmgrx8sWY5NsemyQPneorwo0rZvqyf4dxicFQuur8cM9McNz8D+jtsQ24nQb7lt0HmFB9jOg8O
ThPXH6mr9Sc7/jCe/Meo9Nt6T7oJ2/GEorcsPgb9CriWJtfBE98cl9z3L56pdL/NQQXK2F+EiI/8
LEoOdlEvOkWH0LhH5NZWcz3pLvN3wUaYntZV7Azf3MWJhJWIth36G+HXcfPg1GUz3NicwNnd4JVK
37Df9d+MZ+viS97FQ/YrNGXU3le1iML7ebBM/A0t0CAPkxRluCvsftVHYlXQKKuCwQ3DV7TZHxlP
9niHbLVsDyovVfyTKSuZc5mN3OV+DJyu+x1nXhXQWDjyHvbSrKP7p/RwOEcDKkeHWc0csdS977aU
p0QHqeNTp81grgoosLT2eypr6i9ZHs1Wd+FtUzCFB8sfc2VfwAXvM5WaLarGv2ukN+vPWnsD8Jdi
tr1FpNMsPOenMyq1uHTQdwocHB0a69RABJF5DoU3LkqfXg1ZnFSpY+EOGEMHuhu6P+HSWhbwk2iY
6JYtcmeOfwxeZfVfwtJrSyIGyUQvEpRhJnDSWmrXR5liL+3csZFGajxG0drQg07dY7gthb+5CUIZ
LIMiqdjPkR5My1OLLnRM6KEChOJUNnj4Gh0IGktbCgpJSpbIiqy69KIvKqdw+iXbRPs77/oK9LXX
rJAOlt7+YgsyZqnLXHTTcMjH9te0mOgBgRcndtxahboPuk1d5Kyv7KYu3KJL2X2Gb5FN4ZcDdq2f
JkQ9D42W1e+g9ME/9lK59/22Bfc0nuaQEzgWnvLIhpfj2FNw1W1DsXwiUohISRd+3B4Hg7nFEUOT
bN5bYeYB1pHx6F+YyULWgty3/SLtkI+ljbgcR23ZO3KjhZUUPY4HKUI87Aj8oWmqQxX42Q23G90m
fduYH6Xg/L7sZ2fw9n0xbUiw57ndj4NdH4JI2x7AKwDLXD5wDel13VuI2jIAJH3bSQusZA1DneoF
jBqe48lFi9mkQ8YZk/r1ykeB2Iwz0IqqdU71uC315VSuoU68NUI7hltcnOMgpLZ1V2oxqasc2wud
VFUXXtTtOCssa7bI3lmCYyixT0Oli3RqNB/2knnpaMtA7KApKRuRXV48sN05XydXdmvi6Hj67FVh
/tnPVfa3oLJzb4/Yn/BGhLAORSmpI1nhaLEeZAUPOI4mglWMY/rgps9aVd9LCRD16HhT1V8qSY/O
YXFnR30GrTEPO28IRZlU/rRRBpJMzWCKW2+f6ciSacV/8/H0HciE61rCPMgyx0mJUWS48wyxCLpE
3Z5QPmG7wt1YnB/x5rfXuSuN2qFsLnkGS83usRRmoKvclNV3yacp03JrBFTkqfH5tR2SIt/vO2R/
be2kXHbaQ+U1/C1pWGLwvI5A+biVnX8Z66rKLrw825wkJFJBglFFsUxju+k/1k0QFYfQqfC0iacl
mA8A5yxK+rGp40SaSeq0WFH2JsK3C4+l31r+3ixt/7CFU+t/auu8stMtEABLWhXCBayLQalbP8x7
Wq1zN85PXvqhvZN8z/7DYCznQuZV619Kt1HAe5XwiC7DxTaJS2fQmszhzGY2mdJrDl27io8O0ir5
05a1TkTEnpkMgVryXZEP/G/dOsQef41XIr4gLP0cpXgXXgPMCL0jMW4kwHTEXf2nNq7a/gQYr3xr
m57zpCrK0t11UwzibTa5xbPYUweRljaPpNuQe1xlavS/OL6eoqsuow8gLdw1fzBh3mHLj/L+Wq0Z
weW6bQR5q+ljZxdIL1cpxlNgBaJClXd6cJzvkxcXN2UjgVzPgHdnNsMYSk6XrWyMm7G9z6Nj6e9C
1lBzxOqV9oOzADRPfCQO7bd6HFZyY/U0L90HlqU2mC0qTr4ATLu4K4hrH80isHaxpFNeS9tfYkg5
I39uqmWd7/K8iNwLPpW/HsxSbBNTtYsfVtpNqn2myjlLcmrUxUW5iSE41Eh16mSljSk8ZHNGOtiI
rC2SQir7m7eJkyCKbs7qQBJy2sfuiho0U0V2NM5q4UPk53l7FMTT/deicrekj0LID1O+sHdR2Qjr
NtlokWwvRvpd78i9Oc2O+tFqXw7hbNMhJrizsL6CUqxHDM5VddF50dhfE6twa6v5LBX2fjH/H6ta
QAdPyqMdngaW4itl/faPY5v8d9HL7Tf2L8WPLa+bm85Hm3dwuaXfmWqpH7tMNGpnMaG+LW5nTUer
djtgQMJiz2xt4x5CFTQEBVYWi51PQOEeA1vZ9aXbtNMjdXY/Nyn3fW5vZu7ch5EeOw0lOO93RVYF
nAWCUytFxos/VtZ4UUkw2HFBXRs3uKMqjzmFoZkpPqDRh54hwjFUn6sujurL2asJh+fVCvemWTmH
EtjXLggT/OrKJBCieKpyOucTRGtW+1gtept2aztk7pGtWN4iosho8XVNQNvNEgeJZyq8AhBSxH8h
Bqm/1iziv5Pnc7Ndq2zQ6WItPkXLaOI8Q2DXlNxDWmef+VzP0b2cDCOV3Q4/tm2j0yUv3LZOpti4
vyiWcAeaY7smRBbj5ygL5c+208K9AiPRHKF2RmVKOnsc8OIgC3ygc6Xu08rP0J4UxWB/WWW2slyk
yb8H0Cg+BMbLfsSzFveL6yz3sYi3+tgT8SCfnH26isOWotO+rKrhsHntVO5jW0VZUiylvt2GRlmH
xtvUzxBL0jrxhZ5/VS4+CTi9dG6wy5QTHhtrXC0SN7n5MVneSqt8H3XqYq0n9+e2eUtIT4+WP3o2
D7MPl6i6dSrH+uss7fZhFeTBD+4wwV3PmwpoKy4ZtDQ209US5IRIPsWUNdFofNaLBhGu3g1b2f5V
gyV+dpOqIAEarT+VcsaWZZIQfj5WkOQom7Zr98duphHsmo7req+FB4YDafByLVrVj1wQ9PA3D7zs
u3b7/H7hCL8LmmJ+KmY/apOVt/YLtuYIdmywifU7vnmCB4uy06YWJzgdYEDadr0J2YLl6QYWQVEs
H+KRa3hSqXrmVqWL0zUh8ss722lVd+it0icjb+NodFgnvS5JNZR+eKRyaT8Fc+0H+JNM4qM3+ix3
h7bLkEQVd/idoq0d0HaoQm6lKAkiqk1Cx/vNVbRw1ErJK0PN9wTQ42K/d4aZsufszTOwM951Es/t
HKRycRZ4vFPIJMtWz/uYDVHxBeVF87g5C3kgLn7LlLh9PFhJhgNDkLRBpB7qJvf/rDJubrepnPIr
VQjXg+tFEHMYVRvNAH5OFRUrs/NLewib+aBUHD9ypstyt/olDHI6vOfLEeDNd7m64lZVwvgHOyqK
rzkB63IV5mP8UMQZBDxeLz0G5Fj8LNUFGMjIVmF9MdheB4vU673f0eAqREBd1lx7ZjRfvG3p53T0
pwC8nKPFlmi+zLGlFLkd1rUw3zKwu+qG3cJvD7FTO/vWi+YtHZBMEM72OZe7jIfn7ehYg/xz3Ue/
dvNP9Uijb1LOgw+iUxAD7JxaW3+bsmqvafc7beFkr4LDuJYweuiime9CEGSY9+LtwAswW5Aa2rI+
4usGh7joDUyfNRLBsM8J2/1UNJ516a8bjxnTBIEXZLuFYcJ69n5R4cs+W703ffWQ03+nTKCv82ap
VDoXTfw12lb5m0xgczcuffuz8o17KXnMMaVKzvVXUSXCLQPNPzq4Lc4u3W5qIsZdNDNKZPO2zyx3
dRLbywbeLHsGeRDHnx4azD247DuoItg9w+Fu5Za6JRj5VvZ1r4X/fdWTfxsG1fijKWvvqxtSQksm
r5l/1hPOU4lqyH+mUyuDlm2vapxkXKboBxVmguSliPMb4w9qBKxoy1tgHlZJa5VabvolJ0ix7MXe
6SxsJG1dgwgSzb3jSSDNeorKwON3Oz0tIQg35NHrq6xO9DoqrkC0lXL5N6UcjlkrttssOoFBAkqx
M+x5JwTdWMho2RM1aTiCk6m+IdPP7pwl2Nak5X5k0jY/RW2Dt8qLLsCTMFn7ACZ9DudLX0WjHn84
q/YeAxN77N3CdPeym6Ovfu7a+jKu8/qxnyv5a0ZifYt9hNSHMihjlUhcML5ZikRq4nAC0/xfDvZD
s3YcAVmBdSZbbBDeq84Kvy5uz1UOFbH3pVhXjo5Narp+ghE+9NVsVe51M3FJJvZ15QJc1Rbfykhi
TcedAU4ovT2YOcHQlDet6eYp6b1mWBOWePBTiK3J98WwYX5UcSNOm7yuP3Yu9wnyQNSUj80ACXA0
GCUcMxHbl9FUh3/y1uuu0K8TxTQrIYY9R+qRzDJIUmTIIChVJGBbRX6PgL4hIYZdJn3ztyXFpl9b
M8fBYZ6lc/CDlYi+mytTps44Tk/WsMV3AeI+tPYdliRJ7bfNmMb4P15TypR+QuGt/JS39dyn/dw5
DaasK7FXhHGUm8xu3n5aYhFuabv1LuAlz1Y3XpTDXo7kXD5EOPGGSdvPZXhwI8DMfOPeELnR6tw6
k3hCXES7O03v0P/8xp9uGrrjtouaKtFjKLaxuMI5ksOxIKwG7GkrcREXllqPVt6DqRz9iC51P2eT
8UiWXWV2A750boZ4b1RRX+tOjz4XMF+7UKX19LHcAk41IGCUMZtl7C7KkELR3qA8/OZnvfkxxMoa
dnzD+mZRs2Pv4m1icjd11n6dRd3/jNvGy9OACOUXRQZ9W4XbXOy4M3cfZqVFc2dhxTDnD3FPEnin
pDtD5skWaJ62q8GKsgN4ywcvc6CGRV006J+1EdaUdPXMKhDRzFewCNW5GU5u7R5PAgBanMsx/hX4
5djth3Ey2xNIOPtTROHwQq9WwcIx6/JNtlv8q10keLLI7rovmKd7XxcpqjHdXNE+WSWnbmJx4/5s
RBVjvBTE8mCPAbM0Dpat2QsQ7NFeLVlfXozkuoGkd55tbvImJmYxXIs/Bd5EetFWDs4ALglscNQg
rFSCXalU+yiqZE2aw20/1QrjBOzTTScSNRbqafYqwlAntLtw3zb8mJ1cB4ZW0RBOO8todUvwPHCX
1Y0e0paMXrmnO79tyan1ww+h1yDKfzXmlFLQ1jDcR5WIor2DXQ/BxjZAyTWl35GZCpfZSoVWRnKo
9GOfSmrafx0N4o30mm5L58KPt/77kC04nWbhMrgpOWauNTp0oYpKASH+avIc0WDT6bpkhzDXI0s8
9kWbdsb4d0u11TerJbZup+aNq1BukO2lhRoxki/Gud8OjkOMgQImRwbc9i30wIrmvodqXByLP77K
D7ZbEbfpyljtwZD19dKgK4P7tkE1kCi99GTc6jb8gC2dGyZzHyy/aYhXS0IyxOp3AZ+537VArUlY
9XF+t2qMcRISJbV1XFHtbjtf4dBJHjqORqaO4902WTY9UFQBnTxr2dmn7bv5USpvYZvGw+1EriWa
TkRmr4+O8eKPfatmdUSuX91NXW47Ox+PiPs5xsART+8Z1/cu2BzKVXaxEAlYk2OLA+Reqb60RZWj
8ajy1U6l7EpzW3s1VzWfYxDy4rz4at8bgXmnaMzWXJdjZF+MfT+vSU/9/7FgVs0oa5qoIFfhSdDU
smRBlWhl8kQh9+IiGvj5ccndCEJtgCxh52cVjMMI4/EsDZZM/fC6ZraOBbfUS3Kq7kcZbsHfwo29
hX0rn3U6MYHCxG8aYx1qk9dmN2bO+rj5ohWJbZd6whvDa0KKMGUIL7btEXxrvLFUhOjCNRtpXvSw
9YcNDzU/pU67DUT7W3RLkQjgNBI5i4I/qRD8bDdD1s+eKQSU22BEqrMJ/ahdcjY1ttf8FEVpSEp6
cf2YUaHv920oYp0K7gd3saqInOguGovEsiZDnlk3IJNdh77eWVGWSXycGbpdSOQ6pgs1PpDFmZFc
AJTnj6lf9d6neLS5V9s0XT5Q8rFJYQz2/+fsTHbjRpot/EQJMMnktCWrSrM1WJYlbwjJljmTyXl4
+vux78YqCxL8oxu9MdysJDMjI06cc2IgEWKkfNDnHj2pxe31zZCS8u7w5GZWeZ6QY4yxGJmCPSXj
ixktRkG+N+nLLC8LeWb2kbhvV2Xdwv1dy8DuIx+E1ajadl/S7btaaxsALInt/tt/TYbAH339ag7t
fC2qqH8QUd0Ue79tslfbyrlO9TivL9Mi2muLqc6vTY2FB8WBFV3rpXIIQVFtPoyFwrN3BH06dc3a
/BkNhDyWyh6jL7oOu2Gu2h9uJQDm13XEcWtgxDKSZKxc8GvL7D33nLqmg9bdUaoymdSK7eURkrT4
UdGZ4CLzk7ljmL0U2RWOpfST4r4Zv+rFSxb4/iujD7Tptq+tgWcL2brzKjByNEKKUe+LaU4ZSG87
d9/EXJJZJ/1gXBXZFmnmJIluK67PPpx6OV7QHEF9C5HZFcz87qRzNdurYpDjUha3s1zId3lkdW3O
wsHacOS+89xtBHLrOsZd41VZc9FFrjnTYCpHexe7BTAlNtqeeTo0CqssG4cVe9fLavnNG9qCFalm
Hmrg1Ac5JYCl+UC1FdgK2CPGmsQ+5RKU4NplRCPcXMv6Nt+cBg5+ZS6XhD2r2uaLzkvgeKL+HYlS
qbCak4ZSeLTqu2z2uymkX552B58JqgzJnlN525KCGKEDy+emI/1nejcfheYT8pEBZfxstCTZ8YwD
fFTqMciJdciTxtRdzhSKwFfPzjIVlHJQZcgmWR7HIRP3sczalFZw2z5XeQRaOzJMLg+GedQ3Dvak
P1tunmuQZnmDZ29t3jRw4Zmn3JQ54ze2DvGcVbL9HoH8GSeZtQw3pSG78iJy+nUNGo6Xc0CMSP8v
E5vp8eY3vC+7jlze8lI/hc3TiTSEYpu8VDnYLCLKloJWtHlOm0jnyY2JGnbYt/3Y7hnJSot/hsrH
+11Mkoq2MJzbXOZ5w6uOyRVq2KAvRk5jel91hOJwyWZ2rFcb7u/eMpY7tQxjd6E9hytnQXMjQ3e0
52dwcFeFHSTkEwfr2+QsVdDjt2sOT0yta4v0r47B7bChMaMQWHd9zOZRPi154TER08yZPalV/eq4
E8AzRs8Yrma0gL8PhTu6DIcv6eHbsduclZ3g/1y2Y0NKq9zCDpvcs3/T97DpdsAi2JrFJZqrSnWU
WRjHGz/BToDFK4LaGOa0D83LpS2Nb4VQjbkXzCxMwyktvA1HjmjGuwn47w4vufoun6zlZYbJ9cSC
mNJCsVFUexd1iBOqZux6hs4XzjmAjzEFNVvoK9lSVexiKxJGWHursE4W2VtPhl2lD7BUkx8D2OwT
dp4yOaFPXT40WWq/tmudzAFJjwHmT2/uRdeNupp9r5navT368ifEcc0k3ijDBIBpFCo/M/Ji+l4x
vss+N5Mqanc9bBA2MsLO35zHuQE9bOgTp2OxkOLBvGn2Ti4Sve/aVF10uE3Qbpor9RpZJUiArL1o
l7STMx3cdIVNmA62IagYatHFV7GdlayZzoAIZ/brcqiHwSrCkm93XsnaoJeMIPM111N/q6uVpFZE
XWSHC3C1tbcre85CbRSWcbFGRRsFGBPZT8Kc6QhVsWf2h4wC9s7NhdShbwuxnKVtYt5Dh8UZwJAJ
uYFbb9PMewk6E295QBBHkb4uKkszw36cqq+ipT3GLc3Ej2CV2r01OmeMD5Poyx+uJjsK0wqwOihE
bHOfmYW+75vZ/oXmAnymyofaDdq+QnzxqHAylFfWspjrZd6qVARWHoE2jbHtXsPV1fnO4x5eabV7
DUFJ2APyuhF3iEPMAJeCoauNm12YhA+Q56Tp5Z5Zlel9lscLcI89iXRfw0tSwHkmsLLunTU0lwH2
sMzX/AFdl1MGJX4WMX+9XXdOZa59wBVJj2PgpnntMNFVOzo+8tyZyijHw9J3zp3cEzOA/jR/TXiV
D3pdERnPmZ/WoWBucxuOiZlgOVzVjT4ACcU3XbL5cxSTIx+EkQzf0Xtw/KohgoCylHrudonyOhXG
QkPFUJFnnnUZ5+8ZngABUrkVjS7TItjmpFkczspsdSBTIAbMTdBp4ZvYUcSmTtMzG6iU1knR4/vG
beBGzKmniAhUvviHauxFdmkvU+QE3mzMaRCPOBOFRQWgeuotjv2q7Sb5XhFSEl6CO5zVkpRo58GB
UndrXgyXizLq9JLszLmctOFWJ/ZYjWlo2yWkGjIH0BopR9nuytFkqrZYYzZPYtv107gMLKSx0vi2
pOj6PlMTIPERNQYHq6ejb8zN1QtqytV1Q4B/2gC0etsLrUlTDiWYeh4WemkH5LNW+0UOU/1TFMJO
L2bTsU9RXw8/nbGw94aZDM0XoHt6Xj2iyIWg1Di//bFMfy30Vl8L0NcHpR2oE5HG0Se08pjsrW9I
zXfpqNV1D90Dhhg9WHyUxmWm5TCqPFxMbMgx3ZzaZzerCYJDAlrOTdK7bZjlacenmFy2fu/pSgVV
0qkHH+rRc1LI+cFoXG8ISrOanytMouUuS0ZxSz6xwlBp+PGuV35Tamgf8rk2/IBYLTM0UPBOYI6p
lqSF2cMplkdOtVK7rV0fpBjAADXgIA/Mpd3WC+Qwq2db9uobM7uHWyUoUIPOG7ufphFX5CMUQXoX
0dY8K1kgKV00WBcpKakTFunY1XBW8K3G7NPCmHbUkCw4+qU+4S5MXlw12T320stq4fPUpM5OCdtN
dxEvUIbQcl3OasQ+CFPTSqEt4xlG/1xD2Aq2mIxohQ+sgpaxUpeVB9xJRy7XDxhMFb/yeWxrWPhr
cV0VZJ77ZYw1bS3au+XOz0Y1H+aMtnYzO2UTLm6uWFmESnS/Rlww9Ma9+YfOjfyZggAdd1qK9Z6p
1QaqFdFM9ypesjtzGRk8YsqJLhzXR61D+Bp0pguvr6/HPmq+lMq0vrUVlf4tsJOlwgbm1Y8FZd1T
XC/l187JSbFhgGdwwtLIekjspUaBv6TWF0GbOzmtq7h5TsZ6YyBSg+TBhI1bfzIYVS6CcfC5L8Qy
ZLSTaCbeOw6klizB5jKYmqp/HRFc/HAoQWPyDYvzaZEkkE3Q4/L3tcPY+LDp1vib7CVkIk1HZ5uq
kdCusOuJ95yW2E8Hw2DK29ma5tuS4WQa6FJlzzDqKEKWfvw1wywug6TbdnHXqbQ+XXVePTKOfGBD
+8WchgJgwAjoHSR+AOgEFLU6eXKV9Lpyw1aZLffwxF86NIkaEsZ7JIDjhSGW4lSVEcShLp7727iL
oFhkG9E+UGpKFvhog3ikNi+uLRuomzefiWvd9vENchrMcyNZqTNT9mDA7UZR4sDZNgaReT14OxdQ
7QFQUT8Z8WTae9cowGXHNpVf4ExWToiuBOCKes2hK51JdwmJs5A3SL2q22VgRMxONBYfPOlpJe84
Aqg8Yhh7jyKx9LyzksU4nQTtd2J4PD972o7ubbIY3pMjhhdprXT5cfBMGTMj7YVCXUzJg4xSOzrH
knW6rhocYw4cBQIb1DzuytpmFjId2LGJydytFryp1A5XxVK3l0IRWwK3j/t81xeqWQPhLNE1eovx
bjS9/mVUvWpPJZ4hF1VBK57MrY5oSyr7GRxvIvy5bXxaWyjswWLT+sSYGpg9sxL6gqV2UBtcM0nC
BcnVa8r+4Ql4uB86g+njWiWFsxftWD1v4YEqjZ4HXt5kEmduNJfYGtIvfWq8SaJ3SKy44oYSHvAM
GMWXokVcAD3Gib6sbsFEvxUgDi5Cstbjzo/qWJMSqfR8tSsQbB3BUwfAgP1xaMSSf8n9msuzbMrJ
ZPu01nlu03PC88aoC2ooJ78z+jn7OdWr+yOBDw4hM7GM793aUBTZBa47ak5g28SmgcYwHoyItNwZ
re/swuwSKv7POeqKJrQqTbbnpuTn7uqZOEJWhXGamRo+07zS5CRgZ02yzzxSdgbIU4kGGe06yEb+
ZJ5Bykm8PU53zGZyKmE9V5DhiFYW13BWjcZp0jUcCYB//6YztXWjQaCrXTRZ01Njcmuy+dT0YlaM
GwqyPHMuxg7uV1D5dfowLbTLwKQm+woN9sQOh1yZ7AeIfS3eUFpRzbs5XQynlcY5H66Fq5HP4j73
5xgi20ZArG0/LU/GZkwJuFH11CIifZysrv5SGelsnWaFNg6VmHt1QnBt8tDt6z5RsCaABBkHBJ5Q
jOd5Rf9Tbp1EOHVe4KIoHU9n3y7pN5Sp0xGBTMBeBqUgdMArn/b2aOWcJz5C1MJj6m2HxsfoXeVT
ykSzzgIev0JUBnpQzbnjMlumhZ8LLAFawb2R9PtRu4V1YFIQkHY2WO1jnZnT61RxB+HIRcd5l/VL
89X1pSguIfqmFxnRogzdaauq6DHzI6DLpHHgkns94kMqLlAt0sZ21yl7VomaXunx8dQ273J/B25V
eNetKgGEmXC4Ug/gf0vXtfLs9js6OG1fJHadfoN00PckXKMeoMykAs7IjJQlD1sNA+s0BlLrLpHT
dlcjRPMh9IC71lMmJOo0uabXOpv3MCzWFxKvET787Kqoe+jjHCnIvsWCyz0TtPKfcfmeHufYmocT
evJevfOpiuFYDAJ3SOprwO3YXcWTjyUatl2e439JhtxPYIMlHsl1XX/taONDrDJS40VAj6h2a5rb
0R5yiA81itK03KkOjhCd7u0AqGHBrNCsvLEJPe4UhwzbhWlGp8+/7+vGu10HazJoVq4sE4VycwLT
drpax24FfluJDDsaI8NdDGl6oD8k8wZM08sfUuwRrN1Q1y2uP7AASTLzcgEr7mxCTitzin4PYoiE
Mtb3PbwUkeS0GATbhv4tNo65Xt3otAFbTjEpIsENa8OkZUgLrnIO2I5pvJmwUvMOIPc5d5Nl0ppT
0MjxjGtXyuWqHU2aVpaIv5I8TuM+wUH1HDMZCcJiVEJQHHds32k2cFVosnKJgnwhvNNHBPA5wxWc
YhrCiQu3a83ks52bOfrhChtN3FbHfN6V1qh+JWtFDBQp02gCYZVgtH4GBzgYCNZ3bdEU3yAmWnpP
VT8/jHFSJmeCxJveRqqtWzc2cdiapWZH9k7VS7qGUl5NJDfPTTZ6X7EL9iEfMa0o2hf+iqRztcz+
S+ul5o+kNl17l2Wzcbbaca2vW79ub6elsg24Gx4M9npL7cvIyttQGQOsMDJygfK6crrvVVJQ52bY
ghLkIXFGO5BxdUs4oIeExgxKrlUVQkB+E8MNYWodQyvL4TjqDEejqfnvHlC9Pwa1UfdXhEb6xPCI
okeUGMXpgrPqvIPwQHsQmk/ztKCP63YNhLfmnLkpxu94rjzrxBBgfCEwgeQqMRwmSBJchLeXk0X5
ifF4/6uMzW4ioc7jBzx2x9slaUduGO3Ez02/LL9jF5rdIW/9/MXnkm73DgeLTkSTeQ0WNJkLL3Qh
5QzZ8TS7VSI4N6gYSPwovfOfYPTVc63ddAok1vAPdHHBaKauX67qevKf8X6BzUPH2G7oAqwZlGVL
eL+KrFxfUmorViULOG1D6Y4qzNLM7rd2nj2GRuoWP1K8XRncI1fk9gqkjq5numk6utGHLFrVawn5
xDD4+DFtu/NuWsw+MFxzsjkHSiSwjLK43Xvah3bN3cJIJS9WaxzSkG2+MHnMWHau4RiXdlwxbCCV
U1GfkD/m35uaqEwSB/VoMDWhH8Jj+RO6aXaDrrWHZ5iapdjDCI9ueuJTEpLmS8q0tB6+mnDFv2l6
N/e2Qx9BcTtelnVh3WWFparbJpsGrHb8dFxOTW+cv3ZJ12GDurYWNkC66KOTpbayu0FbHcjTtCBa
WYwVtJHcBdPU1fRyb0+VJJx9qmrKxblrnHZn9pyafdynM/HRn9rqrFKzOSDHnZTng63axAfb6vnj
BDnPT52uWoR4rdU4GmRyyV68GuLECRYZY3Q1UuNA6GJS/d0Mb+5VURrwqeVm5lLFYO2RSqCTLTBg
oDf0RvEytXN0H5Hp/8IUaoNZl3lSBAJywD1SHOsJPQhMjxJ50FOTzlzkbS/9k6aYcrqsKITK0xl+
5x21imawcWZ20OdtxEGTXBsZdgVKxCA3zaKAYQJIsosiZDLkka57AzZNtmmjCrjIWuh3u5QRkx7N
g4HrCXKN9WAuTfoyezB7w6JwyXJR/7VN2BhedFNlCp4RmT9JLm3XJD/UVul8FaUJkWfANOSmE7Jf
w8aLhilA/gabSbtGfZ+76fLDGxz51aGhZexltBpil/g+zQlmQ8VpmLclqWkhrOpWer13x/TG+skQ
nQ1hqa5jMyQeAh8yHa66RJImKnTNrfWMnzyET+i45VmL8GrcS3zf+5DfY9xHaJ7P13Wq4YgAoP7q
8jR+MkHTYNQ2c5nSiWWLBaZVigWm4LjxLiG4QQ6AAv89qpZE7WAkrbThXU+fwLDnb1pw62ruPbpv
JMdQ8oPBwidtH7e9+6XPbDETqgtpg/1l2WOr8/Tej3L/hrYhiMsURavYAK65DjxHIG2ZU0W6vxDZ
nkkaKDVMWJZBXyN2CBBWRS9OAlRx6PwmU7sFLoQPz6tfztXqlHhdGNsNkxlNke7VmADLFjA6rL0s
Pfd6qzttgsqwnnV1F7dhNIxge/g3mZfduKpvcU4UCzC4TJlARFly8FpNOoN5c/t7QvB3mTZlb+7G
1qBfnnqoCnjTbMjQ7pu4CMZ1EY8IEPnG84Ilupeu8t6aXaxaGniXJtAYKVow5bWJ8Cav/Ns+j1Y7
oFhPSBoiKTkQhim+Tam1fovScZAQwjecGTO44VllndWE6wQOE65MoIg2X8GFhhuY0U256FhAn6Ws
DhbLlVfIxdovnh9DOHZlSWYfK7dnWJSvp5lIT3ve7BZaveucT9EBoqiKTwvZ+beiSnDR8H069hfW
ONHNoB3e7SLCfofEgrv+zMyUL4KuZ5ZyX7WCWrSn7b6nWK0yZIhZXd+ai4QWAGesQ0QTGfS70MgN
+2ZOFr1rjVmq0FuRQIezMQzPozWJaT8NrcwOfuLnnKnEd8i0IKCu0OfiONtJIMH01xwDzOyHVcgx
LGsE8CRmSw7lwm/M9Bz/Mb+8msbUu7HTvGh21rgWyLRqOHbXSH5oag/oFHgZjVX+knklu8OSrNG8
W2Ygq0OckBjvJG+x3a0EcXKLjC4VL7bQQoIKmdFd2rjkEg2jLwREz5EkZOGsvhbVzED1FN3HXd0v
OLxsYwCuGIjQP8KZVTQh6865amz6zqG1LhpqsaczvBhVJGHeErkCQSPli4wklJcZJBUm3gQte1eg
H/pVR3r5Vhcyu1aw0o2NMAh2DBrrUojW+rcXjRR/4LpghaCHZFyZTcOmdwvjBxnf1IeUKBUp6Nh6
11JbjTyJlLf+iMVkXCExHY0LxGTWr8mW1gbOFNAzmSUUnwEMJyv9UaO6RlxgSTj81pDQZmfAQQgJ
iBPlzplxmzD0IA9rZfDBRsOw74eupa3cDA7t3dzo/LNFxP10MvG9v67c4POpAs04y0BPbntrBEPC
42y4hBDBLVnDPvlCdsB1URhdPQZrB4hx4qVNC4Bloib4CiZZkILUowlfqsq9W6esIcNy3cTXTQGT
OBh5y99hqI/XW6EHFcco0IMJUXc36CSjn7kGQQ5Ha6bCULNXQBNhpMqTnywc5lgniws/qwCuKDOM
dfe44amfBWAbzrCmTu4TVfVUvobfPOEz5BSAbFXxM5ZNCwsiyoGUUHMXGk56pe9lDQOAIAv/Qtl4
Hgdpx1DyHad4+eEvzjqSx1twQSagWhsWDmkjPGlV3KkULUNIF8p5sb3WveUO6qxDHcX0udm67d7o
45YUv9WWDrfovBzMDHBnn809MLbtrRAjE6+83jioyy6Zm/mKzKXqnNOYjvayT5T0GqzlGnHVjdya
p3ldW2cemIgZeBjMU8LXs5bXHWLAX21krNcOatE+mCBWDKf9Cv52g/YswttUuDXvJlF2vWeKV+9e
rr1T6AfqAvEgfIBR2kDagJ/vZGS5/aTlU1GtyiAHpDz66cfZKALKLziKkUQ0daIbWOPfXaaG+rRc
/MomSFhAY/BsY0B4CEDp8g126ci8DR/p0sHSaHmCeliYRfux3nnzEvjDOZ0Za6T2zC6RBiZnoJBH
4u5CLrbfQPyhIazMH2Koo2DIm+HEzaf5RogCs1cRxXy6ftgV+SBPPn78seB7ezyzWpHje9jY0gV7
K/hGw9r20FbKAOkV5VABlXk4NWAJWqg79TU9Cj9YbRVftHMBLfjjhx9PFftv8fTZDbqOlrP5p7x9
OnPCHJvWXRXkEVfuvpURB6lkLOA+p6pIoTWBosUos+mfp1RUaET3eQXbhCQGwLtx+sdPftGx9vy/
9/HHLzqyWIHwHDVtyeeIa0UcpoW5y2LfDEmVHhpSYQIPvfAWNdq+6Ccbfy9vOakqEABziqGGL0AO
8En8T97UsQXAfz+LIYab6620/nIWa2Yi9KAoiasyBm5FOxdD7ChAI/Oudurdx2/h2Btie9rm8OFu
7qZwYo5sUvSkKsa8wwSBDuy9qNS1oMchlyItnO35hUG/5ieOIu9tQyz3pGNve1DaR9YXECS7Ou/o
wyMHNG8caCakuRIubm/MZ7Dn/BNdod2uLeffxj+wA5UD09jZdiDPl0c70KtRIMJ/od2HER6SK+Df
VH8rFXfBGUgQre2PX+3fC337vKP9tTgCYYrWCA8rY6KinZarhedewMew4Io3/a7xmubOt4v48PGT
/97ZPBnzGRtTY5d5VNsv+8PyqVvsWqaKnc2EJOM8htvKxavrf/Rq+e99MiSQbYMiAxDn7VN4dGr5
DSfammR/bm/UN6+U5zTlp68ufOtP9s3f5wL3bcIH3WMagnzNt4/zlB/5pWCntj23WQ80HII4fkdc
I08/fn1/nwmFz4bLNHLaPfj7bq/3j9eHlKtt55S7IWrM5owMBi0W8uE0hOCJKrkFzv1k7Pq7T7Qw
YkIBjzTh2L1QUmE35cCZ14mYfkYLQJffZxuS2Cb5DW6N3ic+I+/tEEYneAghPOyfjt3FJyZCKDq3
RON2oF7xV93pnXa7sfoftiIjiPCEl0rx1Y7eZQqZnIyCd7k2bgPXuffhHM3NJ0957/1hVy4hTzEF
BU782y82ufB084Sn9DAEHKSF/nqaJWa7n8FY6eCDhX28Rd7bjL7hwx4gLSOaHZ0wp27tePG2LSJH
/3aqMAYJ5zh2xX4oSGo+iSTHJkXbSfMt1+AtKlwjjseU1P5QkAOjPG5lXD6nNPTgh+ZQV1Z96XXV
NpJY9OPDx0t8J3xxMWBCJomVTHo2377TNfJWy4YkGuApgKJTutFJt4C3WmV2aIrIA4Ww1ImyIDx+
stx3viYmsHSb8WQiuKijRGU00zrxGk56Fw3ek4nwOuMuluMpw8qGQ4w+ev/xUt85DVtCxmgWS3Il
HYeWbvJ7OHYFvSzooTsbZ8vDIKzPppK/8xVdE0c3R+JShPXz0bKwq4mzajtzkZnLGdZ73mUnVtdJ
4yArAzZymhnLtYT/m3wS0N59MhcBEjaGBeKX/vZTRvD+555pYEHmDdTRiGGiXdRxNgBJOvlCbIfs
OiHljD558DvHhOcZZBeYXcNv237YH5G0RfLuojDlxeZ6Pu8qY9zjBCtufRCUTyLaO2vE/s9igAlH
ZRsX/vZRTWGY62SXqPPR/u1EC7VstluEtykNpFsNTfkxl/5nfsXvLNDfvOGZH2SDoBhH3xTBNB7M
I4cklRjoGC10JKQt0UlsoFL4503qw/nwmbLB2BtMMN8uMEN0Dp7EAiMMgXZ+D49pauzP/N7+Pgrb
xAWDIas2jm/OsSWgMXpM8WiYAyMwELjOpxw+X5KNn6Ri7zxl88bjH6InFvpH4XNAr1JWtk8z2oUj
qmVlw9ZJnH8+1mTRHDkTD0XTwP3s7RubjWScSd8hWUAaKa9bzHXqXd2K/rPz9c5yCMwSN3uDS46d
8PZBdJRUXIGfBuuEM2lamm0IYfETx+G/o+J/I0Xxy2JEPOnP0WpMEpZprgA5WW5+TvBMl33awf/Q
M6r/PQprvTz965bDjJdhjVDU7W20ylHcSKF1gx+QMVuWpmRLPH3QyzzvPn7KOwtzPeKiMrjcHOq8
t29vwr81bvOGUtxvaBkWiXvJMJnu4LlDEuo5/mw4z/vPowRgkCn53bEr/mgag+uC60BBEB39P8aJ
0l2NYpQ2mZHVt8PcWj8/XuI7G4QlMsaMWwbP/79Kb/zxUa3wIpekSlHu1nQX6n799/2OJw/AmG1t
Udc/Mhr2OweNO6KDYCiM6MabETx1Wb58Mr3y77wAKMrmKnG5K5HEH53dyEmwm9rsMy1G28HUxpUF
1cz0Fcq+f+JPHhrcPJ5p4XV9efLxa3zny5Fu4RdoM6tQgqW83SljaqRNw8CSoHZU/IgEyH5Emqe6
Q1Fj2xE4OZSiw8eP/PtaYTAFr3Lr5HB7Hl/ayWRW/sQU7SCyqvXEhpX1oxB0JC+FSXl+E6HglUHd
JOC5Hz/4nS3jYevpcQA9zt+x1yxzL0lg8RsMRtyqvmS2KoNO6+mf81iW5+N7aSK4wvL76P6q9YyW
34P45RdedYKuMcLkTVQuR6EoSvuTDfre1uFqBg3c3iikubffb7AYiQVPlbrUm9MTvL3g1hWpwJU+
crMr/AiXKxvQ7sQiub7/99fp8hqZNuKxfexta/2Ribgp2HXs2LD/ITPdSDyf9jWeip/UqO9tUNek
JiaHtClVj3JmPJ+0heM8zGQnd4MOwsIPa8bVE/5tc4pOpDv9H1ZFKY3RLWUPofrtqlbsVGokguxO
Vet0h8pdO9C8MMn6ZDe+uzCq/C354L/eUa2PMxW0UBwacHCJ0BAwGZiGSVf7c3Gal7bR3a0ofz5D
wt556DYkhbqHl8kVfnQxrCY0Zb2is1mY2EaPCgnXAg++xtcmLsvdx6/y70yOzUGFalOncitYR7Gl
nHJUttjqIInqEReF6To3xSPaL7eZUYgvk/lZVfffXJS3ePA2MoXKyuO9kj0cfb259JPYoTUR+By7
cp+OvXE1zTiI+WlfnUYerSOZNt1JAjOSGYCC9lQQLy4NwRKPvE+27jvxxsf4hJBuOcT24/QymWBm
Mh2qhlvTxnsG6ULhi3GK//gtv7/mPx6zfYY/zmHm9MVoREy/idZ1doJ22My1GBWp7LC0/P7aLhNx
Zkz017wCx1pd0IrGuNxjKk9mfDI67r39xRf//8EKRIaj01pjJhe5iiXHcMdDBVv11WqbHEqYEZ+P
HTXax4t/7xUDfnOXcHNuQ93erl05K7MpsGUMXNtq8F1DQeQu5fTJqt7byC6DxCXm+Bbfclv1H28Y
ZrAq5oE6AQu95inKYvqIjRk/M3j7s1Tg3QVRc20O5XB7jaMXiDsyBAFJwtEyRHwXtTACadQknyQc
7z4FUQmBB+yD+P12QeiaIm0yNpUxwXHqHbApUsOOSgsF9Mff5703x/gerlaAd8CHozS+Jbn3ELXy
INEbBwEzfefWo3urUQx//V8ehfGzvyXWzAB/u6aym7veF3wkPff62ov6hA6nB40XNtGUffsfHsa0
KyA4Umx5XIVjZ5PgDk3CO9KAOQxDz+BLGOK7sS/Kw8ePeu9bkaJxAWLHzA1/tC44TMrpSqAby7LL
W6wsvC+ON3qfxKrt/3IcODFJdjd4iBvi2Iu5KkZnSVf2XdXBmwwGuKJnBMfpIQGhOugBtc/Hy3pv
ZwD2QVGErUQP6+j6s3pE46VD6ww/rSrMVuRxbcaQMPL65JOP9ffaQEsUm4KLDyTjeG2Tkn7Rwane
1NTtSRI1t7XXnkOVc06NNh0/Wdg7T/PwXWZ8AjNfNrrZ2304DZZg2jjtdXsSznlc+uKe0U5Id+Sw
3mDRF32Sb/69P0DWJYNzyCNMlK5HZzk1HAj7okbUTo/9Sct1AXMzp7uPP9e7T2HKIccYKIOe59tV
CTE684o7E4w2HFjVGLdfoHB+NlPpnXe35UI0WigOAJ23P/8j0ALXo47y4NVX4zLeSBltlAlUv+eq
nJzvZhMVv/95WWxBQCYTt3o6PEfLspyiTeOEkgCHMZL10vyVVu4/zqgGWKAeUIQlAjqXx3FKaQrM
Jqp1pLyrLVx0O7xjQJdVFULFQKBm8M0+Oc1/fy3ius34TWpKUszjhmAzahQ4ow+fr2iGS3fNoitj
mKzpn6M7kgrDZXK5S3Q3vaPo7pXwfSCA5Dhj9PW+zMvXdaOatU722RisvxbkWJIK3DUokU2mlx8d
Kpx+WzEYCBFls6RPZS30Pu+Tf8bneQqlKenENiyBBb3dfhBBYXu72A23yHCbIK88rHCmZcqtq3HQ
0PayzodEh06ew4/TZfNpn+y9dW5hg4qcCELH8e0vKKh0NsEv7KW2gCuTtlZyqVK7/Nf7n+tkm7HF
xczNTGh8+xgDe/hBbTAesjBv51vTawXJ+PTjs7Xl2m+uFBDPbVzI1gv3t3/fPqRNq67tO+fHgEZY
1+LWSU9Lwz3U0gyYUk+Cg+iLeQ2f7Mm/0IXtqYiNgHXVZhh09A3hEuLWOzs/5uHcT7zLctybdRQW
TrZb18ePF3j8KLBjg+4DQ3JAXFFAHwWPFF+JFWooqmBnjr/gdhKFw1SOFwK/9b3hoFMD2Uv2Hz/0
eIf891B6/PQ0TVKMY2gvw3XInuo5CfDvyG/RBxT71Vu83cdPOb6d//8pHjmvZW2D9Y7OG03oGDtg
lpYgc5oglYgNisVFKURX/hlh4p2HbcNC0KHR8WZExlHUb+uaMWX2xkZMIp41ae+OC40bc+6jf9z4
rOvNo442vu1Ekbs2PApt4oSIoYxOMFf515RtewrID7MxwNWIJEdxcRhkAvMed0aCjH0y0TWm2ba6
h4+/0d87ge4sKgjiFGgT+Mjb84XiYM1sB3FilGpNFdslOCwW/xp56fy8ecrRKaYgwRNgpnjEEDQK
8M16MnL59PFK/t4AwBFYszKcY+s2uUdfZS5Eb8YrVmoMLXJ+yRk/hwKB7uYr4X42Kum/rftnWCLB
4GFABHRL6C/JowVNeCSoZaSLRRcdFxlyRoFY2+3+j7rzSo4cS+/9Vib6HS14o1DPA5CJZCbJKhbL
dr8gyrDgvceO7jruxvQ7rNYME8kgLvV2JYVCrZ6qkwfHfeZvbhopr98Avi39zuz7K8RfVW+KE/WI
Sm62cTderB05Mp4nClgpW3A4VzPOaxTW88j64sQwAGpkFr3JTLeiqWcHAeHBN6VjY8rrQZB9QUY4
/DOd69zZa7VmnAq86pzDq1ZPIGJ0EiFaKAyE/8nqruizbHIicxpdzPAikMuV/RHdFCikehJt5Hir
Gf0aiigXq1Z62NgZnm95LbDitCC4dc0c8nfLBHd9JimvuyQeR6H18zgZLDDXSISlLJGRKiKYNpGK
AhuM6BtNXrYadmv43q9h6C4I8z3SVWP13dDNGeifScDoB6O5SqZ6vkFFrn9j9KFxiEiYYXZNBkRM
+FtjiokKROk+PBrotngs6dZBXx3Cx59j0goQR5CA+KIeaRcqEnpIRZTzlLmtnmbXE3IGfgy3bcOQ
+xEX9uQMPo4FTE5l49C8JzY+X0ddz5F+nlnHKGk+9JB7kM7SDkuQXiFZfGWUzV99PP7VK9jn6MH7
wui/THSgZ6K+ukuP6NJv1SnEXbn6QTzkNg+6I7xy12ghKBawcm0k8mWlcbSHHP3X9FS0dDnv0M4s
Uj+Nl1y9RxMu/r7EqFFvoJWe+fjCxlYGqgRgAvG98w8SNIvaI/85uEDD0PA1y3IHfrja1VGS7V4+
rs+cobOhxE95kmPVyqxGs9h2UWdKx5QNcUMw2r/+pDKKwxkFySbewvNRGmitQZFxhvoljHzVmSS/
UtGa+l/MhbRKoQVIE8Jc7SMHl4UM6TX2UZkkf8GKbt9Ig2TevzzKc5sDqAdHgvoIvdvVrQPgIqyG
HFZ1GivJAcvWyIIRooT7UA+7G7lC1UHtq+qkDcnw8fVD80aBKgPrcXlQoFYXyphDLdQozt1OijF+
xRdBOkL1Nu5yVOWQTjPNO+7+LWzg5TYBOE++BVyJYJor4XwBpZHWjtQk6HfYen2bpEV5FTntVrfl
8tPadABZOtmWSfDW9fpIrgdTrvLZhZZ3L5vG10G3PwSLeRpQcEGztbuy9OZ1sBYuHyqSKmoBlFlV
ILqrZxH+0UjaXcwwTxEr+OJUCINfVYoWmx4Ss1WEZmMb0oRBojP59PJyip1yfs3YCu8WeAbaL0Bq
VkMDnoFMljK0bQLI1qYg2ZdVVO/xOoLs0DVblQfx912Op9MKAZMMeHW1c2dlCfRQRQ+nHZE7UKc8
+ZyFYeCDs04gN1rVFVrEW/5/l3eZaAcCUQJWys5ZV8sjvAYhRqOviKCR5KVyKe1SvXX8Cn2tjbvs
2aHI2SGBomXIi32+SRFqW/BrRGQG5cBR5QGRU3kfOHGR+0qyKObrojZcZmzeagAVbFnRq1+92NIE
d9o2YGAYE9odUoO+VZVinPbKTSKQ6gzB7QlKkczyfFJOAOBsQYMKobzcbvfzGCXFLjMj4wfcMBst
tCrZ8hm++I6rIdffMYMAaONo4EH1rHaKnj4kltLt8jobNiZ3ca08wvCBOBBd0bc2V+9CtMyRjCQS
WqJz3R/RKsk9uEHFxr64HIW6Bl14Gp08qWi3n39CVEWHxKphKTtpa+zraFhQbDKXw8sLtT5dxC6c
Ks4Vu1y1USI9HwVmloLnE0iXPgjk+8kZME0K++OsWYOLAdF0P5Rb7aGLIfliJC4Cti1Q2+ucL1Ms
bdJaiBRx2yi7Cf1yw3PKTrpTUFZ669id0Kubu/3LExXL//QaoSimEqYJ2CGDArY8n2g2jf0gpxhB
dX7s9t64Lw/arbrbKm2sO5lcGufjrN4cosXerDPGqXZ/fSp2eG+4P053X1+ezGM+8tJstPPZTGYb
wfxjFPUAoMDFy2OvvEHmZYf/iWfsab251417Qj7fnT+/PPY6+byYodi4T4Iv0udMb4SllnSle6MH
CN79bt1ap9e+q+svKQ78k3GmrEAPomAc/V1wqKHVfwLQfAo29sX69V6PsnpeoOMnmSRms/h4g3gI
B3qFV22c5Ys8aT2KOBNP5qLFjaInYr1u6/231PvwYBy+fnq/5Zz5aO770rZYXbsAmbNZiRmm3gM7
9dAfcD8htvl28ayP6HceN3aC2MsvDbe6ch0cK7k+GG70viH66n4v3NNP7/1GwKE8c2E8Pbrr5Dxv
i9ZCClTMCgUsj2KRh2eQZ+/M3dfDn+3uI1pBWwu2cV2sCVCdrVVOJMYcdiR2HLB4/3lxv398E7l3
7e4rOYGL2ObGw7K1fmtwvYZIh5qJ9Zu9b4svH3DE2rd+9CY+Bm526N2N9RNv/Qvrp65ukVSHQwm9
UEwy8nL+W3dR/PQQZ9v4nOu3ebX915AdXcKKKKJz6QpEuzsEUCHKpj8NqbU1p629sro0bCtp7UIc
NNv40gdXMVrJlYrZWZEiRbLVcH6ss730AVeXR2JLqoHg2K8PmL3Fp2Fn+XjAeR/jXbz7Cemei1h2
f27N8jH+fGng1X0yhjleAjUDa+/VU/upfFOftG/BHeVGZLerr/OH4hS/1e6MDxs7Zuvzri6YsJti
sxQ7RmPPoLzA/hyuiPK8wLW8al/sw53t2d4WZPui2LLeQKubZlaLNGvFwaAB6cdXyu5D7i3uQ+BW
fN7SV93Nd/y5C4CGICB+wZYDx31+Y7epnRey2LKYEO8Vzoe2c4gcdM+5zj0s/N61dyhaH5qDfuMc
N77yc/fq07FXXxk9mTmjQUKsshv35qfMj/zRn3ep3x7Vq62a2XNLSj+BpgWgOpriq4QgQag6mZuq
dRvU32UF9i3yVPr80BfNLlnevTy19UVA2E/dk2KHpgHyB7Rw/lXNLlaDKNMXT9I6zUcfCVVlpYnx
WJuXjTtHX11uDAWyk0Y/HCTbQhfrfKjMVs1JHXDOCmCpX5dOUYAH1rKNO3T99cQoOh0ssgHBll3X
VXRcqvGDRO6og5X7FtFJ69QMWevJs5q/Tao8/wiVSbl79VekgkNaRdBOE9QU++dJNFEilNC0FV6N
GE5We3RZuVP1Ln+HXH22tRfFFfb0pmGC5HAUbgDiG9CvVucAN55mcSxp9qxiKBwP7Yv2I+JvaCg1
RqmlHzJl6BB8za1qdKlst5KLNmJ+lyVz8Mnoiq5EQGAYhmOdm+o70CQ1HkNNXNluJeOb9PJ3uQi+
6bnSGzMVSk3gwuhdnX8YHRONorMsTCyVYcBzRMrCmdsQzdpoN7X4vCIDbQxT4uNwOnxt6Dx+D1sn
tHcK3cHFTyrN3GK4r+NL8ZM09gftLaRe8TE6/0kSIk0xLvGTh8VCitCwprqYUeR/UvhHjGCsBvs0
VyrPbjxMG6Ht5WHTWDTgadSDqdBrq9cJJVdpnGGHeE1n/1UD3vjYIT70FsXNLZToMyMJJo1JG56q
Alie80mGrbC8c9QFOb3EBEoB12lXzglqofSpHl5e5MtzTQmTmpdFgQEK2rolH1rylJdIWXkWUjj7
rpkweKrDjfbJRZLDssGq1IBk0kDmCRAzfnLEQpoTWrL0gxdIUeBOOIq6SR5qLhsqP8X9Uu6tLMj2
qpzot3Tzswcjn5WNG+zy6PEbwN0IthIws3WlbV6GMSxrTpeNlrO5D8tAeq+nMphAp0ML54h8MVIu
r/664h6D4APUR6FSfz7v3IhyrcwCiPZtiQLOrKd+nlva1etHAdwsmgVgDmDKno8SjgO9qTkZkHnB
zxMlJFSGMdN+9ffTZY2JKFTW6FU+rvGTNUxnLbU6gCFePFbFbaa3yi6WUJ8ZUQ/d5f0U+K+dlcBs
gKikA8LO0Vd7Rp3lNsOLFn34JQ5PSSktxwBPlo0k4fJCsVUDziaTouV2ATqE9UtLb7ZbD3/YYifL
6N9kiLRfybYh7e3cGFGGndrhGEjt35Cs//g+/Wf4UN79uvbbf/4X//y9ROxJwMZW//jP2/h7w9r/
7P5L/LF//cfO/9A/3w4PTdc3D/+4/Vq1//D74sfXLi6L9Z85+ysY6e9fsvvafT37h33Rxd38rn9o
5vuHts+6x+H4zeI/+f/6L//x8Pi3fJirhz9++172RSf+tpCf9dvf/+r444/fFFGr/I+nf//f//LN
15w/d/9//09fPPdHHr623R+/GcbvxBVAhuBDOFRzdcpM48Pf/0aFMk0/iW6hYJlx2ouy6aI/fkN8
7HdBhgexpQl1Bu623/7B8fr175TfOSN0VilEw/mhePXb//y4swX79wL+o+jzuzLGtOyP37TzeIX9
yfNIzxlTWZ3CH22R85On2gjnYOzV7OAZR9IbFFdHMumpaKWdEPfEAGyWFHwc8xz8m47dbQcvGbvA
a6WBzehOhbnUe5zQkuUgDaj3ANgvnPZIU1EaEYLqkuxkKRKxQGWA3ndRfVBi1IrszNq12MNVLtIF
6l3RWMjKYXKHEw4hFFK5UG+aH3TbHc0DWKChuAeKfKc3lZEhsweHbRePfYu98Kj13qBVXzARLr8j
DGN904um/PG4pq/a6G+rh+J91zw8dOzh/w82riqUNl7YuH3bxpQZfx0CsdMf/8CvbSsppv27wAvy
2nDvw/P4175VnN9NUYaGWWrZNpcIcfTf+9ZWfueVgKdLWRW4oS06zn9vW135nS4CxWWaRET5DpWM
V+zax9f230GoznkRHSfAYoL2TyOIX/f0NQ7Qg5SxD0F0u5L1kOtGptEVorVOUx1ykxDIS6q08/Em
Wpo75DcX8z7A5Cy5cpLGme8aZaoeIZ481flu1FBov0qwAMeHb+7Q562CRn6Xlk75KYJLgA4YvX0k
zVGBNPZlZAbmOz0yggDwf44VCFWMwm6w0DGkEkJqS6yA3ZicoGC3h1PR3xvLIKuug43MnV007XdH
7qT5rpKc5KRWE0hZqCQ4nM8lTo0HJ6xH2Qv03vii9BpGa2rihPlOHokp3XSqsltjRAifxm1sYqxL
hw2dUeyUZayRraj1cUJJ76VQV0k6EnrJvqwOinmUaR5lum+2M58qk5waD7HOgUu3VYs4j/1+rQ2o
A03kMRzkdaUMLU2UGaBOJaDgQ9Tv55HGOQtSkSinIrd7smv/vtGe3mCrGF+MRxrCXoOQxf8A9Vjt
hZhoU1dwqcPfJ8F0gBwPW8LExKD0m6xCsnaXLhYZX1HO2ffFaZUPQzW2XzAuZgvMcQvK5+WfJDLJ
s91pgJTTIGqZAjInbuiz3dmGEv37sOCiaxNkCKBklSqKyYukYuSljQsOs2PU7u3Ha0ytIWvvi9yi
4//yz3jM1J/+DjB4AqMNnE40hTma57/DxOYdeb1AIB4DDHZ2ZYz31tu0SGMHt/RulH1E3hGDBwQt
p9f4JGkPMiZfqBJKqoncaaUuX7VwaJ1PbHlbDw/ZNEQQsFMbWfAfGPIE1r3eaWP0fgwQCfxOJtVW
hieryGAVG1GOeIfO58JBB4cFrwLMNNpo53ORE0y04s6oIjfGtvOvxUKhbG9GWpZs7KfzIBsm7SO7
TRBThBIGEIXzgZCwD9gdj6bjKA+bnjQg13crpBA7r8inGCFj3DZflzA9jsqRIVmliy8oK+sw2x7r
qjAjpO1sFXEIbKpnXzPBBzWJ02wE2xczpH1t04VljkhREEKczzCkRIJIL7g2NzCziRYRvm3BVTej
6X6a685Qr7t+xI14YzueRxpMUfCjCWggTJEXXlBruwDNiLwNTYIJPBe9SWnTOwzKahTQMZr7pMxN
63e5WfFm/etVe+Z+WF9HYlhQSCDgUUnV1DUEDFO1cUZyFPsvXV6W2gNuMt32KGIijKiU+veXRzsP
xsUkgdMoFJeIqgTEePVtQdurw7JY6NkuUtpfNTDeDjivaAcpyLANoLi4z01tOUV84I0TAqZrfUbg
egisKVbmxHPUF84XFiVI2E24XiCmG0xVgTMxpPfivm2KJf2aGTaABddERdI42MZidewyZGgzF9nw
DPfNtIKNE7h625lKhKp3Y8536G0Oxe08aK3pyUWfqW9r6Mkjz2Sqdgn2miS+yzsqk1N5CFjg/F25
FE3nmyNBHJrZwVjP91Unm8J0y5TMd9CC4+WnFteVMV7JeKzMQj7akpePdQx+6wEuIp4noz7CwUDk
107SW32MVf1NXJDVvyuc3Jy8UA1LM/FGxO6s61S2sJfyQHQj8TrDLJvftCj15fvJnupm9sMlVpfe
65UiVj9jHtKZw9HR8ebFACqxnOxjtGQadp9TuCgT2lYRYn6Y9UzLl95WYwRnB1y3kDutQlP3ZLQm
JPtYZdmYXHehrEVvmgELv4M5l7mONvQSOogdSCD7MElj5OQb2uFdcKOGOkYqKXE4V0cLjt4u30QW
Lgf5kZ1rTSNO6wAwdh1VGZyFxkiSIJz2lhoY+6zGCl27yxXQlPpPfOSLsbmqqzyT4l2pFc6s7mHe
1Bh69low67huz8NcHEOMcewH2INO/1FtxnT+mSKtaAn/zciqvknILKpeHBV17aFE3ULKdJRRah+I
bKxuZ81LlDw4TpYVJ0kLiEkQGkxq9Uaaisqs3RijknJHaXca96neJWg362Pbl56a0G/5rKsLEPvG
VMrxhFN07lyN4ZjLnhFiEnqMsPiS3pjyHPL6SIUTte8RvJiLO2KX6meeVLZzHwrDFdPrK6j+X1rd
CiPe9EzGd9VMp1m+JSqM1fu5IIe6HiYcm3ytJw1m4wK3PNkdDiXkCIURTh+xkp2uQscKUr8qddCg
uBRgOBNXeTIap8gqmg+xnCtQ/buxsDFrw5bBXL7ZBT4cRJgsmTAKgfOZHkal1Yrupq3VSDFRIIwV
ZFedMQUD4tqhoewXqWs1T26L5XqE0oi6EDzH7EjBQQsmL7O6uLfDk40NnlXvrcTRkw/APvL+0xIV
y0wzs0nk6AgeQorYutDGJj9VNdyh3VaWYZm7nQGN57Pa9bp8KodwQCZhcMCB4NszZVgDub1ekOi5
/diZ5i5E3m8E7jvryVHDUlHyuqoyzdCbpFRW72xz5su6ZVUv+je1Qen0yOJibodUcCfvcgRX1JOa
GgSk8jhOyV+Tmsi2b9Rl3b8B+1gVNwuGM/Otmfcj3p4YGWE4kapjbV2NAfYQN3Np4dFnj5YS3iK1
H8afLHw80v52SPIKJNA4RogYo5uX69OxinE6sb+htBK0qFJ3aay6CwxKnCoja+xQtLanwIk+tsB6
4isTedaxP+WoxZhHWoeYz/tkrl2jvm3mTBJmJXlnlRAj7Yl0Nms1bgp3CXBr/XMeR7X73Es5Evox
Es/yp9zq5f4a849yOkqN1gW3UhB19zoC8fp3VJax5dx4EM+vazIo0IGP2nBw+sma1hpKQWFEKM/i
PV7PUu2VRdoeW4y+dsh403GdrC2Y0uV4okIEmovXgfh7jfRKqCgo/YBDXBqM0VURle1ViUK8a2tc
0gsqbhsP0vlbKOanipAcuCU9EaBsq06BFJjU3EcbkFxa2h67EWMvUEtgAoP2xu6xrCzzwMaZQtsi
36xygsehoQhgqwJOgKbPGlOPZG5SZ+pCgtZHbYThUKxOEJey4FqWo/qzbA4zRTIWx6savEXCJB9z
H6fkNsWvpHgd9l4EBRRqZOJXaECQgdZ1QCXE3ssek+Ancs/aKekV9Yib2hbY43x5GQXxNNo/MEEe
lTCcVbURw4sF/bas+Zny4IKurxBKP5QZceWhnuym8J1al7Y0+NapDu1Qavy08ETbizxstcYYqk9V
aXXBz5pTNniZXhTpoaEKPvnk6ONwTGOMo72u6RbyUzzJjnaAfN2Xl6Ouy6lDbYDXRfgjE14+Frme
FHYnw6wDW4tE4BMFJGQH5KCavPdwPNSa25r8EI0MuCKI2r888HqLU7yDJkJHEY4yp3ktAapq4ayq
ta5foSqOBUYQTXN3QEFfuS+4HaND2WJdvKjLYHpdbMRbZfPz2FZsc0p35Cm0PWQULU3tPOCTcKPv
0fi2/Bne8VWmqfUpVMfoTVAQKG3cVs+MRWEHhp6o4wDhXK10pnaLhv8FBUHVdm4Qjc/cyTDSu8pM
XtmnEhcHs2I7CZYv/FiRCz5ZzqyXUQuH8uiPUWhFO3tKsmv8UzFll7Wu2tDBOE9LHq8KwRc16O4I
2e01CXxWYxQ4ijA8tEljoxGfOh5y642rog/gaXaBwVGZSNpGP+mZUaEgkpbQmKSXul650G4JfjVd
8jMj697hGDweTRMosTrJ6vtMsrGllGDQbKzhuotFSiBEZMgcBI1U9CbOv6xdWIQhqhMfSmvBaz5P
hpHAXp1LbKKVHJ9kOURa3FOWsl/2WVblpdfOsjVi1dMkYbfxcy62FKURqBT8JgQnRMH7/NeE/RCE
lUlU1ScK1eKqz5rs09DXAx5Mddy99pM/XlQkvHR+6Luu9UFQ/1c6tW/rg42ARuPHKe6SgPhHT6dl
v7OtvP3RC735jSvi/G5ifyGDRALKrcRbRG4mrpAnm1kfaoitddAexnSS3yMyOd4jiU+Rve97iWK3
Ym6NeH4nP44oGrwUSki2BcP8fESojJLWE/4dwlHZq00evi2kxDpAhao+s6m/qKiG3+ddON2EhHPv
XncjsowUvThOlOS4nNa6FPhPy1ltBh3+QCSdaaZQLgKn8yHTVfxIilbBR7jCtjBJp431fWQJ/7tE
JOYt2ADk3Qi6iQR8/QCGhRQi5Tgchj5cDjFav66DeNL3ZhlQDI9xHV/GLvUcpYr32dCPV2ZqmocU
nsjOim3JVXuMp/pArdqNLXCxz9lGELhZStRNuWpW+7ysTB6HrpkPEqRTzzH66kAv7uuAvfT+lV+f
kYA0006ieC/Y9udLb+Aa05cYdhyyuIHoWajyaUGy/JjijvNnh1X1Dex5hI+tsGs3hn5ukjSmRWme
wWndnA9dIm3Z6IszH6iqEeMZA94aWhZ+dfi2P16e5eOZOVtpGwAPsTP0dEcGpS5+y9MzJbVwWJVR
OfAFWqSUkWCSu6Y8FLkNky7DxLBUg8xT7Tp8MzmzgqttYnq23MjvAQqYPu6In/VcrbDUaAvw9EqO
iU0aPRSSuXXrnEcIRNs01ghBUcqg+iVIx+c/tcvRaFErG0PMGNH5UyZN+vIXJg4SF0AYpG+tymrv
80E2S0Dv8yhvrMp6eEGjBosEPILnVOYaOh8+He1pyCxj8cfSGo6FVBXvjHr4muIEfqCCQC8tGp1T
IcWd//IanT9wvDFiYKAuOsrQFmSd1RtuIF2UmnBLfADwxY9MSsd8F1nY8aDfhXWjW+vm8CmmXfTx
5XHPr1sxLlcPrVNaDxBo6FOdT1jB2Cy0mln2e1yTDhTd1V1RTuohi0pWuh238FDPjieU/ASCjUxz
VZeuZnjOZUApHW3C9hrf0fEWgTT90CzJt0iZ5I3r9bnhVFEFRyOU7pe5ukokrWqy3q5l39RL521h
NGRtXdQbcM3KirKbGegbj/SzIwopTZ1bndVcvV9lpzkxxmLYy+lyuMOCRj3MlA3p+SJzkU96ucFk
Ezvy32f71wKybrDYMf8A5iJ+z5OznenS0E6VygfV8fsERDfcj/x/dmg5banbPzcUvXQo67xVKBmv
Dgc0ZsJnNVj8JSiiPZpQkuGW5WTv02AKpFc9Ar/mxe0oFBgRTAYcdT6vThnDWbdjxU/GybhpDXQ8
zLqp3IJq3f3LZ+ByXqIQzNEjruUhtFZ7ElkhE6krQ/bVwbH2wuXKlY2g/pi2tfWq6FnMCq8MBDVI
9CGPXcQaHb6xWEuZsp+abbU39B57nDCxvWgk25eNCHue0Un918+PjFqsHEt0gerrzWhEgBrtNbuM
LcfF86r8MOmjlh2Ji/Kth+3yCoUFBYFZwDcE8Gt15FSnT4doiFU/tqS+fquUFjRA0BY2SKWpabV6
l0VqMLlUQe35QxJWkxZvTPjyMqWCIPrczBcRmHXlBndSCfBXr/jqIrW05/LJK6qs8mskMb0qscy9
jvfi65dWZHpcNhpvF7yz8w1rLVmuGiODYpMa70UJ4Bjy2l3PsaXsa202gEzNWzzWZ7YuuvMIsNri
1ZTXEEU+bq/bCrbVWFZ9wSRx9JW5QPgV0uCGtvhz3/SR/Aw+S7T6VqGS1MYTqmal5ssawbhaZP2R
vIkYMUuXwyA5QNqlythoLj43PRCR6DriHyC0rM+/aQx+IDEWXLX6eI4whS1zr6+X9AoA2paI7uW9
zZJhIgB+Q+horvdMrFHIxWJc8WMUwLwolrQ3IzZnN8EkRfeZmqf7Vx9KdihxH/ovYEPW8ly5WQ7S
mDCeWobaTlm66U6P8h9pPXVXL48kPtL5C0GsT2SH1BMqReDqVh+xrrCFxhParxBA/SL3Ba4EcoYf
4GuHofJA1U6I6xFRrL1P8OPNp6YIFb+VI32ma0KJyVNLVfv88jiX9wt1FRA1BEkUkXgbzqdjO9Ik
tYmu+HJmsye4iPyFMvAPcJ2VNwQD7iSGOfiJAy3y5ZEvt4iA6hiGENh/xM+uRta7OA8XvMzIS5T9
oI+SX9TaTxzsplv84rdqhc8NR2mSDqVJ9g3y7Hy4gsRBCWkJ+SMk9h2nvMr2o9EorurAMK3jGa/d
101QlNfBtsHxfJQ+WSudB1IdlMywoz+GKfDgKA89ePzJrALkrcJx43OuDzej8a5TGQP1Ai5qLZ1V
KPnglDLyBb00yMeaoPAAkTDIsHS0ESN/9dSEShdpPtV8Eu7VxzTIVcuoY7CqV6ODWjnyLs37+rQM
4eTJVblFEz8vKojSMpPjYhaIMMrMa3EfGw3cYIBUsJ+UzjgWYQU608kCYzf3eXLNeO1tsDTBUW1R
W+f/ql95vYjxFYI09g/eFjwR55unRckkHvGm3uObOHkUVBN/psHrpl2zRRS5WEcwGFA4BPgDQAZQ
pvOh4DwHACCw9R5bc/5zSJBPuKvqvk1OZlyldy+v43ODOXAqhKo0EehaWEADsqZhwkWcVBXJdWBj
pAH3eTh2Dk5Lrx6KeqOoRRhsTnu9hJMW9Hpt6tV+UaK6cTOURmScBPGnxVe4Lv569Wi81EINSqjI
cd7Pv2LamwFIMM5eSE/dJ02yP6W1k+y6qNDfvzzU+imnqsJzAHqGfUG2vUYDYpnZZ3VgoRsSdN3J
bM0juYW+x7WEvGjWEg/3zXJjP66omRwIyjmiHE41EdQsdYjz+cW2RocaYuHeqpziTjLYJi4Kad3V
MtLgDVJFubbUPvCBwMmBR60OG45Jxx03WqT8XVbodPuyEsPTV38LE3QlkTgKnQDwVq/J5KRdoVg0
8+HbF4ggL07m1Xo570PaVFdITMV+U+nh62hPfA3+OmRUiY81kbdpq+uoS3Ts44Zi3AOXmAH7gSrU
G0PzAG0tR7lrqDoo3cYDfXF0xJgCZ8hKkArIqxUIwgnxirQc9zreUj9jrXf8loDhWFZy+9rNLIZC
gx0OkeigrkMOLelR5EZdbz/if+1i3aV5yZDVx2K20o24dB3diC9Jcs8hlZG/BZi02lfLUi+1aY77
Vpf0N4nVVJ4sB+Nrj4wYhWahSZuU+vsaThdnSxTXhjXugxYboklNa3/Czt4nDyAlBaF23XTq4r9y
b4pBRc+DMwpE6ULZxOh6ra7Caa/WKuxJY8H4F9jOu6iKA1dJR9PP+n5LNuOZXSJK0qLwyp1H5LH6
nkE6KThlMig2Gju51Jc33ENQONV8y17u4h4STwYAVHROaDNc1PrUau6K3qaoO6qz9gNhrin3Eq3A
vBin4Q8YFk+HgAT128tf9bkJCkAkyDNRaLvoQUZyBP1PGfexMfzU+lK56UGxUGbT53f/m5HAR8oW
bxVzPP+Uel5Q4DY0DlyMsOpiSlwtTuvscjrpG9fYOijmFIDy/PdQq/vECiIp0DHR3tt2Wt0kFsbG
7lDh5QhhDubVHER30hAmntSU40Z6sYLRPd5lFGzBSDBHWxyP82k2iY2IEGLh+65zRlcmLj46KFXd
ZRaS8i6ZEyK2Rdwa9yXkDhyh7dm5k4dgeiu3TXtd40CsZm14NSB1Ax2iohVOTitLG1/omXuCnjvv
HQ+5KdQfz39lQBbp6JQb90rX/VSKbP4wIEa5cU2sQ3axDDyrYDhAboIwWIVCi5ml1G9Y8Xaw0lPF
LYxRfaDd2EOE0/00Kxs1h4soU4wHxY2SA0kCQv7nkwJbhf5ANjBerat+i3QgqC499qlCYXJv963P
9RF67QjyP8PQ6vDyBn/uACNRhPwoGAoWfjV8j9FMH8Qg2mpzym6VWhnkQ2va061VNovt2mXWv+2M
ztA3tAOf/cxkmGAoRN9sDd1YlGycBpkdlyE3uSO1ta/bzlJ3Zp41uyG1t7oCz2xxYfzKruMUw0uS
V8draIE2LqYy7Ksaj0Y3as3kgZKn8QFaxNS5Q9bo/gwY98eQjMOughhW7yRZrx8ww0nRMIuqDo5F
kHX7QZ7i0gUojbifPdlfX16Qy7uNzUCySA2K9QA/s9oP5ZBTlB7QOx5ITKslrZQ9GWOpeIKnuaU6
f7kMIp6giUhFCNFIa/X0ctg0swLnttdSGXU6grM/IWpwyeC7wGwl5dX3KUEFzUoEnTjCxOXns1PQ
+cuGxR72dPLwgiuotk4PWbcskmezQuXrh/vFk6UGrYF5EIfvSWW90+mq93LS7zG+Tw8LHbbPcgje
OlDDZEu55PJ2giJOYYF8kQmyy87HAkQ32zNiy/so6tsHddBhyqbW+Pnl7XEZhBO6PB1m9QVbfWxG
M17m/WA4xq61uuiL0shJTXKjqj9rrbWkW0UrFWDN0tB/BiGq7QowuHuspbWDrMfF+zrGPnT38u+6
2LbEOegniJoKZXFKo+ezz0jztJIowVeCNtrloJ+uyiiQ3ZmEc//yUBd7lvK+0G8j1OfJumTO1iEK
o2lj+GU89Hdgy/R9iICXK891gW9n2k8bz+MzAwp7UJuMznm0NTifWzSm8BSRsvXt1ihukDc0Pmk2
3B7biYzbqLekLQbyxZtAUEVnjf9FNQ624mrbksBlCBsmqj8FcvlWjUPzXtZS7Weow0Zxc/ChFOdk
2iinsHfk/KqNpa2k6iIaEaMjk8ed6YhG7mqbEeo5WpYOqh8WUf0nMlTjG5kawRe5RVzWS6ck3LW9
bELWUOuNLX65lfiWuAM8Mu44SKuYy4rGXg/MWfVprQhuk+G0e1yw+mOYz7qzsZku3j/mKYiqaMAx
6IUmWqVZmaEvleoPE3TMGBDyPV/0Zz6H8c6AXneVjcrrzwqdA+5bnI54cwFtnu+n3hkkMga+rWGM
6W06S+24q7PWgv22qHOyoUn7zGYCDora3GMH9aIAP2mOZOgjUiMksfFOV+fpeqntalcqWvVeq8bG
l8M0ux0gsLlYxZYPL5/Wi2uRjQImFSoWvQ0hmHk+2TBZggXTBcVfzDQ/Bb0VHBcn2ZK2W8G8+IyE
EGxWlpF+EcC2VRwDvE7Pm2LQfWmSg8/1VIzHFtHhL22eheau6wMpgwDWZtE+W4wJM81ZHf6i+mzp
GxvqmfmiFQ8FnoauqG+tfohQo24remT+lIbGpxrU2RExlHojZb68kgTgiNsBCguxwvrdNpvJ7gry
Mh/jk5+6CsnIlR1WFuR4fhPYIORfvYo816SL1COJVtcUMS01w4HcRPcJFr5H2DLuDMne6t+IrfC0
yyEWjpAAD18uP2LR1bXXSrwYS9fqvj4boVfWZQUJu2ivHLVLDy/P5+L7UWiAmctcgDoSD4pr4Wlg
UDQkdvAV/XgEs+3iT266ZmHjf9iW74IkHXYvj3cxNcYTur/C+4n/WndUiWzjzlo6+g5TFHyUwcft
gP8XLfTuRgs2FuviTmMwFI5RPBfVVWDY55OTrFwv2yRRfDSj5veL07Uf82wBnqwt0YnkjIZ8uWx5
1TwzqCghY/JLfIcU/ioAyHupgdHADAF5VjfV4MjXZmkZB65Xc2867bzrDKixL3/Wy2OPKICQ0CRR
A6WLDNH5VDupcqylYKpK2oR3iio1nh5rzQ5x8Bjdd0nel/kyuYOil34vl8apKeytp/KZtRVHQvTl
qdgDMT3/DXIxhpJkVqxtHqFSKg8DWAdcELIo2Oo4XlwuTJe+LfmaIYi2a/ho1Utq0MBZ+W/OzmtJ
TmRbw09EBN7cQrmuarWVRuaGkBsgIfGQwNOfD+0bVVVHV8yZiz07ZiaUBaRZ+a/f7Mw4yElEnJPT
IpByvf9W3/iUFMssC1BGj47gxfmkTUHpux1bdlOl9i7NYhHlcEl3mp7Zp8SV9gkhx62G/1tv8U/T
CpIw3JTLi6g7eEvm+XzJiS8dDdi9HOGpZPBiUfO8/3xvLH6oL2SIUY+i1r7cov1Y6kFHD4JaVeib
RrO0yMA0b5PVTXavJeatFvhb75PTgEoXSiyQ3Prv/9psLAId6fXoxq6tcvPR7Cs6EaURb6HHBpEV
V1M4uLnYvf+Qb75PWp3ct1gXbN7ng0pzdkUDSX6nfF2E+O23YUo+y1ZHxXZjqDfeJ3AJGRgIbDHe
v/QYh7iMyxieFjtio2dStwtKGjqcdvAVyaW9SRyvvXH8vfFGGZHhoJJzUbzEq6QrFtWQfbhTSTJh
sY8VB8W7t0dI2N6bc/ptJrbgxi3gjRfKtGQsmqucUZfLPPWaxR34ymzhRRK5oy12yvPJVhay27//
7a6K7zVxBpk/dyZsJYJLokatT7aZB7G+s9Bz7nKrrjbllFQbqy7aVcO37Dp/qbdxrP5zw2wdGao4
OAn3TID/81ljt/5cZoOE3JTFcgOpsA87u+KCFfi3oPG3Zg24w1q6UVlAbTofKhj83rVyKFuiTuA1
NdMSiWGUj2baoc/X+lsg51vfz+JmvgLiq978YkHkMLSTYWaDSdaJ485QKGI7lgeYDr/e/3xvjkR3
DlIIBxNl7/mTCa3JPT0veah0Ls1faiaU9tnQcB0PZwJyvrw/2vV75CrM8cMBtLI2Lg/eZWlNKw/Y
qGvuzTvNDvJtxpVxj+tFcdQL2pHvj3f9dKvtBBApWTGUNPrFe+zhEmDrUNq7IdWdg13AbkjNpfnm
+nH68v5Qbxzv61jQ3JmLUNEuzWAH/By4/w94eExe7fSRq7yCcMkk8/DYx3pBJDunR8H64LZmnssI
4jd2OnVrVbT7ANfi5O79X3S98RjrjRj9058+3KXzWk13t6m0HEw4iWOnCTkR8+THRF633BDVl8gt
SDokTm/McuPG2G98aO7ENDlX+grE5vXf/3WM4PFVG1M8OrskR8rAEeKbxzI1/R1K4CbyoB5H7z/s
9Tb0Z4elyUlR50DCOx+wyBZFCVIGu6Gr8t0wj9mX2B9LTNdSfSsarfsgrTgOVTxWN/b3a5SLNQoY
DvcWMjVxmBfPmnq9Jcthgs+Z1nocOgkff2wgAQo51N+X0ZpOskSemjmle69PkI6bsa721TKpjxjR
T1sZLOaN2Xj9/oG3QC7XWxd5E5c99xH1N+ESFWWRXaUnx+yGbT635SmtquWhdvwb2OVbw0Gbg/dP
W2a1vzp/+xD5OOYg6+40ugCvjYn/QCT8Mcd7xxuXbUOqeHHj3Lle2uAg67UShim19CXywsf0awPB
5s7K0xKj2a5CY92lbrUbjSC5RTq5cARn44cBQuVsMrMAJ7iPnT/hgkkqMkVOVGybMLry6yl0u8F8
IdK13Ljd2G8w2US0Lgv5g93zC54ZXiQnuqlO5VY3nv26tA7WHQ1WAv0IYMx15f+1umQOO2swWpN2
i+z3RR/MOX6VfVrdWFTXn5VxmNVccVdnxcviWu/McSxS0K2snNOPJClmJxcH8ZOETBg6hf/j/TX8
xmNBT4AWvcLfOPJdLKQud8sktWGX5hPvGCcH58FPK/3p/VHemDg8DUfCeptGU3gxV2u/T+oFMH9X
FcL+2E8p7tZBrtRpKJvB/M/XE9pGK5hEsM0fq83zLzU3+cwFOAYf7NL0e0rm4HeUSMlyBxysdVvO
iUnbZy3+FTc+3RtPCRrJdsiZvpIwzfOBe8Pr12ptvRItw8nBNiMLtW5oEAxq+qf33+gb02Q17l0z
2ZC8Ij49H8s3gAgmGzzLmVN5TNksN8LCEgEVSLpNMa67oUF4c7y1AcxnZPFfnuqd707+4LmctPkS
HwrhY2JHsXLnN7m9MUF+tv+P5+PeTgW4Eq0vNYKUtK3b9rO9s6Rwt4EJi7bKYy/K14vYHLv9rRNl
/Thn4BKtLBY3hQvSlVWqc/5CrXxOLb/x7V3TLl67qzHJfdWyiVCFJm67re53nhHCPbGTUKu7Id14
RRfsl5lOsF4abQS5+NaWczWf+Ekw3NlwmVUWZJvzn7TAPG0dGNe7kuvfiV89b8sJikbhzbdiuq8+
L0OtBDgSTlmi3EPPhyKfbY070+0djdf6IamHaZ8uhJr2Ag3DiP75xnS62nYYD67ZClK67D+Xgkwn
i2OM4ix715stOsNO0uYOl9nob+VAXr1DdgHuSNDSgMyBDC8eLMelyqvH3NyzNMWun2yxn4PW3LKT
f35/xl49Evwy9h0+FM1SEkAuqqHJ1zqXqHMyU9C1vDJpnCMqhfSGpPN6FP5oWuLrBkOm5GWBid2J
Cbm7c/ZGpVlym+XCNJMwnoqp82/so9evjm2RWzgSXTKKvMsWz2IVdj9Vvb+PUTf9pL/kHuJyxhwr
19V/5u7i+wxTDt4GMi5kcherr/CM1Sq78fdZbtM+0tt+gzmSdR9b/anQtfhGz+P6LXKHhVAGSWI1
N7ucFWM+EPvV1v7edudpC+65nGKsIA7vz4g/KPHfewqS8lXXsKruQMvQA52vqtH1oAJXfbVRmjLc
0DLaomzvUDoP7iYQtZmM4ThAOfvACuGVmgg74j190tQ6Ik5wC9wIc5Pgmq7zyDFty6KPitxyrDCZ
urndGVDxvzWDI3+nddK+qnrxHxEBW09OnNsF9XAxf4JCO5zi3DVf1TT0epgMpW9ECP/x+VYicX6K
qa+HCNmv/mHy9el7qkz8HxuQ4VMvwPI2njnnNBVbM1iOYFjsf7ld92ZYenNshS4CxudEmcg2AhMJ
54Nejf14H9ckGG2rInd/BVaHzthM7fRj3BbquzSXFKaEBzhyn3Q2dkdsPk1/iJ0+eSAZVvW7QXra
uHOdJls20NhktfOwq2jCJNeFt3WVmRhPflt3v9RQyXJPh9ffxrjYYJzlTIv6ZSUoKjfJxGqEnmhh
ixrNrZNLO2qLNC82hS0mWR+HUuEqIFya0bhZDcpN94YjsCYLez9p43JjBvkgH8uuSNJt0iZO/Nuy
p0FsKTzwtsz0zJJ3fT0t5DmksjG6KLMxT+YV2gPoAeVo1uykpQIZhLpP80LbBV0qpruq7Kfpt6wb
pwF+s4KR7WiY589j7Fn5EuKC2wb7jva8vbkxI5lwZxMSfIOVBsmFcDyaTxdVQ1+2i1GnY7LNElHt
RW0T/gV1pAjTxF52A72JMKmWDFVsWW3b3o9vjH95zFDQUwCuTgsrNw9o9WJBLF01Iz4W29idqmPv
dd/jcSh3rq81O8+s+o83HvdyPC7/7FwcaqsUnjbjxfM6a5LCgqnYMbFkHe9UYMp2t0ytiWdpSaNw
s6QyU3e2WZvOndc1fr/FsMs8TYs+BHtvckxn79kiW3Zj3Ogx1qWt7oeysXFNSrrMz79VXeqlIZzo
Sf9QDXoev6JbQz1l4T9KzPCU6Ed6qxaREQjFcPZiLTxLyvDxc594RrU1G2X2G9cjMyB0rHzywrZz
e1zBpDLiRzlWVbfBvbPMQ+UlVEK0Mcr2awcdycOvQUvpyaLF+1ib6Pgfc+js91gLN1W4Hro/9DEb
7W3bCFE+BJg9WHvV66lxMIWZ/0vaUu6Uod5wxQrZNUTwpDziGTsxJl9HpD5uZGDc90EYXTZ+8Bxt
2SrV9Nmrwr5LP/Fbp+xH7tC/+ScRWrLc98sMgyS2Gq/CZ0F6MC7LHPUxpgLwzyej69RTNuELu5+1
oCoQmU/Wh6AiovuXtQTlnvsstBOCBCmItg4NMS0UA+3oNHIdtJTgNaJtifjIWml+afqkmeqDytK0
Pvh42mZYiIrEgK6FrRnBacpdnKPJ3RTX5pac8ydrFvr0itOg8aunrDNOgGZGgi9OHdAcJeVNEimI
VWBkt7iUfXl/JnJ1u1h6q30LlyxgAXx6Qfovpn6XZspky6uOOCsZTRc1YDneDi0xCz7VqiohE4dl
3+6w3XA/FlM8/RskbAtPdRlztOcVTOGwa02oZT3wznBYvDL7oftl+pBUHORbOdo47JEpUtvbjAWB
Ez+uQ4h2cSWczVBmqVk+MseVwLRTxwO2nhej53vpVfU0aomqn+FZa3Ln+DKutrquiO8rm9JqdbzI
cFq7H1vPyMN+1vFCifS0hMZZITLNP2hSZNm2bKQ/YvCKmZ7/2Z47e/nqaovvfDHbovrhd6mFHR9+
W92dnyVFgtegbuFOx35gFg/BjFfi72yOyencDW4n5ofeLSrjOA/5sJXlYopdkBZBS0ZXYFlZ5EEM
7L7R2/OiuahjLN/SOuiPYkmdWrKfOXMcznHTkDK0jNUSGqkgEVOAAz7YJNR22CeWZfzVdeXohqUN
OeguG7xq3omE1f0hLpIa1huTsY/izBLHuGu1gfNTOt38jAFaMISmPpH27mRoRnIHJOa5Vao8zEE6
EX7j2oN+N5e4mZ00SvxnzZGpn4d+O6mOo9JsZy1KW68Xn3KyDb4srYwHjFSJik5wmNGatN3Iopf6
Rrcybd7EZDc6G6/CwT6is5FWpJianHVhCa3KXx3LZkmQcDXWI7HZaZXpj3qJ89NPb7G05SBmq5Lb
Pm0HpYeQPUXxTOHi/DM1ZZd/BHleNlppCP/okCT+sy0K46UektG44/XrRJfjevmlZ/0kBxyf+MgC
5nWjbWJnMfeWLoQXKrdCeI/LlPUFAn3mYLA7ZBuOTqvZZ3j/zd+J7wiMxw7jlfl7HXQWn8kwp+Jh
ytMiC5GrTB+TgXSqyNR7tYFOTGO2H4vykFQYR21mVWMtFcZZ6iDexjPLDAtMdYtPpTbH32yt7q3H
rDcWPrhQerpDfS0PjtJm86OHDVh232G8Bm5Uj1X2MbY6Kcy9KrzMuwtaZv8Qtllvtc0G/CeX28VW
5fwR/0vnN4bqA+wQe4HyGlo4pBK0Goi87/ZlwjF3SBojjd3tbLedHQlRL+K7t9C/+azi2NYozl2c
H06prwn7mC6p7+1KI7fIofc6dZhrZL8f0qDxrNMSa9LYFL2oR9rSWJEijPGnYGtWg1n8ooE2Bif+
LIdiNbaGeqt7jbcf3DnBcDHJ0snajri9L1G1pqqHVt519bfRaKxi23Wu+VOP6QT8HOs66zapXPrk
WRus9h/baNCnlO5kzftZmXYVBXWanYZhyucPLdqpCQCK02Vb9CQSg2loFH/E1eRDODQBUQvhjA/q
Tl9lDBMIvEy/IOIoqg9CyeFTU+Lx/S81mFViNxZXxCdrmTLCSejGr0RPxS1TgasjH14sGy39b+gi
wJUXNwlhD+aoNZ1+1PKpKPZE485LmHv05qZQOJ1hRP3Qatrrrf39cntnWLARShoL/MC97EQkMySD
dKqdY065WD777YKpegQw0v60zDR1H5x2XGKMfyAdbLWhldO+TiW7mT1pzvIUTJihhX6uln+deV6c
qKvKsR/C2MEJdL9ocfdDqW7MVdgrpXuI7Q3/ngzrxtxI4uLH/Aa4/Ked/neluAr81xY4GOx6c76k
Q9vcyPKJBvvRN7oE/aZVDcUdLm4BsQhtl1M2V3jpF2Xlf7JLp5Hbhngj78m3Z4ubwET3414rk0xf
rzaG3YQVHej4hUuWQN+VJKaF02EprS2+L5Xxuct7cbSr2nBeSzu3P/tOb/ShkeEzeufWg/RvsMv/
ECHOH29VR4HTr8KNawlM0ENTjRNrPCpYUfWuKHX9w+Byk677tnwUs54H294eBMEMyRSnML27r+1c
VtZmxrz2qPnzV5vezm/4cAWcUjmPn+xh/OXHyrwlM70qHEBloCCa6KA5tQE2z2tmm45r63WzOip3
nkmNmOpOVGEiaprR4cSE6iI/E/qDp6up2q0kuP9q6EKPEvP2tbMNjQZEYF1yf0Hf9pDSB41d/diD
eX6iidVvG2joGKoKjpwpkdSu7y+ni9RANNiwktBmULGvDecr7IFH7WtfK90jRA+hQ7+oq2rjj1wu
Tl5tCf8BgjbeuWOS+UfNBAohRXA2vSUyBi+PzdAa2sB7zsdukWHeFcX4UQjXF7BVHYzsCLrNzIgK
tnhw+X/1Q1vQo7rxDOvd4myKAW6t9/7/Qd5XbgNDkXi5Y03+Mel8dVdTED2Cwwf3bTN5v4dWaRH/
QXkLSLkeFRAWTNiCZ86MuVy3gTU0sTkA/9aFJ5x9K9pAHSrljf5TUsxF+jEPrN6/9w0soG/VuOtM
PH9ivtgq18dsiNHNi3lS5pYGNlTLU5frwb2vfByIe8RJyXNGW/SJsC1Vh6KxbLJMcMU3H9McI8qd
ncwxlmgt5rgHPl72MAsxtmU4N61T7CdpFl8m0s2HjSVqpAfcb8p/O57RwkU1roMbusb1fDh/iJXO
TN8SreEfmvX5ZE+6Lh1MvdSOnjtgIpkl35XTz785S5wnzsJkOxvp8IiLpfN7dpb4Brz3xzvoYni4
I856W+A8wQ7xfHhzzOoSp+38NC5WQ6ZikKj7om9c0BpKD7mZshwX7MlK7eaV7G634eR3uics1p0p
imuS9r5aiVMlW9OjwI2jcZGx/OHLIfswe7Ff7fKFK2dUTZXXTaSQlUrbFuzRZGLag2/2TwrS+j0W
kPYUTjZhCMhZasSSYZnW9i/b0WxuotOMlU3SG26/xVw9TU50rALzNMym8sO5y2vta91zVRZ3tqVc
PwKyCvQ0dIweRbCexp2+v7FfXE89WOjQtUB6Ifryt/PXVqolABjTxUm5ybSEVjD3R6Nb1AMIerUH
BxCngN54qBvJr3ryjSOqov77+z/icuZwSOJEAfEBKBOW0yVcH1R1lsTuMJ7Klk7QXRFTi4SscYNI
k3EE27Qs4eob22iVtdOcSs9Odlbpxe4//ww64jZ6PTYCHxrC+auYlkUZfpH2p9wjBHGrXLL+Bozs
p8gxU2mEqZ/1WyfJtQ/jJItwHovqxiT+A6v8PYl5E7A8dWAXeIiQHi++RhukQHJZ2pwIwUj8/WrK
sITd6OMmuvQDISBZPI3NPVes9ofd9L5JAoBdPeT9NLRLiF+2d2yKBDeKeuy1bje02dhuWqNx8z7s
dXPuD/6oD2KH4Li7rxa9nL7HfOPgOKrKP5V2jPeQ5hX1keDCFmt+v21qd+cQ/bGPySAot++/8Uug
nMelC78+KIfr6r50/saVYVpLonnVSfPdn5Pua+NGpPnntOlr+0aL8aonvo4FfgDBgO9L3+9iLCF6
vyDkpjqNSvs5oTwjj7iQZPCMzZzt6wFsNMxay6t2bdnLTypO082SyeEriNx4Bynu5tq7LLjZ6HW6
K0z9P8YGl7YbM4CmamfRnjSor1nU92MSYnnc9JHuAGFGZpctt7Swf8Tz5zNs9Z2iKmF+s3lcltts
J64+Nf1wwtLO51bkFLV1GCuzGw8q7/HVtKtGjtmp07VEe51RDdaPDWkXm3wu+uLLkgJQfQkAOh6z
NNCSbRkU7YmbnekBjbbG8AvHeDXtPHcp4r0Ave/DxU28bFPmuXC/juSdcGZZZaacByQuuXpG9sWh
y722/6LZVaaJXYPLUBWNI1s1wI09+Q+IiJrkxuS7ApZ4/xCtcHqGr7TyOC9mRK1izS6TsTpZrtU/
zKmjJ/BOuro4GHQofbzAciPZtE7XLIQi9fVP1B2TvzOEUDOiOibpEXGEvskgfGRYZ7npP0WdVPNh
WgxNbOrZtO5GJx5ucrPX1tvFN0R0wjVj1bnQmls7sn+VlX0JASBVVXvyPGbwY1dxsn/IUtBhw8B+
99TkhvOgL60T7zWzcNJHbbTzLhosN8c2ncge7/P76/iNxQWnBbQYGg+d5ys5oNnqs5/DhmDrtOrT
5I5wKAdyJgyjehwaP31SKoifqPHNu9ZxGhHqOJvVK5V1+py0kCZvlJBvLC3sFQgdhk+6svcuPu2U
ylipobBOHUAyeM/iEiBrlMvebuj3Lzpt6BsjXjHqYN2svFl6pewuq4Hj+UephrEwYk3vT5YakzZS
tVcSFdsT0LrhY8q6DFtbmd2LIfiPtn4FzLrRwIzg3OSF5dz4ItcvgMfnR+DJgEro6tcoz44TvXbb
k9N5bnZXLDTBNnpij+4PL1FZvenIGNHu3p8G61v9a15SJkA4gjW8rij8Fi/lV2jGJ3ZMlxYBESZj
ZMzD8lFbU4AoKzKyMf/zaLRiPFro3LMpXNaC/q9VgDCyZGvwVmGAsZTbpVj0JZqx2DtaJKz9+/5g
F31PHs1AIQDDnJ4ui+7PAvhrsHx2R6fOF3u79EsLdkhvhLakZt24CVy/QaYOJBguIqjXr2x16sCZ
vBh6/TaT1aI+jEbnpp/VQFP7gOFjHN8AXy5v82uPh5sHCvn1Ko8Gc71C//VYsz6mQ+wIlzAc2zFE
VBFplnNFHGKfyx47n9orLRmTO2lQiCErNudh3ARDXPzQVsrLlk5PmoexYmaNW2kv3dJsMDpbaKLa
pNxsXCGaWoT+SGyZcat2vdgH+fU09LGKoTGGwJr298WvH8GwPXtxn7vAlU+0pQIBmGhjVw9Y8mGp
XPmNIAPik2KBX01dVsWLrGv1pbZN0d0o3dbZ9tfcX38LP4F6HonF2hu/KB6HWXfKqrTTlzLxOiNM
7MSN0mIyvqk29V7TafJAHYPiBhvkYpkz6qrp4C9W3JpieLHPlaKnUFDj+OyrMv4VD6n8GGv+svzQ
yqarNgV+E/MNW4WLPIy1L8iYBPJBVWYhQNg4f+ulhF0DRK8/z3yb4K6e4GKfarsqfRmWcWFiI2HJ
3N3HXSKxNAomt6i/apz0y2YOVNJuQeexuLixG1zcIdZfBX9sNdiD7wM74aJyrhc7JlGum571fNn2
XjG7EZPjTpnCdvBMsctjPNnsRKDgpXVIIUK1tyrM9RP/NQXY/bAt5VxG+wYPg7vU+YshD5iUmTk2
nsvGSDJM/8lx2Le1tmhfLAJsnpa+VOU2a8d2xCp57tJPMYQQeSyRJOj50cJ/yAghlzsS+wO2o1s9
7D9N6vMfyEYBvEsHmXs6P/T8B7ZVG3u53rvQDhpjwYJsQD6W0JVN65mYKF1q93Y7Y3AO1h6kZWgM
i2dEosWI51n3VTDuWsgANJ4gU9kccaVVlK9maSXdKVZTebdgXqz+bWGF2FnYaMD/EPiU7HZSJCoO
2wFvfjC/MsbiNDLstn+Vk0x7Wvlznfmboq41v9+YiWYcDDk7ajcZcyAf46Cs850WJCIPh9of52e/
aV0QEa3Hm6odqYW2okgc7VjFmdNGA34rH/EMzyys2ft4wLFSkhf+QJfetJ/r3ExoQheaUO5T2U14
j5ZzAwBGYl49HMwpw2qPQAPthV9VfAF4orev+KBF5BQqo0zWc2K6h2Z6gK1vy6e4Kt3uFgZ2ucqY
TKtGnbuwB1fRBXA9/1a1VkGOs3vjWTVqvCfVTgI6zHMZlaI2ZFTaojA3eZFnapewh2/MSWElm6Rr
Ww3B6g0+wDozzmcO2jg6L1R2qwnipbCrr5SdDJXdvPRL/Ki6KT0EwM+kpnWgHWWc/+vbZXwwxri6
sdu8OTDgJMAYS5z95Pw1aMquTfx62pcpsNMD/TIZeiXMOv6xfBL+rH1Bos8/bNFAH94/8i8rOj4B
/HgeeRUFej4d6POx07pgLkxz+lIrLw02XTOKABAZmmyEwiaP3D4urI/ZaHjRotfZi0KR/rkIhLyx
sVy/AxiG/BgTRiMI2yVln4TnqSXwe3gZPGY6aVpmaBRyvpfj3O51u8m+kwyaRkXvav+8/wouDjXe
AFDIHxIbADok54sdrSC0s5Wy0p59g/Qy8kXGdL7PRCvsDdzBGTFoPxokflXBzc30z1OdTzmelQAG
1JgWBOg1NPjv0kTPIOa1QVe8qLVbA2JtNcV6e5mJFQWbWWmPFamnMlyCCY+KNLDL5XWaHK5b/RxY
IiWPfRLqXmkjnQUuQyp+Ntnupn8nuEyz+D0jVlTkEca4kCtCm9J9n5hBFU2Biov7qR7SJvTT3JxD
t54mck+X1qBTnZftqVJJJQkBYxVu+5FejfSFOUdS1ycUj3T5oaRlRlJvTA/PVcwsU6LugWyrcQeu
ognSfZp86D5SmFVPrjUv32J2wPjZqZrG3U8wPsotlOslQBGhi27feZndREvvkoOQuoPu/Vx6VAwR
MYN1fMT1pmBz6LEv2YNvCvcp9hN5Xwq6r/tZBs4aYaCZA6+KF9Yf277pvE0NYjpsvBHbqkh2pgs9
gN5V8wqTXXRPZez38oS7uMCnFpIxLdXKGWOjjNJSZrSE8Y3Odx5q+RdEIl4Vemncfs5hNnAJ7cQy
fXVc6Xxb7/M+vLOhe4J3U7r7IRuloNfZEmpMpBMeCdBL1cGXpab+UfbcHvJsEpCpXKvV7pWixAv9
Ws3p1hX0fjmmyhEuB8EbnS1+tYrWKqZGlQkLJpkbu/nmq8Rzn1bR0vIE41kz7mAFOl0azYGXbDsq
IiuiirOW5tCoUv8g2IFFs1vU0mI3LgeOt8WbWdJTVVv919Y1VHWPDLQA5IAN+BvNmf9UKqn+Mat5
8kOsH8Zyk5RVHWxMCfOBVEGz2CxFEhwgJXFJinRJKzIK0hTiArIx/5g2WTzvHUX2LLHQNIWVv4jP
XCuLYDNrK5fHLayyicwlge2wh7aniy+V1YlgXy91PUf0aSHWtZXfBShXnDSOWkLocONx7DYo7mZr
KvQ73yjHH00hk3yDzUFVz2yao/+p4+Jp3Q+JHDzkZanWhHi/jp48NIUwRcSGMJ4MjyC81x6LGQgD
M8Ad9hYycOdHJkIhv3cmZc5DPJmVutOcYHFCR9NEvfcGrZfwDlUuT6AMvfMRFUoy3i+N7pDaPKXm
z2WZcxaXqlGxK1P6Tk7DlkRl4q5GWWynyq730lO28VGDUrMkOzdLuztYT2Vv7taihopKevqnSasx
OCZ6vI4R0sROtRM+tA75ICtJWtnWSYFwo0Xk3fNoV6J4MpdhxsEzl1p8gwB/vUmibqFxThFOnxFI
73yjgugLFcTN+heYL+YGFpy/FXWq3896lX6qhmH1OrPt/3ogs+jWez0S1hVCtS/OJhBqKBwIuF7y
gm6LlEX20Rd+9TPwOpDqivVsnICz48eSXO5bZMTrA8lx0LJy46DJCNpzUWtLX+8wPLCcZybzYhjh
4GN/LkOXBYryc80dT+NZjg9QBxF0bTqsytPD+yfTG4czRrcGhMjVMxXCzcULcDu5CHfKspdy0imN
2iLJHzuaU3e2bOJXa9Ttg2PNBDv2i/c8BchXtD7TbtxAL65fnI8sShyTV+Y6Z/Ol19ok2qkIjEq+
FI40cjJy+2xO9qwvch8SuKz6nWO0rnejHnhr1NXQDqsmoOz/Eeb+urQXEgDXLpb6xSOA8LnCofV3
H5fLAYJ9gW8gzZYbd6s3ilEXZAe2N1pYLrfWxUV7rNGNNVZZvXReUpYHrZzyaQvnizD7pqq8jTGk
vv8wN+qfMtHEnuZyBzOWau5Di5jn6f1Pfz37XJ3uDNgPk2+1bThfb3UK57E2jPpFtVXxrevr5l7O
sRMpeuqnnC4OsTAJu4KatOHGqntjqVOToP0HVkD2dVUPeZzSxdRULxYOzg/jYOmbSTnD9wlwOZwL
h7ut6MXL+897/bmxwAV+wuGAqY4r5/nzFkaDMeVci5dxgIxZZ4JTUFOVzMMpq3f0i6AZvj/in+e4
qL0szLEMNLFsL1cLXLkt1UJX2c95tsBxLYk2AM1w/XQ8JJysBhJop9gteBxZu76xS439O06D/jO7
gYZHid+s53GfVM1xsAtLPIBRcCjHsbm88sth0LO5yCUNtWq2gl+zJwd4uvmM/V9kxHK2unDIWmq5
zfsPdjV1sBiAHcEmjdXymq19/irRmVSQGUbxKj1RLJugc5qDBu9xb9SjfvACwsVCD4gI7mDp3cp3
vEAomKwrpseuRUVBk+8yjiIXvbIkPvWvtpOqXafpTBkqJUS2RROV7ZgfMAOzHi1oiUeNSKrX95/9
EqNfx1+hMv6X/jiCm3We/bVt4KVvQFlu9RdWi7IiTRRBRQk9Or9xKc+ewa3ssFl0r9uLxi0/DnVa
FCHpM94nWAaS9qF0/nn/J10tJ/YunCpXNGJVUdmXM5uee6MVyIlFnhUvFtqFA+aNSwy323YOeAXF
9+PS3nJiuFpP2NuxdI1g9e0ywT/P38MCmzwGCbdfmliL/ROB5Bg7NRJGedUE+UHBVv35/nNeoLq8
eaJt1tdL/3G11ru4y6caNcEwJfPLMGnyY9do1YuXGWKfFlTX7w91/UrB+uHfY3LBwUz/5PzhsJaF
SayC5LVO6/ZzpcyvKvPdU8n1XoZDPORbV6vFf72kU8WuDkV0FtmYAS7OB21p8kF1a+KXrLOSE3c2
PyJgvaLMi50Ht/G8U1NS9oWs7PEGAHr9ahkZxT7dXQAxZvf50Is5VVNeDOlrBTZzQG8FIdYY2+Qx
bhGq3TgHaejwx51tjDhaMV2hWNFDXufu+XAVk5k7VOa9UH407TPsCdX8H2Vnthu3sa3hJyLAebgl
e5LUktyWJcu+IWzFIYtDcSxOT38+6txsdRtqZCPbCBIg1SSrVq3hH8i2lrwcoVqWdvdH92Dtf1ug
16bQDwyE2SZS8Cx0K4Usa7hesmnY9b0BecOstX/8psnFrhOi/DL6QRnvLMAgbbhomQDlS5cpvW38
vLOKEHXI3g87FBM7xvVp3Gx6zxkEukxwM27G0agU0vGBod4M4QfFQ+7g7UWVldvG9Niv4++wx/PL
Pqixk4KRjNe81KUon5usSAugcMJdW+VDsmwTpTdvBgEh31Ru1ibRnHXWELpE6YeuVbBbSKx1EEWp
bP/4nT2X4ay6ur93+k77kQF0Vg+gILuXtK20V1+q7q1YDCvbQr9avrhOGdtRMqROf9Qt5Xy1p3J5
AzVM8YnUnBHmA63lCKYPVqLCNGMVFnOS3o+Wibb3iBJodtuXWfVVxYbqb6TsFmdTMZmIMHEB1pYw
fJKh6stFj+zAH8ut7k5LcsCxW480H2rqSzMZWrBXSVf/O2Z+zqko4KruC18f0ydJ5a79aU3cNr+A
4s42pJXVtHOCrNLv0Kl1j0lmFVpIY7f/l/+DXyfJHN8Cdxitrd0rIUOaNsOzNs6N+b1qa3nbdtwL
tzC1LH+LMprKNnNqqB8Wd3q1hcaFKAANvG4A8wzAO6yBXZM488/djalaB6wwZnSV+zAXCXLFus6c
64tPtTTtfL2a26NN70I8O11WNpuYam+KOqyii8M0kauFaSoHL3Lsyjm0lSwNQPZwF0JVqczeO5j6
qPtmpncSuSipDS+e0+TxLZJRgzlsFzMWSx5RbwX1z9IEkBM6TSJfFCy2fDMng9oPs59aTxM6qDb0
maIFX0Iqmobkp7MVpmZAgYq+1jJtRFX5rzTvA/etaYHJbpAY6Z+bxA6yqDczL7tDd01Wm7k3ZvtY
+pAAbwDji18K32t3VyVCo5QfLDVUm6Ees7eEa+p7AnbvZ1nIsg01vZY7kFiB85CJxL/H0cOTW/xT
Yu+V9ndVb2jdzR4+yjU0NY/9n4YCZpWAQqacfwj+fXdSzjg9KA2E6AaoMUMDRXBTYen2TMVEZRmv
Bdw3/UveL9hQh55w3a9+TNMfwFlJx6lFo+1AMUgUoSeQj40Ksz5t5m2Xi0Y82i0+f7ugx5D4uRom
O+hDxJzTMeSnznqGUjMjpMhJNYnW4TAWVRh3oKMONebyPecmL6et56E0GwIQsZz7LG3711aO6m1F
vv2Dg6WhRSOfdjp2Q9D9lAhhiaPEY6+6mWZZI/4wu25oi2zybvKudMobHcHmgWxMildHya78J279
3qYloEw3MlVmvjVQWuNDXqtA4llA5r0Z6xlYB+aPTXsDFLtwaG4gvXcCkl+7UW61Y/8Wd/OQ3w49
yrJPmXIK4yCbGeUq5llavm/yqXRCrGShU7AfIUH43BYHRK4mxotVizp0mQ45OkZC4FwATH7YrAKH
E7HBS9KNPvixfaOlKktuPS+WNm/QRMHVz0ozpoNXCGPTx6394C2TN2ebrHKE2JGuujQK7aJ+hS4s
xlA5McTSEFKAtSCsZeOuoWVmupMkEM5zj9WJuh9i2mlRafiyBVjpqiq0E9N9GeMGJlhst+294q0q
Z9PMwP/vrDo1FizzaFKgFmxk5W5ynHqbdSZjhNyGiBwBdM/cr4ELPKKAFZHabjQ1ObpTRpVrXSjh
+235D5jN3oUI+yfHMeLPktXy2TKMTh2GgA/0EPezN8Gj0BeEtEWFXq70nO5XPYByfYD/4g3kUm1h
RrNVW+nt3OsaGjppX0zeBhZYZe41WGSra8LU/luNQaaFXlFpfzTY+gNMhsBpsGeLvWsCOOcwZVIi
3/OAR5MArjT2c4cvr657ADND8+QnaTrddLgM3KQNGgObHGUSBMGdunP/TfJAPNLs0jR4iJxGQ+ot
4ycFBnALsz93okKwk7ZOY5d/DK/FAjEd47qPHKQZ9X0m2vHozaIM/nOWBXtjTR9JdoA6nMP0EtcD
JWSk7VOJ0FjNfaWC7VQYfqi5+qBtbTcdNqJI2mvOKJclBAkrkHKa8gwZL4ZCQatrvLgedVmohVzt
QVuV+175IOmXqU+JuH0/mpEY5vEVbeVmDMclT66JKF8m0KTO5gqkg+jHhMD6mAQ1NGKLsTKqpwVS
yO+GdUE/pSMctbTSIrhV+s1/TWphVVPt07lg9kwO/XFB2xpt3uZsfQUNkBy71MnqjW6jKTo5c/cV
MfUchnOlxivp3uVzsizwGZdWG9zfcxfipe1Ks0tG6+uYBqRuS5ruuFL8h7xYygfXrZ7++1NSC9ES
RojqsugG4zpLy+ysr4Ahu5/TnDmhniUqmgAPzZFy0GttGr34r90UZvjo4iO/zcQGpauzXl5VA1vK
hrR4chTlSJgEDcohVTk8QtLtYdDPtRb2TNcgD3b+Ncmey/0Mig3kGBgtWg0X8BNR6pLO2eB/VWMN
lQooKzhtLOWj1nLSbqNyWxy6heZiVENH+j6OMfSXz9/6X34CUEhkISgKV0mNs9oMyEA7DSqXT/2U
a+E85ugsjoa0vDBpgpoR+SLDRB+9VxlowYCKgDNckVS43GaEQsZ6iB3okDfOqyc6ufqQN173RJlj
7Rkqjj1qTYZ9ayd4q3dmK58/f+SLBfG5pm3LR7e5wIipH49To3eZBqbbfDKww7hvRmiKo7CdWyY7
zS0UkWsSvZe9WhqH4CEcmjpry/Qcd+BVaLtCwoyfnEq2DRMkt+eiCgCOhErTkgpDaeE+j4vvfbNd
Bd7dtMbqUQNQeE095bIJsv4UnpsgwrmGp/Dx2T0HsmOTDfGTLdWIRI4tH3y/qZEkkHBxjEKKnWlI
bTMmevyjWI2/hdFaP9NZGV9rf0FT4vNv8Zcf5NDCXYFlfAumzWcV5WwxBvKJb98MZBKOOqOQH6pA
dDASDoQphLI6sWlAMtEeMxdk6RODgiQPOA2OWeu/+6G+plV2cSLQRnJWgdr3b8UE9uMryuMgaFoj
LZjA6O0UYnvg/+q7Yvxpp4tzJFi8zk5nHeDs6ze5qJz6yis5356oEQKYZfS+bhVIdGefKJjN2ClU
0Z60RtTpLbyWtvji1dLvDpC9EK5FsBBa4Off4bxvwqKcCnh78B+Zq5yL5MpEijIrfP9LjsrGP31P
1bzv+Kfm3tS5A7buVLZqZ41l014J++c9SeIf2lZgxhBhpEN/HoB01QJZ02jkA2MJfscYpdzX1YL1
QmYGY7B1lkz7UaDzYEed283pzefPfdHaX4GaYBtQxeFvVnDHx68NYq9toVknp0o206/J1ODjygW3
UKsr8h9Qsfp9YCfaCTfKDF5Lrp5rNSyhTwJ+rXd1ESf4LavwJUqb4KbXVvfH34LDpt2BdShORinm
21Uxb0sVlR1ilKXurNXvM1RBkMRoknTlPvaX/GVol9g6XHkn6zr/2+VheZq0SKav1xJkurM7IROG
pUaaxad50OVNO8/lg91OHnUgEKW3FkG7X549dU+W9LU/NCgTSMfOlSB9uS1c+logiYmZNOfO8WxB
DtU/KwbnpLCqqiJXqqyCHGHrz63e2/MmtZVUkQ1XyQ3xdlLm9vOXcHkguAxheKKlACcAUO/Hb6GQ
N82mRp9OaHCUpxyf6N3iqSAyY1ntC2vUbnhF1/Lq9cV+fPEgKN+dMoEy0tI7C4aYBllDXSbq1PWL
CkI3ljjIjYWj3dDZyfafP+FFnMGQk3dL8qMjcoKyyscnFKAG2qY0jJOvFyoJUZWgV1F28b8Co4Nd
glnWlarhPLBy0yIdwzXIaowfLlT4y6nDSR1Il70swWEaFnnvppOYH4BdDDfs4/yFSbazpYfrccKW
IvWvfNS/PTJRnURn1YhEBu/jI2PdaFSt3uinBe2reEfPa5gfEoXseSyFYdwUjPCKK+Pxi43MUwPg
5+0h4mFS8n1cU4AvKbt81k+YfgjkWfqlO9BaUXak+4NnHekila90BOMysqs4/efzj/yXd77eJYR0
mi0k1mdP7PYNZ0a21ok7repDOHft93qV8817lIYO3F7ZXqZ0qaAMeFEM0+1KgL3Y0hYcHwZ3yHBy
isFaf3x8hg21PmumeVqY//QbW9SafZMbSLe1QZyIK1vsnN6zZnPUZAQuk8deOXUfl+tSif4ULM2T
zJD+2zTN4MAz6Ct7PAJF6Ku96nIkP8o47S0okS6wzMrJJ+03YBLLomM9DNZBSXBmiQgE2rTBUBRW
ONgp4KWoseuuvOu7Wa89pEKddMesLHOiKnOokmpP+WFtdukWWjeSNiHGJEgkRZSqoHGHLqUlLup6
QIBj8oWzmZw16e8Du38Uw5T1V0YDhsWzfogmvAty6tWidp31natKdoPoK6ZJ7qmYJ1pOQ3XKUKGy
4fUgzlWpmHQ+FYV3p0RdbbupH/d27cpfyk/nVxRkhj3YUf3aj7q4W+DJrMiNdTfil3Y+80ptc3BS
pGtOhqTZvRda0gZH3AdKZUSFL7U9L7ymy4j8RLCte7PU9glRTHzNjFpek3y4CPL8GKTwwANTEGC4
dxYCwb6l7TJVy8k0ZVogkpLGGzFP8xB5Ru1s4TqPYZbH1ubzQ/m3ZaE7rw4B5Dz+ec4BScpD9KUy
Th5qK86N5rY4vuFfS9e6aepBO3bAonZd0/dXBlV/OYzcZ0SB9Uaj4lz//f+MQKcWIie4Pv0EGC3/
1239ZZO2mokhOtTB5spTnpM517MIepEFqW/J7M9vM/pGMliWQT/FcEZ+JGCEVKSoyySNviLdgBRY
sjvg++MmVbVnbptkZGBhyKy9McAYH/3Wm4cviOS4r4OZW2bYaIvrhVPS6pvW7bN5O9ZMI54UAO00
QqJGeBsEjZqDgNI8hFVey2Bjj6KAPNIOK/bdmHsRItcZlNfoT+884f85bMCU2dLAU1eJNFD458YB
ZpYnzWjV/Z0c0aS8T+KOzvgyZMjsQ8wQ8Zc6t2lrMh8vyyguFvethqE1HhECTh8CbUHLSo701HYK
92P9Vp+CQttDNAJZXQHfHu9qqxh+ZiY+PFsxa9ounnNLXqkCzrPh96cg7cNimtgBl+tsg+RZUS0m
IHRIokXefeuDxnjMCrdhOsNkKQvzOFvELc3j4bGVnZIni36bCg3azukL5HF5hVVydn1xU5OZQz56
B8IyYV1P0v9sWBLvIG2YcB5z3m2bQ/9d8iXSc6OzNq7H/E8POUzViylcOW7GGSZgmGlLaV25xC8/
L8X7WotB+aBWIWZ8/CGd0wbL5LjZMYvtqVGRrMZufK0ckJcRs6UczcLZaxkZiI7JdCi7wfU2izT6
4wxyvL8b/bZ3UnCNKP4Y3CMVSVeoqcBojaiySt3/Y4tkQpoL5M7Rq9u5QHMmqWTkxqCcryQFZ/EH
Fz3Th6cDqJsyg+vy7K2mqM2NfRKbR1paqvuuV4a4YRY7Ghta0nWmIvgQsbNbWhgbz5+HPvcsHXpf
e/W0AbrGeeEHfHyR+hAgJKk6+w4NOnsCzg+IFEvvVMCBR7+wHMtvGSbnKb8FbTCYc11eDCIq4rHt
urDJzX5iuJ7FiL72bvIKtxvWajckvrMTYH+5wp0+vyuVDjLXRLAP9Cm4cJ2eVlFqd+DEmh+mr6qv
IDVRScjLoG+PWiz0dcpkziXmhm3OLE/0ZRemapqayAik9dhPPtrPhcrm5Ij4UHvrp2i+bdGDTPrI
GgCKMpJiF76WnZrlriwwOkXbklqhz4cm2SWGUU/PUDvESz+Ao9306Pa9aR54k2PV2Sk0k67y33yB
L/BtWbbDP2XMzCIk0+kocNiY5b4KqLr2rqfVd0XlINnZlyZVeg5l+oCYGnwIL85AJ4cI8Qn/WNOl
h8Hc0VHeuYUzB3e0mrRmPzaecZPXQSV4QHuYt1e+MB/wQyAEHoZWNS16SKDE/rOCuhxpdppqSY9o
3tTjhkGIOtg64509MuLLoc8n4/vnK14eTpZkQZrHK/fyYj8z9/S4abP02FTCVv8Ew2j+RHbdH/ZY
VyY1HkOLwQXRxNL0QlroXoR2EjKOsHAzh7GjK5EES5EWXpiuG3pym+fCmPdLUjnTxs4q00WRKxAv
s1aP4sFJ/Mo7KKBE1pVo986Q+vju4CACXSFtI3RdGAGU+uygBKylR7Ot++xm7DNZG0hPoGkdBl2d
3aTmGIvboFFVAC48q1KzjNrWm3YjxgaQ1oc8PnL39+a28vsq69CXNPXvjmiCR4cuN3rftlkAcxhN
8KIPaFDP35oatZltG9gYlltE+VsUXfOnfBGG3HNkdPjrjtsu+Wbq8gl3SC1DrjEyRGxCCejs4v1a
9fye/lyQoTb7+be9DBfQLmjUUkEwaCJ0fgwXCl/kJumD4M4Dcv6n9j0HeKlA9c6w4y+6xtcKB8Yj
tGZSGVz7HGcJNLHKsiCawX1h9MKXOVs88OZkQZjZvxspz7iI+2yES4C/r/ztpVWWPFNIFR5iZIHx
i0aRI547FATc344/ChwkEGAaIlczjV8ov/R9G0rDmx8tAPqDcWtk+Zw90wAEpBIWfjGoKUqdWnvh
kC7INDlxmTzETaqLDRqUPkaOC0yvHTyIPHhJjDR49OPF6tjVBLmWVgHSRmRyQfWA3myVH7qpbX5P
xgRo4kqN9f7OP+7SdSTEcYPlx/zi/LUsTsZprHXnblJ1WaFsgChi8GA4jdoCZGm6nUU9v3fKTOb7
1NHKV1sjVjIx9p1mqVGeAsj/p2lTV9zqzM5EKDEG1n4EbQMVIKP1JXe4LLlMihPKZJsmzxAzsW79
pte2FVNPMhAJ8wyCXllw2Tp+Zjd7kP9JuYGHF7g/nZJy/sloJr+693ORdBuvyzq+oOPP6HROmbBv
WguO6BMjTml9ydF8Ho49VFvAHem01NFoiNnZ2uAvKAHK2jSAofiL3LdSj8cn9DJ5rfwu79SWyEY8
BF6efZVgJgElTO7c1ugj1E38vcoYYXFh0VfAvtfP7ezVjS10LjpOjvYMdpTGXi+nDD3nBsZEbIPJ
QSksmBEslFrd/itE7qNpWFMovXx+tN5r4fPv6DGWgLCLaQSw5o9nSxS6g26KMu6Kep2munnr/yJJ
TYq3pTNl8Wb4mUzD3oiXLbLQs9jO6UpuHTwOwEZ5Rpq0YRvPnXlPep0bj+07Hjtre+s5QYZ/FaEr
Ecz7WQln8J6SNOeqdfSxsbjVl3R4rbvCS9+adGi3En5SHGyDprODKOgzbn8/WaangAaVgCEBgKBO
ST2vlCh/iS78JhwhXbD0PuIFH98A7CG/8MtgvnNBQnYQiQL1xdJsS91z5kz9zm4HKATBoER3n/X6
IsYrP+AyE7Pwa13H6LSBnAvuBCOfiUH3YNwplzb7fd7ryX1rqx7xgCLWaSRkJapYyCkv7e7zr79m
8h8/PgkYzAlSQYafoNo/PnpaVDTjVZUdUaocc2j9mjxNZoFjne7U3pVIes6zJ5LS1kaqABqbzX47
b4L1jt5aWKX6d0ZSDi0FkJ9YySHGxhozcGuU1atq8EGIRmus8wgNKc0hEGqasSv13vS7TaHmbrxr
5mza+xh82aG+JNlwkrUszBu261gW6PvKPrnymi4/ELtiVZhnFI6/w7lAgG7kfpaKQbuDC+kbe8QM
dRiYS+2XXyu4DVwGzvBiKOLllYX/8n1gtfCqUO7jz3PKAbOhatL6TBz9NFMTgEo6Bs+6SpDnBjE0
OcO1QfDlWWD2jhYRWRRcS8L6xw0Btkg1aSayY58FFU6pOmLkm4EUOv5CNu2LR1+PjRroZpf+VhgI
dafPN+R61s42JINJupTYcq0zoTOQAxWWl6G4ENw1Sma3U7yW+oRV/aQYm9ybRbwMV3KL9wbExyUx
rFj1E1BD4myf+xQwHS7qUk88ql3DQ1tqYuBwgqDXdneaXrXNa5H0oovyqQWLmqJKB7BGOqn/xUjm
8oebGEmMUvWApvYTXFTEXU19Lt1rI9K/pLcO+ukghRhbo41x3sPVtdGrA7dNjk0QkzuGszbky9sw
9upBm9E/CdtSwH7J16F9XqT14+r6tCow97HxmMq6l8kOBpHWH90eckDommWqPQSycAEazJDoDtpk
Ob+12NBasVF8A7lLvHJIrnQXLs+SY4MHgn3AtA0BhbOQI1VTLx1T7WM1GcZtlmTggwZdpNpBpAUQ
6lCzuBW3cDRlfY1P/m7TfPatHe45qt4VZQBf7eP2Li0nyzEX9+7GYqy/4Js5vDo+SD8ZAvYHcOzV
Y0IIWXrdx/6nj2OX0oW5NH8aVbZxPCqqAYTK/DSja91ygytZ/lpssIDPGXPV5QU7BQXEURNB9aNp
ZuvguPmQxOiupms53yeoa20Dn7ZNNC2lBFrseU237cZAm46NAQXkrW20WrSP6Zh2XbtNtSGTSTjX
ecWkaRxc6R0ni+nvtwHbgxvE4mp715UI6IUE7hU0jWtYFyJMKn9xVBXVDOREN0rob/8cLT2Zip1d
F6v+1OdH96JLw9lZu/wrlQFY+HmQ9DKvBtjX0OtwF32Mct/EhaM1tfJ7kqDFGQGRQhFqZ9SAmG5F
5clfWWXYmrr5/Gf8ZX+BG1oHaIx4mHWsEe5/mkU5etNrTyA5+kTMcqMFHdWBny46iOrOHvdL5/qb
vHVQgf7PC0OAY08D8gAadl7yIpRJOZLgewGyQOWk8bg3tENa8RO0FkRhWWZHKDHXaqN3PaGzPU0C
zjyNyGBbF152XlqSyQ7xcrdiuj0varPBbXczkqdFWBX+8Eef6iwOB3Tjg9vY9pf7tpey38bdaGug
2W00lUeR+XdZNvvbgUzPW9t6RrxbAnTZYfUHJarfOtKc3+M8Rwas68q5uyd5NfxDTDtivkuDOXPv
htkZ+l/FjOvAg+ahfPV1aez81zA1dE20ZkQMxokR1B63TBdQ2N90dh7LYYMu1TXV2/eL6uNbWYV5
SWq5x2Aym2fbYB0ZeJbUA6DUVQb9mRl+u7H6XM5fGyRqXjixpAlIcgTfqA2qH2idD/60gf67dACj
GU/IvZSZ9g8AWgRrP98qf/l1hCCLxqbL+AMSxXkjcQBtkMY+HOBCLbD0kLMY0xvbENQZwZL73j4x
qu5+TJUbP5v1VJJk4xciGvSIoBl+C2D/WhvkrYT9a5jrVtj/eTPT/yXdgaQFS4xz9PEU9R7d3Qnm
6nFwxuxW9zOIFm1LjyW5sXs2yh6fZnxpbQDWsr2SJ17mAGtJ6QLEM1fBi3MsyDj3Sz4gY48VRef/
ixUNAE6vFQcgBwp0klsL+0qaddnxxnGTli5JuL/6JpwTaEwvq80sNsujM8Gwv1NFLNxDEI/+vhXy
BKdk+TdHOS1EO3j+5rYjgOZmDKqTjm5gfSWAnaOC3185vTwSZViWl11moKp+bRZdf8yWQZtFBP5Z
Hza02/wJ3RhnMuwvDqpmjwppXC1Cpt4pTmppBqx1mDHCxwhHqLcpzg068MWnphoH20X1IO61567Q
7PhEFNLSmw6xsPqwSkCnXxYgae61tNm9+JIEYZDiyAiv3Ciy2I+7qMDLoLQa0R0T6efZz8yyUvkV
WLCP1DyT2VsbWHKFYjnxEkVVRAqhMxRifMHqPd8JV8O1g6vLQGpEoyUu0XGmARQRU70fMex8+QTW
Xn7VGdahQ1Es8c84H7wkbODPF5uqLv1n4VHdhI0xE+6Ze8be3pAFvAXkOhphFxtE9e3x1qlyARcw
jadVqCDzDa3f9Pg/lYdYxaWPLoLpJD9dTJWGja3lurNlpFshghOnlLeL2WHX4zhSlQ+JU1gBk+bA
/hmPmaHd9pPpdl+1YnLX3MyF5AAbyAfOapji0DutYPqZA864UezLJjRGu+/DWmfuvDUWxio3Lnqm
8SGdDPQCncIktUPW1MOUvWes9svNGbe/Ow3XSR1i3g5ToXBzH6RcN/qF9t1FGh6JgNRqkUr+PIpd
3LToPK1lHJkzcArnfCzjIDzuYCeTHDVXGup36gww3mL4nbc4Jmnoo6VkHSsA41r0vMg0WJjQzuDA
o71MkPi4rfq0Zh7iA4KelxVw3VnBdOx5KT3itE6j/cSQQXS3ojFq79Ai0F1FMwHltzNK98dSNDl+
TfqUB/MPXeg6NqAMB8zFDUdRSXWTu9ga3Ca2gT9t2KN5/TvlIrnmh3iOeOSQAzhmwPYOZWdaeAZR
MKd8sUpTZsdAow2yN7LZ21izA0vDauMjcxvU2X0cbWhmFWOxL2mlpJGdGVbo5bmHMQaC6lfaEJdR
kN9EDge5mrCDqNlZ0EcMQ+/boiyP7Px+xvjFtjMwx1XrHbsE0lGEQQu3NSYi1q5Lmva39OLgB+Qw
7Dg1qxrVy+cb7DJ8kMetc2rmf6u8ylmpkPQeuQzA0SOpxKKHjZrLTd+g8IL0ObNb1V0TsXjnoH7I
Gt6FAFf5bOBQzC/O7uWCtKHIVYX5QO7XKWrBDb5FOH/oOXhAfBYjWpgCDmdlF206RLMaeQ0bH501
EBVlojXDFwMuhrwj5U4QRcUkIEC42aZxMYZ+lSxleuUwrN/kwy/2GTQzlYQyCSmT5PvjWUBwlJmd
Gp2jN6HupvLKe/KLfm5DE67lE/R1iG8l+OJHOaTelXnoZTnlrwoM67SCFAvZkbPXhcc5Kt5QiY9s
Gl/mN1pn1C+9rVe46ox+glVJ71kpo35Zwz8xt47oMicOp7nF1saDWQeTk5oUZiOzNz1M8QP5nfb+
XN3XxZi3p1X2Z95DaiyQ18ARy4xa5JFPYzNMNJzRDrfSyNcCteTI7eRiftJ1zfbfcqPN/9i5FLg9
mWLII6O05jQymal/E/C1pnBGX87bxrYHBRG7oT64k/pUmVh8DV0AiwjQuQDQY5uNk22INZqxmXVd
Jj9MVbXHMUtBKYQF2ERLRQmWD6fJMuD7fr79L/plRAcig4GohsfsAX25j9+WKSCt2UaXt1M7VA6g
op5TYCyevgcVrb7CVcVey1n9lSi97mZHlTsYftVBr3GtImj3+9lujVvbSP2vmRxRXncxFAvxk7tW
hJxfBbSo+N9agJCvkdCeReQUmegMBnl7C3XeOfhFIf6paHYfZkhL29rUq8ci/4+yXITAFb7iMGFE
bZX1z9akhVCNcaeNt0WDbIGY6iGKdVNGUPzHg0FiEgrLG65s+TXk/O9xY+IAkA5QJvkZ3WLvrD9V
ZzUEbL9RB2kv5TfHQ0owTBke9GGn09G/sgPOA+D7asQiHOHpCgOP/7gBvD7QmOjp6lBj0EgfTAo9
VMhW1ZvZmFI2aIBw1X/M/Nc11w4J+AZ2Hb4hH9dMzGFsGtxjDgDwne8IM7XLpvaTXD7YoNOwvdLa
4lvZk21dWfhvr5bbkFINxMkKC/u4MPILAZ73hjpUfdduvNGplh2cb9GFICq8a92Ki1dLM5bR6urU
sM6Kz3UgWhcgkqTuvSntKd1MuZttA9KAHR7gv9uaVP/zs/zedviwcVgPxgULAoZaTVE/Pp0qgxHS
6OIeWpSzC3yXmjlRQJdXxP0XyGT2GHlqcZdHV8z1bZtrtXssMC+pvzRlS83dLEbyE9cUU6DPpWlI
q/UW4JEMGqC2Md3M+eEbhf6rIaJNW3NG7WnjjlX2TWYQ1bZceEFwEL40T6iIoXaZSzQDjrIN3PEQ
iKJMn4N5QUNrJ/sYuvaWDWfHbyIpHeNXyliY4IHWdr+MUaOrvnhraUHBd28SBw5ymTlNinBlRStP
ShH3UaNK9WaiKSfudATcih0WMF7yPafkVTcdmKxNg2dacoMV3dBElj07xHOirHkcyYW30ge7FbWN
BUrSHL2hagA/WAZFkEwhkMs5kWCVvWFov3lZkFd/Pv9Yf9kbtAcD2kcBOaZ+7iarGTblEHIAN3OV
GMs3M80McGSl/mec2kU9FHNuXjnoF3ufsfaqG0EPh3zGORfBD8RArucU4iZvjeIBBKnR7sAq6j81
0Ytq+/njnacMGKz8/xjDQqybtOHshJdV1dNDmEH7YNNp0VegdYhE/rTxY8xNgWLWW9mhbhUGWnmN
1vKXBwVstEp6oj1CnX2Wrjhi9OMSDjSHfIpBYZj6bWLU1r29mMPb54+5/qfOTtzKzfSBXZOfIBv5
8cQVmMtRr7XugXtkDBuzyrAkwdksu/Lt/rKOD6qZ0R1YTjC2Z49kBB3qzpXwDwmCCfb3QR9G57Zs
bV1di5AXtyxqJqhtQNPDtIBQchYhhTAxuMC25wCEPH5kFjt+1RMfJY1S1gvmtQWzs2AciiszmbP9
8o7gZGvSDULnmGL+bFmDsl21w2Sd6ixItkWOs6drNRiZtpZVHyDOFzKkmPH+1WRqHz7/iOcZ+fvi
dEVX6CjMJAxZP35FGzXAvOti82QE6GnBBQ/yuIk6fxnamxn5V+upG7JxP3m1hQWX5sj7AF5ugcmw
o98l6eLP28TpR4c+OhaK91k3jI95Ln1z8/kPPYsZ778zYIxEQQpEkL7Vx99pJJj5YPpunNrZ019M
GWdZlHeTigjWhdy0fiuePl/x8rPQ4WYUtF7Sq07V2Yq04nSQD615wqpsSR6VnLvn1NSKeTN5g9FD
GdONHygIp8mN5XX2y+ern9XgPC9kUeaD/Lk22c87ZnM/WDXjAPOkVgH0bjKcNy92hkiTaM5pWHlu
YKwGu65gaN9p7nJlX1y+bnq69Jcpo1cRq3fr7P/p8vOUNpDxxTolNXY0Q1VjjemU5nOAFrAR1b7d
L1ei5lnken9g/kC6iNod9ZuzjYgspAownbdPMTY9U5R79vCsVRn9B1s05pfP3+7ZSf//xZjCwrvi
JVPXfdxNWPjpZldL59TPtIkfJq/X/kUhAoFj19Kne/zlUnKw/r/TNJDG9g3+8iDB/R9lZ7IcKZJF
0S/CjHnYQgwKzQopB9UGS+XgzODgjF/fh+xNKiJNYbnqRVWXCwLw5+/de65/eo3c0kwredaeGFnk
b5qGKiKin+Nd21Aq//HM8PsaUfaugCYjWCFU76/RBEAxKmRwT4yNqG6zSdOe3CHWH+BqItdLMHht
6q6fLswfz/11PLOrcX9V+ruU1ifbn5mkbmvWsf3UiCUgK8EG3d/2vddETmpNm6oqux8daBl85xqp
tIsjtli+zNePf+G//xmkdK3QL77nxslPrNXgjybNs58GSzPAn1n5zgX0DGJMVNqNoRL32s3m5vuc
pP49qqUYr2l6yYNw2vJZfwS0GOyOBq+py2j5/Y9ARrqqJQUDP0LXy4Mxw/jZA84QyHBECkRzQKH1
uOSTW2F1ycGzBOO4rB+UpLjCmiznC5vNX15s+HDs1wyJYYmeOvHt1q6KvM3tJ1nmKMPaNNnB3Ta3
mRfktypu2gvf7fPXGgocVRD8clZlHPP+BiQZJh7Sd+PHRWI3IGinbL7oBSL3ih5Fe+Ebcv7RpBLh
/bKhz1OXnO6kQZwnWmM2+ZMxNVX/oNpssfZTNw4by9USQjD9dPA2VSLlq0t00NdAH2BbXTiKnH9b
mA1xGuHjTZvvzIeu6DJqtTPXT3XflW/8PX2UjaPVRnld+ss+joV5k8eE+3z8wJ/9sHynedpXeiYt
I4zn72+0waY0iBGwA0KKqdoxlg2xU4MGVU23a5h7X7jM8/XgRyCgXfXl6FtPG6w1HP8ZjWj8VOdT
Eh+U1VcvdoPaDDCS6NQ2t6fl3wZXqNlZkhu69kD4gp4W1hXkf2hMfvDUOarpD3XgpHtZeKQGN041
jXt9ce38wm09bST/XnQ1TnOW5ck689ckLnOToi7FsTBMQcAPcWbtV5hM/vIydZOdbdqOEvXalEFx
RwMBN/EcEDe7YrrL6SCVbOV2GN1Eu/BinT3r0IuIgeAQhWgWqclJeRIks9NgKQueSk/1n/KWwCzw
Tj6EIY709sMgc06rDDiLp2ooKw7fXnrBZfaXJwAXO8otHQ8xE4qTv2AwSllb8yyOAwlc16ZIzde4
hq3pq1bkUW4U4tLUdP0v/nHkWH8LBok84ESyUKaf6pSnmDwAUB/BEzj1RbupraI8FI3v8zZPBH7n
/tLYmyQlmzmiTcCs6eNX7OxbZmNOAerAWQdLG5Pb969YYQzo6mFrHRNEP9luzL1i3zW5SPYOM6QL
79f5tZKAu17nquNxGLa/X2ywVFrFo8yPmaapQ4MG+2VxpPUfPr2vAZS4HWBNBOtgh+DyfHyd53vn
+pvCDqUOQ0Jkn65t1RB4PTihxwwMzmeov/aeyC/9oEatfXUTp4Zeh3JBxRoSnbFKf01wqi687H95
8VYcMN0ybOErQvOkIKxc0nzgsHtPVke+aMtsWKnndBKa88BAADoAzHSqlxQX/RoZO2nxla1V+RQa
cswqMpoS87YdzWW58Nj/PkO/fwpheqAvwA/xuzt/8hhUqjarwc8Dqji29i2x247cwN/zhrBo9ZmA
c/KHY/Kjhd7f+G6XyogAnW6boC4TVz5RLdC9sjHOIlgdGby5eiq/EG3mW9dYejSb7vgMFDdjJLDr
vWD6RSN6eFRA5ZcjCYHNGDGbks02wb3wduGXX/urp9cGJiYw+L6abGMnNz3L8sXw1MAb5vpaS9ie
5UUueF46SZ7CJZ8K6P+GDbgBxsxNMZsYOLw2v/X04VIgxdk+artr+xDloGsDbDjtefdsO56LV/oJ
LZfDpLiwxGfhGq237fRRDGHp++i2hNtmzx/fhL8szKZGhworHGeR04aDCxq/jvkEPQVOaxDTgovj
K6OAfNhDCSdtLV+Gl0Qk2nLhtTv/vFCR6cyaGPuSYn/apOJDQIJuMYmjUo5RgsQ3ZIRiWhoks07Z
hUb7eWW6hm6AbqXNwSFPPz3h+Q0qpQGc+LEvCvETeU6X79WQWeph1MbA2c7QgdYcGBdFY4kctX6G
paY1G8vIpbXpdKldeK/+9tXhuLJuZ7/VDKcHB00IZcvBTY7pWHmfGnbz+77W8WUZFpRTqOcyZHo4
HcrSjvHLaMOE9C5R+49//d9gsZNX4DcUYzXW0iA71QSjzwXXpETwNGp91RzsVFv8kFQGk1wgfIvL
tkzrAZhemrfwEwfP+SqcDt5hYxdZfzXVWhV/iq1ZxaFmFyQTo7ZOkFNL78EkOesRk1RShgVtLBnF
81Q9z0QqOBHJ7I66B8o1p2Fvl+JuEUnx0+spPGh2V9ZtG4B23YncytJnX0/7JEK+4UNqdKBnMUHI
oUpDP47da8Noi63To4TcJY2WzlEskVzsnVpp+77wgaY7MdB97Lp6HGzg3tTp98xIJK3znqCdPJut
LOoGnnvyRbqOLErH6JJwFVUi3QnGTA+pb6tHdOLDfKtwzY2bvtYSea0bi259s5zCnq87ZZvzdiKY
i+yMxK8RCaZyeSD40/qvCSoD606epZ8+/vF+n+pOfzzw1+wcENwwHJxUwUNfF44p3fhJ2dX8Y65G
uewTX3NdtGl9akc1wQ2YR2b8gmHZ+WX/ZrKVCaLSg7LY5Z1qh7AdpLq34bOKcPDr/jsYSplGeVx3
zYWC4vfM5eTPXXUABmd+zgv8ye83+bSasHSIQHtKlqocNpg2MRvVIp511naS5GYwh0I+CNXp/l5D
XdWSzDNykunKeLDDBjAqh6p2tAYZalOv21se7Z7RUpeJcBkt422JdZ4Dq9Cbb8aY5c9eqWf2Fsin
Pm0MBXhsixe5fHAaMt23GmoXFu5KPG0wQ03JUz7kNv8DmeVQSO5X2CTDLLcKBcOl93+taE5vBgZg
zoioLde9//3N0GnIEHAUxE+Msi39GxsdaSMh/sZEMKKaG/trxXCMuOBxrvR7fMDBdZDqWn2NH0of
nSgeyEqt6fpcOsOeF7rINgjJQqjHp5mTwPs/zFWeXbuzVR1zJujtg9Umy2uGayW9R3LsXGHr6S7s
w+cr0o2l7UZhzwAWc8L7FZPJUk2dB+URV5Wpk+PD3HUuvaENRTczYqoviWv/tiAgID53TCfpRa//
/I9+H6Ippglx1xxLd/Sv2AHJZJl7xswNmidjr3dx0119/K6eb7O00tHTso//rfNcCK0MFqNvjqDE
Oye0iUbvCmsxor6sssjqS3iLLcOtC8uen5uob9axE10/EOanZUWJ4cN3Uq86joGMvfsUAnMdZcEk
f5BMhCeZEfwSQE9eJ78LCckusjCzb/sLm/1fbjhvPKc3RjDg8YKTZ2rwhtRsqWCOkMBIp+nQvPE9
TF5dG9N1LevmQjn9l/XwvDKqAe3J7O307KImMWrAnNpjTU7Qvqzj/4IKhRfmpG5PWGFy/PjH/ctm
zqUxiuWxATZ4lppZwR0a59mSx5hIAmOXzQmWGh8geUyRbM27lnoj2VLjGObNQD+ZTWmoi/SIT0rl
F47Kf7t2/D18Hn/rnX4jNP54uHVIKIRFDO1RxPG4F+bS3Fq5YS34OesHonMRBX989b+n2+8/ZavT
jxqStxi41imUg4mVDcmgR4yZ2iRkxonuvNEgm4KrpfHopWdt3/oEMwiW1gkTQm2In/RBhxRYhdS7
o4rMTPqgsvVKs8C6Gx7GdKCVISDwnCO2tGzSdUWlV5HeL8gjej4jCY6v3nq1hjofdkmr4yscfbDT
qDDrznkMJu9S3vlf3uFVOcHAHRkxr9Na0v5xZwM706zJVcVRtn3xoieFu8PNjCsgs8brplnyA/ve
4eOb+5eDIeOQ1WJCqehidjvZNEu81VUbL97Rhux55OdEzWBO1n9ybM29q3XZFybKapcEPXdaCLe5
loahmVGMkqkkvNCY//ndYkpkktDDnrXiM9e79MddmAOVeh0UyKNIjZwE5plw4pL0rQmJqW/eNjks
uwuVw/kjvbaTsdowwEBafWq0AeQw5tmQe8cC94oGYx2EKzdh/pRmcDswd7bThdLq/HTCihbxiGvD
b0Xkvr/IkdQUhG+smMfL8pqkyo6KZUndsJXVsP34J8ZXwX/t3QsEuxmE0br/8dniOt+vFju5pMhL
Ar7S3tJ/S2wF6wMvPtriN9ow3dTtBO7WAWqlSk0C+8YcLLVIemF/4s0ugq8Q5bROD3mj5HwDeVQj
SCHusuLKqd1C/8n71rlgb7LB39Q5YrpvyoyJ/nTiBWVaRqxve4XbXVxPOkmECEYV9RZE9emgT9AX
XoSyhH2/kpjzsHGwsHEjjKy3vtGgwhJxPZnNTJ0/0L4rNgistPmagA7zzhRl5/QR0CYdAL/t9CYn
yjkwP2mc0dgImmR64Yw7LOQg2kRwOqUV7wjGIQ4ae2efh1oWe1+8wRru14I+v2rRpuyccUrURmZ0
fjcj72MB/AdlZCg0fUrmaCS2UP+E+VPpYU7JGUfN2C5PviYDb1s4wfCW2ORbbnyn1h9KNerPxuQY
sxs6lT3Ehyyrm/jWTYSPZjY1nKfSj7sKIGBhfHGqvJtRhBvxY1ZPmBlL/PLtpraU+ZN61LE+V7yG
9U0tHOJasdTJt4XQkG9tT/ts3+tGd8P7rAGUgSGxhHlez+lLWzNwtYhW/0owpHxKbSHniDlSfCxz
GlLwVfM8KgfadJtaFt0NVNU6i1I5eUcXhv/nWIzDS+7l8fchD4wipPtelYfBFOJrgzrvJ61JI96C
sZbiGV/9YkVlzjkgLIA5WBGhPaq4r6whHu8zfazfQOBwipqNjPavtIKEAICC+BHAHiZBXDP9wmaT
Bp2uYM1X3duCYcS/SYwkk0TW+eQQESEWJDsOicK+85dYBU/oEMgE0PTSvfHNefxEu7POdviyqxvK
ND+IWpfMDnaFBCzLnM7yyV0qpbbYlIQKs8xtyLWnNveOHqljXqhDufnP8bz6W9+YY37PRSWbZR78
frugor9G5FyaoT3q/fg8+1jmNstCav22jXP5s4lBYlLu6eMS1bHXF596pocmiQk1FHx76Azvhaju
+G20Od4+Y86dhhtfzzUZeU0fJ/ukJLiWhsw8tJtY1vMSNVg+bYW7wFE85kzbvrWKcQhackMvtxk5
kevrJUgETlNlTJuecTvpelNicBYLGkDY6SpQjDJdAhx3zcH4OlTEHrwajbTNBwG4un+2uP1f6eDU
w5udeARqhgQRmPUhEcV4qw9GW/8nRmS6T4xiF1hVY0tyIkHjnfe970Q2/uqS1HbvOzCYy64EdTCH
jeur61pPgylc3RsWPxHAUifvgofGjlvnJhetPmFgGXDczS3Z29E4j5yaNjGxIfcQD53ymn+x2CqS
NiY3ArBIe7KgVlq5z9QKV37MifNz6eQJyYF6ow7FIkdqTaXmJSxQP+qhI8rF28yLLb0jKD1R8/vm
nb/RSr0bItXK8aFdlsU4cPzR9u6QOcEeCyqaNCVcQlzSfk6HXRUoIhJNWcwwiIFbiIO7oEJ7Gewm
aO+53rj+lGXZxGmyaMHjGdJ0H7FHCGNrl6r8qTRSZC5slWcFA7s2Mo5V1MDYnSH4+++6RbukIY56
RlhjOk8x/NEcq0gMEG7A2XBtL3i09nER55cEDWfbF4Mq9L5gwyi3Efyu//yPPRoRmvAHDnhHt6i0
H3ktXhQti3RjkgTWXSj/zjZnB8Y5x0Smf+v57TQ2UbeJYcKn4sOqGOpd3SzlW8LRRobx7DhHU7Xz
hQL3vNpmIOEwcufKcM8jonh/dQudJfhhJqkygJ638EH1+3Sqqx9YRIx7o+2ma93trL2xOMMcgaOK
ZTgN9tePd+3TkxVDbiQr9C75qtMaP5NTM+UssQ6Vz+Zs1WZoNUzBjL5O37S6yHatnnGUWoivm8hL
GYE4tmX/zyMpzAxECtG7xmQWnNnqyhrxJ2FixTPGXBnv9MycfmpFz5Qib9l4r4kiNS+cJ88bqQ54
QQpSrpgDLeed9/eeKDpAW3wljp2V1mHhkPiSeVLcyU5SGxAi2NyPRIv7m7kruremxhhMu3tGVWbT
7P3XupD3ayWuc9ahGMVt9/6PgZtGx9CspqM/QsycM0NFAA4UJAdHeU+B0i7Zzf/yXjED5HyHVghV
wanOF8W0txS9NR+dpsAKLRPnqrTy8fOs6viSR//047E+YAz4aYesMElM+u8vzs18LRa+qJ97pzXF
JrBUAEJSkskZeJm6Tfq2fWQAWf78+Ln2+c/+WYuyrG3gE2CoT5WPZfP9ssnYAIdrzebZxy8WP8RV
xfPEi9h9WaxE7Bsx1GJTVpy37iyyhL58vPrpDV5XX/MoeLGRvzHzfb861V08NBAYn2kCAYovq9p7
gkI2HNxuIKnm48VOv1zE9tHiQjpKRQ4l3jop8r0lzywX/9OzOSp9IsspSEJ0iwSNMkcz32zRJMmF
Jc/GaYzyOZaTGYgTFlb+aQ8UleVYI4GWL6VmwX0OVz6XRQxS5WWUZbIUV6gjR+NzrU/U6tTzS7BB
MGO91cJk9Nn6wpgjsFkeAJ0Ev1kopszPdmhtzVvHil02WEtoXZSU0OI4YQ/BDgwWNH7QXYV4ZkPS
53CIIUKHBSg69/njW3r+0HJ5cG84Oq3K41NHQ5/F6chpRr0oMZXHVa1423JCeMnVNEfa1Lk3U5on
vz5e9EzWyYLMkFbbOv0e6BTrM/3Hdlf2wm8Wv6pfiB+Hk1S2gK6i3kvFjXB6zzkkhHlvyKgs8WjP
reNd+0ZD9lOntdYe7PbQ4APu52bPgXa6CmbqnCtz1tR0/PjvXLf796/WCkjlU0V9CyXxtF2fOkhi
ctmZz3NbNeCS6ZaovYVN7MJn8fwlYp2A28opnGbjKQ/XULWg42yZz4PssnlXLd4PB81ZGhmDzpjj
3y+KzyHXwyGW1/f0jS3zxu6ArD1rlUZ0VS6q5OARmjVf2Hn+dlF/rnNyRkbEnhWjTsIGpwHpY1ZB
iRACSpnjDXMfpGQfX9bflgNwrVuICvHmnI7nyG7ymslfrOeU+TdFW5PeOE5afNeTvLrUHT1/Lmh9
oy1fv7wseSpASLNKeUlqctaI8/F11JrYDQf6mp/+9ZLo6682nPX9xI1wsqFIqUN6ZYr8IiZpEArb
q4WNk2lblGat+fbxYmfbyEpkWbE/jHZ1ipSTb6sLodTwiWF8seq8bzdJWQVvHP3Akvu9Pd+iE0tf
nDRrfi3YscYLL8DZV2hdHAkidmLmvuzY778HyAWsJacj8cK5ieDAAEu1hcPPD8IsFkW8V01eHYzY
XQ7/ftEwBqiBkcOtntf36+KIwZOIzfQlUW3MMIfgn23l9eJlIUf5pQbnS3ei1900tB3p/vN2hoSB
RgqaMah3qG5PVveIutOsRuKnymiXWmOOe22qtG92J5tDn3SXunJnr8i6HsU1Dy3yXoBH768WdWec
lAgLX+Ar+9p1Mhpls5v6uEA/Axkj2Hx8c8/eEthiq/hqRVgRr3HK+zJdiJwUXwSBtkKV9E5K+0ew
NJeSuM4Q04zjV73dWlrikrROi0rbTgp22nJ+8VMaJP+RDG6B3ZW+IOyuHfo7t6CXdmX2bhBvLUZX
dFlHV0q5r5xgvi681CnCwh275SpOHQWV1WkgoRC8240J5965Xa6lK4v2xfeT5qrW9dYgY0zryygf
FqJWgdxwrg9VxZle7bHoAxMgo84l977NviVpB6bh4zt79kMCVWXH8KjpV5nE6bSkpZbzFPCBl8XV
PPQYk/fVIH5yL93+Eo3jfCmc/TRUyS7C4w/L+/0zMy6mwIqXtC/gtdVLkuSBGY1pdyTgz+l3H1/W
ea31m1KPLYn4E05Hv4ESf5QFKG5TDo9m+9KvZrR9PHXFlTfagRWBOlHtr0BXWbcqXBZnn1h984zm
f6Fzvky0O4y4K4E9VMuSVBu987SnWS+lGXmym5ANDMIme9AWy/dM+MwiSJM0fznUa1dMD+Zmpyn4
QHCjk04+SBw25QVFy9n3dc28gIazWiYolE+RKrzibZ66Zf9ieN0A2o/EFKD2Tf84mW39ZTa9ZmsT
jb3P6DtfeFzOyub118NHzJtIj/ysRjeCUoqYTMaXJqGbB1WwYXRO3qzdR22qy25fJmK5lMJw9klf
30bGh1iHeEGRSr1/cHrps0niWX4xpNFPe42ZJqqUJiNygXJtvK9ImNkVXf7PWwnrMkCErEA1gB3n
5IFtW0ekqdUOL6ZFsHjIr6pfJ9Zy8HHovA6ckMlGds1LPZWz12StDvF/MbDVPSq4k2JnSKY2U9CN
Xqqeria5Xgg5wmDQinIXj17RbD9+U85O9UwtPeQjkPLYPPisn1wlaiN0bdWcfJpRq9+kkmG0kYzZ
Lb2+u7St966dGg8r7vSeVp1z1XPJ97Idu397sti6IF2xezHpQvBMz+z9jwwrJXGchiG4V1JW7LyZ
Y+ouMOEgFB05s5EL8bb+t7ry95o2cyWCmihTEAO8XxMyYQn4ONYIwvIzhRkGbSvKrDa5n8v+v4/v
88nPyloIAIgscZGS/z57vl/Lk44siLoNoDDr3fdxKuNtDxGdjBxv1h//dS3CLLmRqxmBFU8Pt6Uo
NF94Y3Ltxw7s32FygIoDWm43qvFRdH282sk3gSvDBkrpg9ea9wSp4vsrW0mKLqj0+NAUgX1VBHP3
qGez3BA55G9Ms+wupE78ZT02LWTJdB5+n/3er1dpfIwzO3EPcOiG0Me/fjXoNdAaJdtgn5H9faku
+PuKTPc5VyFWcU6u0DCxdi/94hwq6XxOfWk8snF31zhPx6h1xmH/8Q1dH/U/zorrDaW3iSIZwMDq
7ThZLleiB25GkkeOKmQDt8gONUevt1afG2Gsa/NVWqoFDVVQ7OPAKncfL3/6Rfi9Ph93bi++GTps
J8Vk6QJu01ThH4jjTV4TXxY3opr0V1oK5as/aIrJYmDmkeVU/m1p6/M+RmB6XS62fuFPOdnp/v+X
MIWlH+WuQM2TA6ZjMVye6GUfKnDNG6df5u9QNbxdCxvxgZZfjkoLwvBVDub158d34fx9xYgLOZ2N
J0AKdQpWWxhPdJRz7kHDGH6N9o+g8aRMn71aXvIXr7/n6e/Nrsqvrq8/u3/yGSpx83A8Yqmmspvd
2Kf1hi2P9FsCPfbujN7/40s72U9/31V8ctxXtIMcFtZL/6M2gsHWOvls8Dgbs23Rysy6G5/k0sjo
9HbTzkyHI+5qe2HZ88tk+ks4H/2HVV926ttBkgP4JJ7sg5cmyVeGVmXoLv20m6xOj2BnGhcODeeX
CZaByhYjBbUtneb3lxksjLw0MVqHobCJuB5TcxPYiTrGcRU7oeQ0+Kj1JmOmj+/u+YPDshzpmQ1w
pWjn3y8rqlhfv7o2n8Mh3RtCOge/ox4k/NB9+nipv10hah+fxhK7l3v6enDAjbtBlfZhlq3+q2Ny
+SXOaAyRd+8uU0iLbrkjhLSe/vXO0hThmA2ZkmJszTx6f4kAF2VMIEBwcNFT3UkTdlBUaYFzq8rZ
uNWQwkat76YXduuz52ddlaPZKmnD9HZ6tR7qoa7sBx87lO09Ck9BSjKxSX2zbUhSYZnb/oUVz35K
WBA6Dyvr8v3hw//+OifSiWN/Mp1D5s0m0SlVmVylsx6HSdHol4oR6h3+c++/A6AS//g5Tyo/Zjom
MTAdFE3XGo+lgzHk0LQuMBgMSGMQTm2QByGS8Na5R97b6G/AqzqcV5anDno1TDHw99QBTjCYI6AP
1BZuG5kLvVMY+hygw67KynlbuyAothZ6pkeRrZpmS5/1FzbvqYtMWMQaDmgxMnMVTt0/6lYZl9tl
iEv5xezccb4dS631H4cawu3WS4LGubJnWbWb2Y5j8yvC/nSIbJ/n8noxa6/YWUOv15uhbZbhM/I/
03pmczNIXykJhQh1VERlWOVF/KlGFEZCaEX8z7Y2DPG5qg1NbMwy7e8bq6o4mXGx92QclMmNHEd5
1LJpYgqcuoW3TQdbPhcUX988s/SelR0v5ONZgXY1tsL6ZZKI8qY7Q6dFuPmqGtG6lmZhUwChDBV5
7gf+TBs1VdPncgtRNu2vRd8lj+NSmu6975aQGVps8A9eqosjNpb8taJYBJfC7Qs9AgOus9hRSWSR
81hHkAr98pNhVAiwx3y0v0IObWlbGsYit2KOlbX3+4oJezlp31tpF+Z21KRjbBYLzEDI/6+/gQvu
w+4s2yBE61Y0N6k3B3ERJrk13HlDgHAiAxno3vkxM/GIRqlGMpSbmO5dko3c1gXo/3MvWxHvyyFP
7loCmdtQ95vxey4c4meRvfRQUoT2PfMMIlzQfxWvosggL6EiaKX+pBUNjGWnKIvikWOhrb3lllyu
u1L4wdsY5GW2mxJTlpth0BCYjrKZgmut6fRbuoMoFbp5lojR1DQBxnGwejxUHhkzYWk2hb0z3Jrd
tdWNeu8kCM8esOGjBhzkgBId3ZPI9yP44ilKfZHq3xtjyJo73YPsv5VMdtxfXZCKJHKIxuof6lJZ
y1ZYpfMLCiqwO74Z7a3XAaVlzqI6w3mInQmtnO8udb7zQINtILTE/We9aKfZiGxl2bfKY4Tch/TW
5UheyzxpP0sZLE82mUvLN2YK9Vxty7gv3yBFZOrVnGPtWzMq3h6JjwbpchPPdUECj1rg2JC6SxdZ
1G1fK7KZEl08y8Tyqk2uzUNx481VTaR87upzzhc7zfVIoVjpQrrNufbM24icszDr4XrE3AK5Pela
73uuTM2juz947Y6wKDUHIZt38iXPNFrjOUK9dZylnO86Id/yqlAjsDGCv9DsYWB7Vu6wWFcTFNRH
BJqGd+12WiOjOp2Ln61Mpc3EpJHalkRWOfC3dYX6AudwVNfkJ5dXXq4SCGGzU/s3oq5HeVUtBg54
NsOxCRuo1/NN0Uu7+0FHLO1+DJrdNI9J3jCMiYhAGJorXzm1E9ll3x4qoh3ooM3DOIdwnAHia8Go
Q0tTmtPc0hmwi4d8nAo81ZY1/wBkG0ybIuWTDZlyTjVk/BCjt9xZs3tkLGz7G9B5xpe2HavH1NFc
fydaf6rD2aydlMi4POPF6Jb+uXIJZIWKWQdtmDRdL+66NZcJIJCCp2ggfzcZqtPqQAyje3cMZJEs
u0OdBocM1MCnCg41tEdP8C8E1tiFvecKtGg1j8oOlHdx3doE8GFwcM2bUlvTEMpKFYiDGD/l2yLu
p2wzK6l/DspFazcjSUuwx9Kpp43opeXBt1pSJBUxanRZlgUmM4GRpr2XJAbYt1IK97+qnPwHEDFM
SDu779HeFPaQbb2B+/DWjtkkmGD0YoimoZ5AwMKrhOXuTrEVtvSzxK5x2l4QOdmm0BARNpGLx/H/
p8YY/NdYiOBtQp744raWdKL1fFujcgqmH0Of8fWxgF/eZEokx8WtYckPwciHo0iS4LOmDVZxMBM9
k3u4Tssh4zFl2hbX8ZdJFBIdtN+n/025p995EhPKRlua/i4xc19EyTL3w9bvtekQBF39tdAQIIfj
bDYe2mpN4Y8LrF+tZnZeVLudlNu4bGhC9ZOX/iB0pKKXWnt1sEZtFnyEoNNrCTgCe9ktiLSCPbHI
8E1UO2hGhJ2EH2npVP6QJERpAqUx5yeTkJUErZjTFw9Bkk+f0UEWT1kap8tOC1xZP9iZ1Owny9YY
G4YUzHF3mCCs/1LzGoPVWrnMn4ppcW5mNZJAq2lz9V8Tq+lVT6ST77BXB+YOTm17m6zjPJJ5lX3f
zblrhGPv4oYb1hbUXhqLe+tVCHtDD6nLS0EX+Cd0PkMepsUbAWnJjl/FhoXPwdvwi6iH+VBGFoFT
xU7WglNyrJoKAVcMzPvKGri5YQ4h+g6wlm2z4djl3eCM7qcxbnQsptIJrhmOC2fjdnZWHtpYjt3B
4uSntsQs9vq2rQONpKasR55YZJ28tdKhwPjvpkm3SWtiFCOnY04ZuqlyxjuHxJWHkVOv3GR61ek0
VctVNGe56W0RiGDa+XXlWrc2fsQfWRujZEwAe5MtMJYqC8FVdEe/tD1UsH5aZFsO/v3P3i+bV2XB
/9rSu1VXnGh1Bj6g+d0wTpz8qUzjpkdkrhdDaGh5j78h4MfaY3nojyjhyJqi/DMe5rrxqLHIKX4N
ctNbHqrC9lGhZgTxhQZnliqcOkoYdpyqBgFLio8W2rmhPD5DgfHds9NqBMI/qjul+e03Tehjfmvp
Y/fTKOknhUtNMsCzXhZ4lYa28r9YTie7yBjL4WemGVN+6ElGrK5Mo4nFDf+GFUSN1iVe2JlJ/+Az
N89u/KQbf3iDwCuZuNJRn41a5c1WdK1O87UoLeMK/+oa3rTMcC9T21DmPl18dXSSPku5QM6Em86K
fZ/cw7iN6Z+Yzf3cN+jGkzY3slBRA1s/IUqodO8vZpxvZOMO26DukPpQNQ4/B/YTtav9CdT4KCZU
nk4+ugA3hSe+BnaHApABh5lteJ6HIHKEa/uhiQUwOUx1OWd7TfdnL2x7XaY3vTFXNi1UK66uinxM
tsjWnXhfeJ31OU3kUm8VIUIkrfUzdVkQLPMzCOhJ7tOJMnJLyKpL04k6DaScNjneVRkE+VFLtdHa
CdSQftQsnv+YCQPdRIU0/q4JrFpcd4ZEQm3Nhp1f9bnwfyZBhVcOuP7g7sqpyuqoTJJYsr/6ZrvJ
m55fPaiTSl3jncK95uDuSL5IZEItfske11CFwHHjzhR4KPTRdlwVICOo2BvXKO9i2NDxXjYxuYFp
HafZIQeNwYs44gEJ6TqCca7mFNGYSVhbfXRtxxivEx56RMyVjF+8JdHa0NSE0QOjDuofRCDlGEgc
SkHHY7e5Hk2w0P1Y8ALkeQwrr8DxQbwmzVbstXpfbLtA4K/oUA4viJ0XSrpCQlwPbQKjCRX1eh76
jZtOw/8oO7MeOZEsCv8iJPblFXLPKlfZtdl+QbbbZl8DiIBfPx+eF1eWVSn3jKXRdKtJIIjl3nO+
o6+DOq+o7SfJtrb9VMeL3njGPR6mQuBJq7Cn6sEAGmt20uJcqEX5G7WI4s5tzKY/V5U5bARIrYpo
m2bg+xXtooZHZxgDsaHxxS/wFqd6qitiOB/11ohlhOls4AMwsSfuZK81hCpbIjWOnOxHowhV0w7q
zsTZUxxNZ66CUDTQD5jA03aXDFMvkxCdPQKQFfzILtszAcqDmInFS+P3qqfK4U/JxpjKvNkR2eEF
W9GN2seC8rr11U/5N4ctRqU4wrzpapsWfJ52P7S2wdaAmavd+H3LZbvRrJpbYLiCbUpVap+6ZpGP
fh+UiAS6cSjAyAJl1PqB+dtncwrgSRvq5obuklkcbXtCDW8EDW+uMeQ8foDx6AURMoBW3tqiYjtD
kTHX7tlZs/Vykq72Hoic0b5gp7bir4vs+g8DBPlhrwnQaVesiX+rKNBdogZFAZnT70Xxwimow4xD
Yh/RDp+WCTGWiVg2ikfN3unV/Gs1y+7fL2L8LohcHnth9AcUyMGh4r14fcqWoFA6kvesIz0KL7+x
8GNam4oNPHDqXMlsTd4lbddI+848xSnTUNjKyTwUjtabO8Kt4PK67EmeUIUk6TZhCvdCarnZf/QZ
eAuukaQ3eo9obgO6w320g9Gub0DjGz8ortU7c07n9NZzCl7eQO9T24zTCKRKaBw2P7VenplnU8lK
AVmAkr6d7XLiYYgij0q9qe98OTEphhqBcepr0WJ1CJvFt3/Rbonto1Gl/hN48Hi+aTrlvLgDuI6w
Zgn5hRuNQ2Dgxlq2G+xFKzl9+YhN+EY7stWz3ocfXMiBmJWmxEU1wE7y94Q1tsMp8wi/O4J00ocd
paHlPLvSrHcG0YDGNp3d4mkO/DF9arUY1jVHQiCJ9oinmtVhiK/0G94ULoDj4AtC90BzgzLJxaih
niYk2Lz0pAW1/UkKa7kpqsykOb6UihJ14v1AJdnvUzU+vj943lZocM2gQKIahVIH0cnrsZNwsifo
rMlPweCefK+KfwLzX2VvMrtmYX5TfgJji+9pVZkhRrAvlVXEGSkdD4h7VBmNv3ng2wMqO0dtX2Ea
iMsrz/QvVXiuR+WSthgqX/Sgr2+NZn1LHyB2jm4bZAczW/J7bZFEbJe9Oz+bPZFMHgPlbGYjQaNT
7LEHHKfWPun4+H++/5jfvGAUNWRa8JLh5KP2uugIsC00g6FGTUc85HTo29HEwUBqGipShIkVs/5X
MZrf8zSOvSu1xr9dGiYG7xcqhIPe/PVjMNqkoWGou0crWfd1HF92bBX6XUCPhK1qXI+fPR7T2Su0
aff+Xf/tFdACgJZMEg9i0d+BOX8Uyi0b5Uflze6RdgjEvLqzvJCpIV4pBNoYURch3FhSXjFCYwCy
HcJpBIk7sGp+gHlcqiuz81+GIEBI/rPyGmknXox2y/LaKYEfc5yXSexbWQfdRlOafhpV2WZU0nJ1
zaD2l8e/MigBYKG1pqh90ZYVAdD+opHOESa4uQHGkOylAygYP0l6Mo1Z7UVPmpS12NWn95/+X5Yi
lHEIOvm2LZv5+vWLF4Yin0DRpQiGwd+VcZJ/o+o6kbceaMeRmNI1L2Op/n240Xun+b5+enx06/P4
85WbVZys9TMyTaApfCvLwEp3k4lhTZqebDaUU5LIxtIFiXhegmsamb897rXrxF8G8N7Ly8+aWgYP
+OgxKDD+1fDXzr6a5X0nB6+ORNrHP5KsEYeaXXx1ZSF+23YEFYW0A1kMqj3UQK9vvcbyV1LgoK86
UmkI845JKeKgTtRqIGSdhzma70iZnJjcbHJvYUqX/9w74UvGYEDLGsN4cDnnNeNkBYLojSOYQhO9
bpccEQzdFF69XNHQvP22V+ATeQfQWwHRmpfUROFJaJEL88pITXfaWTUMY1ZIn8JZldpldzNVJZad
nmw2bxd0Rd59DKizpzuU4/6NnIzpWlvuTX4guZABmZa4a1dlDZP+6xfggr81iKH0j2nbOXuzZxMf
2uz6924ZLGeFpikncFkt917ZDeV51EkqONs1FotzBdpiA8uaikVhZP1WqwQS+n/8IGnwMyiZ/pkP
0cxftCkDX7AE+2N+KtuJeqybY73mLLAxEs/8udjNdgJV1l+56JsPgovSMsTvg0ID9erF9L8IW9B/
KIqTUxlaGvZuYn7ovaI7p0lSLkdRZsZIDWXO00Oi4xb81+mAy9P6gTlmkGpKOMbrV+LoncmaaxNc
JfG9DjXi8VDQdKO8VBrdIcdXiWQE4wJuO3d6eP+Bv713vN+/N+OQQlDvXmyMefPSXOhCH+OkJ4XG
bGElmbDQokQk8oQRsjn27iC7qNNH/df7134bGeHRHWY6WPFxSJ8uZwOLY9HcVnN21AkpfCLeu6/3
ujEoTl45rWoEjUF7o+oOfYlIqyF+liYJJ5t2nCqLQgJRzht7aKY6iRaSGstvhq9a80yMVKLvi6q3
Du5YqM/v/+g36+O6Wqy6KXp2qy3o4gNqa6lR+7Nbtky4eClSfJ7JXtmZTv/fpAL7Wgjk280nl3N4
Ppxe+HOpnDImRWu2c9tjmQC6tyms/iL+p9gNtSHyK83zN6vhemt0klbSxMr9vLg1vSF8TjWIeRMb
yWQxotrCKmm5BEEaKsu20p/0xyybpytbjrfzJE8UJRFNV4SizPgXq8JKW2BmnIxjH1STOlFVNbeD
VU+3GVuvL13KsbUHuo9JOiirOMwbTfzsm4mCM7qG5Ir0580Tx/GHQgyeCVV/IIkXT6GdNQotQ2cd
DTA1Lzhg5Z1tJVZwrAJ7qv/NwamDoUPazGDC3oha9fLOCeeQTt0gw6G4hdaRXO7eOGQMPP+omcgV
iOvoMZjP2E7LK2jhNwPZZ5YF2YyFE38Sv+D1tLOidLOaQ+5xcVVphibfzq1V05tqzOnObb3b97+b
t4+VyyFXMMgm5gh3uc9NCAZW1NSmY4/xe9MOc36PiTHfK1le21+9GcfcGa10ZKuoJBBxXewnHRuf
e7bU09HM9Hxf2Wa8zQGORVVCqZNoHvNDZSTDP7/JVeNIL399nhhV1x/1x6YOGYg3IEmejsFYS3+T
1m45RVOp0+mhcWmXh2Tpup95V6ny+P6TfTOFo1dn9gRvuGpI2du8vnJLtcYDoLgckY/FL/aSmB8p
15rO1oonXZzmzCOqjWwuoB3woOA7vH/5t0/7t4aL4zGoXBCDF8vXWFW9xunEPhKCGGCy1700LO2y
OQ2yMLeFqH52BoS59y/6djShc1ypMOyeHbZxFzNGpgotn1lLj03WFqfScCYrIvfO6yON+lJ8eP9q
bz4V0s6x6MDfXi1nb2yZMkhpCBhef267VlZQG1o6WEmS0j90a/mTyi5P+J8vifl3VeehnUU3ezGc
spqcJ7+Uwxl5nkGnU5b03sqcDQLKdpWc2qQbrtzl+sxe1cgCqkVQdnAnrLbyy60h0SR1zEAazzpR
58Y+HUDhHtuBhuHP9+/tTaAoxSLEUkx4+Em44OUur6f17+Y5zn+oPE17zDTh1lFG6Tb7LxHKffAd
oeYgWijMAfHAWPNFZ/xWt/RT8nu6tDL70dSedEMSx71riuy3L9tb535OZ5xJybm3Xn9O8B9gtSWj
fm4ripOhiQk6NNERfPSJRTtUYr5ShHnz+aKyR+G0cvMNhDmX7CoiEoHkqoDmbamUdxLeYn8gye2X
Mox0n8SuMX7MO0s/5JPM9++/iDdfUeCtZY9VAfpb6L/+/T/mLCTYzlARenYm3nJyx7CyLCTKjord
6oZMs/TKPvvtAFtvFUEtBS5EXZen7WWwyKmL6+Zs+U1vP2teo5e7qsTAcmUkv32knKwtspLotWFe
v0QGYJOiL+tq7blkR5PNW/Bv08qaHouXypl9ddQQXfWwnrVq+uHGdvPl/ed6eX2iJFZoATY4xGQo
l9ch9sdznbJE71kK0zN83eqLVZg2mY4OWHhzpXbEfZN/w/u87G1tKpPN+9e+nI5/X3utLrD+rfbC
ixNUoTqNABKu3bC6hlkPSJIWCB1Fr10+D7Kqn1Xaq5f3L3r5zawXZQRzqERKzDHiYsXlY8/9ueyz
cxbz2YcZmqZPtuxIghoU4Z45/fXkygR5SWlgnV1BAYS1YmNg4b1EriJ3NElZWfIzMarpFtRPfATw
PNxbXjZsXOWWB5j4bTQS2mxE/YBYzcNTdeVp/+VNr7UEhPCEYjKyLyaLHF1LJ+hWnfGuWy8Bfbo7
DQDx2Z9sBGpOnKtT4Gly40BhufI1/V5Y/5yv1wfAQQQhKJsdbCsX675AwWMAK8vPKd1E8g3oAGMy
T2hmhTXpPk99iZ6L3ltPEO/SLssRx6IWR0Wi0Tgf5ERgVm/OO3Iq8x2KfWsDisk9tIi1z7QS8m+T
SK9iuH+XUi9+NM5/PgqGJruVy7P2WHPgdPt6OfUyyD+4CjzuRpPIVkNIehCRsqEG3EzgYR4haynV
fZ4nyS8xWmvIQV6Asu1ZUB5rsxM/kXXJJ0tlSXnQctPVQtNlsbgJUCxmX3C0lGoXB00W31RWQsr9
RLP5Br1NlTynnZ3+VJleBFuvduUzMOxp2sWz2R9m2rkovttE+5W2sTIgT1hxOtOpydvujgbFeIMb
sV/qkOpdnW+EGEfxONOjL3aq61qQn7AbdHOPucA2eBO6U32rms7YMqtq6ddu6WbxoTGDsWNUIoWJ
CKa17kcF3eSpGZxEhNpsjMmwrSzh6AfbqpufKaDjOyNdxq+1MtyaJDNzekpoP0E9WjL1a5BGq6Hm
7IvuWLgWJ8WAKW8KbXvIzloXO/Z2LD25a2KHStNCCtPOtFI/PgVBT16qKg3CHhDWTOVjg+glv+uN
QZcHCzTEBzw6qyzBG4FRSGcZwO82dHoi8Fiets36rqhu+7KIjzbMQRUGuduNH2e3U0ZkNHS02Q0i
hwMwJkSy6Tzi3QFhUw/YZHoln+QQV/Ud9p+kiZp6IfBR9yf3PGNgjSNnHCkKB9kyHItWNEM4N7CS
BtJdpxAukv8V8yvxsqbZqWKT0/EcNwkxtV8AcNp6mMsBmJbjper7CPx8DDOkYz99CZ3iw1RYpNwP
pWl+Csa5Tz7UxHbOty3zBG7sqau8qFgUOpVqHqyzm8NEDYHn9WKb0SP4ijdTfJTpUqxhxt4s9kuS
eWlEDz8FcjRawc6TQPf2RmwzRJDdzwCafFHsaP9DPgNJa5oRycy+vuuspa8Osur0ZMvOhqQ4o+6G
/6Y56X7oeuvk24mefHlve3Fb3Cx+bBt7bXI64zaIO4u6zOj6z8voLO0xmJC6OJ4jx4/ZUlrGDVXE
8oen0lEPAU7QOdnnUysYaxwIH/yEEMqfY6eS9twOwYAmcLSqr8g7/OQXqoe0+OjIylO/HDp9xbbG
LRjDI2vd+GAlXUuG9FjUCBSoTu0lJw9Oqcqa70crr7KtbXXJcJwDlcCnShZUohXfQLsBfyvEJo4V
UW6iYZY8KnuizI7qQDc+8eFq1kOsSuQb3pQCxS8taf+gHSvLTTKtiqciq20zXMZyGJ4QQpkvfsq0
dy9kPmxFU+rGY5aOaM1iA07xZvaYWT7ncyw5ShPC5AYkKyz2f4bLQyKx2Nb7yCuW6uPK3nuqyiQt
NmOqO0+U4lTxBC5YL59q21MiLKl8imOTZOA2p0Qrew3KdCMN3DJo4aZNIZeg/sZ0Lb7RJ1y+1kau
/6cTKJARAY705usgCnC7ei/8PRzgwNgUVtxN+9iQ8Yg0gVjYjXJQX2NYmPgH7WBI+pMhqMWEQJX0
T8C61/KgGpwbqVcY18jrApVPBkxcn7ue0OHInhLyfRdhGVHu6fh68XeOd0p0lLY7vV+qLxqdFISg
pBnyfThTN0R8D317Qw81Hrd6RypWpCuX2ps5pOmJTD1WE4uF4RsO3zYJUeC7QwhdLDgbo6367dJI
z9nFdes0yI5lobZNvsSfRTbLPqKwKRraVkHzecK02kXAafvPc9Dy0cacZ1+sLAm+5CMoqVvPTIKN
nsLwO2l9HO+Dxtb0aErEWB2oGAE9CkuKuKd2MbNij8KU3U3VEgijopx0ASSfENU/GWk926eG5NP0
aALePXbOMjYfW1rYrRnCrUuNDVLK7Dawi3E+jSzsJ41qu7EBglm721UP/xyU6DE3bNUAicXCkBoz
cmN9SSvoOPs2QA2958SWexsfcYoepWqNCHENAU8nnNF0AJEOprp5CCqWtxc7K836vh2FJ04EqyET
yluzrXDtzr12aNI2+RkLx8AYzLw92duhMmy1AVqK/HhGCklgJn14/3OQmMELCbXZEulzVXnkp4PL
2CDDdcmTTxDQH5Gz+/KQpTbJUMi0B/RT+Ujt524ehrj5IHJ3kmdKXwsa6gplBnKsJqvF8EXqaZsd
JSCDm9IPiuKmmnp1qkCQ6p+mQNknzksQ/YgO08bN7A6twW566o6WAeB9w/nerI7tNA15JIkpDTYO
55YHRebZkw3e0T70zeylLzFbUnm/ism+MIE03wcr1W4X7K/lKZ3xUX92qHLIbQoxUIfVr1XGxgdQ
Vzyi3jK60+gDx+tIj8u2eu4kxjeODhpQULNrblZHzBGPO6mbVek2kPNc0ZoOGiCcpwL/Y7a0ezW2
S8uXrOxiuFnA3XkflqGW/c/RTb2fadk0zY4qmD0cdPhx/wGURQ8MmsNFZRDbOa1ggwZws1l1FIia
OFnsF6fq++9USmW7cf3S/hk0/JQomGHv7dCIG/ZGuYlj/GhT16hvggVMMrp7RNnlC2y/Nj+SJWmk
v+IxNm1oknH9okosb4ckA0MQ+WU1HQBh2v7R0jLnuTSoTY7batapCVABTs+eMytn29e9Zh1mzets
7O62WZ7JupffMi8jMD53NF07px1ggbM9emUSEZZlezfx5Ot7oBUcwpoacO+TrvRgP9PWAbylE0m0
g/XR1N8T5okkqpuOuC/Pg8oQKTQl7r5kPTV26+t0IQbFQRaKASh+YyOTw2tB1esDM1SSbfQkabbp
RELCcY05KkAypwJyQWtoeour3K+eNStHldlqox3vqtpiwe86MGeoaky5MbPaTPfeAqZwxx5xQpAI
5jAPJwPk4W09o5WONJn049ZIymTcuMPgvKhAzknU8iMbWKKdl29lE5Tfu7lbjdzBhHBxyEpv59vp
xDbGb2J2aEGHatfSgiczmT3x3cubTCvYU+vjL6/xkIo1Q441cdIz6odTavr5bW8vhjmEbrXkt0Xd
ls5x9vxsU8ZV5my1RVnwLa3anUNDesKJ6ra14i1b4Bn1m1e4NspTzcu+ks5dstdNpborKKGShYAs
ctxktT/5H6jHiPSu8mowjTOsxH1FYjtbOjpawV4bhFcjnWySGelcR9gk7pw2KAAMhSg5vXu8PEV7
22dUTD5RQcqfwact9UEFPQBTdhhmt5Hg5T5rzYTGHWhjWZnRRMu8PcB8JeKrz0pH2+JFQ73fOcjU
ptpRUySBHii8scjK6rDsUk3+MLMmkaHXNpa9ZXAjUvPNaqYwSS07YsKp3K9FYRf9lhAFWTBTUdrb
KNMDeNFlBNEngyaSqJOWuM0sV7gfvBb/WRDqyIXbc0NsNkx+DV1wlLIvI81cyw3U1qUNflqXflDf
ojRvewqvsdblUcPmuLqRAOdzxmypIbJAar3uuCnyfySaYnTYPNqd5q2aX+ApuVtVMyLqXjyqvnaK
jdEAtNlmnkuGh6VIQXOXXJt/yAUK3wZbijx2etGjtgPjEdwmcblgWrdYCcz7NpDi46InY3GDvSLo
sRaIoE9qnERAOW6Wyki/upqT9sd4DGbmLSoj5ifNHwrArda698SFKpKtAAiTwuHyS80LgwasJL2g
JbV2rKgjlNmcnshmEGWdbOpEluDmwVjdpoSxfUeI39JeHwIv3WtFOR0yK1AtvOyiKMIBGY5+Ixep
WRFa/6zfGBSnql2VsV+LSCGLH7k08alDNy/NKet6V+4ZRJ2DfSlXehSLwCru5lIs2t4RRkXFsE27
yASkFnyYxoztkp2mtfFcLatmtJzrtDilcQ8GQBWjEFsEtu3BTcpM3wLG4oBnoAomVaJAfLlxmkan
00wrSIuz0OmCrmEm64I6mrTcAy9WD4X87mtsSMJy8B21TYKg1DeYy5w2dDCtzUf2I+ZwWFYz9dIF
bg8qUPNiFLD0EklaWol365GRRNAM44FTGIV/WweJvWx5yniTUxL9pnBoF/exck12n6sPJTmLuRId
biMXb9M4KGw/ZaUyJqsm2crSX9JHKK/xLmCXn9SbUQb9sxebU37q7CZ7NLLZm7fljC92CIccy3to
tmPebFVWA0Cd+rEvD2Lq+P/XurB/ptCkVWx2emT9iGtHBzK5KlC/V5nrfImXGZ1nbC6av0Ubys6Z
NJFWAUselgFyNuuGEaUFc0QTZoSJFDcqcz1xq7lmc+ubqjIPiSAkji8ZPyfx5SBxZShTpfPeqrmI
pqmPP7s+8p/QxX+2gZHj8CRRl3RRK1XtnRJAcd4WFPL0dR7tgXuwTCW27EBinj6Ca/eZFO8Wfawr
p+LEku5vIZ0v9QaUWPCzZwYpYlQQ7tD/GIom/9KBu1XPVdlgydNj/IW1zKwf+EC6+dYTqFn30qiT
r3AypvmkE100E2DTFMNHEffDqbJ7o9mksrLkoRhMc2e0EDhQC6dddqoaLyE9ZS6WOt9PS5A6m4R4
QRYyKxvRQlAN1PxH0lCm/iQ5f33rlsT41WYQdcLSJ/Bxb428W8VCVm0D5ejLph4tgg3C1sq6Lg3b
RWADYn+ODNIU+PzCBLn3R8NUhb5DEFoup5oK87DzlqZVGw41jozQgjRPc9UhGkVb4QbztuoKZlLd
WewXjwh2tZ2n2Gi3BsJzY9NZmRmNNOSrF+D0S7CriNJ1H0y0y+Kp04bO3WQLwT6bZHFSezd7me+F
duYsfgTV3Fi+xsJV6gOLsBw2zNyVc5woTnPydXQUZh30b8WEmXsmepylLE72wM/HK8IslkRJTq14
TyyxK2Ano+0OF3QmqR0SglnV4DkTQ7JJdJdhy0FHb0I2gra8HYtefMQnIvK969ams199BifpIrgK
jbLCtuPki9HtFwMMJqoP4ktuCz6eb33GRLGxgjj3d3k35TMmgi4rsm1spZX6ELjd4D2z0BreE8h4
tvshgqL+mxE7Ir/vMAobN76g5hqRRt0ttxifDPTf87z6U70u+M7MyjpWNyptCd5mNxnq3YxUuxe4
YrblqHXZTuWJ/iKQbOpRP6YIqGOy4FG7zjL56Sb5oHOOc7UhCW0ji7X6SpXxbU3XcmxInfQJfP6H
v1Yh/6gn98ZSMMb0/myAjpructdImCz9Ek0/fsp233vUIz5VjNx/jBWhyIrKAZyvgywa/dKln961
cuHnRVOerUavd8DpmYg0DQ9o6GX5sBcAw6cTrCDXulbeXdvPrwuFdHAhHiAJoMkXGBfVzQFOc5mY
XBlVCFs4TtqlRt2rNemJJ4mOI8urvieqwMBhQnAI3d50o5Eiy3/GlFRXmtdvFAo0/yyagMjmUEbS
xr3olAhPOdJ2tOJc+cgvWO6X5UTJsGyogrTtU4f+eDjPRU/TCufH19xLKQkgX8FGZ+DCeL/a/qbo
zOTBf9mZs+dywA+8Hg6amss0MIfkJpuc8tksl/woDCALzGIl5p+iBS85eBgr4MZv37/0m0K/hUYK
lSadSch7/iW9teMDHW1UKCeP/NXP5tjHO822cH7Y1nTGfHktrv7NrTLwgeyhRyEXA6vWRTeDHK1k
qa25OMm0a6JUSufOAY9/u/AbGQJrLUoOL3yM6bU3vrYsXo0/rryyWNbsPjy+lzwW5XIw7u2gPAmF
on1bzH6ff7SccVY4MH/LGMaENL8ZTUzkp6omVG1mh7Pzaogps97jD3LncQ62fTHVwUuuKX3ZF8xO
9s5xyzwlPIxgwmPpw7IDd26Svvf+q7pskNA45iV57BFoyyAv+f33/5g1alVVyE6K/EkkYtnauFmr
0E4F0zzOLNb7FpvvDVWZFkVNWyjyCUjEYpJ3RXBl1FzMX79/Cf3z1T2C3oVf83rArqdj0hFU/mQB
Jyw2KQy/vcyWdG+0S/85mGZrC6v0ms719xTxxyvkssgxwKERX8bX4l0KI8TQL1OmvPKpqLP2DkRF
gRVfr6xjL5slD+PVnB+m6dS1oc2aue99VC8+KXFUclvsngCryJK58lYuvqD1R1Ewhy7OfAr25bI/
l8eBIfWEOaOt6nQIcQ2PG09YIz48AQ4mTLvRY1+IwSfZtPXcdxSOcxMjb9loj77q8v865vkfFYaf
OrRSNJSRWabjXshSXlEIXfbp+a3eih7nAVJBM93f+r0/RhBbEEcsXTo/8JF0NZtC0FqEmGHDDAkM
EzKk0wnDDhmoQdAa50EtIuyw/GVPWvWZdyPm89w2zfOYG+a/xsSsv43kUESiTM2+Ya/N5le/DWme
NQbqgS2vOCPTDj6Zwsn0sKvb6ujwRK/J496+Oa5orWsws5HLX6+vWNuBmGptVA9lFuPSKsY0vgk4
34AZoIqWha2yyn+kQv1+A9yevarEEKNdpgKPxVSZk6fUQ0YN9JPn+vPnAhfXizEX+YaP3v71/vC8
mG9/Xw9BIe+b5rnLuv/6Hte0q4H3qB7sxcGHX4sGEW45P5mtp3UwwjW2fHEg7jkMtlfU0n+7NEqH
tTsIUQx89etLuwr2BVvE+QG8uziMvuasWCrnR9PqYleMjn3Up8R/qmp7eHr/ptebej1PrMxPmzhi
ejKrvufiypWB0l1wZZb14iN4ga4ndojaqpaY1hWZ2F+uRWseuxlAeRuJ5cXanbRdMFf2vDwUoyE+
G8ofzisIa4QRAbj3Sov4LyOWi6Gupe0AF+mSd0cnbyoQHc8PJHYRETCwDTYI/BxHBMb6CKmj6KCp
vf8w/3pNbAUBaimPPxdfiRwmLVCcPR+YPH5A1JJt5As70HZN0dvQkQbRDle2x397pg70L2TtFjAk
9+KZGlSOLBDD3CbUzYfWbO5qUVjP5Tx/f//e3q5jfBV/XGgdwn/MOTgwV03wMj8wPa8O/pzQ4R5q
Tz9W3lNM7NEBW6Xz4/2LvnmgKEXY+aOaxK+xKuxeX9TpysUvM089On3GwTtIJcWUuAicbpc1qHRg
BmHavPIWfzvN/vwmoGghrFunfmOVQ10KG0TXLkbpee0TimAL7N0C7nyrgpLdQ9bm1X3TQYQ/JmZu
HrqU1sfOXzpDP9amOQb7JLVEd1qMF89t+5ckXbx7u6vFDu/5ctNJM+oGJyq9CXtv7HrpGFXKnfX9
3FmFxkneAfRN3TgANkNgUvqQ2LE6DHHS9ZGbitoNkzaHx4L6xrq3kpSWByGf/fOUQcMgsH2Wn/Mg
teL/KGIky7c6V+1/zTT7N8qcML0Tg5kKnNKmX1x5aJenBI5mHFRwEiHlYgZFPPb6Vdnt5MUzYu2n
nqMC5p0kx8xlDrOK90aPqQtZgUMDJadu8Z1mHmXv0pEepB2HMlU/18RE/tvYYVqj9OKu2HQb/fib
ENC2TYXnx8OTUcvARlzRkD8b1xrhKZxgik0lennlY3yz61qviRRoPTGhBUKa8vohJBTeO9k005Os
jVGGGQftMcpBZNSUixZpbz2jmP4LCGf2o84X+m0SSKlAZkw2gb/G0vRolchMra48i8tZYv1dDrp2
PiKmeoSHr3+XanFXWLFsn7xhqm6TZYwPCIuSZV3QKCn884PHoxqwihIoh7nvYjGjRuAS8kk1xnZS
63scj/4PO7FksqFFIkEJeL6sroy+y8mJ+0PGt0qBOBMCNDBf35+wBgQKXjc+aRWt4D6ou2fkePpO
iFL+6JkRm3MJV0ZeEe+vc96riQKB3Xog5uru71Cg15etABjSb7O1RwvSqdibg+vdWaMvvhheDjyt
YtJnuqq95pwveXPtpf4+eL++PAMb1SQVPGTX3qWmsI+BHVA99x6hK9H+cJRfqi9LnszOxuldb3gS
FilgfiUdhlwTP/mGpTmHeU5hIJn2UHyrEisL9tJmlt3TzhUP/pxDbSlMYYjtYk9kxQ6ztOsNzRYz
Jw6jr10O+aPfH+y4U5rk7IB1Te0Jos4QXRPtCiDHKAw5blRLfQPsgR48+fOqRV/iusfWkxj5VrOn
tNgXDSMBkf/YjVuZxCZB92WmDbdKpYG8o6sQ/OQY57c/ZT7P9sNMMEf70QF8wHWnfsYgHOpw3/tb
N9YD/79/HMSMX3RaLhpYxH1sIF6/2kwfvc5fkuAREgVcCg/8zCOZeNW5NbPW3RKF0VzjvL4ZxMTz
Ij1mOHFs5VRxsZQjGGiAV1AMVXXWoXbIU/tumOuSnmfiJivZh87IJyMxmnj3/s3+9cp8q9Q3KHOZ
lx5goCAL9eqpfmLVk3wpVCX1wRzvvNrQoT/PBBqU8XUV4zoR/Dl+HTwf6NRBlSD3hql/MVF4hWAh
ZvVbWyIgiXthOC9AMLzg1JE94e0oy8mJhNKFWMZc088EkWhNNIJBSU+ERrnZKfAbaqf6lA3fKrrT
1zZXl8+FgtdvOzaTi2Xxay/WtDjN9cYiqO5pLNzeDhHUtN+AQvbNNp5t9U05c/zQwQHQNu+/j8vp
+vd1Md2vzgZO75f2lLSfEK+oOnnWnLhFj9PAa+gn/2M2pc32/Uu9qZT8/1qI0lm0MKBf5jXP0kBn
YGjaU69acR7E0H6bYpL1tMw0otboMmtb+VXgRIKk+fzI2cD9H2fnseM20q7hKyLAHLZUlrrdtrst
2d4Qtsc/c868+vNUryxKENEHmM3YgykVK33hDYfGsGpnIV6f36Xidwj+s6ZCCeLNnu3+WKeDj3my
923sBlvbT3gnfk/qNKOX2qN6owsw0Crz20l9SkOeyg8+WrxVKvN/9w2CuKrOlnpS7LiwIICeB0+W
I/gUiP50uddfIlrXEHTpxC18+dsJixG5uHmOqdTMy4m+yt0jIXx1RvypPeqxUaz7tO8/pQncd7fS
eJ1l3xxzWJFmvXu86mI2VyeP2YLAVFRYjzCS5wXmEAgNshdNfC79RN7JdS8/5UnrAQhoIgOcVt9t
mkgzXnBErDbUxrOFxb7d4O88IZ0Qm2QQEP717RoHo2eD/4zPfjf2J0nJrZ0BcH0Tt7q09Eze+87s
bZEcEQWi9nA9Vm3RLvGUMDkPU5Ftu8BIf9SW3rsS7LIdxLvpB6VXHOubJF7KQW/vDyFtb0KVFMod
cHWuh27LXqIN7cRnezJB+1dO9CoHbbkpQcccp9opL55EP+bx2s5zJnYy5VvQNRb2OoI2eT3oMKS0
bWqK4yhowaYFwYQQcKigtbAKwygeXCBWyhK94c5MRWJPkxw9B6LMWZVTUtCYqsI8PYP5M49NOzVv
7KyJaBYnBVIezfzeTJL/8W2EmI7Dh6Vag//t7NBGjeNNrTZlZ5AWRxp9vrbqqa5s1N5D7erxZ71z
ZCjPIFlNaU0IF8y37MRhRTU3Peee1/1MvcHZKDpaNrgnFwc0vNVTQV3qB25ZyjME7qVVvT88oKN3
tjZ15OtV5eP7yOWYrGo7pMNpaCs7c6GSUMVN29z6Wo7w5QPFo1sYkLCuS/w3zIU78t4iU9ZA1FqG
bgf0/vo3NOFAtdqLs7MHl/DMf1GvYwvp1GaQUTZ1otF3BymvP1gbE/sZ0SKCXBP7d7bY9ahFGjpV
X4TZeRpNf286g2xukLqud3lRm/5qyJtyJWcOjJ2SBOvxot87S6RO7wZcQHTm25qMNYo5rNnZGsFr
rXrgtiBN6uGvh/RUsskndHkX9vRNIk0dkr6PxdGlCCEYJdfzDTog5laoRZdCUseW0nIFUzTsm2DT
GAjigFpMABL6ivRp6IgUdgTQxtGqYJWBMpKjZCHHuQ0QxO+BHU3aiCgKbOTr36MaAWa8TRBeRs/X
gDrmfeftQo4Kd4tegMgMyIOGjRMXobWRhyYq1hWuuu0qpBpmLyzIzTHgFkVTXQQqquinzD7OKIee
3amaT5wYNX9GEA1PQY/r666NBrRSmlrGIyUDBmWsWlONokNmgQ15vCnu/gaqwTJJD8Ye8wXSRpzS
adqHl6o2pnUPz2MvFWHyK467X708Wd9CLUUBNfOCaeWXcbBwv9+cQj4BHS2ebc4EHdDZe5b3RZ8b
KB1eMtm3NpyXMqI37FXrrmmcHwot+yck1MKFkPSmtAGpi16SiBmQiKUtObuAcixIpzqqpDMafPE6
x5leXoUFaVyiOuG3VB8sZI7LUQBimicdyMG+GWPcQ325f+nZmAu15HuLQHtclOr5Rbw417tyICGB
SWP5F21AKsQNMkgVw5hPMkojkexq6Wg9+V5c7fPRztec22lhF9yEFXwP0ZsQbSLyw3nyrRiChmtO
SAKbof8Gisc5C3Wup8TSk2+mpJuo+YRl8meY4v78eAPe3EoMjTmtybEkBaLLeT130LtYQRvsAGWo
8z1qSDUrUVJMKsPxaHSFvXs83p0dRzpKz4qaqE3jW/yef0q/2hQqHQiP8EKE1b+2ctKQiqnyygwN
eT0Znv458NkNjwe9M0n2tg4EkeyQ2ob4/v8MGtsxita9Gl0cRH9fYH5zrZSKibR5jWW1tMTOujdH
LJCQBODb8syIv/9nuJHUwIRVFtOs9m20RaVppVJ1gBcaoLNp+iCCNTVxFi5Xg//rVRwOU5K3XHTa
MUW7edWlooeVPtjxJdPwd5OzAGm1dpLhzsTUWx5/0HszdCwRiIJgUIgQr2eotzVXKqyBc2dhsT5Q
rH4tlBEp8CmywNwZMUmtHHx5POidU6Kq6GrQG0CNgCb49aBTYEqa3KXSWWolp3B9J4ovWp9Zaz8x
ujXRutatMrCfJysyrYUTeuclJRalCmsCFqE4PW/oIfAgq5Fhemc/x7DPVaHcVPCeKjVA5lnxQKCa
uCcmSK+jlOtlzarARJQyLPxrN26Sfvf4W9wsNiVyevLktyyCiNCvv0VA4DgW4P7PiIHLB3M0QH2G
dSfb66QBeLCw3DfnR4zGviIBEft67iFRqaof160cnG0pdDZel8q70ouPbYZaDGLco/P6eHZL481e
Zk8th2aANnlu/Tj8O1leHbhW2fUper7m7zDxG/X/MUM008gkwccQmcz2FiZFBbo9enAOy+KXL7Vw
kxorfquBqzHBLPz+8QmK3p4BHozy/rzTRlM4iig3Rme5qcOvoEHTY2r51Vby6JqvCAjt6PB4xNsN
Q/qoUBgTpqJ4zs7u+dD0e8pwRXQ25Ra7CadTwCTKlD66IpWXvubN9QBbnMSRzwmXV5HnNUAbWUeF
mmt0tiPuOgmov3fMOqsp1kOVjtPatjztoASArbePZ3m7cRhYNN+pSXBVzMVRlFGNjdo0wnMwgCpb
jYWTSGtJD2NlAya//gbNDH7f4zFvriUxWdqJGK1zQIDrXh9FKAwoiHptfG6aJv/mhZBjgA47zidL
Guw3b0rG/zytSjEsSIJ4yX7qNqKmykXHlkIr/CNih9m65k0Y6lKsxWeCG+9nWtlIaaeB5u+k1DN+
owcYIq5RDip07oDcvR7rYQOJoPzwfcTPMBHtFoE9eIlZIOnhSpnCzIrONKamblNFRuxv5LgfadJJ
1tvjL34Tr4k5E6+KCBKdsfn2gmw91k4hxbBdZLSHnWyof1cjdVub93IbOpQMXCB7xc8s88G8w9qI
z49/wZ19Ru78HrALPdN5gTENg8mOJ2pOKBG06pdiKoJd7NMaWuGM4G/lKUmUjwapopzJE0RjnHN1
03ZTaGoMkmbE56lsq3pd+g71a9Mu8lcJgtoeSq3zB7JN0+6iVvMbXgMvWMAx3TnWNLOpJQIVQkV2
HqYmuEpIBtYIZ2CatuQWipU8d5XU/ZEpKzsbmhG9fYFjmi+calG7v4psmLrNnczbC5CQLsr1CYPu
SQBXeck51aOo3kRZp4578JPpwqremR8tVzITyhHoL8z3ldmCsE9TPzs7Ya19NxobJiAc9VUNd+iN
z+G/DDCQF16e22QIZB37mPQPOx1KT7PHrlQGDHy8KD1j0Tv4v2JPL5Id0qEtBShJ818JJSt9LfOs
t7/lVkd/QUHfrYKZ27UHFNabaSOVfbSUFN15MBDMgTVBP5TcaB5tIQ+u+KiCpWdFK4NgU8AucmmL
2N0J+e9qWIjQ74yGIDBa1nx+SBLzpmuuA3VoC1YURltbfgF4jqolNU8r/s+A0Rcu3Nn3hiP5J5IB
DQ4bcnZn0xOrcrkCUQfFrYNNrpFjrah31f+T8Cj78fiyuLN9+X7sXXA8iD7MnamUusU9Bg8KiBiG
Nu0CDyehoxdl8bfH49ydlCZM1FCFIEqbbSSkG/KIqyE/j0Vc/FAcaE7I0tMlz5Vu4Qa+8+YhpkD9
BqdnhM/mmwOFUTR8kJ84m/bUYiCllN0JipiyTybMnbLaVN5QuI62yaS1C7Jyd65e3hnkc0lc6e/M
+1kZIHUt0MbsLJcpZga6WbH/Y8/a1RBaX9smWrLPvnMrcNuJXUL0S3N+FmoPI+BQLbHysyX76lfH
N5N1TRaGDlkSPwdeUfob+lFAOR+v5r15ouEH1oT0nhtJrPY/SaTSlE04amVxRlGhXOGQEG4KLc7X
2lgD0kddevfB8VhPsOgq7QVw2vzL9XjJCHupHBPlrNMaPmEOUANu0em8w/OFmFrDFF3qF95sWEYR
Z50SFEUbxKyuh5R0mzI7DhRnHyXVbZCM9UscNDgRpEMNmPrx/G4jJRqCNG1ARaJNj0Tg7BVJtCYH
5q2o50gZ61crK/vPdg+PbZumQJCQDCyMct8pCmzZREowxCqtA2iBJVmsm+0k+pJcBVTAiB8I3a4n
rdF2RC5B0c6Ym8l76KfDBdsjSAd2l2E+aOwwK4uW7BxvEMjESlR5oF3QDhViYbPJZ0mfj36sq2d8
pJJLFHQIBqIR+7kdaxVm1TCUv+VBw41ObqZLVlTRevAtrMqwR8Rnu0SrYKyC4e/jJbnZ4vwoijK0
aDEmpFIy+1F5HNey3BraWcqS8HdXh4mHq0XvqPCPPT/dV2EF+OPxmLd7jjHRvENPCnQZykbXn78h
WY/ywdTORWZbvyKs+T6VqC3AHwvUzeOhbu59MT3BGwCuL4SVxE/55wRDVJzEA6qfu6HXmxVyK1my
rnppSX3s3o4StVuuRIJDfV5N9e1W1svRNzBGS4on2vr6T7/DLaT2lfo/A9uPxG01bekJuLd4SI2C
hQLQgJPw7EOa0jjkMb/o3LRybLqt0cE9DGt0WeivW9+H1kHa5/EHvbd2QkmO6Iy7/waGWzUlbQy/
0s7QEPQnybf0cpf0A/oYeWcv6VDerh4dEyZGlMDlxGjXq5fjqSulcaSdq1BTpU8WShnapqlq2fzz
eFY3bylZE+AMVpBWDaKes1MAMxXAzGRgVqzJCBTrjcjHndiTvwbcZdvMRuF83WuwPJCwtZKFTXq7
eRidexHRfhEJzf2DqRoWWdCaxrkIFfThpQK5r74s92gIVWsfCqbkOuZYbh/P+XbzXI+qXn/cJC7D
JFElRpXH7jVA8eWQw4eCl6Ea/4vgSS88bve+MVEs1y1huoNG3/V4FSoHPe6F5hnN9mST2GqwoZQY
uqXp188Ik5SryEOwGQuY9v8xU+ZKcQDFVh47sc3+uQSizsdPp53MM/pVOHAmuhyugmyqq03uIO4W
jD5uOB//uKKzRa2O8PamxN4NFjaLVWKeyyTW97DQvI3eYmW5BlJogo+NzfL34xHvbSKajDIRId09
zs31JKURiGKMRde5KUz70lWDmm6HEPudVeSrkKeVNKep29QoDS/xgO4PzbCgJhX2v/j7f77vwIxK
A5WrM2j8ALMkr8K7sKJ7WFVKfcChiS8PRn/JbVbcblcpKQQHyi2i2ITGMfbb18PG42hnEcaKFyQ9
5L2B1M8AzC3/a9NSa9wkgQkMVNhaI1bio8hmfnQ/AyKkDi3ofDbkzvms266RIR5LxaUNfRVBprq5
KKHSbvgzb1Wg6v1NqUbtZKVVsDDyzfcW/AcLTC6tDT74HLqg5YNRI8RXXiI/ylBoUPRN2Xf5TuvD
EA2Wwj+GaVItPNp3vjbIJrBBSDECtZ23G8qisCHd1dUlqODsVLlfPiEJWO2Qf7I3uDkpG0ztiw22
oOVXvW+khTN8GzrSPRfdQWGjrItlv17tIvMNJ0Pp7GKiwNGi+CA5f01QudOLrI2TvrMIlrBNNQ2p
JnQJs2wv4XduHmLcRhfu65s3kJ/CisNjEhACY65yWgyxzgLE9QXGFMan/qRhNjmGvyKlNxYqTurN
EyjGorkArIy6HrDF62n7VYRUWa1XF2iWhbPyCWtfx95qlQ2md/VTNbaSvyGY9dBaioIM8yahO1di
8kP5KQihRuqDFNU4DSaU7rn7oJbgnOTjXBtJ1mctMCRvi6yiiZh0ETXTymnzKXTRZ23R04K5b62C
PJ5ekxrK6AdvLKZGyYXXFoyR8Me+ntqUIEDRYA5wUZFNXU+5MGAznWodYt52aNriE3FdsUCFvXn0
GNOGuYnsDIeIu+N6TCCRADEtv7ngNmoxV2GnPtBLmibk8GS7+HhtWAwokPqCswCmfHZJgS1yKs/o
mgtaLfqlqGk+cvlLW9+SpSMFQ8AuXVtGGyWasnQV2FqLugh2yR/+1MyYNqhoBjh0mq+n3SHhkQ9y
0V7ANQUv/NIfbRL6u04f0o3cVurea9QlMNfNe49guQGog/sZaWtjjvMZ/Aju2KC3l6REqXuVc6bB
kBgIzLSjrB97K7V3moqzn0vN6fvj+b7T3K7fBlHtIdfiH+zLjPk6q0UN5bxLLlSng299LKd7e6ha
a1VmfgZduKzHLTbCaGI1adA/DYpT/QwaxKukCu2vQ1srLby5Tsr/61F6f4nwq9q2yLjskTD2Xa34
HORbWVKdfQSvbxe2QL0XIojb+5YZkLAAHueK59K7XrJ4lLsKR5XkYsRj9KOBm/XUIOWmujoyGRsp
UZK10tJYgBMcuOWkqYfHn/DOSYH5Qk+FkgRA8jnrw2m8OvflPL0UthZ8LlFV+xRIWKhiVoiGkV9Y
CzWluZs7aEPks4HNsmDIDKvzJWuTOMGsXskuNNGrp1q14j12GB1Kl9PU4Ran5y+O4wdvpWqlret1
oyytMmSbvsTQVj8lCC+9jlM1tOjE6dCNJ6s8U6qf1mDvnXVimM0awKL0hR5m3Lp5nbTxajAmb19p
avqqwRBbWeOEHmmq8b6Faak/xXFAJvX4s6oizJ3tTNH+I/2FjUyPbHYUB8lBtrVQ04sDDhm/Gixm
sRAwqzxzG6Puf4KVctDdjxHUoU+n+RtMtOPiIDj82hbbFrtZpV0R/q6nQvruTIFebSGm6YY7FNQ8
BFBmDN2EY3YEroNulKUG5nOhJpm0ejyTuePJ+4KxTNRRBF6Gzub1Di3p8VQ5luCEPWFVbXQ1QqSx
QOxkpVI03o+Wk49ryOPGJ3oZkXhfFOuAfK335mMJ/qXu9f6XJtM8W+NQnSB6mk7mVpWlZIWKy/8e
/9jZaRICyzroZEy54LQBeZmlAEDAAZeWuncENFFuadwra6oFOQqoGhSturTWHYpbO5RJEIPtmnDz
ePjZYXofnloHNGSsSGA+zz5V5CU1oH8HxU4tznZ5hhVOrKRUPGw7IFYPPihSQJWUpjbnFvkgCnvE
iNdLU0yeVWXSlBxHZIZMMFy9an7FfNmWhXCyVf9JUUqGdZhEi9TnWXD6PrTgbvHM0ock4ZoPPcZe
3vgJqv6p/AlZizRcaUAwvkkIj0WrTO/+58vBuPCB59iQ92FJe0juQCoqIMOvh00926TxOtLDl+VR
c7U+znf2mEVfg7zP0ICCybgzK4vNZjSq/SlOO3hyBS2HP2aF2vbj5b77azgYQENAF5vyvF5tqBhL
CYz4samlACuUIfU2XZtob7qEELiL96AqNLac6Ux/NuJO74s6WuEuPUUvlLqbhbt19hS/fxwa5FSI
KLwSisy2n1n0bSencnps0v5vaNbdZsoqVLhyT6NqRIvJtVS0OeVARS7r8acQ19k/150YGkK64E5S
gRNR7PW6JPj7yRWidUcpoLRrBko+utwOv3Vel2+Ph3qXop+PRZMAhQxqy0C7Z9NElipruzbO8R0I
0oOmJdDus6QOv8CQy/O3eqjyH75sScEWwiro1lXRKP53qaEAfNIpSKhrIIC54QJQLv/2Zmd9a7Ug
VrYyKhfj6+Mfe++7EPxSeCc+4o0VF9Y/OXNSTk0XxnVx7EdlfKtL/xyNVfuseaa3cE/fHYmQlxDC
Jnebh7woHpe2lPnF0ZdkdTuZvoUgLkncJi38Pt4+ntadncaVw6w4+BCA5iglB4Lm4GlKccSEHkAx
4nb9cMDpw//US5WCinanpa/IEejIlEyp3S9s9DtzxZCBwj4Fbdu8LezL0UQhLS6OTZlGL22Qmp/r
qe5/KHKv7T86UwZSiG95wQBCzAGGUl51ej1m3ZFIHv3jBmdRKZOMA+FE8ixJZvBMGf9bq/pLpeZZ
RghmE5goh8qBAUNzeE5iK7NOtjxEQ5EWtsOntGU/uyJlX/iUN/c49V2YfNTNuE6FmsT1Bm3s0AxV
uWqPk5Uom6GRVPTfq2knS6O0aqqq3g9+eXn8TW9eacH6pQNmQ4fDyG3eITFJqq3CNIpjpQIMX9lN
Um5ylFnf5AGnR2TNcutzXlQGKtKej2xYXCXNf49/wp1pAz+DyUWWKCzRZu9IjcxmoMLxOdB6sZDI
7gss7dVpOkV2j4FLTinKTdqsW9hNt4tqUkiyYKMoxME3xAQ5iyOjRwvsmONuH7hKJ8VftAaR+cez
u32Y2DsEbNSZKTgLYtH1qkphATQKY+9j4GBa862HmoDMF+CV/FxNjjK4YxiFqHQ7oSIdYlvNmm2P
epnv2naS5c2+aHHz/fr4R92uurCYEmh04MgOagPXv6kCu9ipvdQdk5YKHrXKEmtxPR4O3DKZ5nrO
EP/1Iq/f4GRTHLQG85HHP+D24/MDBLRF0EMda56jSy2avK2R9EdF9rX/tFHSWldK9OnDJ4pSMEA8
UToSYG8RJP575Zt9NdaF1R07xC9/JFpypphjbwBaFk+w5/q9EHddjETEhr16FOm4AiwnBgHbQgVi
tuJh0SAHa6rDcWTXfsberyhWLIbcukopNCnBWfZvodVoyBI2g0mAqHjlNsOMbFwjxkFpc2C7hp+M
UAoAEJKvkGkkg7HSjD4itIvr2lqnCjTLFZqoaDPC5PbwJ8DRWyfsqvEHtawKolwcAZYa0kY5NYqc
eVhwDnaXusHkJS+wYYPiNbaB7NEPGAFrW13TvvmOmfG/QoWseEVUuEJPlRKn/qabudS+cKDsfRaO
sfJTwfnB+Tt1Sk1SJ2nwhtqw680nQTRTXKpblel2CrV4sskAMixqnA2bTMqbC1ocxdkrWqc4lkau
/YKpUkPSTLNyVF3uByVboxVgGquixKqQvm6b7IqhaLILMaf0N0PF2tkLr03kMvksuQsTEnnFLh3+
F+SD86RnWKi57L3GRmPdmpxdB4LIXvmG0j05Q6hWLg4l1Tc9GuO3uKOKj4e552BJ0NVAqj1kKodd
jrXvmwSLi++FvYLuTgjmYxSD11RwmdTBU0Gc6dHwN47CoKQETekDbUtMAQ46PlO/ktro0fivLE16
Rtq7e41QjC1/0OftPnvYqntrMshCdTtr8qeXAjZA6WpqZfWfVSghkkuFJ3z1kKaLV77pJfFGL4vS
Pihlg79lGaW44NVhH2DWYoRp9T8+EtLDJV2tbNVGNoU9zBfsn16StPlCdDPPQnkOuTUEGp14A9ag
MauTTEj0msSW1dHWevkc2Fjau6GHSqobpSDIVCTsx5UUpXrzDIJkUL0VCjtigxWt/JIYjo91ide0
AwalVGG3acPsD1EwocLjmqQwCEo7WjEtXcQi7p0dS/FrIQzTEgNHOXteYzv0qWCE9dFCUGxtYj/b
uaka5Yjoty0IVmv4ikxfjlNWlX6qsc2Ek6Qqxyau7J/g/6YlCNxN5MRndGyeeh4gCDDO7N3rEMNJ
G9WsUKbHCT7ydGQoR6lHt8pXxoXHbl7LF2sG8YyHTljQgTuYJQUwiCOi66w+crxZKN6foUfxEfQk
Hfbuc6ogO1/ZJMlWkqdfg6EMtl4CGGph79yZM5IQgDG4+MlR5qmqQ6LYdl6NrWA9mjscILrntKrD
TaLlysJQNwUAmheMZNE3IQ6HOnF996sgoQk5ev2YVmr5JYkzPA86f+RmSPKgVFZdERTfH79qN5EM
VBTyCj4y4HbqAfPnpsispi/V8qgrgfElj9L8ABxcelbzdPorST7S+YByl/a1yLGu9rWpC48/gZIV
GPc5Ki3qMjVzmlE/4chDaRcRePMnlKIOLVwThh+e8LW/NUKjrlYEt+PvPkJfZj1OjRQKbxN54c29
+e4mwmQWmHtgfyQFc2L8lDQ1UZVlnGq6NIeJhGXbJLq0VtRWWqlDt4S6F8d2Nn2K/RS+qTFR25tX
96bOBKRQBfqp6gxjw3vQ/4kStVK2E66OOR2GOvriB6hOPWdpjIDTB5ccbCNfnUMiokn4R9e7TB/r
YFBw1Tl5Boe4RUgNsYGqP1WGgfg6ErvpZ93JJXn7eNg7H9kWGpDo5pDkIwByPaxRDprdtbZ6whnD
WaWKHVbnhEDxTxL4mXyOTPQMH494EzIKeQuAefAaREtyDuccAwx1JcdTTlY4qme7MLKtMinqDpUR
7Q82lg4GPtj+IOysqzud0l6xAMO+s85wr2g6w9zk/p5zf/y+BjelasqpgnrwPR1a7VWq4Dngzift
43SQD4npl8+FLNjMj+d+c2sBIGN90R6FJkONbXau1bZJ+UNHOcVjM9YuFqnTm1o5CIH7KLou9B9v
r2pGA86E4gHjATSdhY80JPscbrpy4rAKaV4JUQe46KobEOOuM+61PUSw7G+JLv4r9ppqfxjUIfrw
577+FbM56x1IeiQ8lFNZef7FyE2uzMKaNDxqvGH6gSyxvipS369gpGV+vvBe3fviyD2Aeke6DvTw
7BuMKdL72cAXH1qPDhLy/ljOqCAHaWNY4cLy3u4spDGBCgLvF0nwHIXtp2Yqm6WpngK5j7VTK9s4
mOSpf8Du0AwxmNCbP54UT+Fz4uVttrDet0eZGp2hAtFhsWnJioP3T46iRcGY40NqnqTJwxXKRyp9
XI9tOL5YhRWuaVwYC3IAd0cUuBWYBYJcMbs8bKNvnZxa6UnL0mKTYIBeu7KcKV8KpzI3naSqH19N
8ntKTLzIQoZcvJv/TFFvEVVAX9Y6lQr8T23qtXSTgl6WMUxqyoXB7qwmhHK4DIR4FG3mauemJBu4
3VvqKYbV+DJosfmKCv10VLupdGM565EjNOJwnReetZD63exa0VwC10tcg0fhTQGn7xC6r9IJrbLc
1+utHA8ykXE8FTk8TRQMF/btzTpS6WbHciEgrgtSY1Z8lfGgIrSRS2YaF8JGKTwgDBSfQqDihwT1
o49+WXCNXIM0eWGM08yfjWdWEXp32JCdDCOStkXJySycsFkF9DI3Sh4rl1gKwm9K0mlfPngBMzKR
hAZTQng267MN5HSS0RnqWJ2aqFG/yOakvcTAFFcRNheF+3ismyCOsUAXGdy8II3AaF9v1iDlZndC
vTq1Or5Jht/Ex4rXHEedDtCCQi7oqlG5VMW9s5bg7Nk/FIzBGWmzUf0QCk7mD+qpThvDX9V9KL1V
peG8dtgrbBB2ahc2z+0zA5oGvRd6JVwFcOBnV+wUhLYpAdg5SZ6efMUTwqv+mHJkKWxZM6PM55qh
Hp09Q6j9pOCODggEeYFDXSrMFxUPb4+ORgqEPAlZCq33+a/Bc4qjFdjjqVJzayunwgnVH/8Qti3d
t7cFOQjNNGSoJXPvCjD69QLnTdoGlaVMJ58aQnpQJ5PkvJO9cqf2GZVdlM/tfj1oSEOUSNZUb/JE
OIOJTK6PI9CjqIi+Pd5yN1cWvwh1EFiqQvsSTuP1Lyr0BBw2ll2nYmh8NIZMpU5WXkiKdMIhDAlB
dLrtcOUHWdjsMjJv++3xD7jd81yU3Fq0LUHN3GC2x9QefZplw0nHoQOwPJCYFV2MxNxPZajq2xCX
6f4n1DBtsZgwy8p59CDI0WAnU3vv3mnXc+fCagzyBf+lRZJ2OiUWS2Cd4rYGqO9KuDUiD5P2uR//
Gtosbje+P+UREn5J7LwqEfLnzrowjAZDC6ZmKQs3+nyzsCRCn0LIU4LLQBdz9joPYghUZPsXvxkd
vX4aMonEEZxXU1t7O5dQWZS1NNApzQ++qWwmjwJv4k6lVeYHqQkacHPcGdPS8Z1tGb4WW4YAiRuD
oOEGielNmYPml4NJJ4W80e0pYdf7ADhHta5MFAi70RifDQVP123RjWr6waRTjE9x8z2LJxy/kV6r
6aYqfBf1qbS1YpeyDCaPATjjP11m+Tu16IZk64xJHKduovRZcUC6Sx4RcPaGFcI3XrJwn4kz8k8a
+P6DyE6QB+A5VDnW1/soS2LJC6RIe0owo9s3EF1GN8BnbOl5EAt+PQ7UJDolGAJwi9w8uknjjGad
gMWxEglnQxzxhthF+sGyVkmGh/WmS7PcXGXh1KQu6BZwWOVQg5N8fGJn9yXT5WeI3gUVhztm6C2N
7FLLJfspNrC7clOJH+1WJWIIEINhVi4Md7vdGI7eBfBLWozQRK+/rpMYMFEH035qdXXY2vGo5Add
8jCNzYN4VSbhsLYkxVzLNeJLCyt7b2xot/Q3Keagxiaezn+ix7At02LoEvtJItNHjojSFX0or1cP
QJ59aR+R9zluEI7ZK6xONJwef+nZ3Si+NLgCFNdpIxDUzdvGcMGibiQhfZJqJOd0OCZrbixjO0m4
FlTjKO3rIFwKB+7MGRINEuj0OXka5koJChe+EcuN80Q6HpXrRItw46SRNK5NPYxOft1jhgT++4tW
9Yq6cLjvzZhsF6cakJRUJm9ikQ5tLYpNTxzTYmN1TrIfI097NmXlUmdBt6GCbm8ff+V3BtLVuYJW
qdL5JIgQcp1zbiquQP4wTeP4LMe+Fq3HSK/t30AJlbfc0BHm9o3OESJ8XWe+ZXI8+t+HqqBDSR8m
/JzaifGKX2uSfAW5pg+rxPBHw3LHwcr8S2O2XlW4kzwp7cqRi3GHYcq0xFycn0jRmeZGEOI37/Q+
cUH9s02rzpZyu1G0J4z18s3oREq00pzKeW7lcJQWzuN8iSjE0GohvYEAxceaNxVlNZ3UjJLYycf9
caPUEfbsSt4fzaibsFOOlK9tZyyVQW6uPiZGxATUQ8dNB1jL9QyHYEoKXQLb1lqR4rtqodTWG71b
pZVXVoQwzluTgi6jKeUNNLuSPkDWblULFtYCpnh+PJi0oDGLvio7hgN6/UtyZ8AZkTr/84gNIa7d
jjRN6yJX+s7cStLY74rS6uv9mOFx9hO1YQdDu8f79b0x/u9+FcQzBLCJ2sgUBAHk+icgcJJhC13K
Tw7aov6aRS58JFcBO7tRW1rS2vOn+BSNsuwfqNsq36oeuh/dXq2Gs9bnuMNpK2T4++hT5XEFlPS/
cmtaIb/meB46/eHQ7jOvVLMXjN3MYcWAZv1W+EFgbhJFw4OX+lGgfUm9fjJ2w9AN341CaYeD5bWy
vIrqqu12vpHm3cbXAy1YNarsv9SE+MEW5HTDHyQO2hi2NoE0R2utU+WSBl1qrzERzBqX/EHScaFF
LZGfUw9vBRlnU7g0FON4LYHHx7izA3Bcb/S+T5QvgKiHQ+U7/vCiaLWK7CmUZX3d4+Vo/Yj6aXqT
A5BqrhKkMHQer8fNgYCTxz39nkJRjbVmjwRuoVaAVGvwhDi2rGwNtStf/FKTPtXYKK6NNC3zPcHk
UlV0lrZx+rirxBbUoZHB5Bcb9Z9Dr01+n9ZG4TzZWjmtcimuD3UmYPXZOJhfYgwTP9hBYUQCPioX
4gIW8iezrZ85KIugbOU8tZlhrz30pb+0jdGviTgxJ378UW+iXwZDwxubHCaHgOT8mokH2mN1VQTP
4NwmZR8bIeg1QNuy5k60NkdqcnJur8tobIQ7poXLttWMcrwOjSA4iVOcLJz82w/OLwLpRBtZfIM5
Baj2bNrfkMeeM7syfo9Y238jRafVXguHL6WxltoLN9e6+ARce3C1aRpC/bxeYaK9IYRI6D/nhtac
VIbd0tIMj2Y/GAvv7s1QSLRBJoOPKMR2yVauh2qDziPPMtWnCgzjp1YNh09SWYU4qEJ5ebyy86sc
9TJKcfQNSINpxs2j5W6s/BZAk3lKnLCUNk1dOpuu8QzTHU2OtysVjXNAehcVZT0YfjjZaH1+/AvE
d7u6PwmphKIwFVeOjjnnRwx91RZllbTPcmCZ+TpBaD958ssxHX89HuhdzXE+EoptDrp7oiZozFaw
9GH+xdjUkw6Bbl/Vk2Y9DT0OH+si9bTPY454jVuOShGQxCH/sfJ7NZW2vLvUwF3o2ab0prQgvp8x
U1LILZK2x8dRzzEItyODHj1msqZzbv6Ps/PckdtI2/YREWAOf9lp8iiMxJb+ELItM+fMo3+vmsX3
YZpNNCFjF8KuZaC6ihWecAfydTy1ALR89wNH662NQPRq67NiKLii6EbRD2TzYh5KXXeUZmFuUh1p
H7rGUl7ROVIefARQ/+1qaQujszIej5sgr3DT0ERdbEelb5RawTHluevnYpfqfvaLl0qd3ETLPmVl
YW5c4Vfbn0o0tAcBSYI3TuB7uf0bKTZ6wtH22Z4RwWwi0+etMZP5F6lo93Z7U1w9F2IsngsQfZxt
OqeXY4GDcWLkxtpnuarVZyUepaNjx/6jElTqsemM8V81HKeND3g1KO1oaAhAfbi2GXORRA1WYA84
MKMyac2C9YVeoKkOyUnpSvB1QHysXZ8Uyc/bU706aGJUojbUUSgt0Zy+nKo/FSp+3638XCoziELJ
iKYfoAzD+9vDXH09kFPEROwWYWLEBX05TEmPTMcbQ3m2ahsHWzXXs0fiV/OzOljK4fZYVzuTscSG
5DQzK2p4l2NBvRvlCGPi5zHS8wfOgHrED2Z+MCKUmvAEysvvtwdcm5yoGWIVAoqMxOxywFKOqIPF
Pb7YSHDJLrsXZfkZoNU98ivD1j55xwdf3Fik9LwEPPEsEIjIxUmHZAsJcDKSl9kPdHsf15SH96MT
d7R7Ffi+c1VpDmrRRv29KM3kDAAIVeMAwQrDLRyMQlANdjAoCcb2iwZSqdxlJpQqGfr54FJns6Sf
GBFYDVQYLKD+bsaMrTjVVtr/JHDzs/yYdiX+zH3aZd+HZLC/1KNGjChnE3h/rLij0gMUK+EqcXud
37WmLmeuGgLDL3gjrPYysPdR2wDPECjPZmLKjUMOUdszHlWka9Mh0EI7ejSwInql1hbgjRkE+qdY
K7Ggj3VifzqkTdY9QMQu1fskGm1KTbFhjW6WJQ00dLTBHMwwVDX5XgzoxeWHmi768JSlaFU0uwmp
4Ro2daQW3ZeiYfl+EAkr0d5v2lHauO0Wl8E7lYfwhYiCQ8ONp15uqR7tMBRK69IzU0U6T0XWvyCb
ivs7QKRD6DfJXWn42cb6Lov+/xuVO4CKJqwvGp6Xo45qghJgaBQeLZv0fiRAvutxrn4UOgFPspbP
3xMKofiQycbDGKTZLpow1L79kVdmLh4V6CqgjsicFndvO2ZyIUOB9GoQdS6ylOgjDnb6Q+vK8UXT
pnbPc+Rv9DxFIP5hY4mJkyzzX8p21LeXgAlFT0lqK63x+sKsDwM9bChQxXQfhuq3cOrmewODTDfP
pn7j0hdXw+XADAgdEi4UZBnmfbniDp7YndIUg8fiDvdtowX33F7SYSzlX1lpNxvX8PU8RXVOdFFU
GinOso8C9p1bKR97zxmAt1omTJdqssd9YYXaPtDS+HOD4fHnwem2ynTLZIElJjZhcI4vFQLKkpcz
hQigpGPUTl7pO/1Dh4M4NUHdoUmXKt9kX06OZZpkMG8qwsxYsqd9A0nqbpTUrbxlcV3/75cQJCEF
QTWGqv/lLwnHucqKoR09f5zU3y0Bx52h1bHXVJWx8XmX0eX7WEKVgKQTmVFCicuxkj6SzNRoJs/p
R4ecPJpnuI49qoi7ZLbs0E1LUI40zfLIcSOjnP/qegVTibanwXEfFk74jSjLyXadH1evWonu4j4q
R016SLIh+2kYaCq6sarkussnbYPd0PnGt9sncm29UO2hQy8K24DiL+dg21NFQcAYPdaUzt5UgjnB
lnUqT6hi1RvxyPWBsIQIPomHaPxQ2L0cLOyrYm6haXqWFfmIvdR+cpizGQ/L3mqxyqlUe9gicIhD
dnkISXN4UAhR3lEIi0NoBH0KJrRTvAw3wZ2qSf2eVDGYXHmS7cewDpVTXqGZ2SbqHFAXScaNbGdl
0gAtqGCLFUasbvGip8jWmajbqt5AcnGIVbN4yrJJdodSNv+NoqL/cvuLXt+xtDfJE1B94YNeMZBU
v67mEO0QT2pt/2BaSbZrGPRgKrVzlIIy2Nshcu+3B12d5Ds6AOCfScPg8suSKiCUDATCKyGnnvxc
Se+zLmtfjLktDznbaePsXW9bABCiZcnOxUzg6iFpHSmdIex6AX2mM6yjtnG1oFM+T2NvKH+WMXPO
2bCiRSq2rcA3LiY3z1qdJ43mWXmthLAyHEphA1IDtcu9T528aEkjA32IqwPWBtanLJKsP/aIcahG
EB0hqQhOgFN0+SPoVZaoBmmmB+5DiVwdFffTBBxzZwSFPLldkyHhYGxKOFw9Kgxrw6miPC8EQZYp
RCYhcWrAEfHyGZ6BSV5MBxSTxH0cS4ZnIX71aDXqdLLxXbz7wz3liFEprYNyJBxe5kycaEkKtdnw
UKOOf2JuFz84k2991ks1PwwRdkT/YTzQO+jzUWGnXnC5wvY02hOPuOHpsZ5zbVu0f8B7xNGL3Rfh
qcZOdWOGV0eVGRKUEJBTPwTZuAiHkNOB/sFZ9UZJGr7lZQEfFa+Ao6TUNH7CvP9WA0PbopKvjIrK
geBB4kpC9UWc5Q+FyySbhxQYsORNkfXNCQN/VyhKt89Egi/Mhn5ncttsQZWvDixXMHkbXWtcJ7iP
xd9/GJQyfYptoSp58CGyX2Vr8g5qVfmt7y3r2+3veL1lxVDUSEXJjotwcRfZiayTNQ2S55uR/FgO
YXnSxlA/1xoOUoOuk9y0PUkcUn9buP7VoWkNg3QTqj1Lkn7Rl50yRmFw1tAenL6kUaN/cYwML9kU
Ek6FoIxkHBUng/KSDzB/Ni6qq1tYVMHfcaNcVuK1uVzkqYoFr7YOz3pcFv/a+dQ9jKNVfYb0KhsE
X/aWr8nqgOBVIRGKEvhSYVIfHWlwSjU8j2GQhW6vov4BW+cHYpa5K8mpsXFgVnaRkLJkJArIsDkW
0Ura1lo2B5rjTWUUNMRNBBM7qcP9zc10rqCN9VwbDnsS9CPfQYXLQmVvYts4aZZP61NLDkZF/9KV
VV++U+shrf70CcUskVob9T1O5zWKIS1tPDr9meYm+sPKXTf2+rFtERHdGWifGHuzKav72ydlZX4M
SWJEKCZwsOrlfikTsySAjYJzaXRw5rWwl77WaTGOIJCqf26PtbJVUKGEroBnHbWoJf0jpOGtWcgh
nOvEKfc0EZNXkGbJqZ3a+AjG+vd/GI51pGyqk3AueyUS5H5j4to+V90cowwZt/qDGtftMVCMWYIH
Bwfmv4wo7GSBZlAnWhw+hBO7WonT8JyqRdLu6iCL+ocmzi11X895nOD1kuCtc3vQtS9InVakO6wu
r+XlF+xDXZoTWo6eFKeS/Fzhrpnv8Pua2iPMX2PrSV55Orjc3lFHKBxcYROAfDZh5mThGfNcuoj0
R6T8WDuddJrjsSqfUVx6TnAk2eCVXM9S5VTwLHP2383MLmepZHVE9pxFZ7tW8RoA42rsinrkpVam
rWO4OhZ3Nzheyn5XpW+1UBI8h6roHOSheg9IWTsCR++eEa8oNk78+lDwGWQGQ5hgcZvVra1PWlkz
LdS0i/1YyOoBWwXzsyP7zZ/fZawhV/X/G0w8XR8eYHkobamS7fBcxsNQuYXVT60bqGYs3dlxvlXQ
v94ojEb3UHgjENws+ey1pHSOpDG10un1adcFNoI/GU7eWJbbxcuMeMhjznXx9qfH4R1GyS0jADtX
vDqlCkLRso3OVGyjOyXtnDOIRphAoVRsOaSvfD0KHmRaMOep7iwfh9KEwDeEanTumNY3p9SAnviW
kGEoUv1P0x3eBGrBXJ7cLKKWf/nxKnUas3qYw/OUafoTRlLSc9oO6m6Ymq1Mbm1aoH8s0gxhs7NU
xUbBJkU5SArPczhmnLWm0THH7oYm2PEwWOHGBXb9LAjFLfgXCM4iTbfcKDH7slPNJD7X6C98Mofi
2xCaElyPTnmLhq77cnuDXAdol8MtYvzJLEIDLYPwnA8zCCIQhRmPzzA4P+3GrF6dAA7RWzOUcLkS
ftDh9ugbk11mNFKEq57TBPHZ7KOeeoDauz7R0ydpqGfcDfRsY9usjce1yQvPyad4K/7+w5nPfR8S
JO/f2ant4TFxYulrYFs9boOT8aum9L9VfVsdENoOhDzRMFkSAItWLXKej+jcT47/VR7V/Lkwg3LX
2nN6D9i6+zOmEppekMHhpdF3QoEEFPnlBB2906oeSN5Zp6CsuQ08dPm5m8JqOOSdms93TlfJ1uMQ
jXO8oz+3JZm8Nl+0doRAM2BygKGX4/eS1QY+ffqzXeoDzcuS+GmyKi/L5eIfVmOrc7B2OFGYEphk
hWGXhMc0lSItbPzonJZ1/yUdOmodGqjAezOY8y2h2dXB8IdijaliQ/m+nBx90h7ylRyeC8lvute6
7at7tSin8mUElLhRpL8uIQNphgEFzY5Hg5LYYq/icaAMQFvjc0ZfyqfnjB7fbhwjAzCSM7cu+ifp
Txswz04Nh4Z/mg2R26lK8jSSiG0ExivPl6BlQT8DZ32tKJXnedr3acnBUQrTeNUCZ6TJFvrOcfDZ
2SiGdGF0R2kNGNTtK+LaHIV1ECxpoG2qUDwVX+XDmfXbLNLSrk3Oca768b7y2+mbbvr1zmwSR3d1
7n3+VCbKy01UlF4+VDmxQ2s4L9Pc9c+tWm4B9cWHviih8pNAz3JwiSBEg+HyJ2llZsGY8uNznhnZ
tOtjymCuzsE+3Z77ymnCFNSixUPuTalgMU4wopBggDQ8q3o5kqDLCMfPc5OihzLBou6qxvp8e8SV
54BbkcSDrpCOfNsiZlcTnnf04rNzGmT+4zTRKsWQdUb4wVfnf6LKkb40vtJA5LKtDfPClckKECGX
M2dZNOkvFzUxwzwZZ7Q4tT4/V43cTjvFjCqs/aQcCS1z825e+YpIB1KGFvpX9PgWXfpe7mmQAug9
q3HWDYeigkjqIsJhthtbeGVmSJBREkAElYRvmaSPqRKATiyzc5nocuAmoBH3eh0JmKNR4SZqNlt8
/7XLAwI2JSYwJGABl8S/LtaMGpGv7FxHvnqsLfrBUzOrv6kuBg+tnkd3FN/aHZ1k3diJvhzwyzk+
xoo0fbu9o1ZuDpsaP/ETWTWAgcXx7Ss1mCe+7TmsVUeiVBrHuwhdPpADjXWOZAvPRC2RD7dHXS45
cFgoh9yc5LoybNbFyUFrvLOolk5e1Svl/VDo9UMcddyd5dD/thIn+FPFdTEgShL02LijCIQWA851
z1vETOmrafbjGAftfTHM9ejSb+melNGJ/jCyFwOSyYv+icgDlwoeANOCDL8f1dMQ287vQkQYfiMj
JDX7Jpm3OnviI3288MRg9PWI/ihAg3UVy/3hDk6pDNYY3MmePydpvKeQmjVfJMcKwr1W5em8cQut
fT3hyiTSPDrGy5DbzwtCKluZvTBtbOWIUWKWPiGQoX23OsfeB4k2tvvbG0Z8n+UMeWsp+iChxdO+
+H5VHyrOmON8AqFvdkOTtkYtG/nj0JMi7oqZFB4dvuwHZZv51EUO+ta3f8DynIglRsSA8rMInIgv
Lpe4Msqy7MtY8WB/GJmrdqr2JTNoxkmBo//VS138qded9OvtUZd34P9GJS+FTiKaKYvTGcyd0c/t
pHhyVSm5W+bkWi7OKfrG8q58UR3NAJGFEs9cMZKmDAZDVEayN1uD3pyMtqn7fYd8enSKYlV+69XB
/FOHCeYmmhdCA5OyBboYlysqtRlu0U6hepmK0cIRG0Ta8C4mP1H80PlU+FzKcoX04/aKXsFKGJb1
BHGAmzZrqi3qCtqMeLnWDZoXN3PxKZT1bC8j8JQjK1sN/M8QhLgOa6+f9PBQjwM8P7U2N6LHlQNL
c/y93C+oOsvdFGuN0iVVp1MXttJ619imfy+HNLRcIzW3uNfLoEHMGPi1TSMQHC0uPpcLjX/RWGFU
q3mJP83Og6xI1b6Evts6SY12n+FQu2k0q3iqHGuryLiygbkgODHAO0BnL4WDojJzShrVutdPWpft
QeDH+sFpgy0ls5UNzNsNzfBdLR4Xgss55qlakb1oOmAho3ZwOIjDE560vn4epjn+QX+scu5u76TV
ZRXUNlrX3PRLPH2dSPTCI5+pDUMwnZqgBIXZQqvRXV/TpKd2dlJl34+6f06HeQvCsnIhomklMMlU
4mgvLO4jCEg5XYeR9wVR0F8lsK36NOaZmhzR9R8eRmnIp/umd4YvRhuQDMQGwjt//oqjGErGQdWR
K3GZcEGdKXuQoYoHmyJOHicJmo2LGlzpvGbQ/ZWnXLXRSry97KsTp1aHNgO6avC4Lr90FMCXQZpU
9co6VJMXyR+zfSNjY3vQ0n6wdkEUzSIAzgtjb/AvC55IqJxv/4i17Ubj4///CPXyR0gqcmazUqpe
JSvtK4iq7EdGeeRg5kaDL0KmbUx65fXhliB+EaINhIyLd6Cy0MELsN3yVAkkBq9y2qM7N6lvcUuT
8DClwfRPNjqmv/EurI3Lc0J0TM0elP8i6G+ntLWVPtG8sKibXyHiyP5zmMmSdIzAYWZHf4rtn6rg
cP35+vLIk8trIP+IEBfrOzRA1Utd8ygxNweoss7RB92Yuqo5R4fZGLfsh9YmarGLRUb/bkhwOSCS
6XTo6kb37EJpnhJn6J8Lq4hhrVSJjUFynoeA7Slbbfm+rQ6MigMAQ6GmugzdEhyIc6suNE8aCuUY
4TzpDkNSPzvyACu4jPwCH9FJDdP/8GUBKSAERe0C8ZHFMcr0sVf0oNY8s9Cal3Hqxi991tPvUasK
JRCasiPCsWjzbtE51p4+YDAig+T2AlB6udJKFRbREMmAUzQgnXvc7ez2JI96MwBTrsvhv8xTKEeA
9SPDkRcnx2jTYADto3tmF6ZeUkrzJ5ibtu/m6lxyVutQOxQhbajT7R28Ok0uZkrEdLavRCJmNQkL
cJq8DnYI61WZZvpPUeTkyDWklHF2t4db20aoIhBG8ZKD3xS35scMINen0agz3ZMj/UWSbLytgQsf
WeLmmGrz/Fpo0vTj9phrUySLpfCEZB1h+WJMJZBqv+uJpBx5rL9pUjXLR/Bp6ZFCXLPF4l8fDHiS
Q8YoWAKXE0QTENfd3mLbVJL1G9coNd3NQw9SVJ/kdjzenpr46Yt0Q+Q3QMMoPYD/W5yOwMckXDEb
04O46j+qZVdk+2Isnqu6PktlnJ4UbkX7Aelf1c18v9wYfuVrchOBrOeFowy+VDoGP4SBkVWYXjON
o3mSet8M0EHUB6/Ox7m+Q+kD4pqeRdOWPfvKxNmzuB0DxENwadkk8uPBMuGvM7KhD0L6V9v7sRq1
blv6/xJkmLEbBCoVrmEs8KQYi0iX//zECj1aqpgAIMlGFtsqRuu+0DPZ8gr4n6c+U3AplEZ6G6Fj
zMjFclUcaaNuiTKsPOl0qoTwJJEFvZ3FsIpNow91T8urBk2ODpWhJb2rVM6/Uhx0qluag7bxldfW
WqC3xMWPL8GSQzdps8xnjiyvk4ag63bpGId/lV2chXu573zpqOVTI50cfS5wWq4t9a3mn2yJRKzN
m0q2AAoKYOLyIRhVdZIn5JK8uM5qd24H05WqMaxdI/a/4IccbtGR1zb3xwEXsRM2Oa2UTr7pyZ1U
xIcWzMiXaHTk/s4HbbK3kTTNXSUOpOpw+1CvXCEk8DQKQRmCrnUWBcVabcYxzSu+cB6WJVbZDbp1
HVCHnR603Qb5U0QoixsE8CwtZfCegiCyuK80dUSvWvcNL0hq3Xexl450N7f7caMusTYpEiyAYwhi
Ah9Z3FSIHyP7ApPbw+mzmhFeQPvwcziWuABFozbV3p+vocBuoKglBPyXu0WXUzg3s2Z4xYQS7UMU
2laz80uTxmdc5faG3txKiiVKLZAheNYAUC0W0dKDWOaqNzwzhyvE8wmqSR1a+WueZdY3w+nk12yq
8y/oCo4bt9Dq0KDtoW1R8LkSjTHzlPrAYOreyJsLkl2Tm3s90fP4XgVwVD+oSGxBKQ+n6B+J//+H
Cg3vVonA3BFp5Q/8pcUh+vCe4zHRN0nbWp4WIksd9n38U+4rfTdVVr2B974+j4CpMN9g+/DcEBJe
DqViwjHokaJ6vhzUw04qmvIf1GjM6ZimmtEdbDmCKy1XOd3Y25vp+upRqf2wwhDxeGyXn9eWxq4d
SCS8PDeDPaJwQbZHXExXvwp7iLvZaMP+39tDXh8XhkSPiFMpFEuWpUtFy6pgMHowulXWPQWSHmW7
ihx2J0tRuNVdvr4DQGDjvo7kK6iSqwBJdmZo8WlkempfRH8r1qQ0xyB1qi2BpbV1ROYC9ROBVyPQ
vfyCo9oqZoCMu2fYc50fk8SK5n08WZJxMrXC2iemP26JoKzsGuAuFEOBcApNaHF+PmxQu7PMxkhq
x6PjqlXHpipoSsVVbAqkTuM/lnZv/4b3W22VKq9fTbJgyi2kw8I+ZqlyxSJO9HTBjPpFYTg7tMyD
Y0R3MzraTaD9yhp73k+DMkc7SQ47fY/6arJVg1hZ8I+/YdmaqtQGQewgiM65ISevQdNG8SEpsVDd
2x0a5jrBvv/HV6FI/sG2i8I73hOLb2wPdtv1qI+deXLm8BEboF7bVZGTaK6JLzlafHFZu/GUtd/9
uO02rv3r21CMjtSGjpwDBQixIB++djSRORdUOM6qbyhvE4UAf0c4Yb7VrQ7mZszjT4SoBTL8mbZx
Ea+cWE4rERLFf1Ipc3E9aVVjpqluSt5INeZRl+BbZ4klfW3BA51uXw5rn1WYYhEhwPe/Eo1JIV7O
+ZgEZ9RZahfdk+CTE/vTvpvTr+roGG+3h1s5QqZoKAhZDji0S1tpcDAyPlOJ5KV5iFMrij/jdMhY
/Oig44E+Bm49gUULrNHc6OWuXEyCtc6wiCmSGy9CsKYLUGk0/fBMnX0yj0k/BNaptSLjPywoxV8k
KsmCKa+I3/Fh2/RaGRdVaERnBcfbE4/MiColVK3UnvvmFBkSJfbba7r2CXlS6IXRXRWCN5cj1lkf
OfGoRecW0uJwjAAI5Cdnqo3wDhaBVd9nqAN/vj3m2nekN0QATz+XtGVxOLLER5FeBymstsg1DLM8
7jIJwwujaJ3PZmfUh0bPtvyF144FtV+qY6wuffnFoNIMvUSt7OAcwoId3Zjb8F6NtOxzU0NZvD3B
1bGwdCfZB2BHnf1yUWPqcxKoIlDz6VB9khO53PloyTj7ohvkfGPPrO1Nwi6+HpwPUPOL+lBuoZdo
ISl0TtQ2+yUrSRGc2jSq8v2fTwqUCDE6qwf7YPGANeFcN1qSOV4aWf0RBzDL32ltG2j3xjQ31tuf
j8bWoFWAmS1h82JfagayCYokO5SDBhmxzka48eqtnEeHJtbCf26PtraGJLM02JkagBDx9x/O3eiX
VpgSaXgG7f0XdJmAAAGKqpPD7XHWngUe4nfAFdfmUnZD0LfspEt9j66Hkd05gRU90yixn2cFGCsS
aHbeg4RCavBXQIZXbwy/FgpQHSFtpWqLzPtiUWW5tyHGVJKXzI6duZKGdR0E++KxaHqI6aNTHVni
6ITdSdIcsrzJv92e/9rJF2J77FOhO3JVMwjCpPRjbvCwK/1nH17bc0LO8pQbc0rzwaQrVGfaxmlc
6WBiBgFMElEJqB5IC11+XT1XcF71I8dTgqlOnoui9t0GI0/thJGLjn9g7meB7SKvpqqP9MuyF9/A
JPqcIwPx+/YCKOI0Xqa5lMhAFZM/kA5SBrz8LQFl1750Ct/LUuxT3JrlvoM0X/oIMijtg9w7wSlQ
khaL1ck4SWCCsx1pqXLw6ZpNu9Sqkn1l5Fu8m7VnALMmThsub2CzFpdI0KjGTA/Qh1JVZPp+bNJq
uC8TOYLiPQXdnYQh7P3tpVgdkiOOdTQ7gZbg5Uqgz9sFaqFb3tjOCKtJWtU+8/MG+6Dpo0ZoFmbG
99tDvnNQFqsPbOcdegd8lVzqcswSkYw8GzoT1/PSVrxQdjAuZmdIypEic924cCxUzS1iKat3YdgH
KIFq8o9kHv3PviOj0JsUYX7vVP6YnzWpw9Dl9i9cuSD4WYLYRg5PDLB4pSKrcHzNCHz6OGVcuc6U
dc5uIo/22l6V4sEtVSM7GFpqG5+MstG2sviVjyLEtyjBIDJAQLjYB+M8JXaDn/l5GhvjmfJ7tzdr
O9/pMamDYhrTFhxyMWHIn1T7RazKBkDrdnkjIJrTgGBASXFKwuqrHpuV7CaSrNxVDojXY1qRY9/5
lhBKhiNizsfb6y1uvA8bQgxPux2JXWQdEZtZAqjxprIDYjr/GSGoAis6tfOHXS+cPWgYY7hye7Tr
yXLliY67QCKKXujl9qsUS3jxFOpzWUT5burS8GDpYXZ0pDi6M+ykuHe4FfawpuqNbGh5BzLR9+II
oY/G0Kj5XA5tdlMTdOGsPpttED/WYxVRlwnNXRs7muWC5Mj2Zdmqz20la3fmZLcu7hPNVpVmsb34
FaIuxX8Az8BnWt5+eSjHehf3+pOPwcZr0yFZ4UfEe35STDsV07AtZvfiwYEnSpVWYE0FEEqFg3A5
7d4huS6mllc2S+bfVR3/GIRrbzKSj2Vpq+/iObbvbn/lqz0lDhA4V2IlgHoov1+OGbW2FIDhjp+H
Qooeg240/3I682fkONlGzfRqOQWAQ0wM8hRLu2woTZqvy/UgJ89zUsQYLyt+We21fJhMhG6C7iek
0HbrwK7NThO8EaJb8YiJv/8QKnVl39S0e5LnNG7z+znoJCyABjBm2LcFb3++koIXBjMddgOwwMux
+tBumjA2k+fRR3bKDhTllwZO4y8tj/qt0GxtXtB9EPulSMO3W5zNgtGzQFcSzmaJ+lBt0Mix5e4e
CGm8kU2ufTZidTTruH0E2vFyWnrY8wb4WcqlU4pt38nP0RDHJyPGbOUQB0q75ed8fQy4bbhxGJPq
obK0Dda0mEiz4aNFlGm/G1Fsf7d9u/HxyotbTn8xI28AtGpL7er62mGHcgQB/FP+BngjluLDbpnk
lJqobfEFnT78lRuJfujTBlgybnrtsZwm66cpOUq0y2J9/kmvYfyu4nh9uL2PFnEvtwC/AswNLToq
QgDJLn9FlxpGP80RC97J4yeZlTfC6p8kGHv5vraL2iV1mrU9BjjBDqHULcHnq+8NaI6yvKj6YZd+
1UeZLVjUdjpMr3qbFv0jCqt6ewDMFlcGkrFyGnDj94Zvb8QSSy8/kVzTm0SNjlEBpLyDqj8sfttG
lV6D0ni1kqiyTTevpOSrplUIJO2quuyLniArxK+lpUj4RRE+bY+Fb0DLMKXMVHaTb8f/YDRZtG7f
F4NjuMAureHByox0erL8SNVd6iXdX7e/1jJG5ne/J0gwbUGyAJNaVLAGq0Qmuq+6lwgH0X0xTR22
CWFfuMRemr0rGnwTrUbyH0NHkb5GSeGcYkct292AYYq8k/UifGv9NtjYRcvoEc62Qu2WNg4BGqhA
e7GZKa87fiH1/UsfTR2+nXmahru0lczXoIza9tDrbf0NIbOwmVx7xPazLU29IZiu7XgHyqscPycG
HM2dHKlO/KqMsaRs3JhXO11UHeG0ALUCow6Z9nKnR0WnF3IbJy/yNJb2LtRUxC47I37JGoyk90U8
NPrR8Tsb+3bbr5uTiWDYFmLl6rYxiXGwkET6Asw+afXlj7CNYkCooG5fzAxITgeF8i8jruTmYDs5
xdAi6fe5bs3e7W1zPXUKZyiB0mgDg3Dl5tAaXV33ktm+gLzqjmPl9/fmFI+m2yLib0XqrjCyeC9N
pf25NK1+405fGZ0WCdQZMLIEN0sCZ+Gbw9jJTvcSODKyte0gd0fDMgb1RElNDn7BVG8/kRiWtMb6
dBTKWejqbhTWri6ad+go6FiBSLCuenBFQBGeF6B9USXTP9pSSAah2NM/dqP4u0qV6h+3l3xlPOFu
BfoARSDgbosDUVsUeql+xa8NqXzgjlOtRzsnT8pPSpYWv01kgZLT7SGvLwdeaDpfnEEiSGa5iD8m
Oy5Qk+/y14Aw13anwp8CySWolDQ03jofO21TC2uOXZnp8iEbJbM7EvrWZeF24Lq+Gyq0zCct6bQI
U1W9CuVx46IQP+EiqaBdTpUDHCAIYnD9Yq98uHenYggdtRqiV7WZsuxlbKYA+FTd+d8TRMu2YOHX
Ow/pIlaZh4X9R7nxcjSGj41xqMpXx8onnKalIeRP+uiwuL5Wrf0DgWPNRfrBfJiqSN4SKHj3oF/M
ltYSmRvHDkbbsilZx1kdwz4NQUxF8WvSj5q2g3ReRJ9G06+AP4761H0PAXTke6tL4vIl7BM9dSsu
9x9NnUw+UnaG/Z0LrQ523ew7ARZppGPHVM7IQJppMoAF2yWtsnKMsdU1rEIdT3aiFrQbjJwodAZV
4DZyoekvOfv8GYXN+HPmwFJ3uyjKP0NPVZ1TZQxdvbfGaB73TYWMwcEvtDQLwAA0uGZCi6Zx3vjS
17iI1PhzGFjtXz7+F/ObqcWglIPAYefM6Etwj1SJ+pZKlv8dMy1HezDncYoPVmr56W+wKU35mFC4
177lkQzxy9HSWtsboR74e2hLffWQtXo60HkUiQ9Yh6o8wgA3xocS3qf1oGVN/jJqTRntjNGam3sJ
J2Dtvo/jqX5lC4F8HPuZguFQOCkQHyloLNiichlKx9vnbWV3ka6iYklTHXDpVVgs43gZ5nH0arTt
8DDVxfim4uD35FPH5PTpTfVbSipjQshUiTK2WbpVCb7+BVBmwNmQwvELQOtd7m+q5x2nmygGndLu
Sy2l4VsYZu2+tmRopE2K9VokyfqLHpX+EWjuFrzqenxOMZgKVA7YRc6S053W1oz4uepTFAT2eIwL
Bwybg2hWulPtRFCinHo29XNsd9VzhyBTunfoqSYbL/t7xfvynJFwccfyOwQtYdlDTQ1zmgtHjV6j
fJ4tF1/SSP5q11rzNAx9Y7uKmmVPvMvWOcf+9QGRjvQMvTewv8w8/qaXxmUZvyk+DZ0fRoqY+mOc
NpKx5V5x/SbYJGtC6Zmokwbk4jpqKnRZEGeoXhWclR4mNYbZGmY8Ta5EPU1CUE0u/r69R5fsQAIz
m5YnLQlK2jDIlmNGGb5EjtPnr30zK8NBkof8LbKbvD4UvWDwpqGBsbibKE0Uf5tDR8t2ai4Nz4MS
V5heSlqQGD9u/6b3B//ic4kwkTWg7CwY+stajzHniDgMmfKpLurUeSn9sGs/TSTx6lMgx82w75vQ
Md00153w82SMhvRsJeWEpZRc9AJPHIfpG4J7xbCT2x6/EbWS2uTQ11OefMf0YihPbTYNzttYdlNw
KBBXf6mRgRq/oHiajcfS1wJ5I8h5129cTIq2AUpxvGv8sXzwtapL7C7XtU/Yo8/38hTMf9tdkWtf
LdUPTlpbObEXVRXn0gmHyHlwUCBI7/W2az3NrIp0H2Jk+GTqqa57dRpWT9ZAueKEIV0nPSl50mff
HCOKpv8j7Txb5EbCtf2LBMrhqzpN8Lg9jrK/CEflnPXrz1VzXjjTatFi9oXFC+uF6ipVeMIdPmYW
5c5dnVvZt9RXo36jRLMkYQvcFwwMDhSlIV7IJSkiNIc8trK0O8sN6naQRbUC0Vi5KIKP/dBYkZvN
khPeZZExYNGedpXbAsH7NAd6oB0SWhj836PZlhsp29Vdw29B9hoDRpA2wnni8q6Lwrjv8qwfz3lW
WMod6njB+zmqigcfasUuydPse+VrEURbqx8/z4MdbYQuV6eXH8DYALApy15fMr0fF+pgOeNZ77Bk
dHFg0f9kZh0Zu0EBriC34Rbe/LpEQNdNFMtA5AHTQADocs5aSLdZxxDpLEOM/yUP/cM0B/FR+JG4
MWm54452grSaYvnFh4ZE94nSyRaM9zpXFr+CkrcoFdKcchYrP45qpbUkJWfIV+jqdlWlt3spH9UH
CVpSsOulXBnv5R456gLdqfxRG+04mt2+yrRRSInAORylWYufDLPt9b00NHC9FSelZj8YDTwxY1K2
zF6vLz5+NXVUuLBkzFyAi2BYgfUBymWilNqU2ISmav+L9yObD0Wnzu/9dv5t8SMT4LG1dZAaCeGv
eMifpcKU3ggH5kSBPkbjiKgbSBxKrJefUY/0oCsTsYClbh3D2P6jo4/xWcZA+H2SNqXz1lo6472o
iUN4gb+5rOnMkSBztfZ05jqvUfRv5g9lY+snO1KDT2E3G+48OpwPq6sN7/bdfpXfChC/YLeCQqaq
9rKjX8X3lOxryti9eZ6bvv3a+0kToS8eKNbBp2f9QWvSfxEMza+3R70+mmRa1HlpHTA6NLLLBca8
c3TKxrDONnyp3gV+lxx7y5y/Z20TP3VV9O/2eFdZDOUDInrB1xNq/EugbGP1dTNIoXGeZ8AgWaWO
n7u27nbCk/7N197lUIupzWZSS3YRG2czz/DUs8MavxcZOMg+rMLhiAhgdEqcLD2M2hif0QLYYnxe
B1dYz1ImpG4PQI8AZlGyCArUq2M6fOcREcXkXs/Ksrmr/XpO3M6p6jsUnoHemLGd/c7boTCIGfAJ
uE/bSn/f0zn6pc19/FzhRdXtMF6NjnkSTlvdk+t9pwkEH6rpJMA41ogd8mrfSVD/R4JQ9VxKA0Lq
8tjtZbMePiNZgn6ZKs3pyaeTW7y1y4CDlZDZE6JR1OOWPRTT0cY6JkI/43gs73zbKndNqFvPBZXW
OwoNwf3tjfdC0r6IMpAcQJEWVBnW7KIPeTlPp4lGvYS7cp64V5VTQlihuX6SmopbyoBdHsJWRlLa
ls3xXukGgLdt0DgSLzI0kF0Pg1/axZHh9ydsopUzWdQ4vNPmTsLMatLlv6Ua2dPJavP2rlPkyQcx
VlSJW9mjVWQ7X5XjfaFqqXMAMzQYp65V8N9So6RXqCPpduKqWT4JHos1B/tGlYzk2egM/YSmQIfw
lCwNnygI1vkP8KvqV12bJW4GwUVy+6gc7sO2n/yHGsCZl6Ht8hx1Tee/G0iTC7fGKBzp6nxojb+3
V/X6OKM7AOSK8iCNBwA8l4tqNE3RFbVinVv6ZeHezwxfOuTQzel6dp2/xa960UxefkRiGcogVKGF
x9LleOCCJAgDsnFWOlxdd1qhE/0ltCbcWjbkk1VZzXxSpqjLXNL/vjhoPdf1PQA46S6MLLX9MRRg
1RFbm6E3iN7vvgOYo7iRg1kdEiCJQlmvyYjbbi/U2i8nuBXwDKzZeFgWK5WVcIaCIWnPfgDKz6oy
Ndyrc6OfLSqmxudA76QdIHBJ/ZclXXJIaF/ZH5SqzSvXzFHePkSgTE51SbEASG1X9IkrA5/ofkpO
Ueyg7+XpJ1Y8mLfay9fRoyBz4+6ISAiWv0v19SCJOrPC1+PMkUBuLCpCV84t7aEpitKtHcnZ52P1
w+lR6+cNeXOrlayUzWWBqoa8fnU7Yb1k58nQteeJl/NZcfzwRwEMFiHnSD/NU1d/rZu+3+LLi220
2GYgmoAQgAklCFq+xVKbSjMKw8W5GTHd2CP35u+t0tbuyrHx96NdN+0912N2lwUF/ma3t8r1k0wK
QUuAx5GCs70cvNALI7KNtD5n8Onv5Ap21062feJWypBeHsjJz9sDrrwA0G15pAw0SIHcLrYmMk6F
mU1xfy7gKfb70S9GReiwB9gKhMMu7MuAVCFLvtwedmWRqXsI2iLuInDsxM969fC0STXPdtgNZ5tE
KfX4AZh2Whbef/shaMrmT03dxXjKZyMvPln+1G7cXavjw9dRmSANjmWY29VSThhWdGcbP4kEIAiW
y502Ab+dnNpP2XEmLG9pQpPjVEiGvNX5WVt2AVHhC9PK5PW9nL824H+ZKkl/jvFYqYAhxpF91O3e
f9ZyJP7QGZWofo9StFHYWNlfIsikisBlBF1h8blpdDl9OTnMewaOpQ4RrMYQg5Vfqh9xmw6+sxVi
rFx+8IaAFIieKc/wUkAlNxOtYvcO59G2ovEhH7X8H3d8qu0Ty0yaRzT/kz+JaCGelNTxfw+11Uv7
uhp7f6dKvak/aoOaSCcpryWcUgMzKamPWWbmIq/agUzV7RjR8z4yD7f36EtUcHkTCMYThSAq4SSw
yzrdoMZqUUz5fI6VaHhWITxq+xJtMXr5ml++G4Mk/hAGlKd3M0rS4UEyCXD3c9+39WMThlFBMxQx
OLfAwQWMHfamlTs59IR3KFuVzl0JX6FxB6sutcdcKdTEKzszGXZFOlr/5LlVvkGz5/xF1KGdk1YM
CJIOc4Bf9O2JXm8KKDIIhAifSIFZWiRaY2oppWZJqChocnxX8yh9Ccg+nzJop3tORb8Rjl23PSlj
cfiETYAguJqL7nmrYL/tyHV/VuwqSWe3y8eYVrBZNb2r2V3W3XMN6gn+Zvas/wi7aHjkLIXOwUBh
N96ruYHDqRFV2je0d7voWTFn89db10Q4S3EfUvwTWM/FAZUyVPzHRp/PqhMqmtthior/lRM99OTH
R1SZMfW7PeL1lcCIQsuJTBcsx7ISVo+lMw/SMJ9bvY7dQU/Vh2CUPvt2yQVVyJ38O+cmOt0e9PrT
UygRqi28rpSilyzrwu4zu4b+eS7UYtrneaK7yQizx07lu2G06s+3h7sOGS+HW1w/ONLgCegP8rmf
0H6HZ9P+QJjZy+JJ3XhgriMXAYel7kJiS1a/DE4TWx+VtC7lc5lNzdHqB986Unsy0l9NI6xcErVB
XQFoG7qQxZzYyS4ak9F5IzeULIdCAipLQvsAS9Blit1FmWNNoW+cLWWqZ5devQoOMJAPDW5rG8dq
5VuKSJyrHWgeV65Y/Fdvqh7aVZEjYXFu+nQ+AamYUH00Urx568a8J+fJlOPtz7k2Ig+oBTCADUQS
cDli6Nc6nsmjclYqCQqolYQnZ9THdBdkXbCfh2YrWlnZP6I0JbTWgACBBLgcsA4apQGupZ7zfh7n
g54Zvf1BTnUHbx5V9fWNPFVcfJcPAGGg4LkJvRehznc5HPZuqtPXjnIuIi6YTELo5YRzYq1uVMGv
oxGBJqS7QSAiMpwFPEUKyxnQUKKeh7bodkqj0whKjeGYYRO9I6uS75E/ivd4rVJHfvMn5ISQUAnL
I7S+F5+wDzRtrCjNnpO0Sh5C1JTuNR/kSQc5c4+Y0SZsVMxluaYwMGDWEsSwWRefMKooLuJYqOK3
nOu7MYzHU+E03bs8DcJ3ih87OwfH4md8TtQnJPmdXVR30wEBsE2rhpULVyj5UKUB3ALRRVwhr84L
SXaVa1jZnXmS009zrSR/cqL/O51rd3BzJdPnvSKptrRxTtc2MdVptB5F3e2qztgN5RQJMbkzXV/t
5Ax2H7mSuIFMzbc2nrHVsQyoGYg5U6dd5swUoPQEjqZ8Noqq/1HFUv0Jj0MA0b1iBBsP2OpYAkdB
rgs2bVnwLlBpCNWReZVaNv7p/QD7XHLaXv9ZdDbm87c37trXE1Kh2OXJgkS32EdKrDtzTSX1jECO
c4cqPqpxcd4cnUaev9PshxNZz9GX24OuTRGECHigly28LFwVpd51XT0r5wjF+GcMKeSHTK0wPqTx
Qgf1PwwmuhhoF1AwXe7PtrHLyafRcS6SOS4fZXQnD5otoSocSamxsZwrVzmVGfBxeAuBs7pKPAe7
Q/Qo5io3jdjZJ4g/ySTajvqjqgZp36E+/kZ7KvE2GsSbXAGEH3zCxdUzh1moF1KqnS3JrvYQFbQc
5rId74XyhKvUmnVkSysbuPWVTwiMjMoVDySthWVDbLLqbuhmnfsnKtXvPNup8pNaSnPHI6frb4VP
ASzCUpAWEEBZoA7ix7y6YmyyA2eeTOqrUZ3eD3n/t2xgeLQpFXL2Z6JtuQmtnAoGFLL/HAkC2MWp
sOy8HCNqWmdTK+Xudy/k5+6oQRrdiT3tU/5WsSrdtyjazxvC6mtDE3tY+PkC8GdlL+capUaM3Eas
nSVLKj+A3sqSk6VNmX0CtJb8IEMaYNhmw3+Je0zUcpBmpGhCxX2xyGaQtHnIHX6eJTPZ142VdQcl
mv2nObCrs9ylRb1R0FvbQ8LcTWjZCjmTxVQDrJxkrdHUM2Vj6UOE3Y+1r4o+To6JOWfJxsKu9ORM
SxxJgdYAqbFshI1KCW0MpvIHxLmCBzt0MnNvZS1lg1yaHwjQomOvJKiWtVn7IGlWEL0PSyl4oJ6i
fLx9J12D5XDHIvAijxc8BMgIl1/Z1tIggRmdfogCk29d9K2mu1E+Rh+Leh4feVXa+yaeSiT1zQGG
ujEik1eO9R9wk9SssZwpdhDst7TgryMoaswUNoRcE2du2VpSasBwltHWH3y4IIkb+SVhBWCtdyCA
qAerg/QpAVvlRhOe8Rvv3svdeBnSsPnIZgXlh1O3dNQBxZaE2Ha1bPryL/rQIPBDw3iHxo11CpUk
+5jXeX9o1Uh3zS6oHwYj7jcumuvDZ6uQ2Ok5CVb5lfwwpXFsjHN7/EBAE3e7MQIDN1IeeUaXInZc
W4UD2VSyumURc/1ssB8pzgJnosUF++ByO+Rlm/axUw4fJl/r/862097DCWqkL8D3eYINPbCCN79U
IEypXhGUY+BwVbHUpwyfpDa0z1mgnMI6UVW3aeMCCltmf8zmyv95e8tfH3aRRuJWhloeb8DL6Xx1
h4dzNLQIO1u4GbTF377vDeqjpv9twFf80+2hrk8XtsIAfIifhD0sW/lyOfUs4LHNk/o95lrzfaeP
+X1XFVZycIbMf9BTfzj3YScfwjbR6l2F3uUXQ2vDApl0JfJCbSp+R4lStBs7/CoPgnEB9lSjawvG
BeDa5c9Sa79qgbzU77NOrf5CIx7hOtHLKO5uz/9qNwl/KPJIlFSEiv6SzNw6Ua4rfje9h9VhDyc9
DzkxekuKbjRB/jeYTfP4/zfiYsH92Gz1CdXY9x1MjWYn2Xp65wdt8y4CD3OKIvV0e7zlZhI+FXSA
ABgAKmcXL96qymwkSE1R9lTmenLPs6w9FZp/VsLkzdTAl6FQHEakhT8oY15+tLTKpjwos+wpsnx6
XDoex0D80sIDRIttud2aPxUE5KZdoiDacnuay+tIjE3rBKI9BW6wnsrl2F1jjOrQ2enTONKTitLK
hAaY2W5gdkqJKpat/c0Rn/5+e1Tx9ry6hwW79YWiwJ1OSxvI4OWoVqO0sjrK/rcOx4jsl56XvQfa
zb+rpkp2nmJs47KPuA4a5gcFvSpnV83BlqbBYuYvv0GU9Qn3hH7JVbWbXlbvz7P0DS1tP9xXuSOT
iVQAxP8MVDNLIFdm5QPdCerycHv6y3fof8eGYsv5octNC+ty/gptZrVH9d6Lx74/2F0Q70rZN45F
6EvOnWUk1r+K4O19o+f1Sc7bMD7MZi1t/IzVFXj1Kxb7rm+aoekbHBAnrWiGu1QrR9CtkTbXz2YU
jX+HWY+R54hrfcvLUsxv+f1pZLHVRfPsihWV+hm+WokmfYPwhXN4Oenac1OSTfDsYxt4e7UXEcfL
YgOrIzWDpwArSizDq2fBiAy5qoMh9AAS1/JHWc1VyR0V7Gb3RCDBo960dvKXmHU45WXebF0ki6vy
f4cn5hDSseh/Lvl31myUxLVV4Pk1ZohOmcXnOc+r74kDRp8oKzc3Yt61wwUtg1eAZqHOQbucryZN
TjAUVoBfxmAP+5ni/gFEW6ztW640+rG6ZI37PraneNcWEK52VJOlaiMWXvvE+ArRsxMIIp6iy18x
V2WnFHMZeBYO3HeD5vh7bWqMfWUC2r79gdeHEoAlcmzSGvH3rz6wZKSMPxuBp4xD8rVWhVKO6sD+
Udre2srb1gbj7SO2hlxHwXFxYWoK7HizxWAXH8/xiUKjnh7LtCpxd1ciQ31bDvyyeTBuB1LNW076
slhF3vJhbuzK/xZWtQLKJdHC6ThITTAfoOIO1tse2ZfhQKmTb78QyJbiaGrTjkEhVJaMCn3LwVKT
fVKW9ocpHAI38Ke3C/9S+ieIEsYfKBYu2X4U14K0l0vpm06c5paOhXhe2gf5Z0cP0y0jmZVzYZNx
O0JugOktG0V6jXinhFHiN5Aj4Y55zg8KYLP7bi7vmql3PudaZB21RBoS1y6wGt84lys7h1CRi0jk
P/xr8S1LOmAAqJrAa5Upvmu6qX3sQqAY8JB45m8fiWUmKr4kg1ELp70AjG/pNGVQkyHH7CRe2KLO
31uBZP0Jy7yO9vz/1SEb4jrazYlMRbObZ7nYVbYA2eVgc/p91ZRvtqsTPwiUKOQ00TYDLnJ5SP1g
zMY0VdhapTKcYFZQQ8pCxFrLse0eFNZgCx6y9r351pQ3IQBYV+udJZFUN6GRebra/wusbM72FFkd
bddw991ZsxSdfSg7B9/X7Lta2xp+7XML2T1RO6Mk8JJBvLqVAjXTlTTysWQyYu1Hag+IaYez/jPn
4v9z+2uvDkV1FWa+LPQvxd+/Gsq0gq7RnDr2uiiU/J2Mhk/uItM6lO4op9VGWrfynhLy04NWeLzp
Yy0ySV0d47GFouClc6fVH4vSyOQPZmyWwxfquJazm52+z377itKcaoMSzPPt2a48qDbvOA+qKLXS
mb6cbQnw2Q9SO/bKQJ8ARSB0/I9cU/9saY3RHzNzDLcAzqsLLIBsohdCEXsRr6KAxwdOpNjTc3Ma
d+ZoWCkRG927sx+Pyo/bE1wbTRTJTMq8ApC+GM1vx1oboyrBOWz0M0rzVTBb5yyzM/VXNAz6298Y
ZH9InWXwW0KO5XI90y4DPyRbsVfo2JW5A7dkvm+bYr6rrCLcQpmsT+7/RlsEnb4Kj1oJotjTWmQ5
nqdqrv1HINPGH7sNt7QP1gZ78cwSlExKfYupGQDg9V7CWzgvE7/9OMZpbO/mDnPaZxVCt7Fx666d
DAEjhgrMnXOFCaPQV0hTPUWeKml95holkjlqDnrJzTSKcKdgsJ1CA0LaN38QBx7a/3AyaA2yZQQG
DyeNyy9Z0rUvgtJKvKaprZ+NNVknJR6SQyE12nMEOHXrmVldX2QuhaIflgFLNYtWN7tIBTTtDUot
z3snQTvAVRFPGnaZXG22QFeHo7aPBgl4eJ7Qy/n1Zdi3JbrUnhlqMF2bWpmTXSNb2a61h3rDdkgs
1iJHofMgMn8YthSVFoHe5LdN3qZx6jndYFeP8hTN2uMAtWMjel25zhyYYnQ2oSPx8RbXqWY5QV9X
Wub52WimRyXSjXh0o6GejkYlzfNDYaX6luLJ6qAIwyL7qCKysAy8Bi20ql4YUXajnyN/NoLZcaVu
HJp9WySaeVQQx92ymlz5fDi50uFEBo2i/DIxCRAyNNRKTjzJqENUYxQKoHpNzu2XEQTZHO7N7Yt0
dZa8VZDVQPaDa7vcL5Naj8HcFIlnVNPw3cnHuylQtXJXVkrWUuIe2q1kT7w9y01DuwyqJl8UoM7i
bVIAo8cTAjXenBX5R33mtqXEO5vdzqi4ZZ/omINql+XOyt7+KqMujCIrYu08jcue7gwjzcZcIfUo
bWfV0SgRkrGSJtOe0hkX+V04qlrUuUHpy/aulrLe/np7sde+LvgEkT44QqNf/P2rIATRuB45EzPz
1Cwp/ti9Iz2ZvWb6Owjq4+ntYyENRMIgIhAQkpdjORKyvZFf460ZVMa7SMnzL6RGvu/Gcvvz9lBr
14CQtKBVR7eDcPJyKElvCUUQvvdyP1DGfTa1VnCA07VlLbC2fAC8QFIRHGtcOZfjFLWpDnpr5V4Q
2sYvetc2ppJdjmxHjhfu7TmtjiVQ4tREhDzO4p1A/MrEmNvJPLsx0jvUd4oPODtbFooR2ha7bnUs
bk8w2jRcrvLloENzD9po6lUJ7lf3STI0pzbnijgpkMs/357Y2vFTidOIhR224bKSihZA6BQG7qRJ
H5s4f8iGa8MaOScDoiNuN45/a10b728PujpDYClgLon30cW6/HKwEeaiS9n4ddLo79I27f5MRt1P
e6MFj7y/PdjalUatFqEq8jRoOctPJ0BbiszOj9M8tU51rmWTGyk1CA55VgPsv3M488fbg67NkCSd
vhVSs4IWcjlDB81lKdJxYLXluojc0QHeWmiT/VgG1ha8YXUswedGVIKagL4Yi/Kfqfqzn3mOMdCG
NuGGHQpjwFZK0cKthuDaar6oADI1kK7Lwx3pVmSbqYmeI4Xw7IjwUJoBBa7rg5LVof1ATvzGPpxI
zKGpAx79f0MudosNwLrEki33sgZ1kndRqvU/cKyqq51dyd3HoaJpdPvrrU5S6EBxKdOtWQJG4qrt
myFtC8+U8eWCeT6+96VIid0eP/f7SYnzT/9hQBIlLjEhmqQvmlDG3Myl4mSFF1phdhr4nK5pRvKu
y+rmkedp3rjOVif4arzFlhmMIEv1IC+8oeLZY4Z8REqP+l9i7/xnqpT2Rm1THLLlK0/ZnmojyBgQ
jou7emrYLkFTF54lZ3W2r81RhRdX2NVGaLh2FogQhOg4Mjv8+/LclWPndAEFHPyGu+p7qmjSXRNk
xXM7OW/DT77sSoG+JYDAZIf37nKkuRUsl7wvPHwBY/WQgtP4WaXhZgi49qmEfqCQ2sPu66oLHeRx
jH9N4cVWHTxnReV/iuemu4Nl9zGvam0jKNoabvGhBlC8QEbjwqtt4cDXZ7njFrkiFdT/1aDcm1bz
H1JOmFBADMTu59stQhPiZmfuVD33aoAI+t6KLe1o+lldfTJqNdnSeVvbidQkUE2Dui7cVy6/Wyjl
VRKEQ4E4vWF9iKUuQtCuKo2NJ24lsSU0J7ikQchNsszzhrFP/GYycq9DAt9/tNVQ7k5paVankszl
XWvgYrGr/bCQIQKVWyLOa1/x9eiLN0+2GhGu2IRGsyY/B0USNMcsUwrHTZArkPdOiQPT7StsbV3F
ggqwqWgOLq6wvDYRIIqV3Bu7LB5OqqQM1THv5S3k4Po4ZH5w91ArXTYCqzajoE+q4CEOK5W/nUgZ
yg8O5Z83SrO8HHChzILysRBGXfraxtY4FXPUcRKqKJNOYVY/6CMyS2luvQ+Lws//w6PD5hehLGkQ
LdbLjVmXsy+RBRaePvp95aaDX+ynIJ3v6qrtzF1oOFtQr9U9CvgBHgGYQdp1lyPmlZaUVSMVniQN
9YNdzM0uB6f1b6YteOK0Ns/YhaX3o8rLd3uzrEWdxquRF0e+bvNBG9Kk9OYmtg/SOEx3qdRkbtLk
4WnGsPKbU/rS/j8MCgRUwN6pbS/vGUR1ygBL8cJDAw0dIuwFbbccICjHhDJ7mWu829mDvvUkrW5Y
C2NxnFVAvhiLBLdMhpJOecCFY9M7OUldYtkHgXnbePpW1/TVOIuv6cwyFYnYJGgZqgPM1ug39oGK
UJ2iKX+I0Ch/SoK2fXd7UdceXGTJeZ9Mwk8gfJd7KEKtDASfyB/mTBpPMVpz8rHSxlJ7h1qqMW1c
q6vDachkiso9KcsicCFraLqxdhIPDRRV+oWLVZc8yZ1Rmr0rusXx99vTW/t4KHrJ9F9gZACTupxe
q4+8vWGbQxqqKdQpSkpAWNWOueUQu3Zj0x8QjCyKrigEXg5kKpVRYF6delZSRL/aQg3muwIKYX4s
IUlByzO07u723FaHFJmfjlQB5cHF3GZ10uTJaTMPS64sPDsG2PZ/faG0zUPQYiSxS1FRqzfiiyUM
7OVaZYZgMSDJXluJ0kOvLDmyJAwB58D42cygdo9EU5nyV9H7Yt5nepqqp65H7vScDqlioQZat5qB
Bp4+hJ1rFXC3TnXVhNG7iWDvy+1VWdth5KWAr4UhMUXwyw/RtGbQVYj/enoZzJ9yOI29O8XpdB9k
jvPp9lhrR5a+EFAivgL1ksVuJvtt80iTUq+Di1nv5TAsh09qq8e+K1OJ3zlJ/MO258zcGHdtV4NF
4wgxwWuABZIKLVEIh7avu9T5Com5laKdgs/qFupvbY+JEAgpYUE1XZa48rFupbicMq9B+crfq5E/
/cNoWUbW189/GI0ynW4v6drUhOYLNQ0Ekq4K3lZagB6eIja1lLXjc9jOdXqqCzsfdrcHWtsn4vBo
pgDIXmFGeMGMOcnJStsk1UK3V+qou7PlqWuOTTgN9saLubqQyEZyVEGpgKG83JZZ2WMHb4Jwy9tx
PEVIdT3aM7ZsbtRGlrWLw3H0/8tS4gsumu+UspbGQ3UCsExWpdxTYrzPDnPh0w3RgZz/vb2Sq1PD
zUsEdOzJZW0tyUq0gVuSX1NqI9o/XYj7aoQ46rBT2zE09zF4ui3zPBFhLBNSsZhCZF+wQhZHL0u0
IpmQU/NGC/sQQ47zzvXNudlbsz3BzqX/9w64nX+XxUn5gbpq+ev2rNfOPmkIxViSVTLVxQfFVYnb
nY6BJ2MmH7l+Kysl3Ns2gMlUAreSG7NCODOyzK+3B15bbhDGTBxALtfcIvaKp5hnkuTfswtJPhCs
o0tt9q1j7mkGN18aEGzzRpCwOlcCLrwmhTLOMmaXy1LrrVbKvDa3hviYOLBVHySp7OqfUjyHSB7W
LQ5TLhJzyVaQuz42N4HAsnEjLNa5SktjEFhQb9aoCARGnFmPOJIIdI6d5t9HO2w0t9dA0m10w9Yu
CJoK9Pwhgl9zRmRzasxJaqi4x0hO4gKeNOOjbXLxfYQ3E4dbJeo1AAuILjhVAJ84tktOVdkgt2wn
MXX3elC+GmN4rw8qVXe5G4N3oVUnP+q4Dx9i2aq/qkmOW4uhZp+UbjKeb++w6yXn/aR6xqLT+eeB
ubyrlGgsrBnQoCf5TYU/uGQ92m0Wh7CC0Ld0SzAlIPadsflwe9zrnc24L6LOPDewFRYBTQ/6Iuot
O/Q0qy9Paqr78YGDa7S7NOpm8anLZCMeXcGlijHhsNAYFJyRxT0izyNCUwg5kmm3ieX21pzeqRRF
hy+OpNW1S2vJtB7GyGnS4+Qnf0gTGidw1Xgst1iD11caP4UEAGdvmgZXfEjLgutudFbkxRWZzQxx
5W85RHP0kFW41Bz80Rzbk4RdPRmClNk7o01063T7E6xsQn4E0gewNSjZXkuqUxrIjYyGvhUTwSKi
XbS/c60z3DJpzIMVYSuAuyagNTbx5EXmwH9MA6TGyVKaTY2f62hA6G4KFRZ0KwENizP6qsNWqnOL
oOgYevNomwhU6KWSHanlITN4e96rAwn4u2ibUhZcXKrFJINbUoLQq0JotggNJ9FwTK203sLVbAy0
fDZqtTaNKq4YSHOqu4giBTrKKEqUGx9y7SyB2kHJTkDduVAuV86uZTlJ7DHymgSNN5dKlyyfdLS5
hmNlQrxHpVCutlxfRbJ4+Siza+CEQqCBY4ey5uWgFa1aKQ/UyAvQAwkfoRCPvxwlDd6PRT6mJ1AV
4ehqw9yf8qkyk41vuLp3mQgBgSA1mksRWjUyOkWrKtwd+674amnh8K4P28A4jgH1ITdtQhSzgyI2
50NMtVZ3lbEfzBzmga38zUu5rfa3d9X1E8J6EBFpovPIP+KifbV9W12Ofd8pYy8ejPxrKs81vRY8
6Q5mxjm6PdbaxkKEHRVTikxcaYujEjal0ihznHgtlKDxCXUWFanwuh6dreLP+kjCrEK4k14DLSM0
INuwYVaBbk77EuRs+w9jiHKrq7K2fMTK1O+AFvDnojYRp2pTWVICuEdN38tjWHyX+vb3NE9WsLF1
1qYkZIuJYTkIVEIuP1TqI0SX4fPs8TOG9IBKa4fOOH2BZgN5tnbHI/KHKQsPDrCQxXOTmeDgczTZ
vSgMremjUwxp9BM9qSh2MWUso/eJHfY+nEC56k691AbndjD9LVGdtQf+9a9YPPCy1mPNkFWx17aN
fNfbKQKBGYHzvh1q/cFIDfURZEXXb6Rca8OKy0EYDoErXAI2Ypq4RleGsWeFQ57sgyDQ75HLkT+D
s8KNbu6Qk3gHeXXeknVf20hIqoM5Eno5Vz2DqBtwia/U2IvAxz8CpiR+US2Mo4TevLkFKV8djTr6
SwkCOO4iYnXCCZr6MMYeumHpoZpG55MTlRMlvDH6dPvQr20nbncwWwKfT3/pct8WfV7pRpnE8KZC
hB0xCihbFxJoHO+CJjDUXWNpgHDLJEkjN4CGupOVULc/3v4VaxNGJEQkJKQk4PYvf0WtdN3cQ4jz
bB8RpJ08Rkr5XGTRYLlaX2B6e3u4tacNyWZ61y9U8uUro0IRa4eUJ7Sk0PO3N+SvQ4cLQoxo4hcw
3fHGcOuz+7/hxN3x6hIPKn1S5izD3tbUkvqAl5zlPJfzDLyC5DbaesXWDslLSUmgxkXMczlc1rS2
WitF4JmY26TvMlX2G6Qf8bmJTnXsSD8svxqMQyjVZnm8vbCrM6VEAaCD9+OqdMYzOI3QooDrG+bw
ERMk4agileneztF8vD3W6keElQz/T7ATrgqz0wD2tmassFKGHWZnxmNVdrILTD/ch9ZovbmBLegW
MthtuLmomyxueEmPJtTepMCbdT0f92FmBs5emrtg44JfW0OCd8rpFCZ4TxYXvDW04O2lLvaatorO
cV1nougiJVm1a1W1UzemtbaMlF5AFoLABbC1OHpO1md+VxGuj/SfMGmadeOnNBXawbaH+Os8aptv
x+oEXwCNNk8ykfnl/tQSiqEmIBEvz4L+mPahU+6kpGiRB0WcZ397l6wORmNZdNV4MJdENmwEggLh
xdALVa3ODugeFpOrIjHSIlyHeNTt0VYXEwgVxm3C12iJ1jQbfOvryAq9gRbFE5YK5ZMCYnMPCic2
dpEcESu+fUTKjyCbhAY9We/lYiqwc6a4I79BkjdHc6f9Z9R+8pxX3XBQhj7cWM61Cb4abvky1aYp
dQXSzl6BadU+n0fSOCQqDuTH0b+ZasLf/zI9wYUzgGhfNSi7EZ49RkV8PuQU/wCEezImE/u7vDMn
1y+N/j9c1bQHqRoTLAozysvlrEw/qhQaC15v5sq0K6Vq+twkre+ciPS1+9uTW0t2OAKGIMUj7LGs
HKgoQw0DFQsvVSr5oFLzuyuB2T+aoexIrq01BcLasuPOWPT8vD302nek+AmRGMo7ceti22BOl8q4
f/0PZ2fWHCfSrOFfRAT7cgtNd0tos2XLyw3hGXvYodgpfv158LmxUIc6/M3tOFRNLVlZme9SfJWD
8a1UFjX37aQvIlNb8DRN1PLL++NdupOodTKxRBhqrbvxiqLqrVpZoGc4dvuL0upQH6qmqMPJbowz
6ax39uJOX8P3h710+il58d8mtfuGM41YCsw2ZwRIOS76zTJTiAo6GxJTnQulunI2Lg7GM2PzaIYD
v5dvG5wm6xM1LUGpTf1XGNCcEMuZxrBzzHE5/g9fBhaVlwCgGSDErzdqqWb1kFslljUJVAmET6sP
rlLSMOqt9H9JKH7j74DMgO7fMxyrJanWCQGxr4sytuvZwcXnhy3S+gmNIcsfJC4Gvj4l+jXG88VN
iuAO4ItNd2vfEV0Wx8l5EvMgzdvum9m47gOJ7HpaMzRTzxWFdefKftmNuIEnOfPU8TgVPK72UKuC
ZNgTSkqFaljVSG/cL5rZp5hZrHdzJYoruffuUPz/aA45xabQBih7d/UWuQLyxBqqe1ud8Z1NUGTW
fYkDTxwKLemCHrLW7draxnhlp74dGHYdm4biLEcNGtPrzdOmcZkV5lLd53Eqb5O8+TyysD0km1g7
Z8VC2iHK5e+azXwtlUn66MBGWFD0mF4PWsFZja06qe8T15WADUvD649lZi7cI1Zs4P43982V2/HS
hwLQQ5oKuQ2gv7sPndok1nOOyj3RXjsaZe+dVQPbrQTrtade2mWA+Py1QXdx4PeHohUDm5xHFeni
btAknSS0IVHft9LowylbNTNMknG9z8GbXONxm8zaHwUz6rw0VAyTHjJHE7ODXRzo2ywGzGJ5YaKB
qNmE02PowJW6XHvx748GA3kgtWktUIviLO6+qjW0uJyq3gvTGMWWWJrmR7zIJ38z+Xoc3KG5chNf
HI/8cBNytniX7sabc11TZuF4Yd4I59jX7Myal2AIbGgJoJBfGW6/aL8/b8szttoCNand7tSIoG6q
6F5YuqL9nilDG4rBzk4Uqq+x/C8sGfg4vgs3FNLEfQFX6y3omJ2JXULVWIcm0Yeg1oe/5LawMWjN
0tbcypggHfc9Vaud89ioFy9cMDD3E7OxQzPFUkHX6upoK6h5NfDkT4jw6FeC6NvvY+TtZkKsgtt+
L7qJW2Glx/bkhVNueEdbm0c8/JJrPKVro+w2vp54oDTGwQuJY1pEh88+pjZOA+9fs2934fYt2/7j
jQmIYds2fzzdi1kzRG10XogS7Ga2OJvUSJATcK1hDLOh9/z3x7v0VRuqiTrI1sDbS8vAqWs7E8u8
sF+d/JitvJ8pJ+rH90e59FUbotiiYYX5wH4UNVZFN1SJG3ara58LqHyp3+m1Q4ffkOTyoF/+9ruw
AALED/pN29zu9jgX1VnjcRm04rhObnM/2LK9h3WdH97/rjeHmNwEMwz0bwhVbPndaiWFZg9GgRlW
u+ptoNrcoUtX5yGIo2tKOG8c0TbHL8IttxkKJSij7fafYgtF6XU8hfqkzT+X9GVPljcqa1BpuvPd
rMbhififhUbvpqk/NFb8ONi9/Sup+hE3IqRXzSt7dX/Zbb8IPgbYMeYYUffd14u1xG4gnoujl/bV
TWX09e1Clnag4YKmvL1qtxKN7yvlg0tT/ueg21b784BkSdMJFGmOqNl2x0Hr4kOsQCiYcjy7/351
6RXwhke0ZFMvfz2U1TG7SspQZtpkqN5gfIov9yBr6s95fU1v6NKHWVx4mwcM7dS91uQYF6NijCXW
H30GoZu3iWtT+3R7+whMv70mg/jmSLJ420Nwk6qnA7PXR5+wHJFDVRdH6NDZg4pSGNwkVF9y9B6O
Ve78JXhJ2zYLMCK+DNlFrtgtEP2xbqAg4snUuQWk2erIk85LiJJHfWgTsrL31233zN2GgroAlYYU
bINL7U6Knpp6UntTHJq1k7ifJ9i61dkq0qa7MUsayUGJ9Yg+YpZuYfwztTNeZO//ggtryZNsA6iy
f2hl7hJtVRuMxMlHJdTj2foZd3auHZbKEE+xlTXNlSB0YSUp3fGZKnBYIG+7EoKarPCRBpVMomgW
IDV1huXO4Gx4+3ycZw+xsm4VV0CVb+eYg8HLkwQGaDM0t9fLWZcFqkTuhjCYKyfQq3U4iFkfjytk
nCf27HgYki5FvEQkVz53P/ImzfL7lGx9Sjj8uzxtiG2cokDWRBXmDutpc5X4nnlG/wBLDD4fvpe9
F9h61UV5kSKa+HcruzXcefNtr0O4kqAvXn93lzuJE2MVGqmV63YBJpTtv7iaGOFEI/dKfN3+1p+p
9u+xgB3j0k67hFfp67EyEByUMdIpSvpJT8NuQqwEKWHZ3pRGpg8Hry3y/KNrJ/PNkNeJc0fK4CWn
9z94H+T5EeCnQMkRAHmq7vNUI1XKovDyOYJX0ZxjT08+eLl0P+ai9z4ARRmOVqV7H98fdL+lGQme
Pe+3bXNtPJ3XXz7wa1ZHAF5KWxCiv2CHUz46epCrhlDJtXX4URNG0r8r8FODez3q9qv+CFFukRo6
Ss1zNHf5Wrxoq1Nahxl4pfXFtGETBzyr50/vf+k+UmxjAlpBKWHrS/NQfT2mqjTWpPeljGqlX90Q
daNpOuCNVmi+m/XzNQOFCxMLWIZs77fRGK/918NNgipqPXsywoPNPk3WkHwuTO7tSeqpCEaZZ9dS
pLf7B9A1zQuEE22ysX0wVjTVa900WyNtJVL4ljaAD2v7QbtRE1WxzxPXwcOAGMGVrsYeWrGtJgkZ
+E4ePSCz9ugCPBM6K87kHA2Jpnx2u3gc/azKHO3QrfWT7rYOhDagiE9xH9v5sTNT7XOsoBlzA1Rx
uGZJ+TZqkbkROTSk1Sm87kkL3mQOTT2lS9TmY/INOnJyWzTqr3FulGcOlfOI6nH+kevqWk3rbRDZ
Usatx4lyzGYR83rF13ys+lZp5yhe6uWoZ0ZySEBOv4BR0+7qNM0/zHTT78147R8VzUZR7P0NfvHD
AfQirkcoQ83i9fjxBEzZclgG6lrTMxrzXod07oR6Booa9hqkSVa+tEZb/gK92Ly8P/iFzUdjkCYF
GTrI+r3AVopc5hgvfHyZrkqIAU1x33mLDstcTsNhtoYeI0C1u/K0vzgqj7hNHmjD2O/uiAVVJAQm
nDlKmzQLpenIyMGQ4KCrhegosw/1iZh5zQNsjwvcNjx63Zu2tbldUW9K3pqaWgNOigAh0OyXG+kO
3FbWBJqdek9VvGTh1CzJ0SqsR2XL/DSs6E7/w4SDVuDK4h3Lw+j1atN8I2qifR8paTz98NDUSlM1
pdZPU/FjnGbtx0FJveP7g26p4+t7kg8Hxr29Qzbnnd2giL4Mqza4Cxd+Z58UpD+Ejxxn/PP9YS4t
K2kljV+ED5je3bLChN+Ep0tUufulI3o5Egk6VVFFsOiZkwRGX2iPEo9hcSUPuHBHbOVEd4tnKAbv
j7ApyyUusopd7AhxjKshfprb7lPdV/WVnXvpsDKOjXoP5VpwjK+XjyeiOur9tEQCB5VPfSvlZ70p
3LOSlPp8dBw5PiZ65/H2gqR8JWBf+EruekhyKOERKverGK94XFKzlZGOJLvPAZojfcqb7tZYNe2a
v/iFqEh1loAAl4KalbO76o20dNck62WkdZPOG0QYh9Qc9Bue2ICYsuqnrrrGf/aSfzKNXPz71xvp
dxEcYXGE79A8fT3LNo/4ddKcNTKnWMZHckoYbH4m2jgJFjl66V09ZaN6cIDSXlMwubDCaPkCvaE3
ttlj7TKr0cihPxYL1zEuNYqPlVy63pmrzMBLu9QWuhzjaXVQ1NbPs6m+xnD97Zq0O6uERaifvKpx
Od1P/GgW8Vx2CqvsuRMj1Z6lHBIDbvJ9rWdrHcyKLJs0aOnD1AGSaol6U69aLg4UIGwdods8bUNz
U5//rtZl1kZFVjaHUZ8ddbpydV2IK67OoaM3Cwv8TQaxbmqLmaEvkdrN8qtrxmbgqG3+lx31LW7T
AYapZHDuyAN322GyysHS0kpGlBZyJ9RWtQpNA1UB2CFVXp8Wa1SvvN4ubH8oKJt9PO1DHubbLvkj
00XUWOS5LtfIoyyEMWM3TQ9r7qgPNbrWj8OgJTVuCI7R3hSpPf/IOhUfkfcPwYXjTo8UqRJgIFQg
9n0EE5a/Mli5yk+Y4C+pxZh9ijEFbNEKnMryL6tG2xwTOcl7QX3hlre7InJIh+CLKzUq7UbeC2PE
N1puUpg3dVJV1+BeF24K3mubLsrv0fbWYZgyZGWMlFvkGsl8yl1z+ZihYvyiGqN6Xtxl8kevkFde
L5fWFClCUmxwijSDdyGNG3NptCpVoxzPjKDvPPO2FzL1NaFXIWA7JAqBOn9Q3Ew8xkabXLmEL30z
oj6b99Xv4vVu+HR2UqDDmhZRhHT+rcbVuaMzlN6WQtOagAw7bQ623Lw23t9H29/dBxRSDQ4PxYi3
hV5X0dOk6CYtsoUxxxnKEWs5PnTc1OgPxK4ymIEunCz+7/1hL8VRVLS4PQgM3JS7Q7sYap3pCgcz
VQrjgOqN8exKtQs0BfYYguZ52C10F41yKa+QfC7lebTeOLQ0GCnY77u4lkq3I5/7NZooX2XBuB2d
nrpApzmfSq8Ycz+fIKN/G1B1Su/o1gOhLGDUo28Ya39tQLadYRqBtHzwqELzaFd9MmuTAzSJNUrr
Dj/NAhcyqE6pL1UxH+TcDf6sTt0JRUzvZswRYokbU/V7I72GFLr04AMIuAkrbvVoIHOvgxra+0nu
WvySWpnaH3K0xY+lWJSg75PsnMnFODiK3YBzGTuq6Gsmm1tvoIyizQkn8v3tceE0gBPkoQ2MAYnH
Pco15QbM3VlnjdAiO1tU5kKizTof0JwUD3qhwsqv67S9cggv7EpAL0S536jBt6Dw1G5quusykp7S
q5CYGzkFBZWdJGxst7ZQEe8xNHTjRRxyU6NqeOW7L0R1apD0eGhGIyu0f+0bCpW7ERHGKJWqeRTx
2vqdC2PVrRzt73PVzbmEdjeCbBhC7k6g2SzdROuPOwxz30j2OVQ3TqTwZwLevd5jZer3Mi8qJCUM
oz29v8AXTyGYAo4hSRxtrd0VqtSN2SuqxgprUxZMprQeNK0oGt/FWv52UZr2APVBPFqVyRN7obbu
W20DF+3933FpwjdnVd57oMjAdL3e9KXatJrVb5ve1HDZq2V2SITUMajPlCuffCEdopRDMWUTHicr
0l8PZeBEM8LDUiMeW/qH1i77UM807cP7H3ThGns1yi6eJG0HLGNglMEutS/DUsZfa0d3j1rnogap
je6zU8flDaiu7mBgyvHl/eH3BxfeMVuUP/hbNopA/fojyQQza3FXGRVd7N27Ttl+Ldol/6LKKsu5
SXSv9tFxNq/kJ/uvxuAKwx86IzwrsNvYN38qej6djt5nBHBzBQkPUsfzjayVp6IaxHiQdiYotIr2
uR3cqTuUBdWvK3Sc/VbafsOWfkLx4DX9JmZ52tx7stCcSLr5BLGCnql50LoclEdZ9M5fgrzIPelm
usgUgRqgkr9/a5YeEtWwBp0oIeP/XFV5G1R9XEX26s0fJM6uUPfca/Ly+2zh96BUeZlrltnex+XE
HXNh1rUbFeCPAk+4EjzZMDjPjVl0DyiBOn34txsKsjU6w2C4WV6S/dcbqhU9S5cKN5IxJG91HMYP
6aJ2kTUqfXbolL55xj+gXq/cBG/3McP+podScsMddDdsMVqNZZapGyW5bt1oxoitNjmo92FMR/1Q
1dIJZOws18LRPkYwvxvYamsLb34IexBNY5Q2avUee0jYIzI3Tup5h8o2Mct5f1ovbFYGoj0AGB9f
gv071uzGeEgQGI8qhwIMcu3jsY0t/aaC6HwlJFwcCnAEQQF7kDcyU33Tmpk3525krWN633eWDiOu
FcGsJ82VzXJpKO4zHsZ0D12Ina83Sw+tzIFp6UVitNp7TS3nIzAo68s8Odcs3i6cBL5l6/9u+Aga
PK+H4lHoIa5fedGoJNNjtzocP2S/ozlO0qdeLN7N+wt2aWegOgJWneryhgJ5Pd6iNajKOZ0W5Vkx
QDVYi39jPZ2uTOClbQ+MkqYvBagNgft6FJhCwEzI6iLXabAUl1XfgzRxButGQB+OT4YV16fJyNxr
8IxtZf58hmwbfxP/2/Amv8t0rwd24h486lgYkdAHbfUxUJS3Jl5n595StDgAgKifKluVdyNW3UoQ
W9VV1Ow++fv9EzBKgqmGdtAbyEtTs3e8xNajeWxNuGmm0xy6simPXbVM6EzZpSBLyLPSX/WS/tL7
63tp5p1NbJECKbDrPR15Jhy0ppkYkZP2+AQuojtPNQckU9LuWWaK6/c4AV95/F3aVFtk3T4a/v/+
vIC9UShnpVpkIFR/yGjb/ZMNTfvt/U97k+sxs3h+UVq2NtQsSd/rxVXrxk0B6utRXXv5bU2TJrSH
Hkc1ZdBDeuwO0DZFPLQJLuzlINfm0GfeNenmCxOMG6LJFLPH0KPaYscfNRvdQihtrTwtWixzMpMQ
/+zeDJBMqbSgWoylGMKJ/lWiB3DsOCPB+5NwYXdhEU5dmOa3Zb8heWXGNE52r5rROCfJfVa52qek
GZxjikDWEMh1qX4ZTq0cXHe8VpW+EKqoKWzFfaLithCvv5z7pOll0ZpRlkFROCOQN1pBD6vnq9Ev
lkjDdphVPbkSSi7EYgRoWHOwMQzr7tA/cdJ66owyUrQgDBbG1tp/hFnhQr027PP7c3shePCO4S2z
UU234vvrD0TAIRGzEHqkGHndHIdOn+3D1CXCtADYIogZpDworMfZVOrsucUJ+qaehSf+/jShWMLi
MtUs9H6esa7oyI48HW9kr/T8ITPL0HWEuV7ZShfWE4kOVhLbU6Tt98fJlbPu9mZmREPmJf81FKQ6
f7XaPkx6d/bHdLpGYb5wdDY6ASVP2nF8wG4DrS6KTI1eG9E0q+uPci5oA/brh2wS7gl08Xy35l51
pRx36SM5LyrX+DbwHu9k6tOIK3BqRGWPobY7TyZ4IzCxmjWaIQ/jayDwi+PR4GUH8QCn/vF6D6Hj
RvY6Ic6a5WZ2cGJzgf7V1QHSn+WJBGa8eX/PXogHFDcgKDMclWRv+z1/hKOCmyAfV2FHZTzpCOlQ
M/aWb2kq3THEdVpbknPcezR7kbtPleU4o9V5DeR5ITBT9Qdf5cHj3aTTtoX/40cgf9KIdCjtyG1N
V4hAq7RUfJ6r0SHF6LJWvbPyfJr0cPDyOv8EcATtwKDXGzn6ZbwU19Lft5PCswnTMR43VH7fCGou
Hr4esmntqKbCXoZJ04+3RW5NQWKYxYcC3acPbl94L65R/w/XP2MD76ahREXkLXllXCElsbmiuVyn
JeAuQWcyGZvCCRS1EdPd7A7ZFFB+0xK/B+v+6/0N8TZestmR3+Fmou+NbtjrtVj1odEyJTYjvM0b
01/raj5N1Wrnfqsa5ZVQ9TZiboNt6pYAYcFTbD/mz4XPdW5Cs7Yip85k6OZpfSza1Dkbc/9MAhK/
ePg5PdZGWp/WccrrKxHs4vDMMeVOOD8QdF8Pn42ZsLBzMiPGk3cg0uikVVb8cU411CVkLB7SETjs
YXZKsfhmzwv4Srp1cbaRRd5mgUi9R7d4aJU5zupwHVtV9Umq5cden5ubbFmuHfRLI0FnJfMBukL2
vjvo3drkrZ26ZqS06RnviPjfJDPVozkt6V9W9MCHbIgJJC+xO2FldyGM67atUTCygKp4vXhC5wnt
riOogWp5qtIRd8gD/sTeV/CcahKtqP6+/P0W3lyBuPwwgXxjRpYZRV5arW1FxTobUVf2y0c1bUc/
bXGSen+ot5nr1vAD0U3PZDO62/7/Hxu4kIUxNpNnRUqC6loAsxzodmIb9Zf3x3l7LSC1SUWHuji3
+ps7fcUaQ5iidSLey+lRc5cPqEBPqV/EquE38XqtkHVpt1A7Q+aA8EeFZ3cwE8Fd2I6MF5uTXPy+
N3gNDXNdn+2pFlc2zNt7nY+DhrwVAbiE9p1TpRVOyzPHiRq3tF+gx89d5OHjUv2U7mJ2P/QZpXS/
i4fGvHL7XZpWAgySj1sjnVL/6+Vzh3G21CK2o06lZe67luIGorGsQKnKvPC1pvjn79eRVIn4SquU
M7LdPH/sl85odbdJXDtCGkkMZ7c0ys43hzJ5nLrKm0PoUtdqZZdmF2AN24e0GzjTbimndnKNSSo2
Gb9on9qpns6p09qPlhjL85olah+UblZfqwteukOJZ+TDBlnFG4sa4maB+CI7yOlMEQygInmwdkV5
l2ciP2jWIGU4o37zvIzqX1pNcG1TEQEbiU8IqRuX6etZ1hs8wbI0c6M6VsYgXUslzKo0O86timMf
bohXttGF0wJ9wkUHYdPhfZP4j7ra9JrKeBR1rRsAeu4dOlDV99lwtSvV3Qs7lt2zaRJuM/umuuss
PGLNVlKZs4UR4oqHEGMMJWQttQl2kXONWHRxPCqPpGeom9GSej2V+VTGthNTgKyHqYUJrXgPq12J
f1ZV9g9VMV2DhV+aSmrJaKEZMHKgur0eL3MmfLkVaQOwrOtDvwzcxjnAz8WQyjV4/5tWI+ndJrC4
5fbQ6VDZfj1YXleiL73Ei5BNt45DlSmfKjfH7rVu5TG3ui4wFaMgyjpyOmgojSa+E1vaF4qyxhXY
1Nvjwk/ZOn6bFhTtl11gsDNybPogHtcVgrqQj9IvtbS0KVyzobyxNWm8mGabNEdUGuof7welvbLy
luZC6gKFjyUFGFNjd4vpnZvoGN16UbnqKhTbuu792fH6H72aTaW/mNV0Y3rVGCpxo4y+1Th4F1re
YJYHaU7ulxp3oUdHca+dY8LUbv+h6UYyzNNkO1v0rPbvoaQVomg6BRVMTQcg1FhFYQSUx4YhSIuk
Mny7itXyMEnpfOgsHvr+0MmF7uGIER86VnNXHyzFGz9jZWwZ4ZiCAwg8Y+RdZZSN1R1sDeGpGAUR
K1wRwzKCZTGxAEYAaznAO5Hry9bnOWuiVJRgtuLckAE6qPoyBHnuIZUTVKZeamOwIFuVjP68Vlq+
BlM/ZfFDvqp18YVuVzf9SFS9zY61TY5whr+Sp70vctuKX5RR7wbdjyvDWRCkKRWZ4Pvjdt38a2q2
ST7bcpoVG6XXap4/mWaXZPcLftPjMcVwWv1GaaGRjyJr6uzGEKbifbXm1HHPsSppIvo9V4A2+V47
xf2pgRuI3ZW+Jl51K7pyQhY7T+zkxlaFiWPN5Mbak+W2IF4LMU4iSLNksVffgpcl0ChUmaG1KNZf
Y6bKcvQ1c83Fjex0uFuedLvs1CdzW91JV0zmY5pgIRDh4mxmJ93sSxdhah29Lx+qc3VuhaeWNzWM
0+Uz0IylCmqt7OJQ96RtIh/YyeKcuZR6QwPLDemjL2FZR6XrYzfEzEGrAto/SYsnTKL3H+ZR09ef
SBbpxr0yWxhGQwMu8fPyLFl1D8oCtc6fXPqRT6Ntp+tPS+mK7OhikpLeDyNODcelUNThg5PU5Xoq
bBShD1D5NzaVVkEiiEC3TclyA/x19YKuLBf3Kx6QzfKLtvaiofFu8zK8LW00h//FkqFuxGEeZplZ
4Qzf2gyaFjva3teMtS1L303rJK180FnGqAcLPbZNk7mBs/VZHxHSwxM6Vobm3iuliA84lQ3Z4JdG
kyg52khoad2tdk17TWmWYT7rkIb4Z2uZNSIL6AjZaXYfr4PT3WcKFDQsVG1plNoha2ttPS/0szB9
7sCDKg+JsTXcA2Mo7CQNxFzZ7RfZLFp5my+2GR9rowTwF66jkidna0F+ow3JpTv0VCizusPsa7Kd
0xmO8Aqy7lB1HNLKr/tY2Le150AmXmmSNDdI7vfekyYyI7cDbcSy92GKk6T/mcRrkQWoieS9FqZ2
NfZ9gBk3oB/Ta+0CfedYITB588wUB/QlUiSetSalX3cYrVWrQytflzWsFRCp/jIqnvNDQf9owydq
zX03ybzxY60YPH+jG1UvRa8sYzgIgdKOxzuXAnfVieKFmoyrINgeD+K4tjT39MDQU1t/cGhxrod4
6k39brTs1rqRrsNT6lA2AEhOuoyr9ntc0SS4rSvbXZ/ncmqXNFBkP2p+Pq9F8lNk3QisR9XizCOf
zVt1VQNdUe3+BP2+BvWkOA1+Oeu6qjGxyh0Tcc7V1hlvoIbl5f2i9rp86i3Z9zNo1yT2oqVLrNWv
mtwxfxaNjlm5r+bzlPuZ4SkbHHVy1PhnbFaK/GGIRnQvaI0u4rZDSLH4mGQJCjJQcRLUvag6mdTd
ERzzW281vae4U0f1NoVRuUa5Yve6fpM20omF3zc0Dw56MqDpcawsG7wEcsmV/T01WiX5NxunzgIh
ROsyTPUxH0+FEGp71MdJT25Z3E78K5Ca6O5x91Wk6ttmoXIWUF1K53/GpC7WI9QwNy99bbSm6ZzM
CFJwzbiD9i/1fTVJfOQlVflRiTv+keFmcXHudImiXkG1LnkUfTtOD1raKtONKvpqeWGDOHZgzEs7
BnZn9uI02drSnlN9UtOzHMS23etumf6RDfoha9QNCa0neyq1/GYYmhnnXJmJiSAlFBpCetJl2o8J
AEN/k7ttPR6XQY2XH7XgQglcwEioudqNu4luGkm3SWPPwu37l9VrTISF49aEuaEmqal+hxYqrNs6
lVIOx3JB3uorqlPIP8wul4J25NqpxpMnbE/02HsB6QxTCBeDE4g1z5sgj+dZnLkD2/YTwhhN/xWk
nCqb0B7RUf6+SLYPl8XS1w6PHPBL4lHXMiw2ChcI2oNjp9Q2od8jWk7fd6m9APFSu7mp1DFTbhjb
sZ/XWc7Z5zThVN+ovFCXs1D0DIi5ZTUy80vTy+6mwY4HXqa9W/6wbMWeo5E+yCbROxTSeqEDUJRf
ZSlmW8e/ljNzriygCg2XZtFrp6K15Dj7kpq2fRqB/AwfqTGbzYGMvaE22QlL2MIHpsZrxWsBCj5J
6tp1WOcuwAO/sqrGxem0ybBnEmTR922OE3lYTK5iDD6I5SQ7VFCulaBWXLsf/WEhDfVHhEWacyrH
jsuiBb4bsLY6EhxVZtrnBO+S1d+8V7zIq9UmDQt0ztJvlt148tawl86cw8WonPkW4LvrfRv7Sck+
JpOnj8it9mNnnLvOiT1/6QcYRX7Z2kJvDyrnFLN4nCk+jyqI4btxNWPlNK11lqUhiOHMEShT2tn6
o+hnUf7Xd63KL2yodHtPGNG060uTp2aRB4IX8xpIs8JrLljMgTXFNc1bHtfBM+QR5xO6S/8Yyjq1
ZsA9ucTPMbIFR4xX2gF4Wb+kpxpeov6QZDJtInpnEFwPcD5ilIG0bUZKEJQ/iUr1Eg5NVR7QNYCU
KfUVpep6Xcv2KW8VlkrOeCUGwGtUy1eEZ/1XpkX27HRdOnFzY8B0O45TT36WLGNULDL+t816uvAK
Pn1tKFNHEQHux9Y3K3fd7EGI2i1OZe929WmsCxJwFQ0MeM6oBh0hdmIkOIpYpx6K5avHbx21+mHu
YsthNODOJ9n0seaLaZh+Zu6ImrTrJtn3zoiTl86QKrDGxJm0Y1aN5bNhJLH1uJTrnIeAQEZUdYpB
bbwTZBezOI7Sace7pai65KwpI8jNNuMava3Ken5eDCNentrWVbxvcV1omQ9n2P5oUkBWPiqoV87/
thV2HFqjTUZA2hc/ydViORdjsrRIVavxZwEBrghKU5jP/dAYT1gur6bv1brXRqgWFge5EYFu1EZF
mUM4y5AfKm2wyYTR4iS1w5JyCWQiteZEtE2ss9D7xcSG1uifBV2AjEuBafrVNWbbBY6Gnu3BteMx
OTSmSJ/jiQ0ZaI5SPWdNK34WrjvEJ90bG/l9rRyj/ClXdEUD6RQ2uzkVmrocEBzFIyid6Vx+J8Ec
vQ9K0Tbzy6CjaQdyN1mq84psDuKclZJXd+RJgkp2X5DMdFzmLfl63DofuN4y9XamOWkePFeao4+A
sKseM7brWvlGkjv/xWC3eJx5PA9PCdgVcWpzsuVglk1cgAmYzPFJ72gh3o2amOevpkLbyhfNONch
hheJdy4amgYkUWuSnPLRTgzr0Fa6zfaxjMUJBzN1sOqSWAJ5GmHwbppGNTtpZqLYGemdZzf+OFnq
x7Iol1+5WlfTweKXfCoMxRtCrjBT9213muTjGkvN4xVlkibg875KLzusiBuIwCrbtjgUckJRn/Zy
lR7yVsPpWnETR5wb+OXeN67PygpzbinlRDNtWWN/VdVOOcwNhDB61W5VnwrD7eOHtCuM5EvhdE4d
zkLtjVM+m2oTyNSyuiOqNdl838tupKMk6r75QdVkLEPFKbjiEoNw9q3N10a/2TCAGSSFefHOiTEb
zRfDnOwTftEd0J/KkGPlV8VSpKE329n8xMvCmQ/kjG4OVLPV1htdQBzltYhIcxFHauPmCcfayJ1b
IghQV9/q3M4O8qIdjwlQ/ulgz14lmFF9oPetL1V8wMFndgKodml7WiFqDb7pJkX1pelUYzpWqiHW
gzMuozwUbhPjr4PRjXqz4FVnh3rZoRiaiwI6olFYify0/h9H57UcN46F4SdiFXO4ZeigLMuSZd+w
bI8MJjCCJIin36/3ZmurZsZutUjgnD/uc2TTo9cNR9YPZI/bvEKMWOLCXnVo9d2AoiKkQKGd7Eh7
F0fJNbWaUHT1fVDqyJlerM3jqt0z+hkdF2A+hI/otti+i1Tn+Hk5TUusWYkrETHAYjt/mMzmkMfF
UUTeoK/Hr1q13oRh0D2Ox1ASgP/E7tz7fyp+ozJfaRfgedscxQ4nfP6qJemRmTp6Dd+OEvVp3qwr
S5AmfuszRiTPuzdb3ufhe7W+OlPZQda41e5dHbGq+W50PUHrW3y0fVrbS/JGxmLwTtH48StglrVT
PW3EWPbrMcZ4U5yjK3iLvTlrw0PEv2mps5vMWuFccKR2hvTysfWunun8V8m+BVCyOMl0PXqLUrLJ
6b0wJTjkiPNxHhaV1toi4LSMEy1zSx86zoZx2J7X1kEm5FQaZUPXlK66bwf/4DzAIpY24JNNfjje
XKXDrUr4outWeFk1jP4niEdSn4Y6Vl4m5NhP2US0zlg0ZkTD5cVV5FOT21Z92scyPCgQlFxzRuKT
XZbeDlPfVfG/ZFvEz74iwDyN/Cr8Z8+J+BOayMhsb4ii8pJ5dPhH5fEYWDdlgt0FW8TMkTRWMSa+
6FJ3FMHnDiH8r9Kb3LKKXpAjC5NN/mrpjWd1qjkGckTjA9vP2PTl1TT2StvsgILY9bo6QPEJopIr
v2bap43ed1KPrIU/gbb2KW0hmXU6kXDxPZxZTtLa1WFT6LaLLBRyUddmO+5RPLf72o65ZanF4iyN
1td+l3OSlaAYD9ZG3F66ydVZisk/BFnsDJlW6i3HLVrcP8o1G9xZ1qk0a+9kNctJle3DnEQpiY7V
c6/tY05Dog/NeWMHeQ7b6iY5LwO9nTDXU5TNXKAe6NfCfav91XxiBGbv28vJgA5MmkhtQUzI99Vt
hiHbI7/9y3o24BK25mO+6Nu797DR6eFkzlTXFLBtCU7i5Ficl9gzLfEIdrK9WL7frnl9HFS698il
HnbSaB6xTXRjlnBAEpMolvGfuzShXZQUUo1EK1nDWUnO6By1VLNkEW0DXJaaPNe0E6zFqaUTmFOT
9KS4LuHs/rNqip0zZyFGJeMp6+ZsI1X2m88ncwq0XqIqlH1ok1f1QaReC2gRpW29yu9j7+o9jfXI
7VAtDPS5CGvnr/RsveXr4DhN3gA88llEE3I1I6R6WT1NP1cfWtXvwVV9i623ta2UhRa1e7B2e85E
qcTJsJw8IrUCBSVQN2Ch0zgeCsKrwo1c2BbLSByp8Mc+sGSrWGjB3huqD3jyPki9wHgup7PxNFl5
NvrKvUEaWOqFqLJkUfyCmyVmwIlNxU7geM1a8h3fJjiXzoIqH1T4X2TdLKrSPerMbaOJTpCD98Z2
PtpqiW+bbfBnrBvnl27jPU/mg1gdu+ybp3UDbOE0KePvkzjm+jR7IRduheJnSid0N2Agg/E+iUd1
OqwUwchaDnZw4TXrPQ7KyZHpsi/aSxtv8qO8d80h+LN3WRDONOLy90iqSxEuVXvuGDF0fDtcE+mi
HafEByd9PL39ETKDRnRc3AT14Z6WU7vhQxXONqXR2LiCAMFBytzpY/sprBdlcznbxFEimU7cTIRN
8p/vDTVeNg6+z9qtgjoNy4jMxWjehlfmH0VAtkefaHqEtCCnLtPA/op4sUQgcPCxJt7cCWTF68gt
VYfF0DOO055Fdaf957BE0cs34rgn3P0gXI60gzIP6r7+w8Tg4ryZVuu/fVjaoNDdHL71XMoyG9Zq
ZL+24+qf3ahBFcBPxy/pDuuQy5WtLVUVzrTM0LayvCFcFvK5ipRengbbm+6iLazf6maO13SonOZx
5ZLuTyZG5nvXqYkP2a+RM8AurOVYiF6WFHvuqskaPXYBw70H8+gzx19awMQoI+IdHx6G8LBMebbM
kEkAieqEnK0bTj6403ECP2RpGah6TWkONdzrw1ZWmU9AtcpEgIe3YLiYm/sOnLkubBiV5Lu9mRJc
M9w7FkWCn4/dquNiIu+SnX9Usi3c1W5ew9ry7avLG7NnGGP79W9n2Sijh2721wdnAuK/lisehEtZ
G2pJE2aBMadkd34bPdMAu5DShMiidydQYbZklU3HErGjj67/eMCmO6nuyXhAax0G7lnohfaJY1sr
/hUV+eLKLKLtLJaW0antkZCRQZjCNTk9dU2XUZMQl8V1gE9HVT7/tFv3baTfaD/ko2WZXuWb7/MG
u5Rq2Re7QQRYz2PYnglfbxpoEDRHGZZHO8nYyLc6hWCvlrOc1p71K5n34DMKmmg7RQt4UNaptZEp
cKhSf8daBxAKFrtn1og4knkfB2Ropibu65gHwB6cGxz8/6FpNd8NO037Ght3/0C+Vo/ZOIb8Vb2i
eOOxakDXz71YrTcFwuum0yznGgZqG6Ih24zlYMYayvCf745ccD3pLzKd6oQVuKdbm/ceaY9V7GxF
OjPu4l7HRE3TuUd28SHQXMpsE9i5JzcYzKkM1vljbpNWpQdPWpN37HuS7BEInYKbHsjQG5YqKvxI
Rs+Shhle4GpX9qkNO047jvuxiJLaajOoheObO1nxpy2suLmLhVmdF3eaJPONy/BW4E5e5pRbZfIe
b6jtROXgYcw1QpD1rcazseT7UiEZbSUv5ckxGwHnvNLrniUVu+8VE0r5MtlKTMU6Bs437txE5KW0
+89lX4MpNbfYlvuazlG/6P2J1SfZPe9bB1papyOdxH/aiI4OGnM4BDBQryNwRC34h2KsXC9bQ3+6
0vBo1kz4cv3H7976WtekH9OWeeAfeZcsN/3QmC61Z1/DRUyivuVGwSGckqYTTaHaLRFF0+9DnHXR
0v0dPDMuxUjiCfevObanQQXeH/+2+KSLYX04swxIAVHcDXd9zK6dH3Hllvk+buvPWg7h7xA+8F/p
1MNvkVgkApalNTupbXxXF1wuTFXNIgHDFkkgy0NLx1NBKeEy5C14AD8zW106Bu3x3G3LLDPVHMEr
v9vo4GX2+w9/ioaWxJPqlmxbbcGHZNlxsng0q8/4GkZrxmeTw0m0/QZuuMRcXyUhHX06+KbSxcoJ
/Xh7K98JwCrnLMZtJosSKsOcQoCet0lHt5SEYH+f6S3Sed1KM10OV69v6Fj6KvdnZV6mhRuuiPth
Nfc1oPBRsGbx66oJcEgyuVlQQS6NfIKvffObLCQJYc5UOXl7NgKR9MVMe5BKkxUlWRrormJVIxKZ
77nqwzozyjdPcr3JvSSzr+aX2iQTUMFSR3k0T3HedBuhOyEBjCewBFecfHvRfx3u9LAQhxTXjZiw
Nu815AjE3EImzl5WoB+NP1Sn1e/5Bntya4d0mOrqbR1CMHWe3f5zcLRmVtrDvc0kIY9jqtahfzFT
PU05KeLNO1S7XWew3Oar3FiMctF1c5CNbR2/6WGaovNkpvJXMljd3W7Nan0QoV9d66BaQsZ7Z39v
gl25WYOyQkMtqf7I8RXR963qqrm2ZoqSU1wSCZ0FMEcWm52q7sBadpUGULd3k49GPHVnM+/ZZi/V
PSqkds660C3HvOWiuWMbnkgciGZP5XKhZSabDwQn2TSP1Q11SwYbDwG4JhDqNkDltuJWSzIZ8b4Q
1DQVAbwT8xiTWJO3wlJvzNPDlm4eDZrpXrUuhm8s5/+8MsYi3LqDeeQHN9VjEFjVflcfG6u+KwPx
OyaHyUrnDRA6uxUBP1KR3XB2U9L9czxiEPS41lStNVO3fpr5sMr0kPFUZivYxHESmOc+bI3H04aV
+1lWofXuC7v8TVPBEjP3tGDVh0kw6gK/tikO4cG+mz0xUHzpVMG9x0y6ZZ5/9O9mFuU/zQl8pCzR
7bOPj9RLwf2HNdUErTqZsB3rZ6MtUtXbhBUwQ0ZtmsKijw1+zxu0m8qyj7tMrtZNoNe6wE/tmJBx
tIU8iPm+4SIsfGVqRr1jDMI0XEfSeYZERHWOhXxd8tiLIRNZjXk/dDPvMCNW0MsUy9O05fscsAvY
c3V4d8E6WU62rQsI0ehv/UtEbxeOW61oEyNGTP7X6KRHk1RK/Rlt4y5OR5BYWw5etJVXS8y9+2Qh
Hu1OIgTs5bquoweCsXcXCEfWn85KhiGDrztI0AL2RBodpmM7OX7nYO0KbW7KcXN4N6LpmJg7D13/
8EYev1NUVWpKB9NXX/EUG+LLHVXzx4qo8nMLupT/Xrp7fKnZaOLTGlQgaNqpvXPiV111tjrIhfM8
9uP2pHCTRqnb74CA8B4be/LMJFvgHJrijGm2qdnfOKNP6L7K/VI6ap2YQ1zne6OjypzBrhlkF1nt
bR6RXaOfawzBvDmdBLa9PejfcDrNZOV3++xwSdBh3vHCUzQHEpiYfU9FGO7juVaLW8jKn9RpGFdq
zI81HtsUBCGxL6HfBT84U3k4qaVoefq6XRypF66BxQXPUIItfT7ux3ZWIJS7pY7UArGqUwXLB04v
Gt2QIqjiJNvtsJ4yt6mYHxOW5S4t+4TQvQFk+ofL21rmenbpuhj0SnkYjx7/OwmnvZPNkryZweJ1
RvIG+rj15mbg8nXz+4DCYarpkS0UlThc59I482GY6oLytycTQmk93a0mtyOruotI3/mhqgoVsxPP
7AmoS5KuaMJdjYz1SC7QudkEcLfbVlsZzELwgTm32TLiC1qTr6vrf/aT0ITbTF78SEAjg7vt7PMD
/MUgzpCGjryLo6BsHy15LOI7LrPJuiA24cp3jL9B/I/O8TOp1wlOTBK5cB9MdaN+8EQsbjoHiuCM
hskBbL509ybr43CD8POk1xR1NUYc91G9xSexl5BcVuB9S+aycgute4t/uw1rm2hoMTCg27hRH28C
u+NpB4CRH7yGlWzTMtnd47HrnUa+7dz5H6Vw5fFGfCBfOZFYsSw8sh7++LO3yBMfi1JQShFK73lR
OPp+ttpR02OJrHs97261FPHGdH8ZesmVOBqiUlJ/9sNfevAUMdKSl+4ykLjuXex97O03H/mCyY9D
+kuxxOHMoUxuzMExqMyrXUt5UFG4wRulxpmr4NwDXDnp1EPoPBwjyEPqM7Iqyp40/9uCfBuWcmKf
gqsLox59dhGCFBxLyaZfRq34heopdhV4aRMMb81SWTIzmzc195StJd5ppOMheTFbuFknFQ7bWJCi
KIf7KqY8L/VcKNRLYHp7g2r2apUNvb8PD1Xd4Xq9fUn7fZ+YIPy+E1WvnxyeMMEsA5kXvJlgoa6j
QPo4T03h1yzGDJM0Oz22ejz+9ofk3tq4di5z7JYfO7gT1qNNw4XBvMdROq3zvOVlK+Y/6wbtV8CN
tb8MAqGqoMGtS/ItPHr8xqrqnrYgPORVWOuaAQdt2WRXryzUM2da+8x981GGcZkl4Tz/6fZ1vnKi
BZ+UBftslLR+/jJ47qwnZ/dZdhccALwx8W/KYcePaA9+tKR0ED3Wje9ii+uUR2RKPblycOV+O/Tn
ehbdh6O0H57ssVNABZX+Ffk6SbirunL9r/Oc9im06WVHvTGEa+pPk7Hu1qSOhwxdDlhoM88E16gt
SL7MqqAqcJPXFzEFCR2KGuCqLEX0d/J84Z+4/RP/2xAdo3uqmNZ0LhvREr1ot2EabHXoXmgjM2dI
c+8evAtczx/kNxcp6gl8I+5Tq662v75LuvmCNILzxm9UMcdjs532flD65NWJa54bSW5QFRARUsD4
94UdVESyYR8L8pitBCInaoLfTV8BA8Tr7XgR4ij/QGOPv+PmeEZonvR5G1EUka5z0nN5utjr0sXq
UZhZkxsVs1CAowtN52tudrWdaVT25yxUtlSU0nJHpRUtrXbOo5MMKafr3DFIsloobTab19ZnWaBw
Yn3dyn25LjUOX5ampP3FgCCfULrarGDhHFxmnkmPbWz10GaOoo1PXVdX/0jrCoG62eZ+euQpOaxn
8fF3ELgVsr0c66+o4pcSBKZSr/hNoxT5XFtBvq39UxPoqDvR3TV7n9MR91/7qFvAZluBTEeqOn6Q
nCtYD8wNAAoc23poZTInnwcKIO+p8frtszLz2oM0Sm1dym7tGoQ5c7JzrKBeSU1g7VEuJ4u3P1Yu
fOGMmvjslSYqT5Md1fPjZHV7CN1XBV9VPNj/IYkVS4ob37a/HUxF2He8em/ejs7GOinjLf6igJE3
p9RNW/S9XqpzsEcwrzND2AOSqvYOjZVD3olAzeHzu7LgMfRSqKAdxm88giyAo9Stc7KVvexZHVI6
UuwMv1OOKWlQX2qs1g0tjstlY3H+OxcHHxOQ5gTIlnuwJdvDMevJ4a+bEuTjXNDiXDcx5fBsLapi
Ru+D5VQ5gdgzBEJ90mcdEpA2LyOHToUu0Yzwswn5VGHJ9tdFyM5Oa3L47NrsHOPNVL0suana0cqc
xhl/hB0imnSv/ZV8kck0cbqtokTckHigox5BFwnDjc9lEFtVtKQzWn/EYHvY1ndidhKd6nEMviy1
9cvTYW0Md74hJRIpCs1DLbGkfykjU0O2+LNW9J0J5DN7jGg1P3rVWWl5NON61xlzuKfbZgD4ZfMU
hTuIe8qt65eFOri90kRHVN2J0UwFtAPKj0Q1CZIjf60ZHC2AlFurE4qXBnURi/QxQWWMVK7Od+FQ
mfAS4flTuQpmcVw70fpVUfPDBKdN+/EG6RP0VRr2TfBY6aZ7HSs9/2ChKVm4Lbv/JkonuHLXKDtP
zDqxiZr+BtWvnXWdpREyxWk9NEVZz/23Axr3T6OP5MkfvXFnjpnrf4qREsAZBnbIxAqhD9BtNvcS
HR6zF/K258Y+ti/bqtst1YjnvFROibxvhkZdJ4BGEljgum6TqUMttOzcL5Z2ifDQc+X3IZJtk8+T
A/XWLqJzUlRcdpQ5sdI/u0rqK/e9uadS1Ibb9CvR5ZxOr8LY/D+okx1LteXEeRd3BzHMe8UXH5U2
crbQGfYghf44kkLF/nznNt3+4ZMSH2RDWQ66qPeju9Mwc8MdiaOdTyK3tQaYGqfmxRV7u91vFDT+
q3tklCmufLJpXQgwjzplZ/443CE8Lbh8UBPQ1hOfeibqW9BV3bCaWNMSAZm0ZZcqkzCMu7oe34O4
kV+chwhAWtFVL3ZsV8Xtqjd5vHpx+RUjCTzFcQnR2jhBh1pkKuePkhQMyFgG45i0/TLo8lb2nAXc
5IQUuhUCIl6azudC0wd3hPbnfaW2AXcsYgyxnzY0+w+J0dwvoNXdkpF2bOoCiQe0sTVsqvvWNk7/
05cgFNnuO9K7tnanuodoEBJWy13H8cjryq0g0dBXFnA/qjsv/JxITlUQyBS0qe/h73mMi2Cu6jHv
wsmHX/AalgZtSME+T6wR/ZNKVnu/loBFkKTUtU7T0XxboMvbQlWi6d66ssXP1PBxmR0kPyLlRBAg
1J7a/kXVpWr5RZB2eUcXzaCywLQ++KKFSuFhEaxKOfefcM6G2Dm27WC3kCzI3gXvC63OvrSI7tn9
DxJrMuUSl5OqpuvXvIuU+k+3rSj50DEVpMD8yHVXlp8/YTRUbg5FHFRZ0lmenXV2Gf0OAk0Yg4a4
zrWYMNsPbVKdIqrPHzp/n//yrVpf9niMYzGxhNoXr48iqDMklLBTpWAIpexpXlEYNsPyB4k1GzsC
cveRJnnzfeF1GrK6tLb7g1lcF07f2H/INd8fDvK2qvNu2fG3HbOJn7pdt86XcDVMs4FUrZvxojQd
pl3SCjNPbgRjKVSkIFlTOTAoDMQ0sSCU0YcJDmAb5W5ecvHHcixfls4X9fVA0BFmkb/tktSqyFsp
LKwD91Rbo80FsNJfmk+GXF1Y8y6xz0cYwvHNTrc8GeKCpqx1ymXgCUWdH6SlHe3QBXOSbGe/1Lq8
7O6M4kk1VF4HY8xA0jZx411ZgrCyrbztQcZZuVsY2YH/TqZrvCdyQxGIOO5YO7m9GMBVwNg1SkWg
7ZFZvNfVj6quY+uXYYES5wFQrMt4QofNoext7PcrF2Sw5WhUwfM00qMop+YWRbZPNlV0WiMwz2zf
g3C/7OT9yCxsXcOVjUpO8EyPXCdDKO3fCaLWryZQbsdHKJfg7LCERLf/kru5OXgd3+BSmzWbrTLm
v5wEJzVCG/tbLcIdgTIWqCb1LbgVHS3ysynRlj0Smyuqk7f3+kfbqrnO9roJvZPPbgZNQwvyel7X
WXMEJFHrXBeL+/rc1iTuPtCaN1on9q+ILlvorOjMjAWK2QDi2Rc8LJaVT/s233tqpdShLzkH4rjl
67Ws6b+tC8P1HNeq9JlA6tZw4Fj+/BBqfnmZnOrtVUnUnOBCweylyXyT2VvQuv0pKE0jnk3nqSQP
V89fTyF3RPTPjcboA0tsqU8aDjO6a5J4+ePxXoN/SBdEbgwpx0ptAFty8qRArWLmXmYMT/OjM9rN
feMs/qm1tv0xGSuHcAGuhKeBJoN3JJJLWJgOSwOiwHjxHhH4QpNZs+e9jpFvRDZPZJfeUfvqfw/m
KXmW/nS0OVy/pCVyC/o3TICevBfIPzaw5cqGH4tL67ImE7BKqAfXLiIoR3Yav/k4VqHMu2yGsL0Y
fuInLKEtQW4hgpiz1brjA34gpC7ThkPiphNpJq5tnLpc6qEIc1Seu0j9XfnMuiZgMY68Bbu55RPN
gTLRlzBJSalA0YhCzQhFFf9IiEyOc4Tn6MibxMx/UcWiBa7AthXUhm9OO17swqmr8o44XDUWm6fr
92MJedZubOa34xDs7ZCqN/m4qJSdqa2uf2oL2DcNuYcRupa/OrlEDxDV+hUpyvEfnqgInwEwNwgN
IlfSS6pWDg9b7aN76ffNL9Y6aD7W0QGG2bkJcxvR7ZGOMDvf0Mmsf/WGcpLFoIlevPBWzd1XRJTd
MP3xfhU6vluqIfk+QBk/0QzTfS3Jyja1VL66a6Y2eKndbXseZmf9tEcvYehItv154sMB9I9B96OZ
GOqNCladqnH2v6ThTUW2RdZbKwJ5LydjM3dhw8v9xNaPk7ShErlLZBDRYzsbGZq/zgrwPm43cb4K
5KeK2X6OpmOu6aC8XBHa2RT7urgBx0W9htOp1f14Nk7Uf426866qDMLrstr9++Iszr3wFwsa1Wcl
CvqxypMBqi9Y3EcElGvBHr2/Ij39r+o3wffBh+kbkomszmGyIJkJJYsszaWrkt/474j4aG780zid
7WhUz+jgwvfbC31uXSg9S/Oxd+PXl94T6hz38YMYAcBd//BTonwhmIOp+4mQN3mC+z0lSffad7EL
vcldmw2Jf2q2Y7kXZD309voLhcKXXHekCP1xPyBRTPmnFJ16oX5YxmX4Xs4EZ2b1iBJnf69Hi/WK
tM81U/G4DTlKufA9vnVgFUG0eFnPrvkYVGGERnxU839haNzw1Dpd9GiWbrruS7gIoN95QgkfD4hH
6u0J3zpPN5gBau+4X5eTGbZhLaqmPQizGZ0oC+M2+FSusV4NBtCPOcYUUg1ifh6sXvy3oxdntCLF
4XcoffvHykLxy5ot/3tvSecZNnt4sZdO3k3C2pfcrlrvJLgrHpxhk0UCEH0Pq8+UvB6u/Dcgs0Ro
M+gqjf0xLFaUQ/DvbvJ0qOCmNNpUAc7a/XJatFFplzjNXQdffI7RSEOYkbb+EfZH/Ftx69+50KX/
EoniKHpy4EkmtPwrmDVzznRCKaEfSa3s34WjmOLjaboHKsO2LoUZ39xS2b8DnCcFYwDk7TaB1yXG
/WnNPlJR07rFusz+e8y7cmn3rYbO2AAy6/ZNcG+/OJHHH2XNkfunTm6mCx0I9H7BcceZ28Eeuv2C
1D2pnRPkWvSRCCMfGJEpDebsil6c1u9+cDlHUHele2dbhH4igjjKgU662j7rPe7u7R5lNsIhq4de
caT+4/lW9apDfDld3VhPUd/qb6aZXZ16y+SettGtf1lb6f2s93nSGC7m48qwZm1YR/zyjewA+VMT
54No2PHrr7kqPf58UdZAI9Pm/gIQUN8wJI2oVY6QZ04PHX9OA0H+ggKcEgFmbJFcHelbYJEJBiaO
EUJrjlhgG9h23jcx4I8Ze1kX+zB5j4gpx3uFPPLeRcCRqqg3z5rcsCpDnudYebD3CCHjiqOuY48s
gAqHl2RsDxh9EMT3Uiz1awvpjbTUtjRwsxjEr/Uo+xW/FRIiZazhv2pdRL4gjYvTUAUJS0NQ00rh
NNUxoRj0g8eEMfJptBS2pBD/1194FRSInh+b96FP8PQnOLwwjoU3J9adsCz3D+OVpGELtai6mtEv
b8SKcavpwlDi+K+esmv3jm0MpMgklrV+DXLa7RSMzf7wqmkJkY3jaP9ZbojhL+0kdvl3W/1oPSv8
h+2vtjukzcIXl3PB3mKCLF6t9jtKyKBDnNL2jizQmVD7PC3daFim+tAhiciMM7Ycbfo2GPjh9ta9
w+7RHld2DYWQ79bKiecHsIEEpQlb1ojTlpra+Ns8HZ16t8IKvV0Gg1+bUx1NZfSiaFx3H4VEHF0E
gYiveGLMf8Rj1zKrDrlWl4pdYHjpJUPDCV2Q1vapmh0Zm6fBCqdoPC3sGY04LxFYXZ3G0zZumPGS
8ajfpgld7sa9p0z8s4d6CIugrgf1ffXkTe7ReeNx4FoI0C0vZ29G1VHjojM0iQ4H3EOBUDZGxqBM
OeEatpBS2A/dgIqR5jkoGbbbwW7cZUTjDbk0ZRqpnRa5t4eV89TDNMUXVy6q5PuEzJn+csi5gKm7
mZxNXd2Syo4fcjGbdUaKVqs1jTe0vB4DfLlSm2XHS3wsVJGxM9unKK538X21Ii7meCV28glZzLyC
aSye3VIOioXgPXS6tb9uOO0iSBHm7jsfyUDCSqv3PfOFW5J/3iHMLGpUf+1D5UeqzPm568WGRXNj
/clvpEKGH+7694rh1v5+zJyUv5bIlpr9gLZu9h6xCGn/JCDbJXnGMLm2r+GqnPlphNF1r1ipB/dM
gsaMUt6fIWd4EtoRY5TuZP0UjnB6iCIX2yt8qJvo3A1lr/6FYd8uMDUokN9wNZT9j8FbHXjo3XVB
SDw9Ma9u9ejUT1riggU4p2PGzWqMSOXZ6FDDsrGkcXV4tqUYfCXq01zExB3d2yg3SoPfI/bqk+V6
tfdZqTqyHmE8D36982Itx1MJxRV/x9mCwcDuq4G8WzMkzUuHdDhCB9l75QU3ZVSmpMsf5ioPDHrP
S1IvJWx/5LFfGIu/tEr5tmJxseL10EdWg5X5/Qk0d6hfSesJmmfaPDiQTWwjqejDMQADosFsnp+t
agMKSYU1tSLJFLxFEJz5AZPo4thRi1IZZ/LaXbGyr7DH0QyVnob7IATBTmzQwafdxavz22/CEpPI
rvCsFDiLx/9xdCbLceNKFP0iRnAetlWsUbImS7LkDcOS25xJgAQBgl//Tr1dR3TYlqpIIPPmvScL
Rp6EoW7ooGLKltNYUgQdBD+h7+WdmkN1Ciw7NoMLZ3tKlb3UE1rR4Isg+C1ch0ckmVvHd9hBndB7
7xyyW1LDziqoX8nZROt9oVFud5x0zpgXfJ3JgvvvJobsA2cQ+DGQ5AvvvXHHQD5FOIaax8JLmYtL
RIrpH57PvryGKX8NaaUK6/YuQEMpr0LFRp/wMJriD0RuM/2b5BjNl8FHsD3g8q0KntnSytOSLKa/
h7TgZKckRbg4l8m4sUJkKIoi9xIMofvMhEH4m9Rp2BzA6Bvz1OBnco4ziiCZ1oEY9s4mKRIZaWQm
2NVAU44aWMrt4JS+iHlIfag7udtWxs+9puPZP6Yo3uUvakYlB+bfzhq41yiT9WKOXC8+A4SpTmrn
zjo9HldVu87EYLuFss71EQ/42yl6VtPR2w3LdBeGOhMMXWfVhLlMQscq1BJlvZ/OyviBKRNN+c94
IyeC+dYL9A+ntUNyijpmQm9m7dnYRrCB/38bD+MrWCdyX3cGm5C+2ZJts2dJoJSfpI0bcylHL4g4
5Ui1jpDpooZwQyZUc7B8KIs9FxEc25+jHBkv+MEYNndjIVx8wkHpMgE4pKjC8lElTdP8Fl5T8qrS
6/tbl48JUdniSAHU++q4NN4oxGUgZtRPp46PxIr3WKHXf7pkV3yLSMtr/zSm0dzFb34RkG/eVSxn
iHOvXtKajqqUXXodRDn805wk2d7pdJMdo1JpAsx4893tVKxBa+5BlBOF3eio9FNClpRkK1ya58Ro
j4YoaPt1bzqwPrwZc+DPXyPkdY+0YsSQIT7WIztEHpdsnNp+jyLqNPdJ1DrhZ7KN7AJlydEyHAcR
sdBhJziKK5e4OhG8i4zDrLjvk9hDk+hYqRdeHbLX3SHgvOSgxdeY3VkGAOMF68LCAFv6w/hD+qJt
rwn3LMMcw7Bj3GEjMBkP02a8YzygzJ67YGXTIvmYYCp/BU5bjmc0yszxz9qzIvDeJnbS2+8qCcbq
19BC8grwo5KgVTvmjtuMm4ndVcNOz22MO6hReIRWNjRUh0ijL/i0kWZW1znIEKoOhm1O4n5QHoEb
GEltMu9nGKn185AyqB52XbqOmI4ZCXY760x19mcCGjiXiPNOVVfAA2FmH8OpCY1/ANgfB/oxjZZh
u5CwFsMX+QgGHvwWgfMsBKrnvZdipq5y4ZT0a71Zl+KF4LZi4YBBtSh2ZIUxOI8+u7HveL6ClpHR
VkYlYdHCWU8TFezfaIuluoaqAEbh6HhhYpLITPzc3CqbPioHW0HIudZm4spASDlIkgzIxon0R1jQ
57R8TlVepYZxJwWPjPdrmbbtiWZdEIPoor777gCJVU8x0Iv+H65JWf0LzG2nJ8vswZPjcMfMZqnT
alcS3JIRGU4yhEHu+GUfIcfWunwn49A1lwWb6vgY40eonjuP3NVxa8JkuBjbKAqhDQJUdwnqMaJl
TkgVEvFMt8hlhIzV7o8eFHcSqD1F4aPNLHp97IRyGrLjKrP6VEWuV455o5kVnIlxMpQvblvb7tyl
jYeD7CfvPzt0XfuMTT+aNR5V3r1rj5/r2vgIpZTqxIE/xiVLi29c6otxdt2CozqXuMKSNI8LkYgv
d22LzZ5tWSbLezTAsxh2lQ/YaVdCLYHxwkwHIT/VZRuB8o1S+q3VX+Mkl32p9VEwepWf/YTYTjrS
9dZfWC70QNiC+8d7DbDYcDM5YT1O+RBiP3sQvk2ZelnPLU8ucDDcMKEwDlqS1xZHLn8OVo14zrQq
lQ4jRq2Yfh47v7kZxxiRBgzU3dW/eP46NaeCemk5jwnlfkMF2LTO54bUgbO1rt3sV7iMABz2yJOF
WndLEjbdX0r8EuMu+Fm6loh5bHFvA5VIKB2IrS+MgJZg3+DdpuBihjo8lRiw7HuJBwxmhcN1nY+p
E4ff3C/SPRkyZqBWixpBW1cAAepdIKNCHuus9uUDsUunPqTKivBvkbiJnveh24fm2EDvaihJ8C+v
/IBlPP1BvGJpcAj5qtl7TogitCN5RxbXRp2Pz7usHXgCS8pEw3G1Aiw3D1qwhLoY5uhWM5fizUn0
iuk+WuqmP6pJJdU/VXCc4Rgt1868Er9O7YkzHq45DdBaAhynPvRuGTKCjZgF6Ut8TwTDl92Gwri5
6DS1xDJpXpB40DZ5hXtvmnvMNqS6G33zB0zJUvfnelxcPCjs2oDWoOY2sK+hynR4G1XE4o5YMS2V
kzS2WakhyXH9hi0yTScZkUM7q2ztRsWTLJz1J4gJJnhHYWeEGRtpUkangaqnytmq6nv26Bgcxqc2
LWl4+apNdOqjJcZNiZHJD8iVzWuBQX60JUE7U/hddM/nvtmHZa0CcQyV1tkXmVROrNxNlWI3Sln7
9lWw/fYTN1j4KUJv5RYTmIvq+2aJEAMP2EwhM0T+4lV3nj84BMB4zpsJ/4hCg8pZXNRt96qa/PkX
1ecsf/mGODY7g7mqzH1H+VCeKcSSKbcL4fHuwvM+zGluqapI1eqEC9Shj9IqfXVbshbpSTrtUuIe
LZqNxVTdADM8Fdk6H2U7W/XTD3plDOZSUw0hwweBe5OdPXiN5vNMSqxRYIu2ZXz0Et7sAZl/3niE
xdRU6088+E71tNE+298tDhXnTwRpbv1qSxY2XkYO1nrDaep62R8+1tGe7BTjhyI8uTZl7vZCrdjt
ZEpL7bIAYfuGX0bUiWJNhz5vapLhEWcYVtVOsIuUQgDgOZTakTsYGKGTMX3Epc3tzYUby/sNhPE8
HZAbk3HA3zDrOMhDuBF9cw51IJo3diuMOMtxO0Tr32wrJ/uNJOCqbwZ3sf+ykGBN/lVLa/z/3FXO
ut0xFA07/0eHk9rMh8Id9HCSbj3zfs8m00nKJVUaFeXeOkKU2CdyEqRbOlfV3alD7wfL4JNpPzNt
r8PTqsshfR5LuCh3IE6lemkHkUYPk3SK4WVixNp8yBFr17EyWyYeXKZx8S5wwoYdPPT39Z8I8b+4
RNinuUe4Rb1cs0S73rtVyGpGjxFQ+Lah/8cvrqVmhX4SDLe/gRn3/aptGkw3C6VlYdfEFcLAcwx0
2N8Vpbt1v6Koi7IXMm3k92mTW3/IPcGJfM6KJvbOEoUrPCQjJ9Cd4rmQJ+BPAU4f4QIRTiv2U+R2
JXN+tbV0zQ0ysNGDRGAZVg4lK8PgCV/OFp5jD+RTzYcSLIs6TWmGb4axt9lI8kQ2qa+aByyOc0IE
SX9hLCX9DQ51iLKzlFvtHHqGN5HizsVNJnO2d1TYv8YodaYveDF9t+wN4Uno/FY6a3gnjDesTr4x
x/p/p7YSR8bv25DDJA28RY3d4dYMnP9MQDki2C0ZF+sJG6WpHyJJ9IY111tQHctuLqOzCpGuKjAU
9BbXed0IeZFTH5ebPTUmiP2Db821NMVeL7AEmFL6F5LYQ3gcNqdXFB/9BgRgJMGW/qAGG7wnTWrO
Tgfi+MAlfE7W5YdqZDwcK7kukcBJkrnxH0r1Cq4YKWBasrmPB/pMPDLMq3FdOZ80ENHKE415ad2H
Idb2Ocd6WULvrgly6OY+W6t6oDcfWhV8OmhV4bNsObAu1cqI427AC0xIkDtLQyppPS+fhzit0BKb
cmiuC5PSBmbRxmEGmEWicYOLkdVx4w9mz7qK7XSaQV7NrxMGktv5NgZJ/N5buvf/ACek4m2Jh44w
V+GvCfG7gRHqO4EaF5JJjJf2XY9ZMB0l7fP4iWXAFvjwoJXU30a4WjxjfHQo5Igo8hrjvvD1s2Mh
GTNH86otx27Z9c9pv9wsLJ70KP+ndCExqePOOMkuG2Uh4/tq7DDXTyW2juOmGr2cLJiX+hACvYhg
NEz4L+7bMiEFnIXr2v8cw1Bkj6LdmD4atfC7mpTqzctZ6raYD1Px8Qpqn4iz99Q3yEzXDm28PUR8
9lm2b9cyC09lkk6f8w0GQMYzs1hJdOCZP+mioDle0foYONHLQXWhnmaJ4H0iSAL+LtKwRpunxxPU
/D5zh+Z9g05gqNgwz7YU9jGOTnxrBUFCvBLC+exgm6pXRlNqeGNmzHx0Ny5zZX7gRDDb7R9GQh1N
RvLEHxSKdu1lg50evWoq2+Rgs9FDhC5UwKoQ7KxkWvTgBmTapa/sA/fmyFDKUeQ7sFuO7awrhu1V
SE/QtNHc4x8OsBE06Fr1Q5GF0tkTCFXTn9XOmzjj2x7rfVnHABBSyh2cRnVpAIKye2aJonSHKNAx
aJFZuk4/wirosrdVjBmu3lCkbrjj+Kok/YcPq2eHNLZGZGFSyY+ckjLNazJw6ds2kLQnalkXHGuH
2mvYpDRFoyJOPsrEIWAWld6w5aNbdGn4UHo+lcelDSW7m2M5+lY84cFZquiFxipgdzVbWZPwtcnc
wFzWqQNAjWKLCF32NkvQmZo6OALJc/3nrh9q9RxZFPA3BTvB+3BThqDHAlBJd0eWGJ6rdvWYFru4
iooYtEIi0gezqLa/tvU8EhEt65CtLqfKhoZlilMAeb/BomsrnLbjbWMps3G/6Wnto6Fr1O8xWwQf
RuV5V5NmTv1IIk7QCk4jpUw+EAoZTo4WDIh3mBMJ+eVAlzACMLmr4BT0uDAqQh7tlNC2Eisopu3A
BBgNNcXDTx/m1HE4HWA66ewRZbevz5w2TKTQ+xw//RwFVe+HnaSPasinh++fICKKGClgL3xbHEu5
vCPGjrULHCPiMiOhxOVHpvVqLprwaZg33FOy2dflgJ6ZsITJf+kKnEpqnwxNuX0qUBiA4dgRNeJX
wPRd8GgF4bDoQybxmGIMrBrPPwALwjXXuzqdnzamUuj/mFYyLGjOAvcysSVmc8gUXX32a6X66scN
ezMdummzOJlm2rDhsUUUcOvLcqvLagoJQoFDvmg14lHCuxkvaXlFpKL3exAmI66A4z5Syz86YdKS
e6Y+N+fVEDfd+nMyHkiwIxvZveGOrt+6/22zzGTAKr+p8p2jH67twsKgZeQT3TZmEDl53cI+d6Jy
+xcAL2lsLskWhKK7kjpRzQMBneY40ny3/6Gi6xSBqMWEp4ihAhPxveXVM/FC+yqU+V4JiHFflpt5
QZdIk5M7jvXfqsSPutvWaAkSVFd3dvrdxvEVHJ0l236FvBR/Cw2yiQ1C4MV2tJTBXRuuk/lHee89
leFQM9BcqszLo4W4EgEo6T+uMxrVsXOKqr04qT8c+85WAUnNdX7W3s3WgXFZJ789JNUR0ogBKYNz
CGOlIbDc/JwgDg4PFbdw+6XJdboeXXlWaUQnfw7MG+dskgY7Nx5j+z5pS4Wxo1XyuuOINHezpfrL
9jAL8okkFrdJ773Jm2l8Qn3rCMIxYnszeSDctJXEvOSvZMzxXWObP85c8aAxknJOnrl43K+uq3CA
E/oJriZKqvGE25nGXIMG83lGRzra/dL6JOArMmAFYk/NaD3o7ebnzOyG/7Q/wMBPsEm9YtwJMDqA
QfU/5j5lzUY34js7R4uQ7bVJh8CDfp71/mGY52a5r3EyyueIlWjBLwy4KvxV9uHiPxYpYsadw47T
6a7GdAAlpot7f/qFhBlGF/hY3VXMckVuj4csw3sD5vWUFRUgXX5Zp700XVEoTKnlGAdfOPWGyd1P
DWC4C56cpDlWwUZ2K/bczHmY604jdveWjmfHyDfd3qs26s0PjERAIcz/afFwtqunEKsoxIlOZds1
651YfTrclqmiXETURFUZKv4N9t94C5Y3eFsaCwqjOkYKWpY8gbwrz62L1rpRO6i6HhBhsz5ZD3xx
a9YTkcA1wXhv7Pqs3Ufh1mL/AseGQopNtxj0rwDBNMR9liLfe+3shHeUUbF7V+LFW+4c4lAhPtF2
bJdfYRRJ5+pmuPSR36PVxwWXzXo6+2j40R8nk+DgWKAQmYtqW1KnIhvbR0yn60DFFSTtwYsmCgbq
GsOpkpothvECRKbF8x5nnFO1x99MV4NBuenXUBzSbljjY9dksHZ8IIiECBsCriLHJ6L+0DSvJk/p
wgmUNsb+XJ2mQUH1TQBsqcQq+eBLs423kEb8xCpyrQ9dX5bmMDOCbJ5MYbIgd7nRqwfb2VsYwTS/
a/I6DyXWRBJ5HvbnQ9xF9kU2eKzvAwcg193KEclMq538a0eWiRKZogOpfEuITD0j0pHmhNjkBifp
k5zGeI5i/jQFbXHpOPKIJi245B+5e+p5l3KQpeeb/SXcgZsQHk9CSnAsXOKYgFNSG/WIebYNvg18
iZLkaMi6Hwdnq50IdWk5YzoGlVZJQMVhh7lk2mf02BGamKDqZUHJ3EzWHNjey4KC0qXd52Q0IVDa
fTO5SkOycJyM+nr0/nGedpiTJCG6friWNWbW8ESQrFpyDzVsO8yrLUNkTb//Slfri3m/pnL8hOlJ
kLhOlj697TpUTsZDioJBWoygq8DYKCp9ZQljx5de+KBTTls0JDEk97FyxvO2up19BuJBmoreerZv
tsJiDJlmaEL7OI5t8E8GwfgfmVA3OmVRWj4EBSXmoakXqip3oEehVaYlxB4+s2GZVFitPiJsrPpY
UmxdkrKGIK0KpwNAsdUBPxtUhZtm3ceqPRZ4WF6wxTeEt0gR34MQHEmP49n2jvwewQtRr+GP5/lt
fW74cvpjN00RmgKERrtLKFKcK3/5emycZKt/imj9f6SLcuxauCyEzUEe4AiiaeXFRVeKGVaY6jvo
Yv2acMJ9O36Y2vtaqmR6UKMr3/iN5vCz7Nt5+YoqJCBEbdUOZ6/W03ipuonBqBxFWRwYIsNHKbOZ
XIJnCcMzFRnbg4A2gQW9qvvl2cfSbs8O0jQoE69ry3sereGLdchdfNymunhZkAKDXIRU14ceY5Tm
KSB6iVwQVWkODhVrdcmGEdws0+y6wx/bqqjc83BTFdW0hvLgs46h/WqHDqgUwlYxdwSkh8hv/Nx1
GBPu0gxfJYkz2en4DJq4BMCRNpSFpAkEL5I9sGlsFHsmMbLPV41G/tupQ7FefAky5Ml1y8LeKFEs
WMXKLboEaIP0KDA3iaF117gzE7hdRu6uOSxt7eBAAwsXPZTurP5Dr3Oivwtk049p9urmJ2NgnCAJ
0+YH5oOAY9PN+BdmZdzypXStc0blTP8iPXXXzIHYRSojrMQhTJLkGY+4ao7xbICzkP/0YC+DB+4B
CLBMet9NYOwAtRCmxkdLXuMxIOWKDFjIGvhAuzmk+CIl/L1m1C/fyI5OpwLR21JiteA1gBQK96GA
m9NcxizCYFwE5RZdZcbrzxjeSx9LVw/jXq3MV64ohrqjohJg+vToYXMUXDQ5MU8lgBFY8+DjztT7
EQSYh20qTX4a2jFxnHhg/jnAVG8kgtHSo+JNdY9ZW/TFqZpT99KLTob3SJbkK+f2hn2htapeWyQf
mH90C/4eCGt6sgwYkfejziMB7rDC8IccEvnosiC527MObPhreHCYyWqWiMeoeCyOYL7usLSkZ3C7
8+rBi1FEMIPk7ZC07DHW2ZycqQQYjGrTuljOGB+x28ps0wunAWbera7mNYdltOG1ZPAcZCer5PYw
JJF4UoUJu1N8G4jHDG2SU7yKGWJrRjagvhtZ2RUGx4Evqj0zBilpkum1vIN05iiZrqlAdvHePeFE
Sh4IF1ZYAUia9L/NEnvNfTsT3z1RtfWKBaxx8dcyYbsrFi8VJ2UaaHcBwYOPCl84g1J65vcYrget
H+UTOzJi7gnnvAIVVn90R5TmRKW5DXnZRByFyPJEwss29nnFqJ3DuxKOoXvYELrsH1AozPS/rBwH
otRu0VcdwEFRuKxFJZablngkZHrn8ieT/pXJm+CmSSRHBv4QTvD62VtszzjTq2qvxEs0VsVqLT7m
suzfuznbzuPsLeVH524FWEUfQJI+1pMdJpIWOHXzxcQAKWbf84KdH+jsAcLuwjRJ4hI5YsNlZuQ4
Dlih1ON9w4U9sU2JxGlLWJrra8Nev6rlowZfu0IJGtc2DwCGZQfm/lB7J+ODz+EJubrEMaezZnfl
Q2rrZM2T3moWylR6qb0XVpHo9u8qpWSCUKQCiA+wGS/4hYmKFQgHn9ZovPhTAmpKDWP2KZm8ZAck
OVTwuhP+cha9IiaeFuVyJYgWpd+pBfvwwRlvq3ugE1O+ZvjGmaYs66Xmo0QY6VN40dgz6r9+G7N4
mls0sswfpHmkh1+H1w7m3L95If9HLll04Af8aOOYnIe57XNZGzzFJIRseR9iBUXOaQzID7/HpHPx
gcrDPal7251Mm63R0Y5TZ3/WPgtDGaRmqbhKuKYVLiG/kKd06iOStgJZd9dsWGrRguG/tkiSTDTO
wlQrfqwUuESJlb454teh20zM2j3HjMRFXiu/Fce18heAKF3L3VmmmVl+rKIRV8GzTtYs2ZxTL27L
9JZBus+FbJz00ATRcr/JzcMHvvFm33U4S0lMj3K5NAFR/Lz0l5YAgK2xhRaFxwh0x+4vgdFQJfP9
SgidDmpzpvuhlGToBk3B9jo53IwnX9PI7BIbNdHvXpG42rUI/n+5YsundCaBfyI61jw7xgnhINyG
RejO0zrhaGIG7+zgeDCbMt4a/U7iW2KFZ4XOnZQhtBVJ0jS3nqyeJgAF/Hmty18zy+RMTq7C636j
sy/BDmPg9gDVSJV71KMEvynKHVyuLsJCniV+iKlXETE6egSyxT612vkdz45aCTJ6tHBLA9KN2L36
Wq0msHXDNWBIitnhxgY5/QDLnl7ZY0vg2zomCgiIF2C1gmJsfscoq/Vj17jlQmTZAW7IkdlP6mmc
Jp/QO7mj5lS5MXXs4mjiCCz2GpgjbKwamdaZGMGaAZImbtfXp2kMxPJDUukuZ9ma8ks3HMIoq+76
WlptgsNiN3BONdM7mSMIUdNA03blvmMjzBlwuEatr5rlNSvrKD72gTHL0TRGflcZhfatKVYvQ+NE
AKoXzHkQd+IAsg42WkOWeAt/dZj8u0Pb2qDdrVXDQxx2XPw7OnnzkZUiGfJuGIImB/qgmXUJPz0N
21gTCBT1fV/a7k2BnMAkOQztb4yGZXcnYOG+ez4cnTvwRcEzc/7uHcTOxjTPL+drmuqFhDlGHMxv
mzWEKYt1C7oH7Gnpf0xUy+QSgn0zV0x2o3zI4mi4LLPAUwowInsjeA1UXXfEqjFeNcI+hH1JxL5u
GcFVWjfBgaHCcsBXaMmHyaVD0mEJlLhhuwrMvYCMsv9irXtrjiH9vD42ImLyUPjwuI+ChQXFHghF
dm0LjCw5OcXWnFsdxBcAieoEwlARPjBVhnPbUJw8kK3s3UM9WodUt2CXBWE4TOk+dttTHVRszlFY
7ej8Ntty9rSJGx8Bk21vXtH4zo9qZFh1Q6BPZBIhBfACF+Cyjao/mb+6PLJW6Cx56OKmcF4YTTE9
StdoUlc3lsF8WWXZTccaI7iza5ws+73KAhRFR8UHfHf1iWPF81q6Z9KRdL/ZwEDkVbZpxNDdWZPo
g7B5k3J7zBgm3BZqcz4viVeMWMhtg0AU2IS54ZYMQ5+LArI20PFSLZ+en9Fu7Iq5Um+anWBov56a
8kU5Sf3S3czCOzVkjnxsJ3ZInVTHssILkVDHnlTjJmDCtMS4s8mWfnae0S72Gz47Gkf2XU33i06H
4XuGePBoFF33fTGBjMWCik8fISYEE75TcxMP9yj8gMXg3GmJa8Ll8DeWBGQ+blvz3IZJ913wO/6c
G5odMv58kIiWWr+CB1UTgmO3Mf9NLNB9mOeMB0SEHzwQQ4IUXop2yOtkS8U5tni2ONbazLtOSZZc
19kG71Fa9w+sLwas42Fpe69cHyJXmPiQShEx15+W8gn+CwHz+QemSWbm5YqBk1D64o25VzlD8mcz
bMu4sn0wrU71TE9Ol4k2nAv4dYSIHaiIYFE4bhpFNGPvh7Bddwk4nDdmt3zBjR0KzoVKr+pIddml
eRvpALDx6DQfcxSbNzDmaIgC5Ns7XomivWe1nTN/xmXCsjxXV9MRzaJzHwAwRz+GgHEDk8q6+bZu
OdxXUzc1/81+4E7saEGWptBPoZ2y5IGhFfUw8EqtrWLCZcJNfhiicURZer63M9b95k2xNKF9U2qT
P1Kmv/2fNAoj+YQfyvxTUPuafedt3m+qKTFcYVRPPV4I036JyGmf+tltMejFPmQ527oZxnVPWfPD
j1yyRHQ0KCcqc6fpOasiho0J3/a91U39vQSF63y5RGUJLCaTTY48FgW9DO1Xl3t+Qi6IEWF4Xmek
gAu0Gx0+M4dL3Jd+oxLh8O3HaL3r3MpPnxNy80GOo39tr97Yq7/ay1xxWkzWjXcsjOwY5dQR48nB
4DvbyVSuGvHOzm5u/Bh1aaciZ5M/OxH22RP+W3/lnxzc/8a2zsKrH6W++0GedXkZVVeY61z3OiES
4XkzvFe8uU/0Jl3xKsgnFHuNb309TOBhX1bsgCMjh2W+ZA2a+88RQC+7NoIlOrXDDA+c+h7iEvGE
BmfEJza1OPqRQt6tdzrF78lWMZYunNsM5yXJuyZrj7ObYgrLGM/sQzjRB6DjrORc6tAJnibDlsH7
wvoK65Vsl3XPFAxZsTfZ+lzZkqVelO5K721QR5/tOnljuR9Lrze7XhQ9/uwI7h0eFVmR9KEoAIk4
FcF/4Yhk8MPFefUL4l7jngoGEwkUIV+9RIZLKo+r0d9YLiIa9TcCjsaoL0OZgU3Lh33o+Z4x18y1
h7SyzWOU1w1j5vtKIuz5Ub+EH4mSS/CVUn1eZhYkIAOypab9DkIbzHsKnZGYAW8EdohCZVekBo+2
fuvFfa1YOZkTiyvgrI50VfvKZZ61g5o3fQ6hVzGvH6coIkmcyK+sHYBETFs41UykFOZ/cL7bX6cI
6CDAQod/t560xo/SLJYhV9oWzABGWho5Lz6tGq3wuGOjB+UaJF5cA3rqHLrWQUOnA8OZ8Cx1YTc/
smsFwYbBbZnso9ZYSKYzex4nzOcTpKSWPSO0WeMNOogZ6owdokAUW3BMeDX8PUZPIp737K4dJAqO
579RsceQ+IMBsljbQmYJqmjZ+VxL/zyLqRw67jR+szCgZGkFLQVHcYFOt3N1oZ5IfS7c3lyQFeDI
1LwabCbfIN+hNWS1NpbWwYUPRu4Zp3Nko/XsURyvO3QY0p4SbtPzjH0Vr2AHQ2UncQwFOUzI5bNq
N5iiLcoVq1bCPm5+1FsCOiMhqYCtN9LjxzYzcL/ZixLgUqZ/6Ta7nHhiAPLAPHCeJZ6ZgoKtkdcg
y1xilZHjQwtul/BfkLnIGk4QdMfats4X9npcXtGUNY/LKjjkClBeAvW3m95xWgCITRp2kaGF+vO+
FTfN2CPscIuLwA/Ns2D134VfuT/nXo/DgYE0/ut26X2+Ca3Xvwgl/VtEEDACycWoZuf3wcIGHpQT
shOQ93owcHFETLXfPsdWdl9b7FfQRBnSsCyvD0m1FUoVKHdtHKOgo63uvCDtXyqT4ELqDIZbfjUd
f1uYqme+tNjuKygekhxcXTtHt4oF+8HtzWzbt5V4kr3wSwKeNYIDVjdV7QObAeJlY+zW7T3as9dl
iOUTV2cHoDDiRCfPOLDYPsZ1/d67Bs/8Wo3br6WPMQHyZvbVPtFx+lh7mkKBTnshGOk7ttstno9J
FNLmCG+nIGR3LEi+pHt2OvceHUKDAo73X7zr2d/+wBBoEgKbuKdLBobA5SNd/bv1xyDrN3f9mSRt
BM4NsxVlHJ83NVuJ9mkH1nyE4+KQc7PklF02ajxKP1lh7cLrTXc3u+WJtTNDRsZ2ItzeoIbU+4b3
+QLfLpVX2zEO3lVwLcjLVin+VkPu5dP4rcEEDwL2Wbc+c6VuKNLvjjAtDJOY4O8xEXH67tke4byj
hn1B4+Q/cbLeFtjUMy+moxaRHLYxgfUxQ93bDn5adM916VV/xHIjD5K4c44D1061n8TM0wUNp3iI
vZ48MdUDw0I+CG5jW2QU00mZreN+rW+tSD8MVEmdH4/lYdTBjOjX1BIzBbvD3nCXMm0nCHOLYtts
umgPa0iuMBr852xO+R+bgCafSX7qX4q4335pzsFln81d8rGuzlQxdKrrN8LB5qPrIz8lBhYujymw
JHc/Bgb2nna5tXY1rezPbPYKBNx4gR3ECJumP2iwrCNEYEMkV9VG1yaZx1+ZRdW6Fnx439gI4YgA
k6PF39r/cXRmzXHqahT9RVSBAAlee54827GTF8oZDvMkEAJ+/V19X1MnJ3Y3SN+w99qZuihkrPmh
aqEjIAIYzb4xiXqS4eKY/RDW2U3UM0eyPydFBqsj7J6moYn+LDmvywFDRuxsyFAS9R54JAvGiTUF
c2i2v8QRSPrQtZtZOplwtv4uDDWQVZZR3l8vUx6KvmAOh1NuhuSlrH2wGBMC/2w3wy5ut207WqhU
OneDamN9IXhYXBtccJw53zHjp5gafC4f+SzZWw9EQp5ZffEb4AJKzaEhzYkea5i7a1sw795Fsb/w
J4z63/yEZVq/YcXjUTMC6sfsjpEafwoDoNq7+ZmTAFLoYG59Fqij1CEagPVjBWJmop8rjTR2Q6IS
b2+z9kAn2DKn0TUN8+i3KzSib7/V/X92QnlAREhrR4I/R8Cef1YPMkqwqb1OR493OgBqNB6rFtEb
I2ofJT+KjkYcLWxv81XhAdCYkUlYmCEToVwiXybJT2irO2YJiBimkSRYl1L3S4ULM/rDQhcZnsCl
stJkowZ/mE02V06fRfOJfTOmq3bSy6kgGIHaUJUZ4V0xnuww8/vvXEsd7aPMq4As9zL73XEwfWOZ
ILKrHds4o8POGNvNzYhjVTOf/BvHnVyTbZ31amwvq/b96MwguMNvGyOr5ePXoTbBbeIiqv8Rz7PQ
1Y6DaO6RUPreyoBxq2kputjEv5SHYGzHUDYNMZmxkjmKrslufo3seHsv5iD2VzN2tAUTAI7OSg/F
ds2ZOZgq8/D8+4n9ZicdID3wuma+LQDOY9Dxgmx5Pty2tsiGYLZO/WuIy6KXOHsUWR85pTtG5pQZ
zdmsWn+UbsHfI45i6Z7ymYHIRlVO9B0nUK2oyvAYbBo01+WzTcuBRJYyKX8rRq7xyagx+nB0ZBf0
hhI7jV+35r9+CfCI1dAj+WIc0LykRNPV7+H0RfoYD337jmxRhxtD2Qu2olE1WTmpntXHSMLhu4Xd
jZjAj4fl5M0+XOuUUJ3lGGOs7vZh27j1blSj/8jOx4wcBcxdow1+rbK/Wk/n4++UNav7z0GvLrgl
hgreDsbvo/Vn+ZxaJq6fXW5ZOxe+29lzW0Y1hnDQaW21ZZiVV9+Gfec47JoMvzE1xZJix914uP6c
G80NLxcqafV3MiMIQH4Vp7rlzerHgFmGkHVyUvThdYiQYBKqlCfFZgzCjmgpqE6DeIqSexnYEQCw
AuTMJEo4vywLJCDWLlvWbhlwLqQh9bzv3CrRULtF6dsnjpas/hey6NangMEtwR+Gqf4GilDavOFv
b5dXr5DL64KElVHVPEW84K2EXsizmluo8Gsh3lam7xnXeDxlH7Cd4/kzG4qpvbneKMRDRhQ4x11R
BMAU8AskV4OWj3ijGjvcXknsSbiPy/8voAr9xCShgHjUFaXedUR5U6qGbFg2zNqT4SkyellOfdXq
K9c7Vw1+Ozv9ZSRGvFGI/gjRwZIgMDON0B/pUjTqwZZhHO5cw0/8WZmiDb5wlXrqRcF25dNGkszY
FVIW4iGSscwTh3hLad3BptuzK0rcgzUmPVKN52pbWcGincfPtJsaJe/wjSacQSicIzSPyWIZ3gHt
ASKZVvPUf+CWAoSRRjoxj6wE2nDfGmbsP83KO1LxncHxPaBpqPIXeGNsSAJpqh+IJnu5GfvFPmWD
hXDUrNOKRBSeqzr5VdjNV5a6vfjRDt067ZxQEwO5Ye+Np9smrlf8x7Jg9s8az8X4PBCA1/1ofclj
wiyFsUeIIpuH/q9lr4ueSNXIMVZvUNBEDVp7YjItch2akoZ4BWD0AdYZ1kfdlY6UtqtG6RO8kE6h
ow8fWBfOV6QYyc9IyMx9hW04gf+iy70ApdHq0aBAGW4V69ojs4+mQYWPeOGMtQSIz+oxlfwNjDNk
m4PwWTjnfHJk8U7BiFAeMH+l3WlbFxhZ3iOlm+AdE5gPTpA5HBY+hJDOdgBggWEQS7IL6xyGwHuO
FkIeKffdE9KIKnpn+Ucml4euMt91chHPts6z5RQCP7hZm3rvSVxiQHRwC+xL0+SXsHGZvbGzSMGr
5DXFUjzy6G9nf6puc393lEjD7uyldtilX0b8N7h6sYvgNZgW6DzICkfnvKKJzHAxurAJn/whJTnS
Xwe7PLJGQqpJwnfu/yo9trY/eaeKcI/QE8kHnUrIFW4qNJy/SI5HeKkYKZDlVik91YTWL0wsKHIV
roiNCribL4IhV//QtGzvcYYl40MfOzGKQBcIn8KRFmNP1azvcSCAlc5i9sEjYqkH34/7d0ROzTc9
rEq+Y37Nb6MGJpqlECWblHxt/sPnpiPmZZVghzTPc5ad5zbNXlBhr+luBH8wbA2YV+glrA8emPZq
FnN8S3m17UVxP45C3Fzb3qnFLiyCvn5Nlm7wDsFa06eOM9pV8Cl2Xcj/ctVTGNVhdCjjhkFBGGVs
IpppBueR1H28C1gq8dTluW13E/ex8yNkpCu/xtH5SHHcYKZonWOguCqChk94QzCEiB5IeFknRjd+
y7WuMRgJSta4c4rHNphXTMZjmbOe1D0btWhR820UxFRTpoEyJ4Qjrk23Yl+I2oe2cvXH0uvujnNb
Pfe5YFrsPGgQ6cEz5PwyOBredn2MFt64H62gvNqMHrw5oHPxVB6LMYx/Zlmk/kVIiCkI1nj6W9ay
JuxhMB1IAoDub3qUNeGbZO80yHGa+Qd9LZqOJZ+8W9AglSLhy2YUIz1WrVPCBBPnNXEl2dnrQuBC
KCSwka456QvHHAvGt0K4sLzdGQfLU4zoFNRpz1J3Xy95mm8lysLiWLl9TtRn3f+p4spt6bOdDuGk
E1v/lFKstfsQkf+tj1nr75isu5ahYicsiFXc3uicy+ppWvqQDRKkFPcHRByodNCqaQEnVYv1Nq8F
sF7PjztzquXQ9YfFZeiOOKcX1ZbUV885lXi3adD9AkaXkCg8t0QzukwEFS6nXcIa7CWkjoQoCvt4
GBCvmpzncHGa5TP4f9pM0c85VltB7NsDEvv5TCUUZA9CtN0XnWk9HIUnQ6AIgwHQnops2GHT6nDl
QFA7+LKxB0cRErIhS3eZD/UQ6/xc52jeIaF4MRNPXhqmfNKq+ZiwX6ofPSqE9RqGcgr3Y6LEPecj
n4r2JMIseE7MFHQ/w5wYacJDlsEc2eaqHwkhYtDYKvaduLIjoGyA5YkryIUzWtolIWAcKCqqQPaS
cjvOUtm9BItXnQNZ5Q6YW39YDx7Dse5ZTuvwL0b3ygpjWSKvvg5tuuyMuLOwmS6tu8lhWH9lWst6
w2kxODxP4PkJvsFw8VyJqMsPHgXHPcmkLYKvHtE85vM5d74938XfxqYnqPeo8YyfbyfgE9WJ9cP6
uoq0j+ejwI4UUGBj0Rd8HdZnM++vjnNF0oQ+pK4TSs1UOuxhYeph+9RlceA4cZ5RMHbeth2xWsek
+5Wy3kcyUNO2yVgpoK7WPp2pacyvZYjKazgj1NrGzN7jozS+7KEnwfaRlJKKCne71FJzg2MHUGea
aW9G2y+5CGwDrpiVyAp2YGWfKbMY7Wsj59L5zNAgXrWp1LyV8HKWA0mCBKH2DroBKkoqYcBG6/i5
YgqqD0jxQCSPBkQR+uH2hQPOfSMiJFlfdK8o8Nhttg210oznrOruDOYwrB1ACNX4RXAdog4PHRGK
2Cb5SFDC/WKZKAq+w5kBBuIo4Z/aOqqfvD5ov9vmTg9Ze5jJfRwv/q1wBi7/cRUzXKWida915y3m
d+3mcffiYmA8UDB39PRLKJt3r6vD9KJYdFcXl0HZMch9jaRiboT70rE+RPPhSfEdePcnJY+EJfev
DVs4KH6EzXMBfmj3kmiShMrEeAy/PS/tdmuXQvkmKJLwIHYIfva2zFMS7GrkEGo38y2U+ztLNeCI
J8rzQAe1NNz0oy5e9eJO7jEwBHBu4GAwZGGvBkhjEi5GHWbmxkmOLJMli8MhTVR4TKbO3Jchg7++
Bpme/5J0If/1lEQ3qJAZAgVBevVx0GpaPxCTU22E3pz81aZLxwftOckzBw6ELITLI1gxH3Trxh+p
8s//zwj5cu3CBYkGXifiz6hSsp/dHkPJHlI5J2fdZY3z7Qw4e4XQZfRUZnn4A7NH6/5kudpEr7bh
nERKyVXoEqS8duHWC911/OnPk+uwNbpLH3ZZ1kcJahCsyxtLB4BCvs46fc4B86p3NDoBaCyWos7P
YQ2CK6irRQMQLDzsUnFpoJCb0Ief7vIH4FRDzDpQrJqL9VRqdwElzw2p35A+8BVVP7F0loRuDJ2a
iHtohwczgPSEcdtN03X0MkLlNplfp7zQfOXNd8pcSH4F3TAIGoemJKKLkStadXoivhbD90uFB1Ir
4OypyeGO6tG5Yf4DGzNiZPkF6yCOOAPcZDprHc3NqVLodQ+B4sC9ZFR44cn1w+ShopNcn4NuRfQx
qHVOCQzJRHqmC0aNvXFZVCaX/p7F/YymYF2Pbh527pPxgZDXwNKQAng1XCtd9YYqteG3xf9YxiJ8
afxSX+4m2XXf3hcEwDL8ZwnI6p9YmKXtJlRSqIXJFd/hAPQu2IIlS7g2StPhvZzsMP0ZnXpoRoRf
Wi2vbZRVzl7b+f6gCyFpHaik3lNRkgy9sTxI32zkHPHzrnDw99AQE//Zs7mJz3FHs/ZQ10peVqIt
whvqSqaCEa/4+MkQ01THuPKdeZsN8QgNZtHDDnRKNe4HhhbcptHdBrutZCDn7yVJBvjEPL7zuG5j
tdoPB5C3/xSC9WL9TL404/5dtziY4O892wOqdt0/MkuUw6GlqUCFkVU07ggay/l7XBrDYFF39k9h
u2R5Dqe5x7w9TjHBOZy3WNtCG04vTFI8D/3dXV/FlZM9wsBUNRM4Bmos8wnV2opwsc0LgZ1Ddcwm
FopbS4bIxa1HSd6FHTlFy7zo2h34PvV0t+TSLpHPGGzk7NXOc0Mm2bIJ/YGolbGHv3hwLXZwCGAE
wu9s6KRvZIAI74LCV/FrmHSqDxqMwPvcA9jfQlBX5KfMU8b6bZ5Uqg517jkXkpTQrIgCKs+eVSjV
VDdGXr8tiPbEhVMgbSKgoyi8eoEinLp6t4LRkQefqdtvNy6WhHVEPDwyDrqLM6HR7lLc2Cufxgyv
D+MHFYjNDHgwBhZ1c2AAw4odyvidfCbIkdyqEda433ezJonG7+yOoW77nBb4sbd9MtApoHDX5CLc
E4IXD+DcNhqdyWWrN4Z/VFeb9mPE+S2eWPm6YtvL1EP6CbDwAd1hedXQFtftWmAsIyWtLuyFoL3i
nwcaKD2koM+uvtJ5CvfA7+ePpugd5M1j7FwLUpXkLXf9Nb7kedhWALOC+V8sOpN/cpRNL3Wcq/bC
rhav7EaxIHspYm++k4pdyyQxmtCQ+oRaEmQ+dzQXlpUpgyiPMsczIw5acqzHfdJm7RcmxLV64tts
mgseOoLalhwc2pkdIqYCHnN/+VtQ8nBnGDnUW3x9gqQCwQh7x0XDft7pEktMd0MkEQV1UoWkj5To
2jv899HGM3irIsC5LiLbvL1UwKRB+DANO6meCApYggyzdgYtFAnoLExfV5SB6sSWUM4f1agwoQyQ
G0460GW6Rcp+z6AkCKd9HVP0OzK2tfMWzVgrOd5Y9j0zPghenJa5wHPKJ0RcepYw4gkwsB6VUyBS
7dh4fbc1kcObzmqDtkAF89FZ6vyBvb0IjgUnyMW6s82QhgDjfIyD0JCcwgFc+Hhfw6h5wjjrHiWp
NiAr20YPhyVD0P/GujJ9J0i16U5NGTlHW4+kkbh9pC9lxLzxZWbdWXxjkzdw7iK55n914RCICheU
B58Fqd9/Tkg2LsrpXTIzZ1zrU++k9c2uuHI3sy59OMcKY/02wvXcXRYDHZstWBxWB2WcGdLOQnwD
f2Ih63j8njuHjAemEhPbNHJVwvRpAoE3XyD5AGTPoH3+B/zQoGVir/fK95/x+0UqV/vSB0WAnmCs
zGdVJS1+asXOUJBRzASSfUuz5zrUwXHk1sGZQ7CTt9FLBYgUq4W51Q27qmdX44JidoF/mETUvN3b
voA7yAJkpfwF40uqpR2SdZ9YCzo3ZCSjbgE00+dsIsNu22VZ+TnWUeEfImLnc9LV1/Bpabwx2eNT
6kPcincI98oq5wURDQsOZro+cojCi39hQgJ4A0hk7B9bhuJqg66m+wWTLmPylNxJhwWlHIuxCQeN
I6uCwL6CFm8TLmASXmLroiUUbtG9tFRl7olGQXyGg/FYDxeRPZE/2qzPs4s6Cw0aWmzc1Kt7RXVE
8Nisuyh+zVQd6f0qCs1YeBT/MRG1tHc8eX8pqe0FoSgKZJezGDTKpN3/7uJnEiiJVfQvvezMSwTP
KNw6jkX+gzoN3+hC8Nedjt2TUWTK6q835CjYt1R20QFkS5C8m2jILh6Iy+of/iUf/hz2V4GSLx96
gISWyTyB3f7sTkcDf2L+EdDMun8Tz+/zU4TeiaEgBmaQ+V7zPiUh+pk1yFP8v2lPFuiOddk0XgFi
RJDlsRPtV2j8WBWaYHkbAIFQacXZEv8kC1BB2BGAASGbNNkjIQsLr/TiIz7KHCVysJVzThJjjpb0
mkR58d+gJBozCf5sZCgTFR4mhXvWJuZ1iiI16fRt1ut0swvL4m1LKG2ydcd6ITIRo9mT4K4Z3sMm
StrN0I9NfmwmJwAJEc/pIys1fnGhDeF6jdeKazzCBNzoZMUzYFGwck4hdvlNhW1S/uGAuftGGzIQ
T6qC9nEyg9Mf2wCX/pGYgntl6LBoP/d1X55mjcJ/u1RqxdSXevoKWHb+jbqnrgiQoNJ6XHITJLts
aCPYxQb9+w4YYogdVQI7QGRPhMPJ1dGSEkcQJGTzeXWZ/Me4iCMDVoiJd3TMzje6aLrHrHVBOSZB
YOof5ZKsrJlCrOtv9PWgUx1Fy7hFIYF2TBRKnIjQM8tBrq3sLrbKwvZGqTfzHwon/A/G3gixahDq
mMRRRMChrNHfptjp+zN5grjmFlhjCaN0PrAf0Zj772DXIzbEEl8VXJpUwNsoEAquuDD0ielGN36l
UaeUvPqUycvPZp21c56J4nwYZI0ViUlj8EMiYpHbfAiI2oJhsBLCYJ12QAIosw5RIFmYgADcWMsj
708WHG1cwu4rEO28D5p4shMI9AwenS6MuEcbBBBh3YGBHos6mnYxlbSGXmxKB7PDbO62ITfaB7pf
nkAJiQB1bDzc+y7s1HtR+Ml0gHFATgwKfLjc7eRGekO4LExSLlxzI87yDrRCnUtvsswOkCa/WHes
EYzexXbRn5Ml04kaBkHangkW7oNICfMBS3ckd5I24KfRLcvkDjExxzqkNRchP7FVm4R2JiZieRhf
QVqRTUFP6mBbc0V30YOV+ubSDN9pi6OyR89t+kde02y9LuUU/Cqckq6dlI5hvZXF4n4PBBN122Tt
1Mdgy4auHC8/yaScpNkW/3S9sOCnHdjDcJQfNMcpOQqF7/QkjLjx41y6Y/QwVJYLGmyG95HZPn5k
Ul3m3HlZxZy8sfbWiJZwKLgp00GvoNEeSpvnT7Nno3Tbt5qsPacwTXbh4imfatpWoiA9FUcPM2NW
rNr+6P9XQN84emop0evDkDwwBXHkBSLmzGEhkuyZy8y1GxbZ0tvbNUeDmbXA5gRKGB6nvne+sPOL
P1HVE6+JU7k/EgdU/euE0/5uRsLTECElDOLpZIuigTqbes8h+ZUQhgLhIMWEr0czLBamFNvBG9Gh
J97AWjfxR5JbW6a3t4kwN7HlpYYCNXYrcr6N4uFddum6hGbbBVB7dp51ykPLIM/f1l3uBy9s0Uuz
n4lyuq/gJ53s1xXUN2pVp+4eKBpI/dtMJBq+8cA0JB8yvaSL8pPxhyxbSjG3IFYKy3eMatSbeCn2
TYQofQf9AKf4gMv3XyCm6KOkrCWdec6639AlUYuI2S7mobOt6D99Nn57pSsTMjJ0WJzAcB8/ifQA
0CTRMj65XYZqnaxmFDugtT5rsqDiLdYLyBE5p33IpmoaL2Edze6uFD4LkpIc5+clYNh9GopxHs92
yKNXkAbMDQKmFjE/uiFxOOczJ28JnM6GgAq6/CZOyFDEEZpFp6gPFVIegevyTFQ4YmQgZIKoPyIk
f/j0EM5vNMYJXC6r9cMc2jR98SeFppq53RdCHwQ/YYitcs/kKWPJnlZBM3yGbRKvZ7o1M8EXbWPQ
6lGyuifNJ838mzRA905NCqtXkjiWp8Uo2pQMw9kZj1taHzoSM9tHVl3RFRJvyEMnMe2AXGjhTq/k
1lTXGjSbd0z0//nscxSBJ22B4Y9kZO3jNQn0MQ/AevxCpS+e7ExRuPOIxDBboSF3UX0twDa2CEAy
wkpm26lKbzqIA+URn+CEETJ0PMHlFXgVOQT++jIJXzH9Le3wUsNvY2I8hni4foQuuQDfNYgKeY3h
zAITi1VqvO45ygI01Tv+tWZxuK5Lj9EFM0+fZSgXooWBFFVEH69wBniw84nZvoe45g2kgm0PdrbR
C4Vl0O7HdW6u3VC50y70Arzr7UpB8kVblKVHtgYTo/BSDJfYh5q3o9jw4301yuGjWQztQZe5FurQ
koenVjFz3gst5F9MwobD0XB9bLqmEZ/FJKIr6MniK2oJudgQ0WLIy9Oy/261S0fdt8QtEIWLYmYT
siCjw/HG8BkxZ0JanmqHaD/qoWkxPbbl2UdkY05L287BkfEMyUGUkCxu5xKl9ZHEhvbnSoan8+W6
C1nrDlS8in4mmU6kl87PMSZfBBZOX7bfjoNMdxuDPaCGlS1SQkL4HEYfma79X7Bs1/I8EijwMABY
mTciWcb/oFoUcrcGPnbZVeLoPpFDYeWe6VlbXya73q0LAJiQrZICF7Pew8iO1i0c/igvDX9nXY/V
O3LGasVeR/xzNjV4JXCpVtk5azznBXe7xpQWIbm4kc+QuFfq8wQp9CJ6Gx5bQrTSMyG91a42CXKN
LeSjpD7FMUCSq/UXMDTwCBCyBQy0t3Q0dXZlc7u8JDkP6Qk758LdLDMSP3XIFYqkD47Ogcoeedyq
bB++YYsjtrNOTebvsR9hI0Coai1ojIAkJshqdC75wPwcIrpvsnyvxkqSngGnaJnvLQT+EjAlev2K
J2PDs+NWQ/6nLEssik6tBeEr4PjR8m2oH1cqe/4enL0DG9ZSe7sCQ4e/JyaK/D3ZBjS0Ne3cCggC
eyDJUfyPdxirkOwDiBj3VPvxP4OMdER+3LMIagPahU1I288cR1fpZ+o3jDSfJGuY5I28OHyWQBpj
jJu8JAhhrks1dP4/qpC1OExcUP9asnB+diMh2uc46qFZWRY0K8IGwdaEJ7CJL9gr9IVUgjS5dP3g
vY2xrHkt2VZ4hwo/lb2QHTH/Ryqz+6dhClTdX5gq2mO+kSxBx6hbd9qF0I2W0BkewbVZ50NMWKGS
JWfKwLyx9GmU0xzJFtOx0rzXAGbchyRllv23K4kLOC5IEvlMwVgFXzyAmC+2A6Sn5JTx5YvfWo6u
d15y1HzMt7rZqU5K+W6JeVUE/9FE9wj4Z76iSzJLkmR3jheM6CMDpnB/nbCgAI949whLSAbtniFg
YSh2kPImJ2/hobwkuF2xdAjEo5xIAhp9ErpBp0hyRW69lQmjXLMTM7RY0ClwTtjE+U7INWZ8LiE3
yRz50AFmhjcaU/Ts0xj4+h7shpSvntezd8buMuUHd+InfkQdjTjLDqE+S8eR/nlVYcVMLpBYtSZI
XT69jBP2h7RX1SPPaULC2cSUHuhxCYBGjbXc59CxAj5Slsnzxc0Q4TEjDiP1UeNxABRXaeWzIG7N
l5t34rtHOxO/D7gTAeOzILzEdjCk7cpCvXLOOyScLZZRK2yC5jZ1AUGc/Vqj1YdgE58GllTk2nuj
fzVgg+cjJSbNdudEEdNFfC31LozmIDwgMVDVp1+w+jhnlpL8Pc5AmGzMmGbygagJRNBwpWWOuqCo
ZfbGSDakeS8ZFMjj2EPxZrRb38EUcQifFXS6YnezW1OHnnWjelJN3xBYBfXjCqcqPzBJS343LZBS
PIvI0Q71SEbmtvYsCylaJHL8ZtXNX846zV+ZstI5dWGnggdmanj5kFKWOw2k5G9jugA5oyx8eK6D
5zmbGm+3RVsoGTStaBXKzTK5eOYLY2a7rwm+icm1CrrmNDrkWO5DHZHp6gJhcc6tnLS5cDN50yny
6b5ecdJMd29hTas7pjDZ85hl/WbFaUAoWeAStxO5SfiL4oETZWioxI5iYWCxSRA0IK2tiDM61nFA
zDwGT1CnYgztM9rrqPpQjO3uEcJGXPkFFp+TEbnIrkxiCJu+D6M3rrql+hljVF8gDHT55LzKoUHm
khsgK7h80Wv8ANgrQQni3EFxb5EHyL02xZBfEzKdEeE6QVZel84Gzc9Vktv3zQ+lk+8uFL3yvpuB
3ekJN3oaH1p/8B/HiP4Fy3eWOtupBGpx4b5ZoU9SAvJverJxXgtYVYxn1q5fxzfbum2J+ttAHLgY
+GTyYEJGYBc2E2b5zkQ5fd1JpqBm7Doxd0wSdwemIQsY2Xh1mp1xUSsHAnCnUIGO6eReHe3KaDuT
PtjdZDWRrBgzgmOAnAdpYwk/4+wEYwF5Ltt6pY4e71sXVEtFXkOWNAC9Ngh71bUQSUqGOEQbZO+k
h9MTI4YC8HrvXtppVcVxjuoi2JN+w8sjByAvkBN5EN6YM0ewhZaYsx18iWO3c4pmDa1rHHCLtWOa
/MHCMsUvnebmvZXzKvl8JH83fiqkWYZ3svB08SLR59zVOcZLqBrIycG9zDLz3MC9AsUHmQ9vfbHk
EqIVpuSDmmNBuwC5vkPWlyfJsZUZsP6NN/M5YaHIoaiuu3r2tSAgXAXNJ43u/OJKv/EA0eb4EBiQ
yYvLIsmhiXcChPGqFG+kb69kddkKcMce62Id7QTHKo6avGuPRva9+gjinK6SZeR6wIaNy6GH+TMi
+2ZTw/bJssXPlVAfHK+owXEOS94nrQxxiJC2fg2TEn8zcHLoijgq4ZDGjIuQWbjuZ8bglUhKFINE
k7td+GvOS1KrKUVIhqfLJGgy6QjigW3CdfmMCogkL99r/Kd+kSGJatDGqRfbQXGObfoEgg+2cw3v
QZRx7u4XZE330BMZuscVQOs7i2b2KA2a6vIoGWkgA0v/H4kMtA9XiNHCvQSziAvo85IQAV1TybAg
HEkoHfUc/EKFAq2EjRkewyViLg9ptQ+ra1zr8OAzpCDWpa/kvKN0FJysZNGhLJfFzNLNGIRenD8d
XHbcEQyfuZ6TLVSN9F8+uj2Bi+0EWjpe/b8mJ4UvrZL8Nz0QWAs0iH+hx5Lt4OERP/s1o7INAeSF
85tzGCl/MvAQ7ikSif6sHE8hKaugD97aNoBHF/imb075jCoWERyg8seMdvtXzayq2Cmtine3C55m
M8fVky5mcVPKlPN20aFPRsyiwDjGi+P6p17OAagP1oHMxME+5BwRaDXf6NNHeWC3upJmsBrKnKpa
CirReqC+gvK32gb7ZU3/CKUIASAE+6Z8UZ2Y8gcj1vKPt7aBt69rrA2G38yh7dnSv6+/ywUN4bFe
/W7eok4lejs19IQXj9HfsG2UV3Qbp5Qtkoemdj/1VNrP3utVf6gj68V7XXiOf23TOPnimZj6IxzT
MP2cKoDcW+UMDMiVWuRDvdBT7CL0fsREz11KzFOfiIUbNhHvcWQJp+vicZ1+6N6C4LRx6N5aEk7q
HaASkkEZfPnzrvWC7EezuDiv/BJMBlYj9ovxbo7R223deRjqB7wlLRVt06DaWbzFvbpLSFh1h/MU
OEaUGhe1W1FT+727OP/c1wkLVn4lIK1rfjE2H+FC6wyr1MKTOCfVK51v+gV+j+EaVixmWkYlabAN
U9fBi5jWqH3r3UDMACK7VsKR2+qsdcbb2ijTbRf6nvxtCnvNITarMN7FSMwwEk6M+cCa4UmZkRnr
PqkCDnXj4o0bHMPPeNeYYEphwAoKigd88ob02LQD7teuqrsYZjpspo41Rp8WzM6KDv9O31mGk00u
DUJf60Qe8nBseDQV1eB7rXvMCDSx6wOu44yFbO9gt9fPost770Dn1bU/lsZdSe7y/W6MD2WeDPjI
ZYZHeZB4nF/rLjB8sJDlgE4gMja4LVlmx8tFr8gYDzNxOfVDHzVS3op85Hy8emnQkqyCUjuawNlx
zgVwD7rQHFnLG/ObPdQcfiVsSIsfOqvRMhOBAith6w2E2u4K3a3NzWVYj5qsZoILJixKRnBRvcId
PzFCr45ew19/yyr8TiDWWFUg1O1M6FwKw5z6uLp1lj/3FVrNDQ1/z39UW5sBsUvJC0DzPunb6M3V
/LNIW0EAm7MExDS4VbONu2C4kkUTrG8unDn/0k0VcCjHWyZ1NjTC8yanBCU+lDwKZgyNXCh3gx4M
09GyPvhD/2PxBpTKQ2RGEYmSiku6gQKUgg2ik4IeetGsVM02Mb5Y6Y9Bau88CJ+QEKRrm93YoiHe
xcIx1atbkPmnN70kPPdBL1xcyL1GgE0PrB+keS2EPzQPFFLL8CO0dL/MNss03YXOjGvQR4gLu0S2
458x9NfsEde8uDWe0e/IvN365PcCOpjEDOIyMGiJs1l8KsGqEcyCWq9x2QTl/XgrZgMHubLJjNak
n/7H0Xk1R4qDUfQXUUWQQLx2brfdzmleKNvjIQeRBPz6Pezb1m7NrN0N0hfuPXclgtWAoj6rDHUs
NqBcfee8X2YPWNQviGSh5Nz0CSAxpKh2CAGdL0YER0+HqLpTULz+aQ6XjnUbiZnFFsUWYaigmnEj
hZSBBMgGQPtYtRvT3E21S5teaWDSRO1OaAdzQlfCc96LQX04jG3fa5S/aF4Q4dwlRZYuV2sc7fIP
iJE2fagwXELaAROzIAdvizB4HujT9A7WgvmqO4uSvZZUJif08NEH2uDmDK0M1T26OJuXnnbqdiw1
KsZ+LdSIdWTi9MLCQQcXgLr4CmzEl87W6MmZTgO6AnevS6f3HxIeXgxhBYSPqzWQ6bCbuPa+VYuc
/uj6ckhwQDJc3LSO8rOdUzVFeMMTTToFhL81n8E0n2xGinYnfXoBSCLdfDPxfdtbIxks32p0Bag2
YM/2l7Zp4mU4yWFxyr+LVLN1w/8hKJ9TR08PJL9O9q3l2vKdylCUBenNUwZuEzoD2pJtk3XKeZ9K
Mc35ke8ij1lEYx+UTBaJOP3TJN4QHQovyN5SVqnErOW8fNj2VoD6MwvLMGH9HVb9a5TFcYvF3m0x
UYLCK5yDpEIr7lg/R9EfXt7FA4bLQh/tgk5ie0eHufr2+9IQl4y/qQ1KMABuln31OcDO9aykA8qk
666sk1wG7s5VBYO9oYg6NJRDmgr9bPjH4pxLTmHOUCbP4qVe+ukmCTMQDJq7hXSbrMai3Pgw44EE
y/VRyzP/izZMdO8lxtIbnjCDin5UOLPcxqcRJFFdQPmNgRB/48OS4hSojIz6BLJ9816wOWlInOJb
x8w/OwjNNIjBg4tK/F0SF39FykBUIKyrzhxIGnN7RBZRMzEKCcqeEZUSbyAifSLbitHyXtHoi/po
EB4553wlAFFOkWH05Ev8PIPpx+JUAD9P9pl0GnyfiOMuJmnikCglXBZ7z8H5R+liRWe7mfAYdUuW
f/OSt38MNndosr7tfbA/IpduhooYHhPfJbSZLVrzUQWRQ4Tt2MVviy6HBzBTTK5r3A7I2wiWxuFR
i7H6pioLzW9uedwvjSQWcxcPbTrdYC4pn6pwUP8S8COGTHbXKMSwCjJWlvRVvkUaPi1vwSTcczfj
ldxaHlvLbc9EtmGFw1V0ZKEaIQWuBigpaSXFc63aOcdtBZGqdYq1Ymqc0mNxsUaqoznPJsaFxIye
VT8iqymbsSwPaT/57c5QmREFCZGdRGGExuT9Tg1r4ySMayQybcrsEjwlYkZqM6cloWRwDwMx5dY+
l1Leubk1oPlYvOye64VN/Bi6Liz5NpAs7uvJ18E2tTidDqSoTOoYTcHKBgeunfXvUb7ShopWxS26
HRsjZheb7it3UrBrCoAQhl/SEEb8Bx1zU9crXyqEObznFHJiYzCqQI3FHu12T2YIkQNs0Nov7t2I
lfjfkoIK37ZGWPm2nJnlQEQgC6eE6hY/O66Hs4pnfn5js0cFDQOQbpw5RAefNHVqJLyBsX67TKcX
UdZhflMvcZOcLD+u7qqc4GxMf3oc3c2ULh7Z3YKpzm7EUPY54ZCLb1IfIt8blUN2Gey2ylYLbVjf
GZIj7J9ZuiRP4dONQO5YbvvBYwOXO8akoLfMjyV4Iz+L3zwHc81Rly5KyzNg73L6HPEGIF+dZFgc
ByZnTxAC1d8RGR86/LF0xKeJ+mG6I+aHKE/0sQCbYfHXhID1mPA3KnEbNo1O9YPLQt0RlYuAwcPl
8RwYl/xhNBPCvlcWQy99dhZ7Yb8JgGW4Vo7syY2x29J5kMuUekfJbRQiBbdE3jaHYcwLoxGhk5ow
AA9DQEgFX0llz5eQyi8ASeYEYtxAhM4tmhVW+KwLta3+4opSgh+C/OcTepwxIO4Yae6mTDvGD/gZ
DTgcu5uxS6dOB8i+mn0oUoJuCcddiduFynO6DRuSuQ/C2OoGskT0PQYgNXdD4XjNB3XkmJFpz1nx
5QLJeANjMhALEle/QTuaYyUm7w1LRvCbcCMTdeHQEeARJ5mLoPNriLbA7FwNCw9jylT/o78e59Nk
Z+D6GgJA3tBkc+hjqOM21pHNJiTQLlOaxPgyuoAJXv6gSlm+sGV6f8Aa88u4irUOEzwsdYcACdEa
pYPpLiXMZTktAyXDFj8J1qWQUvCDiGhn4ZMPw+lEEsewOgVpzu+ZG2f+A+qpykbmQsWl72Tq+sst
tEJr3uEWDPCTE6EC+89ZuVttRZfEux0ABmzRVZXfuvFNd24ANME2CLysuETwrCyAzMSiPEmbP5Vt
IlSZDIPR2nN8goxw7gC45tgKxzZ4WpqelA1k+ikJ1gO+Nt4GEpFTrtBXr7GtvxjhHe8UwCezH6ek
j7i9URMQmoIvrd61Xllm11Xd/spbQp5MlxXzFgxO5rKKnfOT6+gcZHUeEc/1g5cF8WcfueI0EIvC
gjQT060fZp04Z4RywmSj5odmj+WIdJU0ZG1fv1lFVtKIpXTNZNliiN97Y0nYjhhGt4e7lpjmz9S6
bbDztNMvRxa3+XyjmGuxe4e4XP1FRxzyQWS83/Vn6QMSPOIr8MxhDQea32Rujf02y1f2J3AL0kRY
a+kofPIy3nMqV+HjGcPeD2RJgTFo84a02k2GVmVj1xbZuXFMOXXjh2WnAfGiOY8O63UODKYgScsV
/apu9Rz3pWJdlrAFnbtq6xG07m4XAjrH54JKPjnA0bKf6hj05sZev2UGm2WfHrH35CEjjpoTtYh7
g5LIlPatbavyROwkWRW0SIs+Ae5BKJBR2n9mc4CZIeSkPY2oXPl9kZ89AKTxo2/YYynemdjXlDxR
Sx4g66X5jv0FyRVRIi3Yl6OE1KU4cl+NOyO6G4TDvnTyvRZSY2/Ne9v1tPeQzOPCbYOTHzEQ+umX
PnFnnIhLqu9Gm+s5dBsTHhLhMJliIVstKH0LQd4tmo/2iX6ixcSLj+hXldrTFzIGDFkFUzrc8t6X
Abpcu3lBmEHwN3oO+pfWyk0EkHAekv1QS3mfsSdc4GdiGE1bvXzXvO8x3dUA15ixvHRwbbLoA4QC
0zaCmoDzlaiC4ITnhh04IBmYe5r2D8mVF7rZ0ePUqc4dXdi4byEtV8OB5Unq7vleHczuiVHslorB
W/aa+U7Y7dqaTYt/RNXRcz7aKUhK58nNM7o83UrLOva1N7dH6XZ8Cm7KLoFHMUYfklmz/ToIaQqa
LQslQmMzc9rZaRoFvxN8l4gUKFI7EJppwHkVHGw0VmbqeMWYrBZPCBfn+Zo12Kt4lsHY1sPYcJmS
lHDHMnRgIDpwuh0BJMgvlhwuQlj66v6oK5DzZySTKKzSHKLCVuLUeFmNYAn3s6WxSVRjd5dZFLhk
O87sdqzJ7ZkNxz1VY1+4iP0IOYhxCqFn6G+MxYWxwwTD0UneWhXf+OTfAqvvVHzPVB0GkMGnY/aB
Esv0OmY9mSmUDQl4uphUyg+V28VdGMMxIJEZ5wyGbaTgvSe2DEs5ziNLq2+BoAQinkbDu+uYlzNi
qJLhcYk7Ek6YPKgbkjdIX2zyKL44uaXCN20Pw6kgAyTf+GpEGkES2IyajLH8qg0w7SLs6giz0zW3
bF+T4An4EQRfpvTqWjo2QVU13rTfhZTLfoeA0oitvdoUTn6ZTDCNZEgXbiFdNeiqPHFqkhmK6yBJ
G6AAqpQ6UL8M5r4hFWlf0KAH+xgQh3fbqbDV+5YgE7EZB3AEhzxzqbhG8tSy8wQW7VfHEwo77IiA
NskF/Ncu5MedEj8A6w2xhUSVE8undDnr0QAkTDMKdt5kQbA6mKw2PvZsbljpBpor+tqgJwk8vo2u
GU953nV/umzqJYom8p7XlG9wDtzb7dClzS3eWa3Gk08aX3eT227hoOPhOv1wdIP7oDQwh5Bk6ZKv
xrgTm02NZ3GL0B2AY0sb86WDJh9RHMx6HhFmgnf5jOyiPoITK+03gRg8f4LfEbXXCRDWwrlPbWEm
mIv+GpSaRtjsXFbPzBYXSAvo1fAMbzSDtuzZLwPUBwG52orFfUJFnFG741PK486/4pkgB4gNwMpo
WQgXmre127FlyPOxW30rZU6mXZozUHRC6T/OKbkDpyBRnFkbv2B2TpJdT9QNKl2OfzbjxcxqNtqL
QlW0UTyVIsoObkLIJXyWAdzwU17aTrgCWKxuegqR6COz0LIp+01OhOUcH2gwCqF3y1yHf6RV5MlO
O9bSvTYkt+W7AkXyFcvZ9JxaUWY2+F0Z9Ex08WrbQS6+qxhIPpUthTK7yc7ceMpDpSkx7j/FVpzS
zRhC2g+EZmbnANH0fGwg1YpPi249I6MF9U+2Ha0sBu+3pAVcym7sls9FGIS4W17uApCu7ZoG9Swc
su8+Hco1/yo0vr56jLe4DxmAomFXMi8i1qVISud+U0YNehY7SOGxiYQR8XUIkJdcFBQ5NoJlhD5y
x10nxYGMbkuRZkE8eX3lAIwEos5Ysn/ESA9Ya9tyLAnyxYMYsgxgKmigO/q3enA3LgtHyO3o2NLi
R3mo0DgtOZfR4ZO1BUAtJ7oRSSJ1QGLdWnpy57uhimXzl2HgxPQmcmwf83rtps6xAn+ESq/A0I5B
HvLzovo98vs8/qodFbp7MSVTfHFBrQwkWzpTEi0fE9fV3wQ13EQZ1dnFI+Eu+BF2DQqRiWK3K5xr
loard4rm960t8ek9sXf0xEfj9RYQD1eMTnpb20sr99MEzmWPXDgffgU9hIhYqiawMdqRy1de2dvK
Ei1jHcGxpdLxkntFPLqDoinNWsx2xTy2V9ycY77nHCyqewBRAi0hiLv4NpVINx5ahwb7O5o6uE97
pxNTxPIYWWeCV54ljf8jKSfcVfobFR8eNxsej4Ep1k1ow1z+mLHmIYEvu8ZO2bvV7IqMYbXX7FxM
2+GeIh/2DX8juOGvcBoWP34R2BtYKrJiSYNjzWp5/O6EclqcuUljHUzd+s5R6Z6aeQELmEAiCsjY
2HUowkLCr1RkbEzTJSXW1rXIUGHPnQT1LSrwMCZcLV0ECxdULWN87pxW2nC7tG/m75rY4OA4Cp8V
KURenMmfeUbdjPDSTeLdKOpmRlxpwvJ2yrVbk5ue0EGPEQyQb8dIODaGUVSP8IFLILqH+cHtgGfP
YZUVJjbU3aoZsZ92KSjLYGyAugBmVo17XLKlna4waAPBxA1CDoIfewpfJ0Yexb4rwzk4DnhsukOD
NjubtqXsSxLvId3Yz2QHkazJcMptz7bXdOQKpyIvOPOw9HgATOpoZPAMatIKSA6f6M0wUyxuCkgQ
MRCa/JD6BhouPIYDVEFd5acSyIOoMWBwGJKeNgYOby3RQZm9mdmNN5953/f+i68RypK31PrEEpmA
1MttnZnE67CS09GyP2YSFja7IMNawr9kW/FdDXNebXHbdWYzxZEtPnOVtFly4b0JPGzRObr8Gi8B
yPwNcSGc0oyEbTL8YruNoJb5IOI2KtM+FMxWkNfAOmwC8ASvCG8BHXPDL9NycX9MzD68W/YVuf3r
VyjrkeJOFvhixNJCESaRMw2FWkyauW8jmwfbGIiT18SDh8RwZqVwU/pMWk9GqHR1O9oepzpRIWRe
YZ5Bg9cz899KpBx/Cuq48S/6BsZ+RBi5aiANRUNJERBaOq48Y6ynnhAMuipheOiFo33fx//NXv0u
AD0uHpQHQWeAqQvQCSdonQxPA+WXDm+YZneA4ra4PlPwOxV23yK9BhCDTHYFTlgbdaiBrGm9x/fr
liAWKzuw1RZsPj7pmewDg3pdZct4yKssKD4j6oDxonjy+qOpWrIpyjhMDWv0qgtP4+T05tjYDgl8
VifAFTG2wOhqnHkmXWmljJ4Z9/cjMuAEHWfblS54MKMUieoxtK99OfjTuaC3Qg3Kh1TuSvRqLJJR
KzAwy4r0CaWsZs4vx5xkI03bsJ3xQTS7qqLm31km7CmNmF/QrSUV6XQop91N5819cmJgI+dTwObP
3rHSsl9cHqDwZBOq/M0pz5CxzHxxW3s9IbZuu7zrwnaHvV3mlcEW3uHeEphFmCnJCBUBbgPmos2U
jGcioqLfrvaIU25kpLpf5CFSftHaOA1fCQq4rY+MRZ4IV9bmEfUcsTfD5EFXqLOuDA7M9WAg57qz
tjXRaqz7vNEaWeZxInW7Bk+fwWiyKPGdK1Nf0IZkAPXyhS7KoWqnICrkhMkjdjGzKZCkGMZ1nl66
rq3DC9CFscbNXKBjiwmxd/espijVgjgmsiTIUh6swKoz1Jv1JBcORciNSHlV8mH1dbqcSpCNHc+2
U0UXTgFkUv2o+p+EreOLXdgTK18cZyjlnZp6uBLIP5hNUScwFKdh26hc1XIzYZcDKjH7vAMWyFPi
lUI//OMACZAPs0chsqe68RGg0KAkN6TLBOM9UvEsPXeh7O1LMBWz3JMMkbx2o1AK9S894B38cv2W
KcSVX34VM5WrJDitXSTZCxya3LH+xEoWvz2O8opvw+leB2uZsVSR+VduDUqvb2AxWPzJ4WWF0ERr
/ubo2/oJS3LpnheS236K2G9qUE4QxtHzNUtKYmBsXNZ8mbl00Dd/+xENGDTSMFweyc1K7muIT/Mx
Kkupt2x41/Ca2g7qfUCaMyEzbVCdUBknYuc0daiZgSJyfOxddk2HviWW6n7pmew/s60ihYPPJ6k5
bolH2rAwkEdaJGh5SZe/gVDw/sk6zU5IqsHcY9xKX4QeYn2T+R7oC3J24KL7yrKvczzi/CVatHwa
bTHWh9KfHUXCUiiI0gN1qzfCT7tnXU05w2kOo0OGuLk6qrSO75VgtX0aPaZdxO4UIbbUkajIvdVp
H3iUSCJ74wUMoO+TqjQ+qPFBYG7oesVAJs6sre+kWBDIABDBmRnLdA4sB6f3YAJBm1DFmHvIgNZX
uLzE7Vh+gOPUQTxESC3WGGIoQt86Vm1EKkaOUiBn+ixaonralD00waLWQ60moIRwbTJvgygtRpWJ
02k9rTG1HbTPa/wVxRjZdkFkySd0R0Drh8rEj7q0s7/CyuzbijE5g7j/IV1WKJHt58uyHoh47xEl
lnMPg73PGKWB461uJZgK9GF9Z6866SkKyUACZ5av0ML+AmsgQG7WLdw2fl6aH8ehBg5IMoCyEdTp
eSSKYJ0z4f5DCjgKsrmspex3tt/o+YK2PW5uEadhiZiy5JOqb/YJ8WrilwGvh7wxMiHxCmdD/l5Z
ffOdER7/N4Oy6dysSc4vVovkcsuWsbrR/ErpLsFKzrjGIW/jpXa68C3mHH2SU94U6L84fG00+K39
UoLUbc6k8YwH9n58yioKCCL0Gmm2AeLzjuIGcOwE/Dn6ZmzlIeeAUlYcbZl57snWKv1ZbHv5q1gu
kbg4LNkxhGCLK88qbHWi1JtZU4b89iRU2zFWVV6dkCbXNsGuRPxBtFcsu9sekKBgO86TwtyklpA7
Rc7MjASm5cYMYwB/C6H9HVKrPj7zDXpAmx20z7vKljmLjiako5usPALS3Redc+nxMKabwZvwVXHz
Vte5Tc2IPcE4UIlcp9p5C3Sd22Vp9dug8uEDnyM4ndBSeb4PYurI7dA7a4eYxs0fzTAI5knKkO2z
ssbub7vYGO/D3hCGhFgk89WlcCt//MZ5x3gW+LD/HZuZl3JwhZ42LPfsX2JP5182rdVwq5cIOebG
r6L4x0HCk8OpWzrvpFKSvjc1wB1OU9Tw7gEZuaruBq1kdeho67ytF2jZPosyYhFOrF14QB44kPFB
lOv60rb9i4mhsOxZo64oQUQUBCRRt5OgBv+FbjerEg/HEUK3rekFhok4SdxPn3WwvO1IA5teKtzT
QG28pCS2F9ESZmdrBOvjRZZzVkNYEOeSt5TFfh/J6oKsjIxQgBP1T2YtTKNTCvtnVYv8AydZ/B3B
wTP7aubuRs0R0pn2Y4CzPRXtfdRQJW7jZISaXvdt/AlaG/sR2Caf1VwdaYZBMUs8RI8SsA+6xmEn
A48sLIKqinKbC1z+BNwHayihsMQT4h8Wjn5KEPNEPLd6KB3f+wswYAR0Llrvq0jQk5ywW9ARezVi
H8K+5mDvE2dU3XvYRnLu79TOr46NUe9q0lauFFT4B5ioFO7yXSHVcoa6PoEoLCeQiXYZNt4unRz8
Lo3JO0E1rwfQmOgL+5Me6wmwGTQN5+iEKAT5qUrCi3pQJLsEW7G9wd2hhkfT0vJsVItV9abuZHaq
BrqEy6wTDSC8ZQKwWWiA5D6xhiw4cHbPZ1oKgRiYKFffuhqBDSM42RFNzx6DqTe+MxZN7PuyYY/w
D1sNPu39EDTARg8jYuo0vmP5R4j0kUWD1/X7LMBTSv/hjjLjc87jZ2uyZQqMKYyG9rYapPfKIR4E
e5kkWbedgyL+7HBMdH+XGX+12DPL7Z2tb/BuE9gtvPJLJ4V/GXrsA9hLkBKUhEChMd7lsxj0HUK8
uTsMZq4RFCKJsaadpBKLeNpdCxekjhjdPbHjxREhYeXqTT4XbgijIXDbdx/Oa33EhdvU1xlnqIVt
MoL3vAXBVSUPJH+lLpPvhaENqpsZ8TCLU6gO+MtJxIE65hfb3BKLuRgOxvS0cECj8yI2MMaDjMjo
jH6kp5kUwbgGDfghhwaWt2K7SHt6TZawFbh9u7I9ICtyyr2DIvFJxpjMdkFJfhDjFKt4zUgIcO+i
xqd4ZSCB3JTJfitemcoNvyEvMLWykiORgJPPtYz3x7fZBhJcu+WpWY//oNbl0W/kGJwah9EyWy0Q
NieWO278l3gvxJDgCoV/qJsEoXeAwTc5kaAzeyzORWtXF5kM/fCXC95N74BC8HllGPZWiE4tnt21
Xn9CCRFHz1Cm1o3ivAjgBMXMY31YHePJwSygvrjjYuWehIwRXVLFDu/BnMzpMY4x/W90N2EqoyNH
sk4vbzNYSRyaF5+SETKNX6hymylq3m2FQsl5kjT17BZKotSz+0RhUOUGACGVL5CdKYqgPgJvUEoq
wETN/EDV45ILoKBC3QF3lL8dgI75ljGG6l5Gxyb0jZm4RkAUWMG5zIEkPZqU0vejwTHhn7yY4RAS
qspgPU+WcTPH0hrek0Sq+qY2CGq3TFYbm3gr3Yb3Xj119p5Bpc3dQDxl/c91WAkekK9JGKdJlTAC
9eB4PqNvH4vzmBhGZsxjQqRPMdJO8eghQP0c8IN5dy2pxf3BiSgwYCi42H3mnK/rMJLcvtIi2sno
Lea+hATttkV08sOEBN83KQHiFjHg5ACLJ8oAWaoVNclLU6r5i7piHh91SIAzEUXGkUcUcC6WIasR
qtygNa+auziuuuxCWkOQXZua5c8uBGDIyhqvR8VwB2i3h2ETGyAAfteDrsoAXMFhQo/V6JCoANxq
3W2N8qVvH6dSRtnLkI8p+n6+Fg6tOWMZzzUTRtZD6jtB277QaRiiR2MnLtlAWUtPEIUWUe+/NxhU
JiAWA551/ovywvdehXP3Nwtpo08YoQZ5GpV00neuPMd6YGJuoicRZ7o7UcaQLGimwMMz7jlcKaXs
RPUwoc1O9uvOxznZEs/b3k9RbtFTs85m12STQRIJ7OZRKSlOKXM6YmYhXVgtoiNxYDZtqLBdwozU
TRNjuNn7Mu3KH4AEcC2mJEg/tDDxeRLYWBgoueRiIRoZX12fSQeiOW2mszNmeMJEbPyfiLz1btsy
mCZ9KLe4RINwdK+MwokiyTOe1d16g/nr1NV/D13QQgy84USxAKzB0iATAr5ZdU57WkZ7WGlVGkOV
HSL3ZGUz5w1QAQWKtK3UchMFWJmYeU0wI/WobA0g0JDH0zEXird5j0ClLdT0x6rS4nFOwiTBOJVI
FJtIsSE3w8R7nxruRyyRbfxqJzBfmM4b687C5IBTqeOF2iLIo5pHtCbGNYI3fUNv3f9LTYMayUKC
z0a5SSV/BEIGA3UrBVlOAfgX4zUWZImaOGKHjNdvJ6MBKyTyb6TJlVnUe+7nWb3TyO0/0PWz3Ev9
yZAzi8/wE02NS2AQWSpnXxJftx8ZjL/1y7rj6dxyvrY8pHcwDRlsFnmthnewosXXsrjdilQzkbVN
gsF7BBVknowb9Z9kVlb/3E7k3xF5szeuawYgjg3C/M3EZY7NDWnRF8NRlFftrNtm38JhsPZhWWQf
4VCBwHPQP3+m+NSeLbTxCfJm5Cc7g2XxWiYEZm3CtkZ/BcSt/elyqhX27G7+iJXWewttz/2Xp+n/
aU3DEGwXVbaoswdf25AvnZxoQNTHbO/iytn5jsu5OCE9zXdskcuLQpkJ+YiYY71BwQhT2YArrTj0
NP7FWWjSi7BHssjIIs41UlFYHJXKxyTkiozzdslmbBQ6Qby2UZ1NR0C3ZxU4+kT9rxVN529J02x/
qbPqdO+aKkgpYCqonVnlBpce0aGNk0qwCVd1w++qCbdJaSuCsLjxvaLHWMR5NRAWhXBV2WhU0Ctm
0XjkMCh/zajFt2U4b1cgeGndDI2vfwJWfCEavrIi+TVkIL+PLchX+2ER+tp7jnrmzon9E0l8xDfM
6GaBYVR8TpuBc5XuzUqD9twyAgXvN8bFc6s7Qild7msSfWuWtnuHlcs/0Q3Wi0ERfFp0497DVF7p
OmCZOnZmeYLghKt9a8LMLY9pFGNCm5NCXdpiCV8rKBjDdoDjgLqxrrGNpC5FCioQ7L0hG8EHC9GM
PptSuU/j2CePOnK4C2NBgBbQgXi6Ot1YAeZASu5tEuBkF0x9y7c9Up1vE4+s640/0YWzYXVw1Ipx
mt6MPcPJpBll78nOukWd7VXMhJOwPEvETuN2aGX/yFpNv2TxXN9lFfFYGzQzDM5kF3SPBdRHxjRx
MP1z8gztCJsw/+jlfVEfept88oNlkUC/RXdOgKXS0/IH+5R+Vu0YIyKxV29wPzpVeaBuItGc974e
t7ZFObWvZLqYrUkVeCvEdPaGGV/+kOV28o3tKWBGZGqZ7vAwZk8hjW1A1RiVX4NnBT9h1o/ZjieB
jKyGluwphPbDj+Hg49mzRNCXcLUpbJe4tJi0LU3+2oYzOpXSMvI2bpzKPYRUTnoTdBkHaNwySCI2
iHN1EwIn+2inKcB87PP9UzVEPBpcaAiEOBtgsw9N6jyQhcg5BZDL+YrZE/FQ1YM4dnNffMjBLT4A
t1Sffe8hrHTsWdyycMheosqHBd1XjOvPY5mVx2KC9reb2Gt/IsOhQ4oCjZTfLIigqB0yyt7ArSFv
uqjNkxOUB5bjHfbW8Swq2mcVIfgG7zSz52p5GcEzNQ3lAME2iKycwIZmTO9InmS+BD9kubcGjJls
P0q6zWfPtwhdxgCisANp73HGLTTtLZxYf4okGe+NwqRHee1KiraxFMsqxGIKBlKueLVslF4brKM2
msg4Ds2OaU+X7W1EQAg5O+bAm24IV/w62xamOXXgvCneXxbqfpWDHjc0u5u4jYd+y3BobNiLowTY
I5yA90yucf4uCf6yN0tuiDXP206BlRsTkiF0F9GCxWDDxKHkqLyqYIkvCGOaaQf/Pos/sy7x/qVI
nfwNGq6O8XrRY8Iok/orBdVwsVOzwv+NA52YriNWBKvM1TvcX2e+Z1jbQv9AsXWXTJNbnp1sgmQC
tKMEVeRqyJ4ZjUt9qtpsFV7CoID7pFs73lugl8cLqEqWiaJF4cmwwpHXUZfW74AY+yjXHx1ea2yw
zpFo+uPPpYP6fVgF7N4oV8lr3sIkDLNGP+dTGXyHbWe4RTkD8anCAtnPtiugKjEKvRWDALNJgwaq
RwFNK46kHsKN457UZtO6bjkRfQBADnkoNkI4Oro4klhc4xDScZScZFNDGlGG6n2fwB+THOrS/PNI
MIr3Dq1Qzxa7s1ZTQtOdsXI6HwDW2eFOPjfRNmVezT7XAoMOjHQMKgYetow23GisRoB9sX0YUhU+
IVXj6sa2Ft+xE2aNZdsjvZ3tmOq9IBw3g65fR28I9bF1RrHxjk3P4pIvBz+5Qy7hmpk5qdVfXdG7
uU352RZllVwoIMQ9379GFd5kyTcW5Pq1VCXj5yYScXkTQ9hgMG/ZTAhSVkndoR1V/RyRkEP5nMfy
TuByAr8z+eYzjntuaXYcot0ljhsH+9Enx35ju2WDroeJ9c6w6VKbMcMhiVC/a+89Gl+8+dLS37zp
5GH4flT/m3D9kCeLxAKhqhiyLxXioPYGOslDZSdwoHDm9Y8hcUOMGrO6OiNgb0bmTwGxY2vRybAj
mNz3Asg8+xB2xauXmRgacJWqOhdxso7/uxy94IBJmLwC9q/cRjpBbet5E08pATPVdQK4/RPDKSLs
ZtGp3iZ9Hr91yEknXtyqv6q6nCyWGLysGzcfcK8UXtuTcBBGvzzgjHMgDVcM1zP7mZOxfI6Xqq12
su/mPw7Wi0cWDr3cMl7XoL7hYV2jpV+fGDLr3oNgNmeSaoW9XbrQXnlUEfAMJx7zGDDJtHw4SJ3v
cANirLAHQBp8fDZjt0CODTp9wqYNVNEExiMfBt3+PDmwu2wWqxQtuSXrXRFa3p1DAUZWS1qqC+nf
WJX4Ot1657Ueq8N58ijGegIm7a1lWpcdNtUJViBnCc2+zS2/3SPS5tPnGAreCpEys00Q9zD30I13
4vnnV2tKR7/7rqJ9K6eROUaP4PlxLlerFMWt2lXg9bN10IMtVlPS4hsqBG3ZgGng1OK6IbAlHcdX
Qg2rZxrv8XtKshxbUUdMjsWoodlWzCzLTUKkuL2Nl9I5uj1hh9Srq3m39ar8Dcl6+9ZB3su4HFcn
Q2rNbKxDYN7wGDICvbwxDf5xqKhgh/ckU3tT9OYrgYr1vjTsXze+xxR3T1xc6p+0wlh2jKlZ7zs1
0HqhDs/QfpkiffME7gVQnATT3ySdVT2hK0zQ6mCQx6cVVdNn0lBrbZOKSeUOVqNz5uSioe8QoRQ7
C7mAOWEliK+YudhqeUw+oDKmXDskk5Uy+4+089qVG8nW9Ks0+voQwyAZZHAwZy7SbStpG0mZ0g0h
U0XvPZ9+PlZjMDspIhPS1EU3UCpoZQTDrFjrN1u4hrYLBz/0uQNodSOS7uf99zSh43OAGVXvBdYB
dAlLwDaUO6tK29HF74IX6ss+6VaRa7sBJqT+vhkiMezcLAFnNiratHcNDqMf4fPWtwgG6rQHJ+CO
tGtpsdLCNqJ2H7WTh/QCS8LcocRjfmm1Bt3ICgfK5i5QkNkP83KRTC+7aE83G80NHqCoVYIbrPDk
0hy7PGjQnnlAYQc+oiWI6/iQl6RXibLQhlAW5gaAlPB9pbNa60ggunl/o0RftluST64OaMrli4NX
mX8ohT18rcNhVnypDAjDtFwtEAzAPbDtatr8G7VWC9kCAxrKRgNu/ClC0AaVGIGH3qbMAF/urDhG
i0fXQ8AhFYrayNSFufjWFIhMbznCjQ8TekPAZGSPd1QHZgsj1sYaaea7s6xsHcT9dCeGKKwPWWon
RzWOgdwUqGwBwCBfSG6bunBxkYbJ593g1cUzhOohUqUVT5u/ozaCA2k0oLnuUs2pUSsklaH2aPWW
d+tTKoHaPuB/jd5Q8m4aO0vjevG77KPtYH+ygzbhue8jzuevbdAH9IryUoldmXk9z1f8fL9TGEBr
pB3qgqISvTzzGW2YotrBt4yewrgye2AN/OEOwvLEvoBKgue2IsnZmVILTpOVgvr2Q9N/SrrMbPa4
O1k3naPjqTTIuH1HvjeENwZPynBjcRHp7P4WNZ1ai8UPBJ6ib6JF62VbFVpWfUSnXT2nektnsZ+M
Sr+RLchQcMsVjzt6CCH63ShQUeMxyugbtNPsL8jlIt8mugdnA+tJMe01yw40GF2wOzjWQ42aCu8U
lPZI7gJcL7sdF2ZFJoOy16mLFUJ9VdvY3yx7UhXcGFMAxPSD2Z3abrtbr5UWQEgs7LKDIuP9y6QA
6e8icOQkmNBanqALceHKnLYdJKzmL0WJpqIkYTiIKcGK8246HdY9shQy/QxiiNZdUTfWnoIKiBAq
ejzkEpQWPlJvKx5LinJwrJIq6z+mCBo6GwA5dFvA5uCqDIzZoCwZOdEs14/1qJ/K8LbWZeqwitMR
0XvKre3PCWRVtK8rIBY7AV7jFHO6/8w4jl5HJGjDbSbtaa94cqKPn/vys9lG2YNe42Sys3KTLrop
86+pYwKjQUOqeELYLPgwmcqCaNAm499UaYe/dOgsX0gni3tFvTXaFUj8oVplNek+QW30c8AHfqFJ
BVIobinth0GOcH3pZhaY8nSutLlFWw80cVJspyDzxO/ZYWgaket2fYHkO9bO7U+SL2qobMoiSp4B
zQQ2GFWVdwalCI7nnQjGlkNEN2Tnvrpw0bJDE3S2szHE2MfQbSrd8bpNquhDt9tJDGPzGMZGTn8Z
oFX9FR8ApsmJ6TFT4K5D3bzz0elvad3kYwnyiLIyffZsMqh4bYWW0gEOWZ+zjUZjhjcNdoEDve5R
Z6eUwndji1sPLOzdLNNh4vpeIh/SxK45PBnAZuBSSE6w8skzHIPmDdoCNv5rkZ20/mfDFnqqti3f
HAZoGUmE/9HIQsbyNcIUGpH8vnDaB6zrXOtgtWMkb2wMDbMfcFoNB70Io6h7NBiL3N4j7IBI4r3p
osxK/u+LFtH5IBE2LF6KnkPzLlCtU2e3ysVzyX6Ar08DYh8GKmRCBrNAcWdfx7AjrD1ShAMyKgG+
dRud+r4+vx544cPpG0jVXG16StDpT2+AfNO6Q8KTQzK1Gi58bqjauY/wD9S2g8hyXCcAO2G4CtFq
1gLrEWqPcB+fEMzBGXgbBFDWkVwwOH5g/wTHyEVhbBNV4FLJLMJMwKG1pcn7nFxvZ2FZ+l4Crcfv
vgIqktScTxv419rXioLb37ZlVZ+p5Vb1NkJqgIQqxahl24SePNLUxsGnzQ0BBk9ier4Lcwg0O91X
ibntOrv6e4YM4wHQW9Ese1JJePhA2fE6j00kRxEgt3iODePfyoZojRF2OtARAtZP5gOlId7Dw9Jv
gRQakhJEUb0rWk2OG9S+3e9O0o8HlN6pzmOp0YA8ahuqaI5lgorr2yb8MgDR/+pjlBfuh8zMqDvx
WMNxjL6YvOV30HtXPBqmWwhTZPkIBJOUFUOJhLs/ydbifzX1zkoLhL951zmAgKYGxuFgk61uUQD1
qj2KRxjE5xJXkbDL3BOVdeArUGFT+96mhQ+kso4BQLpNqr3otkV9RppR+XdAEXbcppOU7YOKKuOV
nA/klu+SGG8mHefQfW+BedlIibCSpetmdIf3CXySIqOhsoX8CPooNBQe7qalOeV9My+RXQRtRrvR
+2EKUZASgHc9L3L8LQZmEZIfYlKfbF60NFPBURh453UGRDCwn3iJlDFu6v0IPmygjUUOZ1D0KQoI
4BwP+J/xCAbgjRpBhnFIG1TKvq2rrLmPvNq3d2Fn9N1WSY9iBPIr/Nfo6shNlOXed5BE9dEFFUqS
CsniLylK8ycCYR3LxB5Z2YXRIBY/oFu7CRvES3dQ26yjq1P9PWRUqZ8BjFFfYmzxbQvG/hmJpeG7
zMzinWFjaHsI6eF4e6xqLHdfY8LGjWnO0kZmRd96ZxkQj7ey5APjz2BXyRZXDapqaLm6+galLTQL
VOeNNEuj6GeWZHizZnWmvUfUKUH7zdGr+yzO0Fd2bFXepCEGjnculPsHvanikxNwIOMRipDgDr0D
MIigm8Evica2nI03hekRjIeA54cY1/cgjMcfPQrGvK9Bm9QbOfphuKEwzNuH5zCis0wHN39NTfST
HRj9F2Nq8idP8qGoL2YUIjIN3XosxEzkcsde/xalMqNN34YvsZgrrGFqjh0i64r1ZuE5B/1uoGrD
aw8SAckrhADH76Nveo5oq4jDDs6ChpADvKcpPLqjcOxdAJbQPRQ0qIsNCQGdAkSVJSQ9wWWNwHkf
IBSBwRbMX+hzOLc5/Q8efyM2yeXQPPAdoQ1FwgvnVxfVuE3LUYSYZWFINWsqOF+ka8205ClFjYa3
VwYcDj+KDzyxBl7sWijbWyqTVbltbSGfkPEZvsFfrL5FvFh+0Mv1Wx5803BK4Ba/0P9sTsh2V68D
GuWoDAUCeR1h2owYEUgm4r9gvoG+JNPfl+iTFrel7gQIa1RuhwdXW9AIug/B9WNPZcMjMPb//tf/
+N//68fwP/2/8qc8GWmz/ytr06c8zJr6v/9t/ftfdBXmf3v387//7ZhS1y1puaAqHQqeYFD58x/f
XsLM5z8W/xXoYVBXNY3mwkybdx1S+IUXdE+XgzjnQSQPBN21XCUMS7qmbavzIJMKpUIsIj7VuT4+
cRrh2KmV/nPlKWtrjhP4fXRhgpvLUee/9c3Q/hPVNnFuMWlBCXMRlad7p1pkS0+u4zTPiYzsV9PM
NG2PN1gIo2sEtKcSW78hd4RJfTm4vRbcMVFmNhy+irWYV0AlFCBAk56iuhofZ36Zeiat8h5RbvWy
u6KqeqhMl2OuTrMyeM6gNO+Yzvyb3nxLkeLzazd6csJDC6r0RP3vJy3V8Es3QUwbA9Efsl5gf3M5
7Mo8C52QOE/rros9+3nYDqBZIcswPtnl8JJ6FJY7FYPSIeOjgz/wJj3GYoYhAadN3O3l4Iv1O39k
giuamgqinjDFefDRGGkzZnV8SoySRDSH4XIPBDtpby/HWZlboVs23BDHYKC2ex7HrnhuEoZBanjc
aFrAuc6FRGGl75rPPQqPNxmWC18uR5X8rYslLIB8kqzZjmXBxDiPqug2D17mRCcW+Sw7CilzxDqg
iIAd5k0RvLscbnUy2S4sWQtuhjP/nDcLCJIDBj1aEZ9ADtH9FJE8BmaA9tXlMCt7Q+iuboM0V7bt
yOWCEVM9oGiRnLx8gO+Jn06FoTq9M4frBvxUGRje4XLItc8ndJYnaH0Qt3L+8zcjw/HelFirxqew
t4zwpVcx2ZxGpHHv94WVf1Wlr3coePI4vr8cem1ScVlig3DEOiAnzkP7NUr0CGMz2mKkTh8hu1si
det3f7BC38ZZrFDVxZMSoYQhAuAOgnfpvwJ5K/f4n0E1CEL0dXM//P4Hg6PYZdhILBvcIOeDE4Wa
qBabyclx86b7EMel0T3bQJl2fxLHdG0Qq4p5XEwiDDwnHSD+ngaeXwh/1/rkv+QV+McrC2X1a9mC
7oYyEUpbDojePKCiNktPAJBn03s5+HsETbFfvDyg1QXpGjqNUF04ylh8rSSRHuW2IDvZsKg+kUAE
Ym/qposOX1Q7vPCkWQtQdBHZ6uXIa7sPMs3/jWzq55+MMww+Bpi4E+Lh+gfhJGgrcvQISCcIA3+v
G+pclyOujdXQDcR7QK8bbIPziAhaRXhI1tkpagH1eqQc75pqSJ91hI0RbsxpZlIyiq9EXTs7DZYk
zX/bhg28iBqW1lT0dZadsFRxabDoU/EdDcLi5ODb8OPyCNfm9G2sxfKktZsPkNz4mqHZfHa1ZhbV
KnEmHiAQP3fwzV/+/wIulo8LlF43uyg7pSqpGJxmh9keblHxKmrD+lJmMFr/YN1weiFCTMGCh+Vi
PgM8JI0Cq7tT3ifWDa0z2bxTEcZ22ylREvU0J7LLh8vDXNuNhhIW164hpLXcJUDDob9WbXKiGVyX
28rDXHY/0Ly+Mp2rK/T/xVnuCZlFpYhUkqBLGnyjEztCcwjM51DFUn3EArYP77Dwda4lbKtL9E3Y
xenZoPURdE6dnDq0qgTVk9QDl1TS9LvBk94Kr5xta+G4/pRyHWHwKReLJmiQ1JjCMAW8p3uHGJ7U
HZmhj8B0Gn68/OHWJtQU7HZpK1vHAOR8y3MdFj40V9Jfwxp+zNyD+8wEerBJlH/Da/WWd3Z75SOu
bUKOF6lL/jHARpzHtFMK+DLgAuzpBjlbxI+KO1hOzgNeXT4FxKysHi+PUsxn5TI/M024imBYDNdQ
xnnIEbnCxtYsriXVBN8ccAdV191pXQ4oAyTVXB6CuEo9aKBrqKmiOch+Nta8/DNWv6sNaAvNTNdR
cv7zN8nN5DaVTE0VnTQfWYwN8hntA+o6ULF5cVBzvRxt9dMqkmEpaOnxbc+jyUjDkHAMopMHNPkO
UnABuB6S8YudUgEsklIdB1e3rpywayeBiaLonL9ZJgTr86gWkmlzNXbOhAMdMsHY1buaSuKwuzy6
tbkkkSEDVjCipFgs3ASWNziTLj5ZmAE9tINXtIchnkoBMqH0rhxv68Eku1EZxpwOnw+qy3vsLtwx
OqFman1DBlq713PfRqpVb/eXx7W2OSzT1nnn0wFwrUWoxhzBWGkmX03oCg95Gj/bISjHJ/w+gNND
ECyvfLG1dUI5y5KoHCjd1BfbsUxzPXWg557apkKsOciH/vtY25RZWhMyMQZ+1VDdUI9Bk/nyWNem
le0As97i6a3riwxH1V7JhShI9qnY4/MZFmI/ZdLsdwq1hyvBxGo0aWDBjckzK3QxTm5ELxtBfp2A
t1bbgiL5R0M4aHw4pXmjQabacQi0ML7tsX+1EFFGBTKw1VMNSfCBvqFE8QiLNVpb1Ho/x1pp312e
DjH/guUpRZ45F2Eo8JBCny8znFfzBMPT5AR/HqC2Z+OdplXTXzEEdfBrIga0K83nzsWvEvVP0WBR
wrvPOAS4YVz+LWvbmOez67C5bOpji0/T9L0uUDCPTkmOjSOCgjrCJHmv18Ef3HVvAy2/SmQMdVzk
PGVTvf46Fai07IxOCHHX5iDPr+yu+fRZzrDD0nUALRgSWv35DOu1BKOpSqoQ9IXyLUBZDexRZTu0
fdB7oziHrScg7fA9QkT19vKcrgVHPmi+8ubnrTFvxDfHv21SIcFnSh0dtKNATkfw059wd7C0V6R1
x+impOMZvUNzNW4+Bg6gtpvLP2BlB5Des/6pPcGOEYvRt0UfVDW/6ygNFKpQnU1a+9ZqZPYZCFVg
/v5wOf5p7nPTURZZvqeTDn0HSmguXJy2ekX0Euk1UaIwcpAg/sOdk9Uo3GR+Xz1qFWi9P7j/DIcc
g0SDDi0F8vPpNgYIhHFpuUcByl7NFWuOVgr4pfs8CjxrPAsU84vE5S+7cjetHTWo0RiW7YDiocm1
2MgzOqyM6Hwc7c6mz9a1huCI8Sf3qUgBGR+oGfvZC+whMIfK7bUj2TOUCR3jvL3muYh2m03XD48+
ij04jRRja74bB7gMp8sLYv2Hqvn0ZZ9z2i2WpEmrEI6p4R1dFJfyGyp0eFPrshuf0PPQkTcZaYqJ
TtFBU80wtXeePkM/gjAc6JwXnfRu/JLrChNrN3ZuWA3qRiR6dCV/W1u4VINcbl+D3SsX81lBTOy9
QlfHXoO1idN9+xhiQfEDAZV2+v20ySAV5ov8cwYva2sxipi+jpP20eyQQKYNNtEzLMpePGhd5pco
i9Z9YG2LVrjhh8ufYx7G4nSad6dkZ5oWD+HFMDFrGAwyEPcInh1VhbbBb6JPBC9+KwMD86GuZP43
bP/ka12I5GVAdzy6vfwTVpIBikOSuYZcg6DB4jjGkl5CEPfcI+g2erRoxsAtLnLrU+tN0GKMLlJf
0e2O5d3luCtpD1kxklbSNNk0y2QV5+wWip/wjnBjerAm3LnZLCGH9rU/xeENYsFhdmWs83G3nG6U
hoXgKlB0Hhap1mTFqL0UnneMkVUO74uOHlsU54aL4x90WFiNbUV/CQ41CmxB9+XyiNfWNHZ6NAFc
qtRCLqKjjZYJOGLaMUo1Y9zBsEsA1BqqNKPbzmqq8crVJ+a/cDFcZHyYZdu0ORDVYq/3HasHs3WP
UnEtapAEyrmbvDgXn/1o0F+6Mh9fo2ac5frDElTdYES3SsuQP0wxE2Zqslzfa8rTrxSz19IeMh5K
zLowzV8vZZxKMJ0qTO0o0dz47FdT9y5mbmitIt8Y7bq6S5Hoa2wECbMEkiltb/cpCdBvQtponq7L
H2ZlKXIR6878eBFUZxb3hudQpsKJUjsmHi0DHoUysv6akhCsHFWpakfiPhhXlv/KUuQVLkw0ZmhB
QQ89v6tSx9ZxYPTdY1s65n2ObTzWtphcq51rlzEwNayu6huKH74H8DNMvM+Xx7yS7jFc6qhUvnVh
WfNifZOaiATnOgAZzlHr4xQ3UreAczx24KUux1mbW7oWEqkq+uKmsTheBMi9EmqEe0zCFNxUNgr9
0Qk6fDlqpFGR/s+77vlyyJUTzeRMoXpDXGrfi6ENonPzAEeDI1iq+iHqzT64aUIjBg6H4eAW8BQt
5tzvOXUuB14d6z+9E5j9nC7zN38zp7IFwuL2vXusEZm+TwuvBBZloFjs6I7zqRM+0gN/EJHSO8eZ
KYStFquoo309omnhHdE+du+10PC/QKOFQUPRFi1iTE/F4XLElUOMm4on+Nz34tJYfM+qzQHteo17
jDlMDz6i0w+xEX6Mq6H9dDnS2golk+TkYksa8p9M5s1s0p8vGzI4dRwrK9zBRMJXROvHyfiDrwZN
FYyvTqfyl1MSGU/q7KmmjlZZNzd6Y5XBFm6B/WJq6LQeslwTXy+PbG0O2RCAIv5pyi6vXHsQbQh7
gHUyK+NB9qGHuNWAWcFg6zCU+v1ahimFyzRSX5wrUefLcgiCMMJcm+IPoDbAlPkEkijoETjRFZSU
y2Nb+2rc6DZ4DLJMEorzYBFyzehgh+5RsRj3kibNDD5CjPIPvtrbOMZ5HLMrBzPpJveImlP/krhY
3h1yEwIKEj2zfoIymvTn5aGtfLa526JcyTwKcrbzkGJUHbYjpjpqhvHN8mL3OJnTsYpL+/lyoLXi
JZGUwyuUmxuF/PNIaTYg44FM99FVWEmmTaW/w/3Jd9D1rbIbxFGwe5UuRNtcC9VR9uDqjbpI/rr8
M1aOM4tqANmKJAl1lsWahqccXk8D66ZBjt6MbPGpx81xS7z0vcD/9MqwV+aXRzKFUio1Omy+xWGW
Y4satp6rHVHUJwGflP8ce4FAzsZw299fpnPeKSUPcHz59EUsNy69NDMs76hNGUrq2H+NOOaGc8X0
tydRYkcnKLSRcFKHOP+UiPhhPhYJ7WipGvQtivJgOqtUavUttnpZ/UlEwK+vPCtWkguOjHm7m6AF
aO2dB4Xs4/lVM/k0hDCoeg0yX+2FMeBVInsU63fYlhjBuyLwQ/yph/LawlnL74jvgPqgKQwUeLF+
cdy0q3Lw/BOEF9EdDBaSCzegm60IwPo9C+kbd5QlQrCYGWZA8ZBkXyBBIysNLRyLh9//BvwUGscu
iaJuLTauDTrEyBzNP0E7gTEo0I+lqZqhPhGDnY/kJD5eDmisbB3wLyCVyQa4Jq35z9/cXcDfCtSk
HD6A0lACpi4iTymPoPJ27EXgIDqIpaT/BITTxEu8KCLr1CVdN2GbhsPSQUd7M7r18VJBkUBNInyP
wikitD3dsOrg2hbiTSK1fJT9J27//jhwg76LVK2JD6qe6VbcLHoMdDPpgaV6heXsCyAd/iOCYE31
/fJo11YbpSydygFKF9zU54P1kb+qe6vVjtiSe04MIrN0hw+pGLOPQ5c5z6lw0rshsZ3HDqOk/eXg
a4cGzxt0DtH1Y8EtllpZgzYP3cg/IQNff/ZCxHuwdMvqTUyV80qs+e9avKdAMjmkdg4VLh4v5wNF
BAIWvxy9IyISPBFRWvAqpChQLkKAuX+HWyE0dwk9uEYcvNf7DXLwVnRlMa9kt3R4ObU4vQzK8Ys6
rWnUbTU286MOkTIcXLG68l+9LNBfOMiTftdCSn83NnJI//79meZOnxswTADlxPPR+04KO8dpvKOH
ytveriHQYusKF00P5HRzOdbaDSgdFywShXtwx8vCSFlK4MWwZsjhgwmphiL1HnUN8CSCO9HwJHKc
oA5KNQYaYxJKFCaF4JZhSVZDcaUUtfaMlooKCS0nmrO/gKIyjFIFTl28220VPrbYsz0ZhWvfqFHg
TOhp2auDQQOWGjbKLqk0P9sJlqR1pU1sPbS1NuHg5+6Ve2VtGfAxbKoG9DdJJM+/RutSMGg75R0L
I0Ug2wbwrN/m2LbrG2wVCrHR0UFEU8dx/mD9KcuVFOTJYa0leMN33FIUGC4fw0RB33Pqof2gB7NH
m0/5fjtpoK32OE9j43x5TaydqQoEnMRRVoIdWdykQdBLH31A92jGKDsqZIk2epuEH7JI3CGv3l/5
7KvhUBwlD5vle5bPD33KYTk3AcvdrdJP9kABdFNEmrEdHBRM7rn5wu795RGunS8coGTONHEBbi22
NioLfeFGLd+0w7p5E3o2LqkoQ8TvC1pxMOpKK4UMFrfJp8qqs4MVNOr18k9YO04ZLbq55Cood8/p
/ZuLK4eQVVeD7R5DLB9uO5KkBilT52cbBV1+JYVfuzfm64IEgfqAXJZdwphKuj0wXIkuyi00Png5
XILDz1QHxiLwvdae7alBk1oVoDz/4IixKfpImxoBGGR78YIYtRyN85abo6+o7gRY4r7Yvm1FewvH
QWtvxz17pxm902iqgx8Agj/IHGzn3W/POAVJMB9UJW0uscVGrgUAhQpV8mMzU8MGo3DKG9k33zqt
LMMrM77ydXl16pScqD9S/ll83TSekMbCNuA0pVV4F6OFg+IkVpsHKa2+vHJCrWyguctA5kHXjWrr
/OdvllLb6QO2NmF46qDeP88QtM3opcm7DmYcxl75tT76yu75p5EK2gJ2zS+ID/hwEXzMMjy1ZmxC
dI7CAUXqqqmSR9sf/1HTG+3vejpZ97AAguBh0FsMbX//a87FmLlmgUb8L2hIfMNjPDjADWhzax3w
W/6xB/B5smrdvHJC/dPPWuQj9ttgi6XTdFCD2sEIT6jquT9CMMn6TRqJ9qYakc0n1Ub9YUMqgYCI
5A3+2uQdyvGbAXIXTAt4OVSfTWl/U1o+GVsoumN1ZQ2sLTj6N/M1BWjDtc3zNWDGFrD+gF846taA
zFIVKOsmNRt0wymCo6J0efZXlxxYd50TlDakuQiHP54EaOcSroIafUgM7KcOA5LUqEYC9AkeLbv9
fjnk+kdwbcS5HRoopPznQ/SCwPdBofinzHBBVm1gi9kvmOKM6AogT53fdjoyPncNMkOPWeraWOO4
TuwEmxbx1jud3IWyVhkDRsK3qvipWqsXV3DOa1+BWsx8cVK0o1B4/hMzxo/1Klj1AOGFCEkuCzcH
XAdutQpxnivfYDXY3P8F2TkjkRbzgeSzk9a2Fp4E/pz+h3rSmuYwYXfa3ExIuv19efrnE2u5BeYG
gjlnwkDMFklB2cnRwWggOqVlFiQ7WYNXfEEtbrp6XRhrkVjEQEmkADeziAQqXSKrkqL0WWpocMaU
ur8h2gB/zMD4uNyCeEL1wQA0S7E5Gu48Myr24FlzDBlleYugfHe4PPa11S4BXXNzUi3iuX3+WZOm
aAOz16OT+hqFVXcvM618L7wg9DCIsOpr5/laTs5dCYjtP/HkorxdW7VvolMRniwrEt0dflttemjN
Ada3bgcPJVUW7wl/C39r2w3+QLyAYKKnQZkHf3DK2mBPKfODdOP7n498vkvIoBAoM7K0HDfY2Ea7
KevMn5IG6vb3Z5lL07Ipnerkgov1PDW9O0EUjaDuSOT/68FJ8YlsgfVt9K7EsIDUTL+Sm6xkRhRQ
uUVMikbz0XI+vgETLkPkaXhKedtm71xviJsbgeThO3RS/fgQlr0/3rQFopfYpQwZ2vOXB712l7KB
qT7SFXYx7z7/AQUKwKQE5EZa3czVirQrkEeiwbNtTA2qqB7ws/cDRcdPGLGEG0fLrD+A4MJHY/TU
QSmCmvNB8yZ/0DS79XR298nMte5zX4yYNCcu91TapafLw107syjBkG9KUlGx7EVXZPcgCevgFKAH
Ft3byPDt8ZAwD2mWt/rt5WBr1THAMbxjYKBRTfhnn70ZWD8ULfQrSoK4NOCkUKXiW0XdwbwRac6t
kZn6dB80CcIKCK2E7veW7AUd6Mht+Dc1g7iSR6ydI6xvE1IwmDy8RM4nOjTbzMm90UfuT3Pu/Yks
qS0tJ9wXI+IfO/ow6dPlKZjX7/LUplzDbiLzJfRiecmhtqLI5M5MvQa1YsMzOuseRU073xea9Lel
pjq0EVAY9a+cHOuRaQ7+J/I/hbs3c697sY5RqCIDVqo193R2ZfcCkdkFwj5ozrvUTQFquSRE2f4P
xqwcSdoNRgpky/ksW7i+aFwu/mmEyPQM4tC7VzXqm986/mjTgftR986kl3/9fth/MJ5zgmI4zuLj
CpCLFCKbAHSuaA4damCbkGP8NkAF43NX9EODsEIUT38wWkWLkP0EK89Yvu3QupXt4FNyzVH+f/Vw
sHmtcdi7L3V00Q5xiv/Rxk80/PIuD3etWMNhwS0/H9nAnOat/uYDo2YkuX1D7dgi0zU+KITH7xB5
QNrG1xsHt0bI8IkKK+cBiC0Wxo6z00oWw1ZU7YRAgF4Ynxqg1f4f5GB0cmiFs+4NXpznv8tExWjG
h/mnZghg0uEd0X9FgrD5qeLG+3J5EtY2NOVB0wHNMx8yi1g2Ei6sYss/+Qlicdu8c4ZuV1awh5xO
tLsEwaU/+dwW65qqASRse07T3sw6RS94S3oSnmYPnJdhwn5WhcXwt5HGHSK+VBV2una117g6TouK
LODK+fherG10FUI0q4PgFE3hdKKf0+pPvVua04sHrKnaWUjKXuu4z+tneXSR3VIPonDB1biYWwSH
EBCWXXhCYqT+UkX1rDY5qWLrmKlqr1zDa6cVL2dCWWSeXBbn05obaRZWUAeh0AY12h7YpzzzasDn
IR/MKjkkToz8RxXmSFn9/hKaocBUgigVUPo8j2xOUcODjcs3QO7nWxcH6hF9qg4xdSP4Wo40Ea6k
WWvzSrGXG3HGqfI5zwN6WmIgpmAGJ8wRwF0beM/o93Eti2aPbEwUXoEgrWRYNDTRz+eRSPdg2aFC
QayYBXp4OvNMrx9rbKoKDgN/RO4snerxfdvGGIQ4yax1FGKHWhwuT/DKeB0ghzPBkLYULfHz8ZqI
NecT1lknFMiMXWEUvB0aqX6OoBxfL4da2Sa8jVhCM6obNszi5sGyCO0jK41Og5XhEDtNlijuNWpB
WAuqAfhn72ZjeWUBrSxdKgu2O5MoKU8v96bdYiSS1VbIc6kTO9etAheJROH8jd6bfKj8JLnxBDjX
K8toPmgW25OnkFQ8APiH2u35tDrI7nQa1qtHgLWzE5kedsVz2pZwqS5P6ur42P6MkPcQRNHzQKPt
GbZfDWCdLQzet0ni4DsRU072dgqd6+S5zk273tKvB91/OfTa92RfztQmSg5CLQ5bKzAweBkTIBZ+
nz8iAmYduqhoEPa3jF0jtPHKKbQ2p8BHZtYNj002zflQ4WmVCTZZAA06JH7vhIwByTpF0l/BqayV
UhBIAGBBi8nkWbt41qH9lWkuWnhH8Ij9XYQ8OvJ5Wn83OqO2RYAn/mikyCHd+FWOgHGv/aTUg9iM
bzc2ennSRtVrcpoSD1ezu7Ku1s4LeI4mOAgS7F+aD2U6oS/f1uoIWsjV70sMQv1bw2n69mOEM4O2
KTWrfQFIYZY3Ft0p/+73vzlZA9U4iFb8/+KbO10nkd0DLYvJC94vQT3uRiB7h3Gw5RaTlT8gBjvA
f0BFcnIY9HvOvzlvksDEXsw71rDLv+uFaeQYcdlYMezCYtLCjd1QPX4YJjyxny8PdW25gVngWp9v
HmCD56E95KLpUKTa0XNAZG1NrWw75O6d+scfxOGOg7g2o0CWcFwPy6IUJVD6SVM43MZF5SRbiwLd
NQTI2klPnxfRBupUjlgWCHMEfdHYAI6I/mCzRQ4rfQC1i0ltm4efLg9pPRSFSNJM3pfLnlWWNhrC
y4QytTi+7VL9e+xV/aei5i79g0jgGoBBkc5Shjn/SAZ6VTjtht4xDYNmF2c5/rRFpz+yhr0rV/Xa
oKi4UYmYP9UvQgZlLLsppd18FCHa4GNap1i7h1jWbvzC7a/clWvHOlkIaFVeptBj5x/zJpFFn7o2
0SHWjnbg4zAV6j2e707RTRgh4H1+59J2nO5dc8qvfLp5Qy0vLnc+z12d9NlaVlzMhHqsBBB84mlS
fWN/FK+Jo38vWsN9FFHgIdBuz9r4YVE+NnFTXUlHVsatdPIRRD+oBPzSb9c8+LCN3/E8Sd3sVavT
YdyOnVs8GLJLvtqlG75WLvKPV47VlauMxxoXy9zF5ipdFAJi5AlHX8XBKXFU9mW+p4Fe1mgx21ps
vZA1RFcOl9WALNn5COdFvFy3DVrlXSEj8lqscj6jge09DbX/KtI2FlwkiX9lgL8eZuCgKFLOSHci
LmHe5SysmyOMdRwRVHtBdZH7iiTM/HZ5O/7y+aCO8OXAg1CfpZ06D/vNsjUjPc00HGtPNWJlr24m
VLPpBqcINs5oNgjOmSpEJVP+tlbGIu4iNUClIxoEXhIn+N1cCp4jn5ExzG/wve+xWAp1hN5H73fv
wjko9RshXI4DEPTng00GFmaArcmp42vuePpZu7hCahdHK+MFkcv8d8864vG8pEkMX3Y+w8/jCTiQ
VEqRp7DhsHfwJApT32D/WmgfQgBHye9uxTncXBekNKa4eRcpLGYZueH0cYlwukKOJujzHU4/2W1c
yeomLyx7i4Gvc2Vf/LqA2P683jmfwXyCFDof4zjkRWrJIT/N5ZO7wXAfYi9EedjuqXanZUTlMeir
KzDFX052k6C8om2efZy2crFqey+vApRb85PAxMnZBVSoXpIx0sdd2Vx9Ba0GA7TLp4TpQbP9fIRx
IUfUPpLiVJLvfG7zvHh2Cjr8yH7rw+9mzPPA3sRaZGtdqKreGLPilIzYuOzRLkeGF7AhWqWX9/0v
x9kcaAYwkKjNfdbFK9KYioi2VI9ySlGo5z5GjRX36XjrOb6BCKhqr6Toa8sEFrqipsdjABD0+SQO
3AYVkMXs1EC5vmtYHHdIv4/9Bn9R+eDktfZchs3+8iB/yb0Z5Nugi2UiZIiRphnlp7TKp0dWhobh
azhg262we/nclon/PcAmc9Nh13TlYF1bNUgOgW0EZGjazmKCsYVRA3oNOaCCrAbPlahuN3QoaO9o
bQ/HywP95bKYB0q6jRbfrJSx1BTzVOKAYG/yE7L85XOMVTNq6HmWXSuCr04oDHyY+A4srOVmNzTT
0aa6zU7TSHvSTbGW8t3pr0r3vg+5o/8fzs5sN24cWtdPJEDzcKuaXLbjJG4nsX0j2O5uzRIlkZqe
fn/KOfuclFxwwQ2kkYugwSJFLi6u9Q8TGq1OQltNVMWF0P0uy/k9w/8dmX7a6f5p5t6MsderHlGX
938Kn+KZOwN4NVWMlYbqg4fZEiMWdlhyRQtYWnv4eInPHRjDY4FBihpoAqzinK2QXxe4IT4Cirgx
TWHfmVhPY3mAiWE/mtXzx8OdOS/gbJByJKbSQFyXmURA0Obso3RU25JqxFhilOlTlCR45A/IhPq3
A6YM+49HPTNJeHW8ABgb+uy6bJijZlIFyq8eget7N6leRwfIddU1pEcsD3MkQZrPpjnAl7iIQVeD
uvC4Q1bfVQxtt2SOj5WQ+W5MWrO5atG+lZ++ik/HWcWfGo2WEWHX6hER6ghbHnjmh171poenNMWP
j5fxzGblsc1342OALF7niqpMSQjSunzsLNEYcLoDdTRU270tSOrHJs+gJmMbwGMsbBenl/sMC8ng
8PGPOPstHWhQZB/czutCbKsaI6X4y7dEWJ3SUj4fYhn5VyQk82GW4OY/Hu9MwAOH5hsg8hjzXbKj
DA22c29VjyLHCkSTRLmwo+16Nc9BVV3YNmcnB6YYRUMdAts6kzOdBlvVKK4JRKnCfKqe7+mp68e2
S4w73C/jC8fx7OR4YS14NE7IWhTI8GK8ZmcmV+d9ezsqW+tCoYak2mrpGFgXjuG5w4/2JOVBGj80
lZfZ/5GUu8L02qJL60dOB864GQ4sc+Tp3w1fqW9c6vMusjrv389/P1T/QMOg5UHxZpU9xq5e5bi0
c0Jsw/8SCAOaF8r5z5VXXlIMOff14FTAnafHpBNoTudn1AhTDxMOP1Kib35bWlmqXde4eU1fyJHH
6FlXGr3FC3vm7KrCWgXfRTGS/05HRfqfcjXsncdM6PoDSDLfOkh9zF+NxvQfmij/UusJEtEfL+uZ
K9NAjZc4/ru2si73etIGMml15aMedemPADfSUCpT+Ft/SA0cSSsnSMJk8s36KsHAOrmQ552dNGww
ZAIWYac1VpVeTx0ZGqJdRYEOehRFSdgHTeSHmmyNnUpmxK6LHnXrj2d97gs7EGd+0yKJPauwjnCB
THDXJRgMbQmiyZ833JHiKmsWgXXwMv9hmguxAjgX4Y537Om3hdFmVXgTItZnmMUTthXNtoWf/G3W
ZX90JIjSTW7G4gLs+ty3ZQ8v6g/0KejKnI6Ky1JkgVRFKsyM0LWe0AUiDYp/GTqmiuOgtJ2ybPmW
yyT/6+P1PfdZSaN9qnUuf+mrvYw3DD6RHSJlTS+9L0iW4+uGCUEZCiGmrdmWYhs44pI22pl7jeiy
oAEYlaatcTrfttcR8Ehj5kuyd+VY7nA/4NK7rSYYldu0Exix5Lgk4+oVRM590vbe68fzXvbNSbFr
UZcFFABUkw1Nx+/0F8x5b+hRwy+ozNnPrtO+TL7SP/HH/cfjnIn3jLO8U+haGO+QNmaW2G3jITXU
YFCCGVoxKXVs5zavcWzDl+DqPwwHg5Fy8iJvsAbkUYMxKce72SOyF+ykGv6WeetGdjTDNasLBP0+
H5XYt/9/wFWwn4fZ5b2Merci0mL442ljqLSg+yVaHoFYuWH3NqbVa94M8wUIz5nQwNAAaWijLnSg
1VH12trMcw9dJSvGLih0Febye1w71M8mGIK/cxTmL2yaM4eFERdQNUp6QOZXI6JSPkobI9PHtmmT
r7qVeIC0RtxP8Wlq/8WtPsDIy8Xf5uOPeu60/Dnsao1Vj7+fYWv5YxC3L7WovZvKljleMnXfvIio
vQFI9BVfMXWNV2rd7D4e/ewyU44GVoGQGYnS6UnpqglwlOQLz72IH8Ee3jRlPL1I3Z4OtvSGz+fX
PBeA7fBE4896ByPZnWvZkBePrpKvXVvjDWXFxqPWG84lqekzURdYHwV9xMaQ5lo/UgyloirQEzTg
C/06akR5bbXRqMJOi9UhlanEGDiJFofiz+Ohl/Dzx9CrT4oVYJ6iv1w8Gm0GrcZrAm8XaLbzS5IG
XljRc7uWexJkODAOIt7qCgWPTu8/t7PHulQ9piizKftrsyl6LP00L9jmmomBWd/g+XT18dY5F/wo
dNHGgw8BjnS1dSoVB7LQQH2Dbp1uRgc6mg8x4M1WnbqQJ5wdihyQV+BvyNdqqAhVcGUkWvYIBLk9
+s3cHfsa5meBmvj9f5gVbVSmBC2LG+z0QGj15OQT3pyPmOJmBx9zwHDMlX2Xelwk/2EovJQXjUSK
+GvygjezcY3FG6GdG8wS+3yy925i4wyVFF49Xogz584Doi//b7TVRpFTPiL/iDSiiUEdjm0CaNcX
IxrsTVrgEdDgehSFSAh7B+F01YUU6D22myMBOBAhEdQN2C+rZZ0BX+pxz+ilIiHEDH0oUPE0zQE9
BWhiHhjr0bylDOf8VeLijUUHKP/rArfvSxyOc3sJYTJCHsws3jCr3MBs1IQpY1Y+lkM37Psk925o
zLc718EVOvz8FwbPjkQM7GVOyioQYCgN28rQCq4ULB/SUmXGRqQdoOpG0nr+eLBzawwOx160KNH7
pIFxunULpxPaVNXZI31TOYHzNfJhN+mz2vVFixGv5Rpq2HT4v07XBk5rdwHmamIL6qv5/vFPOROU
eB8SezHAwDVhDRCMgywZuwJxubQuvNsqHaxg42lD6ERvUZkv37w0L+3vMzcZzW/sA9GOWbBsq7Wm
E+biPwvAqwFz+uoAzTP2Hl653tOQtQ3CAKlf5Z+/PenygZBBqXrJ8FcpgzRrVFfnMX30VZVdR/NY
4zMdDOMVNFP9Lu517dNS3CB8lqepw3CLSs4qEiLpoGPiGSH4O2leCGnYP2LEWXyDuupv3CweLg14
JpUGM8OHJEVAOmPdnLIGWetez4CZkbkbJc2x3uXGYOgXlvLclkGZmgcwj24utNXm7YzYHWPDZyl7
Lf9uZh3e32VtD/HNQIszPjTCp7YYoTExfnZkTgytqQW/RpkIVMPpsUlT0BKmAcWnGgIe1j118wT5
JksUAHnzGD0ScLTtxgkq7+9PHpNl33Ct8URD3BFBh9ORER/SkRoO1GNs0B7feNhjKTrTbgKlO3VH
a2NUs9xPvXEpVLyLgQy8VI0ApQBRpLpyOnBW+X5aj+WAIL5sv9R1fx0rdIixgi+Hz5bElqRyUeSl
yWHQbFxtWFyesJoOEu8xt7vpF36R432KqdQm6Cfvs9F2GYqWMBEHgAOn5HRWTTs4Y29k3qOi9Tns
ag08wM5KnPGmrLCB+/jbvQs3y7SogpE1g7sBN3U6mMgsMqrMLp58WOq7uIvnf+3BnX4lnV7/WPbZ
pXz23QFZJmdSVKPaD9VxLeE+C6voWplXT0PilDu77doE56ygvCkCMT8jQjYekdoM/sM0eccDS8NF
CUrU6vNFkXSrEYL6UxO07raqdE0P4Z6AfAzc8goXXGn8pxEd7FL4Sgidrlo4gpOY0QwvnkoxD+EI
x/dL6an4S4LJ4V7U/nBhvHd5EetK3uwvihuLhO5qhpPlikEb/fJphA+0m1Sq7aTujD/otqg91q1J
E5b5mPFwCKJPWhhxYfCKh2ELHpm4/u7JWVZZgnXylP0ljBYbzHkjL5kXrclApDjkXJQouBYhFpL0
nO5T5EQ05XaW8WKMzbSvWyGfKPVBDZh1CMpW8iTGTtvnsAR+UHfobjPVfQcOJR8+Pi6/JYH+KMnw
O4D7/dYjXACOxNvT31HVEqSIPjfPjlm4mggtrRj7GzyWFVrrKkBoKqzhFKQ7tDB0eBJ5Fltd6GFT
P3ydC3u2r2Ll1+pNSjQ5tqUM/J8eznmvXg6wC34LtuDI76c1QAawrUF/1w5u9w9YXecXBsZ6Fxp2
2d9ZwlXp24WpLXHldGpYm4GMgUy3hLp13JGuHEQaGenzOAB3vgPpIJ8xtsUmmrQXbP3k6fEuRyXa
uUqtxrZ2jTvqhbWr0qqYbyZdGMY3L9WSIpwTb0i2U5XFE0zPdBYHbarz6M4AUl0fs5iiB4aVaOwc
RWmWxvc85x89t7ecC8iJVXTjrgc4wYFfiOaLYuVStPijtTAD6Is8r5legBrX96YKUhUGBtYK0gzi
vVv1FyhikFfXi4hwKcAJoH4USEke1/E0HSqtgIn37BSpcA5aN/EQCwHGN+71XI5evGt6pK43HrAY
40urII4FaBxNOyeqjQobbc8u920W+896kmjGNgqmMguBf/X+pkldkeBUn7TVfYn9ZR4O9Rx/dRTc
j1vHlxb28TIYqkPiN0b1q7OjKL5pUTWam6/zKEUjv2ALWx5six7L/ZwhKnmV1wpzSGwJNIHDr92O
/YFuTHutZ1XZYfk7Gum32YiHL5Xbmj4ERpW9ul2C6WFtt/ODXaHBs+20njNZeEWzz6Zp7K9w5cyj
Q531ZrcZi7jGPq5osmyvRDCq69GfWypwgzVF7l3dl8VbTlmsDz0zapudZ+Ek+DLZE4LyXV542aYo
cycOR7Q47WzvFkOU/gUPpHgKJpbspqJR7m0apyyyL6JBr1tRLLBpzYfSaRztxmoi79kjPUp2VhMU
X5t2VhKJBWzIDw4SavGuC6bCPo44v4qtNMFN7ua+HcQOx9lChrIYg3vkVU0R6oPTBQeQenkUTg5U
9c0YdxZGwsKa5B5Oj0qPrUadBmWDWbvvuMyiqxrlgTIEfjUmD0EzCH9XGW7ibzsFuvW20nVRILnt
lkG/Q9lDTzdgcUfvprdrw6N5gLrcpmmiDHrQNPo/Lcqk7o03mUHzwOvJVndO7VQ2GIA5vzYVOgJ/
iYQze9tW7XinO61SYeEkaYBW7dzGx6Y3x4ALsG2cnW3VRnnQVOBlX/TczN07kUoXdC/S+vNVl/pZ
EEo/AcVezhUEfXvUblJFQ27T69lQPccoo6nNyDX/6rudN20atxbfCJ/LqmV2PGLubSbTjYW2RHHn
1cP8dzzLBK1sWXsCc2FkVBB/KPQ28sxQ9Ongb7iz3OkQYx5T3s2DrhlFaOUEV7HVSiQEvtgkJtED
VjeGOjZNHBhfbL3VqmOEL/VYbyzVVOUDXvZavB/RPkxejN5tqq+d7hWy3nayiMzdEJkCLSqvTPXs
Z6QlKjHDwei82tyUQ1o6f+lAD92bsgZidfSaOq5pGvF62HD0lHzQfc2s4r05W5bApz7VvD4cSteO
rofBHXEradM4b2F394WfyRA7EWQe28jMk63pThGVdYyVHsWUxPqPJG71+5nmYBy2xIXsmBKajT2S
/+Y/EZ5hN7aBUsAWtji+o2bf6tbDnGjT8GJYwgKO0usq+zGI3rmzNStpbh3F3RQSoRBO9v0Yf9Um
GoJxEzumbLd94ALOGcy61O/xLc7+UUBdnTtd5100Udlzw1HLynmDW6tzmJF5NkK99dxXd66sXw1y
GAbbO8E5251mnIcjYQ0FJFCv68IalaN4YzYx5qSN19Udils+0hJ2KUYAR3NqIJs7qzcfY+xy0+Va
+a0DuOiHiVv741VFs2UK+y6OsOb1qrq8brCk6vZ6IpPjbBWWsW0lTuZhMMlJooSnZUrfkVTV5RaF
Wv9rr81aE3a2WxlbO3Lq5GDZmWljdezgQrxvYYzmxx7mUgcWARNH5wlhkvIt6m3OdaGKLtkiStvb
X+HjSXVdtOjR3qJIn/XlPtNn271O2yj55RTZ1G2L2XISxPpNPMO9JnYeoKFnw1abJw+TWHQf+zoO
G5939MZEN/trbOeRfCwCkEsb2kRmhkOgvsyuFr22pbdvij1ZACJdQhGivte92V/pQ2XyaGvhkmzK
MSnnm24oIvUV/jWCCQUM3ceW5tG/XG92/COupmk/GqhbvUnPjc2N081AvVD6L7qDI+bqmx7kgbOp
3TZzdtZoK7GfaDn1G+E29rjXaG6C4M5xwgynHOTjVUGXJNlWke39wp01nW4GubCN/cKx1VHJYLFB
rdM6HGYpq9s2B/O1E246usfKGNjPsLRNN6SPWLf3dlql4gCWqXd3kV6BSe+Epxm3fY/ekLHtkKwy
XqcSmao7HZopVHpnzArzNl4KqaABYtYTFvioNhGvGfFLZYOo0wM8dTyat4VI5nLzcTa0amfQ+Fv8
kICzUPOiGrUWu6d5HqlgyueXLHa6/qqOZfHQoDKtvkZWxBn3uUZwtWaK476W0hJhWSn/kzI5y6+g
wkfeQrUEqZY12w+vAwNzatd4iawCL2OC/qMhg7yCYnJJjPJdqsRQvN2pgMPW5EVtn6ZKkBeyJJbC
fCEqVo/dJOMbL0nbZynmqT8Iw8svGZysXixMzqVGCiQYIUbe8euyQY5UVk5im7wGhZ04oeaJ4c7o
S+NWasikxQJHAa8WOCiM0hAXPu+qcrD0dakuUqz4/SZ01gC7yhnoDLVa9iqlGJtNPrnpU0lJauuO
RXHpzbAs3Uli7QMU/t2TAygE23pV0uva2HfoT2UvcSK1+wxOlPzC3VHXWwM+g791Ygq5h8rpneBr
WUL/3jW6bPpdG88kZbmVwSyAU9YcI0D5DzZo4J4yrwz6f6Mh8Wt7C1VfpT8HLdH1PTyTUj+mQdv9
3VSuWxA3/bK+mQE59lfkepV1Aev6buNA1kdihKcZh5HH7qru1Gej2yEp5bzMZMvtcpsb8bfcTNqb
QetbNm2j6vZCrevd52PMhb6+MCcX4bnVK6xVlT+ZFHxflltLhfAjhvRaaZROwjqI1SUVXGf9NGJx
KI0sdX9YsGyd1RzjAbnROUn1lzHDCW0vhFGpb6PW4VTu8JAZdk5rzLB6+HrOtjIL/xl0Rm9uaM7A
lpqQ/hiLMIPRWfyVNIjwuQeYpHN7Z4pKGVeYXbvB/Yy7t8CvfHFXrkJhWYn4J51E5JCe97ATxrBG
6CP9IbjJ4l2EDkd5F/hFWW5MoIv5zlSm8YTG5GCErt00YCcFXTQeOSLrrusymZMHuxVO+y2uzFrh
pW6Nqt6C8tbjjYabt+ZvkOuMsmNpAyoN6zQyMTyGtKntPDN3sn4j3d7w9qgB40C+Ge3OQzuHYEGB
fFf2Tr+Yi9eyookWZaLv7u2ZK+xXEMVl9eolrdN9snZFrFqIgjzvdGgx1K5WIQsV4iwd2mF6ol8Q
79K5wrEoSf07b7ZesXjULvS51leCC/uNBzJcLgqpJi2t0wgp22Q0hkTqT1rNW2HvTnm8n7Tc/KYX
ThEfdH/ut6ZfWFmYJ4h2hJ1b5/aFjb8+bPwGlHkJ0ZRAaLetVU2HWNfiIqjMp9iNrY3n5/lDNdRJ
SAXfJuWAynahGPmu8PJ7RA426An0A6gMnM46F4ZymqwznzybrCKVkPeLpE33Qx1FoTa48wF1DmNT
pfKnlmrZjaHseOM3xSVB/TMzZ+U59AhWUGgyV/W00klKDnhhPUUyTY86zKud3bfTd4BX+o2Sarj6
OAH47Rv/Z9Rm4guJlQtqUVfltjideDt5anAG136asqD725OFexfw7nFvoNN4epiqzA+2UuZzccD+
S+OJ22rtTpm9mLfRAD5tD9YiulDQWFVPaZbwo9CUhcdAvdZeEwtiLHgUVDf7CRhQsjHRWtr5daP0
cO6r4bms0SLYz60V6b8urMayvOvVoIMJ3YZb872caZdP4NuIjE9J4kc/wZi05RZxTXHVJNIKdkmd
TPM2j7LkKQ/q9hfd02wH8VY3PnnbLAsA8Y8oDNAYIsdyM/xR0bGDtM6cYXSeVNf737LW9DZRkLiS
JLDxSDr9OleHj+d+Zs1x/KHyT0VnodSugj/dSF2bUa19Emn6bzbY9Y1u17hPldCutpTr5E+ciMzP
4YaWD41ACIxiGyXhRUTjdJ69QUlCL5X71I+DfmXrCb4cwzyP9xS47dB38vgSGedMeEPEallUxB6A
taxWNiDHLnpROU9V283trpra+Qa/F28OkeWO7sBnyXxjZU4/bOAD1Ru9taYL7fV1RrhMmqlSwKYx
sIi7nk5aWY3Ui45J66gBHCTgj2ty9Hoz8sja6jnUwzK1qu00Opccj97V7ZahwY2C0AK/ivfREn7+
2FfKosCGfaH/lI5RPnzJKnbEfVLYDmiQ3DHVDv2wvL2D6m1tJlf51q7nBT9sMnTK72ok75JjmQ3a
Ve9Gav4X83lTpaFO1yHdd51njG+jPUiV4ZSTGPcz9Ap/IyBz3UIN6sSnLwkqkLSq0NOnewRA/XQu
TVsjUFUXLKPgCs8cJbMwGe0CtESQ53cGiKIL6fT7vcOIgNvoI/n0INZC+m5sR4akRv3UD5COZluT
j6Mmp71MyvI6wL7qqrP06SC42g4FF+mFoLBszdPgxNcjMHokact5Wd1ROBJKm7ex+xT0iTqYfi23
cRKMqNGO8/7jYHDmPiT4ciTRoAUoScPjdHETqqlTNAr3yR1aFN0U+k1HGRgqCevGteW291VBFUsZ
XzCUr4IryXHbmfS1gN2loo4/HZz4OVxTQNh1f+mmn/4cRJHsvpgM96mZzP574kbNLhFTsfcSYYQz
zNKDV9iflCslODEoCw4NC4l3xOdOBx19DfalkO4TKaJ3cGt9eM08D1BIB3/nc43X/zsWGh4U8BHO
Wz+eKBFbXZvl7pNRm9nPATXFsEL1/9jVdXXh274PP8u8ENZYbnzw46uY2wTAsjS+/FPh9thbcQOH
fWy2mymvj6kTa5t4RsnRdOL0wv49PzAqXADn4bWt55hY1ITs3nGftKELtmPaV1d4U+ACVQWIaat6
1w/tS+QY5YV4u1YSYXER1WFQHuDklEienn5Ip1epYydN8WyPKJU8gC8OjNDyY4PWr9KLsHbo9uyn
0hrsfVPajbdlb+UG5jhiKG/sxJBs+EFQRe56K9tZOK5cMss8c+DoKZLhLxhaCM3rzl9ayzqvy9F6
ToR8jqIi3zt9lmysojC3eYwFIVhMe2N3swibeCw23RgHh4zS3fbjk/8+yGBVBQoTow4ED9x1AipT
vVNJ0vtPiHUlAI/68VvX9NrLNDjaperT+5QDBCRqEbysbbr7a0gdAHNRurzAnnI6EDeRYbXHKHEy
QPe69nM2ZI6+ZnvpVC+n9jSK0icC707th948ScDpZsjm2Ctmt0+fW9OieUET/knhU9HxqLIV+otq
/PvjFT03IPpzi03CUnZa+ztRlhiS2Naz575zpl8AeLtd0Jr6AULD9Kik/vrxcL+T4/UEyS+gpixu
brSsTycI99YTyvPi5yb1hftXXeam2FBP6/SbItHTUBOURhHY+rsbk+imtbBWDCdPGgdBzrvr3S4H
STmkqtg7A070jwKq64UlOfPhETILiOPkIJAvVxnQFIyTlUad/xS1ttjWDolXNsqCalg+vNml8sM2
ybhgPl6ZM1sbwVb4ZbwtoHyt6dFaVzQz9tqMisYLcKXcvJ2D0XnUtay7JFf6Ptaxt37LSpJtkpws
v+WPREsrnKxI0E171r002zRd3R/KtivCivT9xk10dT8ZSmziHFLJZ2fJaBApAJ7hpviOdiAwKegG
lRTPSIp5VghKqdoMHY4gYV7al6R3z2w2RgNNBzQTijJ6yKt54relpqHLn7HN1M1NJZsR50IbId5v
Woax486WtTNt4wK1r12RD773AlV7/CrowUahY0b6vzpCiN7NJPpm2qFD6WcPuezYp59cFt5SYKs9
TJAoNL+r36XYYuJWIpPXdOLS2dTYjW7JkqdohzD1JfzEu6+/ZCrIevKE5QULmON0Vea8bLF5CpLX
0ozy297Ni4NflvTJWZ6wrzXrR+umt1bXtxeu2HexZikTUUAgP0WeCkbG6cBJNVIpo7D3knE/vFCi
m2/6XozfRdGML1BDLtl/nB8PEBd5ONWpd8WiyrNqe8zNl6grqyuzwK6rH6tiVyGY14QxqswXqlPn
BuQFg3Y8zRmuytUEvagY0jQa7ReAGP7L3I/ut6qgO6bje7i1evuilfO7mijhCdsmzvDvV5u3/pSG
nrTKMbU3v2yVu62HRvLiMRNa4FGQVjdWmxT9a2FMnqMdEwjP9T2IaCn/qqypifepNfdNe1Ua49Rd
+Nbk43zNk0i/cIDhSnCJesb7vKbT46yVqDG/gQpIEA82gy4hkwLLm3qbYax8J7r1qd0cYs0v5q92
SzeItmDH407LnCS4E7FZbhGhqbztaDjlcCeFQhqm8my9u2orb6iOoxYjNFRAtEaAEVCUczV3qZ1e
tVh39vtB70vtUUYK+COFSqvY+Uombxa5QoJNjyQ7H3ojre7zAhn4ZAMDtJqynSustmnCis7xD/q3
2vQYJNJ7shwexl8MO7WfyM2z4m22+1jtsqAqkg2AheI1kdJLQ1F52O4JHEMPQdygsj/045R8a8yW
UoUUFv/rxtF5jKC+Rxd0ONax66T3Xpape7Qqo/FKq6LyLxs80xRqC45pO2UebUAtH8XNZErzYQ46
aTxP5YzlVp3nZfa1pwVw46IJmYYzHcVisQRxyx+dPer60R87sG7h3IGb3nauld0GUF79azv2LRV6
sdZinFK0OQ7KqQjkkU5J0vzTlVSONl1jtHRkZrO+z+Aj2zTp07y4xU/I0vl8QfTD8RT+Lp1RT27o
uLmNfNCQaNu0hhpwQKpZu43Kcgw26eDV7YPbTIk+7JTdiLzauRGavAleQHHi70cg7Y+zlun2W570
2bBPS6q8+6DRrH/tNJrrEiKTH1AwdwcgUcOFC/hdWFzKWQvgm/wW3uq6rGcEsZ6WQp/eCBHykBSD
2qe2jPfLqzpswd8hvovltp4O+YUnwLuRPUhigGjpo1Jy4Ro4jYu1izRAOfX23+6gly0CE/CKtiDo
jO/0l+ofLegc7CeoftbBQWIbT+Pg4+vnXemAxANRFpSmwA0uRLnTHzCVY+qUZRX/K9Hoi79bvvQf
tcGYScTK9iuc8yy7mZuo3WWJKn9wO00X8vp3KRc4W2oHtCJ5edFtXiUktNuMiodL/kp6bxxSPG3i
raimygrRL7nTMJTzaaYH4hJoch2wqSZSySThJuVeku7V26vwGzmKVndfJyTc9808NUdh+uJQoD6K
QmKDA8bHK22vgiJtbFQnkGmg+wn+du3lqIoYvWFvDF5RbPNmMER9EWrLHX0BBLfOJhfUO0hbbiH0
PFxKiqdfVNc0MXPLBq9UitLQHrv+wanj8h9AN84nhdGQf0KgYMknyV7MxQvqdCxzsqMpNYfoVccV
6irrZnndpY2OLi7yLE1/UUr5dwL+583ye0BgSZD/OCykMacDIoldFGlQBzStneS71wf918iHhNzr
gzxOGL/FYSSoGZStsI9WI15MKbSrjz/kuyfx7x8Bp4s8ip0LNuD0R7S9IWhsF8Fr2Siz3Ubu7Icp
Gd6PRPbT9TD59i5xs/xtGOPoHzOZh6+FU+ll6JS6v//4t6zjx//5KZSq6Q9RM16TpItK6eMs++BV
BL5yj0HfV23YK0xJw2BAxWZrGc1M+7HOvhtqir9/PPr7Lc3nR0flf0dfLQRCXLajkPt8bYYq3bqd
P8UbK7ns1vv+rDKOT1oFBZ0axJpsNVnmOASyY8ELM//LDuDkuLN0DlyNw42bBvOFNs+58cCuwH/G
EghI7iom1b3vTkEw+a/j4FiouY7YnU/TsMEhx36WTZteuH/OHVnIG2TGHFrg8cs6//Eo6xck71jG
wWsRt843c2zjpyrxx+NsZ8UlMtm5udFJp9SwkI3IHk/Hylsywhbn41eM6r3xUCu3uKmt1J9DrdAC
bHsLx/rx6W0CVsDgdUPZBjGj1XLaRjX4WlZHr1pkqHjT0b2K93rOVX4hxJ45DYttAR+NTiWN2tWj
T+D9MeFQEL12uqg3dRUFoCKEtnMx7L0y26nYNHXUPmRZ2x0+nuKZL7i8MqDvQzWgLr36gqZEgNNu
2uDVwMY9OMz6nOFaZdvzTh+B313IGtZ3JqceOUoe8Igoovi1ZrW7qSm1woi118LW7G4pyE5F2Jlu
8hYJrSCLkGUYW0H0+PEkz2wdgjwCEFTG2KXv6s64qVBhdljeqI0Rmqj7K56K41HDyGDn5OqSvcu5
8eCqQIzhCceYS+7yx7GgGdgWhj5prws+4lqDlbPta1hUO81Ps1ubVbjUbj/3GRcdLPKghSJjrj4j
bacsiJAweY3R3Iy3sGqjjWa6WbWpkiy6sFvPRE/G4qXE0f/d/zqdXuEMSSeSPnqtbKFMGsk28DJj
nPUL0eXcbiHv4L1P957tsjrxQd82Vj570atXxuo4m8O0y4s8vaZvHd16zVwc22mOLlyS5wZdDMgp
asPDA7NxOrmxjuog71T8pvFS2NhFO+zwkcbQIzGaKyWU/UWYaXbhFL4fFL00ipkmDVTUNNZ8gyHq
9TTS3fhNpQn02NJpejpEkNL2/hg3t5XZBiKEBW5vPz4Y778k4y4ZEHUtaEBrYx4q1u0YJx5nIpdW
GzZ8CFISSkb/fjzO++1JAEWjieUEb0Of9nRRcUVzy65Wyds4eMGtNZVTmA2ee2+bWrD7/FALiwK8
B28DfvDpUGWc5hnGgylDDeXtpJnZA96SYJuRsvh0WPltwAj7hTt3gdWcDhU3XdJB62BWgVV9KbVO
O46TwVHok1s/6er9xzM7s0nQ5uByIIYuYjarqGJHwitVCn+n0ztnm3qjfAw0qziWQZaCmbNMFGjr
S8Ls62cWi0gHBZ1wWheU+dZzBN/SVnZVp2+6PgwHy8yirYVLaphOuXVHhVnCMxzNn4A8xl2Q6+6F
UHNu45BaLKWwhb211uKP0mbyGktL36jO9UeuyWxje1Vx7819evx4ed8HbV4FVLKRRucssFtPv6ZT
+70zu0351o2F1ez0Mq3zbz6S+eYPKlTyeywgXV8Snjo3KLUwDhqPSVKb1TctRZ4DYa/rN2OA5Kvj
Y/ydupB1O41VcoXIxnghup0ZjzoBD2cMPHnKrRONKnDn/yHtPJfrRtI0fSsd9R898GZiuiMWx9OI
RhJJ6Q+Coo4S3vur3wdU7wwPjoJYTkd1VVQ1JSWQSPOZ15TAn7IXrbQMFyhzgLZoV9Xrbuj0XyFl
4oUb//wDTrcgDSk09ihqzuuZAIPCVDR9/CIP6ri1M2F9bQMNYyClHT/oHcPng2SHZDHdCFC6VItP
vyBhROZ3XR69SB6dgi9DVJL+e46XSIcMusCX99fL2ZtNeRzs90nYivbvfCpRmRR5pwX1yyTz9L1G
+8hVCFC5fCWt/V+MRWYGQmIqdVAMO30z0GO5KY9B86LJmQFKAFmrDXciBI9KCpZaEGfnDEk4tdkp
N+LNyBNPB2t1OMuFp/YvTl9VV5oXmKsi74ybvg0PrRNuAjWNFvbe2T0EWg4wMPg0lW3gzBGZWW57
aSxC9UWOZMIXPPEKeaNSK1zI+86/2UTqw2ycTj1VOm3aHm8CMydqq5Y8TX2p6VHArsVj5MLvvbZe
xbKzFAVO83SS8vO9Jqwd/FP0l+kBnw6mVAacl8aJf8ZGowF+TI2v8ELD1djHFgDQIF1BZHM2IlLT
n+8vzbNqAzKhSCxMKtfoz8oglE6H1npTS5qyLX9RMjWfA4TOLsmshvsihG0Ul6L7mSMe+CXUlf4C
t0n7QU2GbmGu51ZhE97Z0tAqpZBOXMPfpw8RpFLvZaNRHzUNbPdmNEOvdI2gEQV1saFB3iSQ0T5C
7F//KumJDyhu0JR90hllRM04UZ/rCPT7IZaVTN4uzNB8xU0UDa4zhGrJkhGwmD2cFiAgUseGekSs
SLtvdU97lkBaPVHxLnEwU6Cz9VSPNgWZ6GURpq21cgxJmTiN2RRM6O1DOUb9IyyMZkmR4QxCOj0c
ANLJYY2VCnz4dOaU0o7rVhnVo1zWznVA5+lJwQeycNXK1m46OIKd69TIKrkd5frEpTvh++u2zLt9
rftQaH298I2F7zm/OqaHIhEmEiCrmdjapw9ltcSJbWQqx3GI+6NRKNkvI6aqqvPV7hErW/I8+8P6
YYNSo56sMMm+9XkkDrEo8ZXeOoZZKeNG0aU1qohWUruFX4mbrMpT+cryB9nV47Cx1xlX9b2X6q0L
PzD5mQ7EM1tfrZNw/f7iOZ8JSr9Tsk4CBKZ7npfYcYauRKN4P6PGeJYi06Pdn7bdlWeh3ZiE5fH9
4ebnMZVeeutw81lqJCTzWqXnNBVUCFUcBZeAO8p4xFRSIV2WeVUfOi1tL/TO9jfvDzo/vF4HxbuL
Cj+4XSq/p18bupwPx4xBsxHIaq35+o6WlwMhMFNuG3RPdz0aM4dKwOh9f+Q/zC5nNHVtCt0TWHn2
2bvRLwyjkcQRnaLuW17b2doPA+1Sb/po3dv+/v3hzmYXBhGao5zS3HZokMxelEhJDoIwDI9snCpx
NYS1XnqtGSokOpLOpa6FQq+ht0t55vwqQgqEWZ0KIoAKzgvCCq41Da4R0bGM2TpQbrK1cErPwOuX
e++jK5bBaG3CLCcUm7SrT79mXlpqa6dNdARaEQxuAadV2sQa1Q/w99IG4Y4y/2DkzvtRx4d6poEL
IpaYnWGQJEMa5W1yNIRI96Vn25ewgb3DGABhff8T/mEqGQoALhcNIjZzzt0IqTuP5Dw5+rEabBJH
kba9r6optEQKBAvvdbY8p/fCcWTKMDHHmOuQUIUMFQnbsSPoRX8VRL22b2hG7YahlW4TPOf+N+Mh
VGMTZALMnTvmyDWoplAJsmMQGgJFiDwr6oOs9salKNNMcvNc1xagk2d7f3pFdsN03IAPnX+6yKcn
L0VWcjTDsL/zwiLflFloumUTAbiRK7W+KnRjsknOu6Wg6Q/fkusFHSTWzpT4TT9/E6ENBgmDgOp5
9Js+g87UFtm+KrowoNOdmLfvL5w/fEsGIy3hHCeWn1M10lQLklirsuOYRtomw71+A6Sw37WoMq46
qHcLZ80fx+PmpHU6YcnmE5uoauPnSZ8dmzI09xQkItwCy+SWiyvdV1zzC+2A88lEXUmhrgs+ejIf
mk1m0SeW6BIlOo5WJ98XoinWFJiHWwr5S9jx85CTIApuE4nzq+6ZPDtHlRx8J8FSfBR2kWPCM6ox
mgu2+ehUaniHYzycsVAuQE612o0J53BbtWOx0EI8n2AeggYBtwc6JFS2TlcPVclBDoeMzWmN4c6I
shC5iVT7afV5tK+c7KNoHUbCows4LEUDSk3zeja6xm1eS2N6rAb9uWqKei80Lq58tNYBqdL2/eV6
/jmBhtGJpSw5WZfPZaugCDWR5knNUYt071MgjwjXhE5w0LX2+PGRQBISdtDcp709i/UCB5vMWirb
o9ep+dWoOv6ma0WwxWy+3L0/1Oz+BdaFpCXoWCAMCjJgczueYayQ6pAS9ZdIMx2+cKVuqKqJh1xU
5iGxDbH2fLlaIq38cdQJUsY5pxFgTwvpzTHTAdTsar9WfkF40PVNbRfqQ63XzQ6Ejvai5Wr82CCy
onzsMJ9elmIILR6Sea7/ef5JZxZEtFKrvwZ1UHDhSj3tXqDJfecnlae4YVS2Czf/dM2+SUJ/j4hI
H63n6QyYl0PNHv8YVaTaL7+niySabHxQQ0taqPLM9t3vUaa3IsaA0juH5yU1hck0VbRfNTieA4Ir
wCQ7CepnFqW4TA4qvqEfw60x5Gt1niuKFJN4e3a22X3TO1Kia7+KDJftzfTPZFcMARSOoAEkNRJw
vL9SZ9vv94ic3nAXqBKS256umbxIUQlUY/0XEMRgUzmheQh81EqlVpc27w91Pp8kW/QBaJPxF225
06GazgkmZy5fuLIYygGE2BisjSrzEBGXE6gTWvPjwyOirEZCrOlAN/j7dERF2FlngJwRrh5WzkVj
O3chWa+zDksdom+FgdvCyjzfgkiOMY9c81z4cBhORxw8DEgjHekOt1HQVbtuIKIgBCINv6q4tzf4
nYlnDTRc+vz+m04X0emOYLxJdZAcFmr2HEjsRIZvOnGJsCqoT/la9I1/QCXMdrUiF48iiZRbtG5w
PLEq/dIcZGvJdfp8HaFbCdeJmxKhCabg9MVr1WnNWs5C4UaGDvgES8cbZhkKt54tMUTOtv+kgwrM
ZRqLstfc7DNPs06SKqsV9FvQTwGxjYpPmyci/+jXZCBINqwfaFTsx+lrvzlQra7oh7KVe1asl4zR
xkF3X13HNSJedylHoumCqKvFRaOiwLFw+ryCcE8+KYMTx02VQ/oUnHOng3uF6Xf5qLGUPOhLw3ak
iqhe+nEuboNEQ4gstq1aBhsO2HA9SIXsXCge0mSwkMZsVYTCTN0izYbaVaMuIQvsFWKV0EUYIdBv
swRdtRVSC7XugpQ1McdF5SN4NsImk+7MMvfTCyOUWhmiPWZ5rmbKA3Gx0iOWlLse3NCgX+masH+g
VJQ++YmPGqM5WqXWbLyxtLVsTRFohC9Uotbx9P5qP9tlXDaTNxLRNGVjZJZPp4aKcqHFvaYI13SS
6pBWXnKt6UWy8v08/U4i2D9Vtl0uMQNmKQRdI1QyOMPY4aTXpBGnw7YGQjN6lajC9aEQVYeuyIZy
1bUo8V3GeWvFF3CluksU3fJkU9AEWcojzk5QKDCT4vDUmYObOkfemNC8oPd0mo8SleoMLsDXmjo2
WH55lTlp88PUhbFwap+9NGMibYlmB5HTVPY9fWmQ4gjptOgpubqR/cywcrtJ0Sencds5F2rf6zsD
dP/W7EdzYQf84W2JujGr5uqd6Bizs5T0KDKcCC1FdyiDvVWLItoLVR3FfR1olX6VEQUnC7H22cqi
R04xahIAhWgF6eT0bRWhN2FDoTAEgavrbo0SYb1SSkNJ3KQT+UrKJee6BMDiLRw1r/W1k+1ORgMG
cmL2gSSB8ns6MmJJmZNoGhSTWm7r9KInnazKVd5oSvxYw/UHYaw3Sr23cQQM6pVlA9+56s0gba6t
tOMK35JRo3FRovt40zSj5LtKqQJDT6Skyde2U+s7n2AVHl9eoR9NkI3gmwuVV1g//Sg2m7VOeCwf
LI1kFbElenbepVOzm1VXSi0lwC9LqsaNniRy8MmMKLKs0acu83UMyPGDkt5Ed5x5uMCT9aBzSSH/
dD4i4meZvEd97Jxmbahfndh3k+Hzxw6S+SCzSY+artZGxVcftc/IZUhuP7jBjbOwpubreD7ILIms
fdy/DUmoj6RurqashHRRBgd7Sf93vnRnw2iz08m0oGTn0uu7iL11L38eDktvMo8y5kPMMqhMGAZJ
BN8EoQH/SqldaVibL+JL/VW9f//DzE+d+UizU6eAQm7JJSMpN9EFKlzGxrj2L7BjeX+YpTmbXSQq
WP8M3p366F2n63Atf8ap/vbfG2J2igWdXnuSF6iPHNQrfe25/kbavj/Eq4vJ27NjPluz4CvAgkjL
C16jeC4+FbttAOvAbb624PR/BpIbPDkHsZYOSMUZSxXRuVbAfJ/Os78kkIqo7ni/UOxKfV95qyG5
lavaLSXjQlFd9GA+GfZGaAdFk1zJKADkHCT5cqy2PPO6Q7PD/II4WwXB+P1pmYek81mZnSAy4P0w
7llDvvUj6e6q9FtTLpwff9wQXBdT/ZneyZy0qfpEfmhwsH4i90tyoXx3vou12Gb799/kj8v0zTCz
3ZANYeD4EcNkv6J99jI8SYdh9+8NMdsJkpnXWkK78rHZiM20TAf3o9H06/d48xaznVBr0MnHeBri
Ir8SF+qhOERLO2E6gc52wpsxZjuh9PXcKnXGUG5Sx22vwGThulb+yEu30VbRT/nHvzdts3ihEo4s
1QmrP/s1XkoP2kW6W/r4c1767x325p1m69iKFD+XEJV+9L7nV+ou+27edtzbF225rR/8r/ro1k/+
gjnL0oqbXYx1lPWlHzDmMKykR7NYS/nK+WJ+/fdmb3YzprmIUXhk9rpNv/+96LTD+0P88fKlaEq8
jHgX2/Q0jMBhZwSkF6mPVnmRSZ9t/bPRja7Wffv3hpmtbTkTXhyODJP7G8fYhdFFnq8CfWGTvraj
3y5vUnzoRqQ+Jt4CYIFmF3BtwTsvY3n85lS2n7pK0Dd3HvDGFpo4xPRtlmYoE6KEFewlzDrSdYRW
468gKnXCDqwQFqoO88kFkAHuagKxAnWhdTw7l4auL7Ww9pRvdhRj/yb36U1JhEy4VmguaWi/EElN
s3j6+pMYDh1uxIAoqs7ZSSit8TiR438XRuLorhcGMa7OnrUUFs5vDqJ/kh7yAHCrAGfmcvVN7yHL
ravet7ZS7cJfgXVr5AsS49FWVjSrqg86dgGoASZHjAtSfuK6v16ybwoNMXDVQJRx/l0rEmPFvkvl
lS3hZmUZIxbAYZ0viQbONzh5M1fWVCdG9ELDXeZ0X9TUqcBeacFzpUrB5ehHwY2Jp+E1gsb2zZiN
2VUMYH+h2Hj2/SZ/MMVmUhGmobUy24yJFsu9hPAyCp4qKBSqDjuMAdTV+3vx7Ouhij912gFyU4MD
7XX6alJuI7ieKOlzKRVOvkKCO/vsTJbKOyAmycKNc/5KMGEmj03wh6Spc1FSO6ceiPFN8pybaXNV
Ytt4lxbG0sRNX+Nk4QOAn2BkCoJCUBrmUGPJQ6pIj0zza+Bn7TaXTOO6tQJlH4rkobNbcy9hW5G7
kqS0q7Fpu4VMfN4HAxhCI9EmL4WDw+abO2AbchwVki/sr4XPtQDVtbfLZ6uXAY6nmd+gbGuXQQDW
eoTF+wVFylR1XFOISDpGMb9sYdJfAZaz+aDujwYfEFP+ZQ7x5jr0EGbXxUMtoX2MFEhUWenOaOpW
3CVId1iXZZ3qypoOdFmtBELIjivrrL7PJWoL+REP32bwVhXqeVHtmhCyzcJ14sqsLhK1MvI16W7d
JqtBUNzaD3oV6h+0NmJK6YvAdQQRxfphTk9XaRE72Bp0kf51aE3pEyhhRIVburOPpZ0o7RYRnAwQ
1Ps742zT2zT1KE2xBWkSAXw6HbNkAfu2mdhfc4VJo+jpuUhhWBdozGsHD5zwtZ5ZxcINfL522fPA
inhbMnnw+KeDemrXxmNeeV/9yqfxVYZ6FeOkWWlwxJvatnZxpynDIUhaOYUZoKbeWu3gMC+cCvOM
8tVxGG4vYBB2JDjJ08dopzRMh2L91RxFNX5CUUWUaxzITe3ggzor1mNJPW9DhSYnEQwTz1gIds6O
pUlVZOqwUE2DhDEvLclhrhuBrGYPYzQEHU2BsO+3RuENvps2plg6mM6GY67B27G4QAABeJ0d8LYo
Ldw2rOghHuOYmk+VwoCXQmjlbsS8f3l/ZZ3N7kRo4cYErMzdDDz0dHa7CBKZ4TfSV+ymhru40ZpV
HmvpLo9E59ojtaUhDvs1BTt7YU2fn02vBUK8c6a/gPLNFjVVKgN9mLh80PxS+lQmjnOlt6HzKRsa
Y8VL65dalKh3iqf7n3TF/6UqdbIQl53tK260iS84EQb5lzlj0DGSSJdEQTTOZRNOunzRJle76GfX
GemFXohvAbplm49NOdretOnBQBEHYd49x+wYejdFFI3xUOZZelvRBb3rkk5v75AOH391qlWb68QY
i/CT54/eUr9n/sEpP9PfZmHBr+G6nTtxooxeRK3d9Q9mZtlXXkwZ8keVq068CrSwpGsAmifZDXrd
7bIBUdyPfvXX8jfXIU0A/nmGcvFaQenTDIaHjuRIWfmhal+kkd1EF1qLCY2bgV3/lFZq/jksKvMi
bYfgh5Z5vbFwus1D4Ok5gOZDrpiQjJSqTxe+ZCidMzSF/FBUtTe4BAl5uevUOi4RwhMCZFGT5AsI
mPMxAR4jE8Cwvxtup2M2fYLLA1L9Dw7WKOtab52bsXCQHomkNSifJcHn+eoGF4bTD7omJB0yonOz
kyQy6lGtqrx8CEcEQ/y27q4R9xi3kuMI1S1Y6Gj8JtXP95f3PLDSYCFwQyGvyurirp9taxEZWg5i
3njQGmylJ5nL8NHQB23pTvzTOGweVAMZjH7S7F5Ims4OSnR/OCdbKbgYPSm2VolalvrCkp0fyLwQ
iEzOYpAhEy1m+vmbGL+qBweZtkZ5EFFfuZHiZZsO4W7Xl70lC8PzzclQRPUQAoC6Ajc9HcppoE5i
sqQ8IHCeXWljaV02ne7RmmWJwkYI17WfjT/iFomj97/a+dKEcTf50AGA4ZvNUcRK5VholqryA+Zp
1jaNS0u+KIg4bLcgfP2iNdgofXhEqP+0glmiBIRzyEQXpXJUtbJ4sPyo2nqmVW8dJXU2NvImrgWh
cgGicbYbAJzC3EKDEdQLNl+zuRUp3fshbcaHMFPjXTlQVkqB965k9shBJLK5ybPm6f13PFujYIYn
/II+XeeT1ubp91TaCAJ6mY4PUeZIN1Gs6VutGrKFC+WPo9igsSCiQ5CbE4o9gatBg2Xgg6P09Xoo
Yh3LIb9fODB5dJ72bfCO4NSEqcONF49EWCuzLNBo07FBKiP46kmlhKBfOWBYampZEf3ozSKoZNeP
YEcYLkC0wgldLQz89GksWyOZFOFBUP8EZ1ENe7OLbWxW6tjH5TZMcZtZxYCunB+0Qqwhch3EGLwn
zQm9tlhJvtmVjgvgupG4onvTHFfa2HnJTaVlDXTitK9qc0fju6HQFcJAUVbdUPpGtPYwdh16hHet
PLkUuYdvgEtnnsrvrqpYJP4qrEfNpNpuYxl0wNkFLL8LNzu2AX+USUs/Xov1vDX2DSbAmHQMmVoo
puuDkI4sKpMoT7ptB0njyglxqPkEh0MruzWCQn0RbYyisqNLdMn87CkI1Sz7jD6cH4QHDN502NCd
KXu4Kg1pPwjfzRUVGx/XR8qmkFxVzWPMaRQta8lzpNqkH9gZRXGgsqGEj2Oo4mnv+h6KFao7drlv
NmRK1Cv2iWwM401dIYW0I6uzo1/gvBzMJ3SB0uONZwwNZU8sC8NtiTFW8AKnKk03AW4xJKb4F4Ix
kQGdtxcdN4i3Jfk2w19ZX0fytkDVp1sZxdiaDxriSYWrGZGabPsgG+VbW+h+faWK2AhwsdHyJhJu
rPmTTFxYYyfqWnrUxJ9qxYsBvPQN3s57KNSWtBdCq9t7HRxMgnYx5/3G6Z3YuI1KPFq+yTKFln6l
hAkyHCtYS7pWskjSTBwUVcqOqGbnk3Kt2gcbL9Y6Y2sIHF52jpNK8npQq776jK9gle4GQl1/l1OX
Hw6+mcftOu81L1y3qS+qtWVLQl91Xhd3l43QSn2HTYvTrcpCw3ZJ99q8vMBq0rQ/R7bU2E+DNzjl
uApb4C6bXoozsQrKxjd2iLckPuwE0263xGNwFgy7wmQ3Hu2ydQf+7GDdKuBTopUT4FiCwAwwZ2tw
VbOzo5LFjoXWBkGLAnM+nA7r4VbyJWm8oCMl6puubdTgW6tWurHrPNAkX8c21nCLF3HfuQk6fOOz
CPHY2+CF0iQpQV01GbhRfKvkL9BxgE9bpuab9ka3cnQ4USfVta1pYjl/DdBSn4itZotwiysqo5JT
OC0DdHHXbpCRcrXYq8ovPILdHXqy1ngfFq0jbxpd65P7DAhqfixI8yMMdpA2uR1spTDkVYAqFlA4
tUPiS2X5YbpTjPqQrfLIMoZ0JcdKWaFTT1ScrPl0WoAT3Ih5yqdc9y08lOPAa73vBY+EMY+EtZpn
rONKR4SjK1Kvf9bbvveg5mgC0eYk5SC4DiMvEQfonYFtrrK8DuvJRUpOlS924qOTqYMYIAwKUhGO
hgsLteFmVVIhKfu2BdL+MwU8EdT7SA2Zj7VakBH9hCthB5sUBpLz4/374uwWRnLjt8En2RjV0llM
w8uEWLzF0hclrlIwYDKQwlVclv21GQccOHKaBwvX4jy6gaoMrJZjmxwQ+ui8nAHKB3hQKSXfQt8q
6rUnVKfcNlKg9S/IqRjWr/ffcB7h6FNcCCSLoBucBmDC0xsxDTFGcMqoZLjOcVaNl5f+EdpCal9G
ZcuZo0ah1aZ8+LGudr5q9Mq395/g7IVBPE3m5w5AW5jrc3QKkP485+CJH3Ns2x4dX/N/9rJd3al6
gZ3fh8d6VfaZ9BqB985vZq3CyHCorfCxQbV1n+VGr66pS9et6yeFXSzEcGdzi6sHuTRlbx1tLGSr
TudW1QcJ57YmelS6DLc0QG/OPf609W0XJMkOQ0L1G2FupK5zK84e33/Tsw4HSHAKCWg3AO1HEWCe
TwW6IWGenNSP6Ml7X3IzpHyxrUSf5/gnS6nebGKBtf0KD031JSsH0UNvgn/QWCt11HvlrrU8qV+o
W782Ft6GLCgnkhowHRBkWG7zKamSAIakKOUHNOdaLdj5KEihG5/aRCa3nFl9H29rwM86BZ1wtKgl
hn5pP4nUSoDiVW1cZciByzjfrJwitcWegmBqijUWbJwxWt4tKmCeLU9yYqr6SHNN6q6A1U4/oiNl
g9C8VH3qEQQ0d4lVROq+yx0iISIkfynjOKvCTErzRI5ExUD5J47L6XhBwUoMBkN+SsJR1z5Rflf7
tWdrVb4N+iIBP9UJjoedqkp1qLgWR5C4FbnRadvSsHCffH8dna1hIL8Ey4AnEY6eHun0cfpCVkWt
W8FTVXnWRomjHsgc6rpGqFRrdfTbrTcaxaqXonShR3U+8ZMWCP9DDgjgqDGLbvn4UpBzKzyRlhFv
aqOPfHLuOTqSrvC3kw/WAtBvJoye+BPmxC+aJ+dJ3VVjQuj7ZI1WdIBPFhzMypHuA78OD2ajxh+E
szAewl8Kx/2r88jcbCqVlLL24r56UurMw+rIbJOHOki8cl0XmVq61WjAutMST1/oQZzPKynQpLU/
7T/A8bMqREcbdzrq+ycjwHjmoggdKb32g3QM11aKXPfCvP5hQU9XGgL4sNxRHZ+LWKQ0yJKu7con
CeKT/CUIK+L2qrBTHE8GoYcXVAiQ1cuw30jWoIDrfu2jEhms7CyIlooU8wud1G8Sa+ZREE8G+TxN
zpvaQRIlth+1nf80wVPXg2F6h0r7VFraSlDT2r+/d85nmuwCGiCVY+IWRjwdrPdUFL6rwXmykUz4
CgVBuQ1zE51tGfXL+/fHeu0cnZysk8A6sSvsAxQQwfWeDuaZae2YTSk9JXUqyKvQx7WqYIX8rEMn
NMvjZLjLiO2TKyStZAn3V8QHHvKCdt5VrklC1DR/JpMLbGDKzvsqh0U/2U5jGGvvy7qtlOtoyP34
IgG6hpA6JmHGV7+3u8/vv8jZpAH5JyCgGoo0CF3q6Qu++UK1wFHWSmXlkUaO5V+wNopvNkmhj0ZB
ZErrj46GlAW6o0hVv/YyZrOmJaWMTm5iPupSZDxiaAuszJSMTZHn9sJGmPbVyQeaVDPQNYNlMylm
znvhAxpuWNKaxoRBVaZsTKyDYqz2CTLpa1opuhvyWQ9cu+FGjHr20bhyElSehNjxggAHPO98Ngao
oSgo7EePfCSgY+Sk0TYWeKlcCiE70kLsc7bRoNdNMsmwmKZx59SCBu1TSj4yOs5GU6/0dtRWYSPE
BVNQAelOwwWczXw8Vg0AZ3rVNOEp5s4BZFGApbXTyeqPVjVvbbsVF2VkNl+6LHkkI1py5D4bjdbE
VLGHK41UDljj00WaV10d0VPoXyAO0HsfSxkfXCtzgp1q5UG+GVAnXqoIzqs9wFXMKUqfCDGcqHN+
X9zWZddEo/ziOF56C80ivWxCq1jYEH94M6rTk/zJdOOT8py+GXarQarbmfwiNV77YLRGv8HKIF5n
A6KNrioVx49tQHyZZIDaFOCp+QPfmI3X4BdOSOpFL1iZy27h+PGmbYfEbcNiXAgozl+NLgsfje1O
+Zhw7vTVKEQxt2Vcv6S9We7kfOx2JCXXOQHkNYpK7QdzjVf0O3ieiecwsd5mwxHEhsVgjgNqm93k
rGHXW6GLeGVm5pLP1PRHvT1aDIJ86tPTHuDoRE709M36cMI0WGjyVFaT4dOejIcAdYYrH5vkh/e/
19kk8qGwH0DajEuUjHEWnqJCaw7aaDQvQ+3ETzY6Lbawghzfx9rfl8JcuNam8PL0zabtRXWTejQX
6XzRG/IIPgGGzIuwcuvJCGWDGlovdxhbN1afbtDZAPI6QY/EB89LmpDIEtAWY8txHc27oXqXy8No
p8mLk3HLuURxnjuSBa/6FlfohbVyPqucJ/Sy6TRzerE4Tz9gaRYtxrHGwHliOnuRRe0vC+bBox3T
PW9EtnR+nYGNob/QZ53UJUCkgF2aZTWUuPwYkpP0A4Ebu/9hAnEbD5IVBp6ysuPSS6uVNQ5Rrm5G
bDS6Q94HGE2kRZD5h8EzUCR024DF6OaNXSfrug3CtMYUrEvD+jLkXlBdRQ5kqcFtSPMSxW0QErJW
cYjMsYTzaNnQQEGGJl/SwprP5IQFQduIG4AWNky6WdYgV0qSDCbC34OnDPcZFcx97AzFBjGn6Juh
DN3Cl5tvPRhElCxenXs4x8jbTr+c3OSSpxal9h0xo3AFLqR38bmPdhHdr6XkeX4DTIJNXN0TzowT
BTLb6VhZwB7QSYV/IPXYmsdcdkJkxcQgGileN/jsZFsxFpSR1dDgNly1ASDI3g2KiSy6curJKmIF
XS3UwnUFpkvHj0UvG5fjF7+ChYk5K0CYyJYAjSHRn8i4wK1On5ab029jL49fGt2pu6NaYDQLQbWN
Ony6qeVKG82v5OjYCgnP+b5Gmf5O4FCcroSdBlCUQjpgRbYQl8wOFIoxkzoPnCQ2NxZB8zihITMa
JUmu762MQETVWmcL3YM6m2yLTYRU0q7Ks2Tz/qE5z4FeR4XE6liwg7E4mxcRElGGnhkb9T2iYGBz
ws7fx6lTXGQqxY/S6NpLAoh2q3Nqr0xoejfYoC4B02c7Y3oGwEoEnkAH2SFzRbrGHsvM053iPu+i
PFyhcabYq6QZ7J1VVvanWgT+Es/vD5NNVW9SQQCWRdY1W7DgeLu8z5TiPmoG7Tbt+nwn4Ubz5Aun
Xts2R87o6eru/cn+46CgIum8AWg4UxOVAgBCddKV9wlWPAefXsVOVorgGkk1bwWZsXWlLOwWvvDs
GHidXCTDDBYVFS6gUaeLvTDsnOpLXd1DaYdrFpYcchoQZriUH9Vp/z2WSTmR7hGOwfM4Jg6lki6H
Wt77mWSmh4YCgoy3R6Z7l+NYVWKbQiyjt6PaoXJfKqE+rH1PLUNXtyW1hsumiOJjlyW6Hhx+RAMT
lhCE1BzWOEJ06+mKZPddE2rw3ux4XzsyzRSvjxY28OwQ/D3UFAwwIvWxuYgHsjq12skpti9xIK4l
R2k3TeYvBduzZO11FOjfHLbc/wQAs2ukVgJyjSJP7/ts8K+brHoZE6n/DNbNR4jJKDcach44eIXF
Hgjl9/dX8HwxTbNJ3VifZCAgqM6hsKEkrLAVenAvjU54xy0trZxsbC9Qx8sWNssfZnNCE06BAJkT
KKDTdUsDqo8lI8nupRYVQlH19Q0OANHz+y/0h9mcUCHUJkC84pQ2CxrjJPIwDJLy+0iBrYcrWrkK
Pc9ca45vbdpGL/btoNOmLiZfcwzYl8Ti5kffpIYC+5wLCeTvlNacvmVcRJ1mNR2Hvlz6N7KX06WW
tUCO12jw599TQ3hLd/W04d8EriygCR5Kzo0M3KSsNZ1Sb8oYoDryyC/U5h7vUsTYKkVW12o6YtMD
7icV65je6afUq5sXp6iTC1As9Uvj+MmLgqDfj5j3+Jcj13+89P+Jztrt78Grf/4X//2S5TB5hV/P
/vOfN/kx/VyXx2N9/Zz/1/Rb//uXnv7Gf14HL2VWZb/q+a86+U38+f8af/1cP5/8xyZF9na4a47l
cH+smrh+HYAnnX7l/+8P/3Z8/VO+DPnxH3+94B9fT3+aCLL0r3/96PDzH3+xqP/j7Z/+rx99ek74
Xf8nFscyYMH+/qP+9euPz1X9j78U5e+EA2S5rA6QWUi2/vW37jj9RLL/TqRF6wvkj0rG+Fr4TrOy
9v/xl2b9nTuNcsPUOEPXZzockKeefqTYf3do2VGJoKjEDYQU6/97sJMP9D8f7G9pk9xmQVpX//jr
t4Dxm1XEATcxJwz2J2sXtO3sWuETe2WCpjk6DfgufaFYpevX6CgYUavAsVW7PljbuaeUCevZS4tw
Jxx0J4mgeF3JcWmWS7X2CYq7/A0NT5r6jZuYeUNrva00kTzBaukda+Og6ioXrhzy/5XPeOIo8h2W
hrICVbgBZKt+N3qnaNNvfhnT83B7CeuK3h19w9e/WkHcWetYCZr+s1alRrLuksZo1/3YGe3GHh0L
kyw7LS5rNMo7N1Ti1t8OmTx+HqIq0qZTQMCCrvNgpeggTBFo1MGUtFnr/xRcJcUuC0PZP+ihL+VX
ihnI5qrVQW/g/xQa0hpteQlau516IQUEpa2vBxxXY2ml6yldpG86jjg93X+/HM29pTZm+KADG5Gr
TdxanfL5/7J3Jk12Ilmb/ittvacMZ2YL3HtjVIySIrTBQikJZ8ZxwIFf/z1XldadiqpKWe160Ysc
LBWRdwDcj5/zvO9rDdsanXSNCcOtmlvz3AAZ6Avihuv4XpWGSbqcOsZjXPXAPppp5gDfRoOd1uUy
1UenW3kvjRT+nDjdWcDNE9202dyzugMSbMPFOsTdmkQNHnfJ0I9KnMTmRSQChRg0njxXB0FqrZMV
tEdOEAG2MdNY65E2oeLJmg8tDfZiv2IisuRDgorFs6+AOtbLiGZlkwCKjF8JsiY5WrWhxjMBb8zZ
jpPJKTFMPLpNUGwsdpZgon9VOLRyRugTIoGetsEOi/sWdEgc88JiuBLG9do5ib8Lwk+ipVPtB5t8
9CJBO+OYY2vFm3sGIuqBgaGglXzR5ks4JN3SLhSUDjVJYqwowuxSoMJJsTVS9bGGZdgPcV8tdVpq
FS/ZvuHcdlXsgf5A+aStE1apXn1a+P+sF2YC5H8Qbbxvh6ZpxMIgfFEq1Uvk+KlB3CPS2Nm6j0Gw
BQ/YTlavQx1PUQpD4UCm26uTVnU43O8WkUhJW/TTjZWP4+0mmQokYZm7YRJrb6uS2acnn50zxuKE
+Vb3aYoW6V3acih+hATeAKmIkA7AmBeefZNXTs0WBnLeZ7bUTXARRMRUUGHBS2e6DyzkP73yE1OZ
UqTWSJralT808mWtBuMcGPGM9oH2dzSnI44uIvE7o/Oj3a76j3r3C5GCT/Y1t2tr3YvBnzgPOQUZ
301nx/q4VpZw0kkMwRcRt7NOVIB0Mo0D03UJJ6mtpsbN1ZL4FfFIRKGVs50wRSMMDk8ZNlkjQ2vE
8EIEb5rXfFnW1vpRR9UUwIeJosxsMoAM83BjcISaJjMmHA+s4qiKrnqM+3aeszoqe/emX1f52owq
FEms9smk9lqWxQHMKH6zYLxUBm3nqqM1smImJCeMJ0gPaM1wmZtPfk+8XVp3usO8zyI4sQu0equw
2oL17c495YEX5sY1B1viz3FVlzu2zzVqlEIl2+4F6hg4azWfaGWTbQkZNEVvMlra+ApzhZYYqt7u
Bf/weNbMwYyoUp7npa/suxxT8wbXOd9n8l+H+U++ZZlavFuiZs7fGFcta54W+WTNdVK6hYRJgFxD
asWb2FMCLqgZsjiw4t2/iyQ+j16G3a3tXhRz4dSfdSOj7iK2HOUlVj3p8Wm16O8cJMBMeR3uc19/
QYccuYiD12FST7V0wyYbl6o5L7neoqBkeD5ZvVkvon0DZ4odchcZQpPYc9XyIk2fcXArZ1R1mvX7
gLetFV4NcZAPn/JqCbxTNAlCB0vR0aFZnMmvMWWQQ7+9AK653UOUN/GSkFRbmzmx8sgbLldHTOHn
sHQmB6861qv8MEc0DDAIWsKo+NZaPFoj9lkb6N/WLlaAC46zukc5dgPIWuQReVlx/Kkz17RekNhI
QYbLqeuit6kqHZLcHct6WvDSX1lOZ+/By4PZ3G9rK97kbtVRBjqHf9a8EItycGvhyBfRClsfN5PP
TgqtRKdCWmQ4ZHL2TfMhGqzNnGY8r7xnwqJGEKoecCoxnimeAmcWzzhEbyvDlU1HKb5gskl4BZy2
w0itY1I7brElxCHmN02+mjLhfNUWmSeGlu0EJnuB8vEHxQPZo8gcPVU/DJ4jATjG3Xxcel+Ox3j1
VHlZk0Ebw/4tPGBzpMr8gKPjqjPPqZewTscxDNtM+LlCI0TynceNNNrDkkz5IIjmbbroolos3zoV
iqcnbcoGPz29FURmA/vlTdLMXb4TSejte2KGNu+Pc27FkM8kO/KtyL55lA1OoJnvlePR9kjqOpmG
rSNV3VgUFx2omboM6148M20QXiZIIgxuhfZmLxHLELkn1232H200K6IP81F84T4udRLpEuv6ri1k
cTcvAuEvg8S8uoqNGm6NaLaPVrP2zJP4HusP2wJmfMjDKCbq2C6l0AcpPb5r2y6b+Gpvx+hYKNV3
J7JSxo0VsJFDuhYEV3lPXe34YIoVh4S7Lpg8Ow3I0eWy2MvyVAXVNLH8e+LHHFVNC8mC6CnDwU9v
hKAOK0O0sQjvm2qJqmRoY3xI1Vosz1urCxfVTNk9LdUYfJGEQOaJ8gMwxqna1jqRe8c1wgpS5Ad0
buRlUN0E8lBTAz4O3Yi8rXHalvUtGtevO42b6OhYufsgQHzcq3noov4gqKqCAyBgqK+pq9bxLsbu
So+QEovwrlBHreVbEyuta1wFRU5PuSL8xHxcKzNWp1r0+R97b/l9ape6eJ7QAInrItzL7sO0DGr+
o19D88PLBZd0kQ425E1TWzJr5sAnE8ZT0wCWTg8orXzlX5Tj5A8n3Y4oWIbKpTMhi1Y0D7m31dZF
7ZdleIyWnspv74KgvxOF2y5H+r0YnAW6U0d/spTOYGLJ+ez4DlLXdKudzOUGC9j2zdCQcmxmlfZR
ULwJlGd91tXjOF4UI3guyg2vfh2cfZvuRDOEwyNO8tP4BDup6eO7/fgDreCuDl7n5HlSmnkj9RQd
QXMcWqdDI1GOJjhwHgi2dGMMVV2VUbXFb2W3xm0yuZvo7/fKrZ1Dieuu/9K5eNDe0xuq5ie/onou
y8S041Jv1sFqB0oByXgEnc86nwL8uDbNs2tBDQueQhsjab9Ol71w9U1OIvaPwvLtLSkqO5QnLBmJ
Od2X0SFSTPXTh2G0dxez5KLpkYOFYY52E5ezZIp7fsQw1Z2upDs6LhU6+uoLFHLeLTus3FMqnyY/
J6HKz3tT1w9UV7iEh4U7iyQv8si+dLmzgkTpbRvSBXc8hOG0rtLVp2OYEqQyUIMTRFSneiaXdyDR
grl9P3l9Cl9lVRRXrQXY6vvmNlyW8W7utIf/WS6WN6qWbT2WUoIz75unvoQcJp/h+2s7zWdVPCBB
Bznqg7zbk0C0u0Zq2O+vrIhqSpZY2u2hCsf8mC9ItZLW5Xs9uqUMX0rT2DMLE61+aitj+QDZdvXD
xQ5/OA3L2Tqtr7zx07q69ZSCKK+chmkOOEdEduUPGVMpHGflsiuhlYqiC3QKTMl3OsxfIR/MAO+a
byodi24jZ51WG4v1jH9r44QcgApjD2kYDOTYQf4qnZAFzv5ejAQWY2gW7BdFC0OaBpjAN6fatkTJ
HlKPLxBwHbir0wea5n1Hk3yWynubytX+Tp+iQQRVhjNZoQ3sysmjVTInTR8sQQLPDCH+83j6X53T
/+Pp+5cT+9+e5v8fPKefWdb/fFA/vo399/91qZu37pv+63H9/Gv/PK9bwT8cGO0zU2mfUdFzV+XP
83rIeZ1VGbdmeoKclOkJ/HlcD5x/4IfrQMQwp8f97zyy/PO4Hgj+iOFNfG71udAZ8X9zXH+H4NCp
E8BF2GT+nC+cPeN/7flUfSeFN3deWoalftBVLC69sXjOowl2fNnyy3gsmTnMeOYng+WfaNCWH6q8
ca5KWtVHgVAhGgL5VLCEX+yl/BCZcLrBF6V+WEX4G/7sZ2rY/+0t/PPd8r0wkogZK/2L9NvQNwDN
6tx0zYX+RMKKCFPOptHz4PaBAfwZArbh+NJxBgMa7s3qUS5jC/8XVuISwbfWB/KH22PFkerC9Ztz
ignW8UmMbEoS5UFdnlQbwvW1mj7Yqp0+VIpVcti8WhIiWO0PMnAsjsm7/0TEC0+mx1q8JxW6EGQm
Tv5N08eIkmiNv095vj5i/c85yAms+h5pBgB7Ew5O2o158yWu2/53EfbvxPHnb4i/znmomAXQtXw/
K5ooNT2/VQ5sGIfFOdY3smYUu3BK0hfS2DKVZN66CbCHe1mS7U3a9yjN4zCErDhFV47pzg8cGnuT
4oDS03koVcfGZfk0STbP/Z2t4U9279drShoGSn5cDbFo4dr+egdCLepI085KR7ewnqYuby6JBCLQ
pokIUB1LX17ZzpB/LP3CZ8Nw8+KimQsKin5yUyU3QWO2GW9DUB2VBpShVmJce/tkI7j4lLcDLZo5
r42mZNXyEfu79WFlNVzTcUdKsG4L2xXaspxjprtWX0iLDAgzzxvrMIHkMUWfjBip7WC85z2oF6Qa
HqyabboonbeJc7Re1+FhN9N0yK2BwiK0tnrNTCif8ebLXzDxq9gQZYt1YTi8zTYfo/IR32R7PMwX
WPBR0K1tZL1KZx4vNvrN33QzWMm0NpI339PpyJY9iG+JXbDuDafMu56k85LEFFE+/GX9+rOf99f+
3U9W//3lYFgb4Dp69pl5D0tYqh3HnH0mNa4qT2OYl3B5FV+J20R5ScU7BvXBOGgkrA7tRyeK+Mjc
33usjMvuTIIzZZhNs2tc7jmxhN6BvrN4Vmh2d1xLXXVXMMDQaQB84SeRKarbeDvLSNVO/XIwYthu
57y/wIN0NMk4lFwkG9lMuhJhmBqx3Gw5yrTUb2aPX7KmMiXMvKFar1mlO2v+1Cz9Ph3ruo+SXhfy
thubHUVHUFdPE2PGKFlznDvZ5fHt0gvgAh9qIx3DM9ZGCGOdiMEbqiTKEdm50rUPrk3RUmunvbaK
Vt/Cq/jB0Wmc4cNurTYggZF0O81aJSX5cTjgN56CY+EH0jko3fvSCe4sHa1Zh5pVXnAYcxAN05vb
5RHzeoZfQx5+DrbW18eAs9nTGGH0k4WldY230IyYxB/uqjWsXgPVrDeE1TWPzh5Hv3OlOI803l/6
s2E5bSqEBox+f30SG2evAxsv73Qm2Zk8vNG+qRkVfFDosE+7cYMs8hv9td+l/RsS7p3N1c9lCyk1
rj7AHYjm3jP27TmQuzW4wWhn6HFKHtZXOg04efjOtY6W5hInc3XyfVztziEVTYxq0KGPwDBNeYd4
4FYxaIx+MxF5h5z8fFt4uBNqAqRnMyo9j6L+MhERq9evUbPRtzOle5BeuJyqQY9JTm2V7JXZwffd
IBXDONL/iWnSWUXzESx3SntiL5PAXezTPOZu5hSufWWVYZDKOi9uYP5pzjZnZ/Y4VqgEYB7+/kH+
qfN9dzXPcSxMA9Cq2q77boC1zV471jIWKdYX1U3QcWI85IL+40Vei6cuZxKTEr8bv9hNa010Hse7
ehh+yLbKHcTCchmS0MyYoRIk5vB3jD/vPBIRqmOwDsUBBWz5gQa8umrb3pGZMewwSd4ZdRiFmA9b
uesPbod7GCe34eDzPX5u/HBLRWzEwfSgZkk52MM1Oo7tmwNeg60s7fdrKI+7Kjd3ezBa9OeCsHx2
JiwyOCTG413Lc/1qyJqp0rIa1tt55yhD7369dkkCe/SbZv3QdiV3Lqcgj8Uq6cdCXFvBtmNAaOLo
Gnsir0qpEMqjjqr9AiHRck87e3txpkg+NXklXpB8OEAojlyWlPaR++jViDjC0V8vm30Lbuyp/Iiy
eXoLtybOxKaDLP+5byyb5Kz091fy3+3p+BmxHMMJnaufd0jCXHldDRsvOMmW+TPtIQ8So5uzsWuW
g55CnfpMFUj30sE1ChR1FDby5xqu5lTOc39sWvttm0R1lEp6ydh6ZTaS2U7QyjZlf/9efxqNvrvr
zjJlIBok4Ei73k1/dLFs7izP8tmlrT8r5UbXlkXTvfDEsauC4Mjd5J4AUMVhlkGBLFK9Kviaqzgy
1ckhS4f7DcHahOld2mENezkhBL7eBQEcuqiOImJ6o7bdRz4TW5nexfjISNs6xCSxvda0Sj9MbSDR
vMztBbzQ7xjhf12pwDPYGMkewTwLkvbdXNYqyzxqleEDitq57weAlL7fzWdnneIbBl8ITnq1smVl
bsPJEzVpECy8+dm3k2IOvtlsa7971t9xS6xTvKmYfCLWKATqAA2/rlNITvKOlCWB7NCr7r2wWw70
budUhMtlHYmGrgomSFP0EtjslHR11tnEx7+/9L8SAD/fw5kiASyDnzmP5n99D0ROTavCvyodBvOH
D2h3scSLOOKYvf9mWX5nl/zPl8IvjVPAOTcWNOPXl1r1VlkNUs8UbVhzv7Rh/IkPRv0dhtxD9Be/
lDsVdzrRBL3XTqe/9KFbfIIxx/YnXx2dLL5vXTsuXsrMjhrxte7ni3iHJ6I5AqeW7Js9JXvb7Keq
dxkO9YtbV6eWNfPWwXU5GfGgpte/xUOX1P341jXh1JzxQXWFopOmu+dWv2Hxf3oE/fJoEZ0HIuhA
7yFqCt5L5znEkalMjCS9RGvK0Hu3KWaB3Y2R0f5x3gj9MEVoHse+iS53POymRBvvrl88Ori6UPy4
X423CMAcP+si2hGqIZEgCbZzyLYp9ZOwhmt7Hvvnduy0TnA1R4e/tbh9KW+PPlE3+Ef6J8gtmDlR
bPsLnRMaguJQmcBjoFLiIi0GGnmyNHduuw/fzGhZ3+y4LV+LPoheGlNH10D94VczeVTVQ+z7N7Vy
AtpR/Rxc42hDFqGW9aXYJ9IB2y6ky+tEr62zNC/DKrqGedxHTmmLgGTR/ckTFa9k5wdfaqf85y39
/9sa//v8dP7ntsbl+P3c0fhrQ+P8C382NHwABLhfTOGhnCFwPFaCPzsawv4H5HiIKvosoUB9zG/9
2dLw/X9gE4kcERkrJSZL5/9pafjiH1jasLedpTNYW/JH/wWB8Cs4cz5K0lQ5GzGhKoI7fO+lLopQ
a036W6oc5xVLtP0YD71zqIChcKvnWfjLN/NvDkziTMX89bE8vx7vHBsZuAsCSt/teOiPdqKNeT3d
1QWa8nxv08EpnOMSO91xCpbpFOcCN0fXHzNaev4LfW56/jQ+LwfdbVeTWR9Xf6ivMLQUmTU7NV07
3f3ONen9+sz7RLbAJfPPtohoFH9dNGNwrL2rGpxJw/GLwviaTq+K03KjhPv7r+RfrwBOWKwGNhca
VOV9vKOYIYd2PINSGq/qZNY1ODlVBDVVRf2XcI3935W6/3IF+GjIsTk9nCNB3qNapdMwoHb6MSXr
wkk3NKgU2YxoXVlzljR0EUrXin5z3f/NhzwrEoHSQd8pA94flpjk6IaRVdq5oZVaTTskg67rbJw3
deH21o+//06d8230623GvYWynwcLxAcXuV8vH/PYgiyNGhvxvWO0pMt6+ShF7Z6NGTr9UlGwSIZt
wnpyw0HEGc79ASt85H8L7b6JaW4MFY3lbRTdIRikHx6kNcPU8hl2xLqVhxG3WNw/pOnsL6pkwp8w
BImeqhYY9uLvP8y/++64QaBOoU8c/Mt+/SxjqQT1J/PJFX+Im24c61Or1/2mLeqekZjzO5aONuu/
fnvQw5wYI7zWqNrOf/6Xg9zuB5OrmoHZAwrDq7yg75kwtp/vy9IeZFYLXZ762Z67RM9rcRm4jfuy
BH183ZMxh20SZ+7qg7cRqJ5Ue9XhtRF1A/4uVlBeWaStbAeOdlwWFXfbd7dV/ouaPatlHk4DQuq2
0MlaO55m0xrrq5pK1j2Mm+g+zaNDbLP0I7ky5Yki+AXP928ZSPX6EHaTczW4Y/FQ5fESJjqk9kg9
fBwBBRyRF0m09dXjOu/D3YAP0puKwAYwgWlgebEVKTnDbAj4p93vnIM7ddt+cPDpaFJ4LIdGiDep
TzGg13jof5r1ib5cjsqJORyQAoNb4F7lzOQ8FAM4vKz+J9a0oU+42dRLM+z6vp41gz8VluFFqGzv
AZNeUx0WU9gXOqTvfFOubfPa99PgJFFpq695M0YfvTEO96wFqc6M665W0ob55GXr7K8zB8nc/oPm
k/PqtcZq7pUDZ5DJTXNgNj1TsZR5nnaSNt9BmIq2LJnIBKPtpwusqExGgS3boVeVUAcxSNUn3WAk
MRmh83EE1NwSiCSzJT11X5liklVvB/gEjeFn40e3llMRBLEvtQyTvimi8mJeBtS/jNnKEQ+avNoY
FIXzR+MMLJ9yBfBK5qn0XrWBx08WNDiaaRmGP4dNL+OXFiJNp2XRaxb4lbRxucDxH/fQIwK4dISW
KbwTBiUdQFHCCLHy0lAZw3Gh2z3vqF2AlmM16ZmGXxQWzcEZXF9mFlRZmyqe50+mJMsui8h8bbNg
iOccm5/e5d89u/sc455gMvBr6xV+f5YJN7jBFwQbK5PGYe3ekHXGdIgB5Pp5HIwXMxmN1Zy4m21e
zbJzF41xtb6FA6OthMxidS+JuyaYIZ4GZvhQ+oU8ep7aP2yStv3BniTLbTWvzQl7WDWlKp/7JV2m
Xs9ZsBX5BafxLTjOldE6HXwVorYstbgH4y3KQ71MVczcT24FZ8TS3DKjq38s+6CK1AWO+dwEvrkH
6qAztiLSjNJqq4sPTkMcLIa/TmSORd63LZ1b1dwxlHU/0jOyaElEznApGf7VUMNM/drFxMsxDlZT
ZWYKg6/S9vfnevCYSxfjTAm8+V35LVxmsSeF0NMrHoO5ziTcwHR0R7dc0qD0SZO3MRt2Eg2ccTlz
7I55LpGGH8oqwg6kgAv4wVdOI3qaBh/h7GbEj62WpU3Pe7GmwzQ3W8zMELXDwa/dYCaZW1jXknF7
l+HdVgDRdDY6rlaWfpw4S8dTLjlj3QRQlTJZ6CvqzPKCtUnB+DyVzgUjmIzBNUP3zrdMceisxjeJ
nobta+XivEBEgyrvJyuamI7M2kxJqVvbYGPVBy8Okgd63nUzdlnXO+YQNkoxI1pU/G0WM282l6X1
3E319tCaIbRPC5MXmQJ4XAy2nT+en2fvFGydClJWpuXV8ob4M/4AdZkwiugRV2GAW+LfHWPUskE9
fI+jSe5sn7a5Vqvwi0RikOdBiCikesY4lFW6KPqnkobAkoCVExXr4st0UzeTv1E32U2QbMEYEPZg
WA2CtYN6G7XsPzrTjiq/Ihn5G25U05eJaqE/mUX702XOI52JwpY+mdAkXDIq2laEv5wIHwPYiwGg
rFvno1kqCENitxa60Ga1l0upVX5HHI/HcXJgcMYUQYIlBP55eYZrrE4yzN0pW5vC/eyY85Rqy+3p
5G/O/CXGK6K5dCeDxZcwlveyyd7BFKxuAfVbshIg4+SsbqdtxOqo23X9XYaS+KG4Gr7IZev/CCpH
m3OEnoMaSoSmyWA9lusVeHu7pkoGGo9UUx/soBudhCXZ/7b7sH0pULvzhRmyLIDCYjrLk3LnZOkK
/JOEJexbrImYHzPl1vVxCXztpuHmrdEPLqfpHpER+4KmXuBNeJR528ZNVTjfqryAcgJbGLPVb8OP
GkDuy06Qy55JSyCpWBuDjzqGod6UNpOM64Qcc/MSRUWds4MApe3dKF1Wa3xTLnLcluyktLelSfmv
+MKpeFxvhvosUhZD7v+xRHHVHPKNhyGpVZA7WTk40JwmWqld2qUtwsuo7UefTcyCzlntzbpUSw9X
RbTbDqkgerdnHGY5Ejf5vbupAnrIBw4QZcMbksAHS7jLHaCVkfnJ8fr6TtUMDzI1lo2VxFuef9yo
THW6dqpnYuC7zWc2LdC1wPjDYUA6iD3ckO9fA6BBeeAO3Z7aGbaUeQ9sZrIBMBXHPehJ5Fa97RXZ
PDUxzEQbcMqmg6bIraCfpbKtC8vLNtfBnoQ0mb5GYQ6GbAnIsyT3DMu6gBUG8xgc56YPpDNio3D+
CFSN4yflqV5mzB5r0ECZr30aWxsPZbFMUTLpfn9xg52Jk4tNdpt4W+j+aJe81akjh9qiwtxZTlHs
da90Ka0qBeSL/hAxjOHNbsLhyyJm1WIIsHmP3s5HSAjpqm6orcY1dfJF/BGq0P4eMLnNSEPeq8TW
S/6jWCKGlKSZzRj7tD3u17bDtfBcd/Dhsev8poxAJVxGawe0nv0XuG7/Lpdg3cleu+M9HJFza/Vr
NbLVNa9hYK33UWnJLvXLnMAbYIjpwAJTH8mwZ2OxXXkkMa+/PMe2JHGIpipV0MxTAoAyf++Hcn/1
wcOfrd4z106oSig0h/nogT6EfjWaEQ0jx3bO2hyt463ndp6+wPXLfDa7qLCbD137Ft7Joc1dRfPn
hSLpbWUKKy4lsMpz3nfYpGC7F5UpI4DtkHvNpG4UJjgvnp/35GyoTh8d7HX5DruaMUyxcEpI5oIc
h8yum/lqHABM0n6mOs+i88+kbLrbj3xuwdDBlwfBhFK1BINUi3ja+43pg2q3/bMC9O0ZVvrbh6pX
MenXeJEW6cwtxNB7WuPxcfVM1ydL3ofPygyszM7KaBZdlvR7mWpR6PhYoQDBzLnc87fZccdv2uj6
GUWAPSSNmB1grqrXH1sZx9UFHm/+Czdt+CwHM1yxzxVMpdtwPRPwUdtllIMqzjy7DEI6b32pstCA
gCa2Q7DdMa+Q2R+A7ws/QWVfMgluov5Saajdk1VZLiZwyE5erC1kQwxaa2AibO2YnDFRlDeOtN0R
U5Ha+YqAeZjpz2H2eijjtvqqolX7WTTiKZsq2tkci/EwuvY2e20OY9PEjzY8YXzhaQckGUZDP005
v5jGsTQfxe5XF7O9gGJjt9a+bgysHxHdxt+G1t6eRThte7ZUpb0mnV3WlF8D0mQOH3b+CpuzEF9h
n/tb2LQ5xUUZm+5Bl71dZk3Yxvhc2tK9w0aS4A5wu8pm5lWwvuMQYT6WXTD3ySo36rSpgn1KHAoB
aDY/tu7HqqBEC5TTXS59wZLkWlb9zattCr592oYHFP5OyHVylqthHDZMUuclqhMqgjI+MWE8l2mt
ydUZIYzirMPJ8b4CQm+oDsLhG1ltoKg9JEOZ5qXeQYGLRVxGRQBT3jf6tNaRc/DYSWDSxBZc9NMs
uDLzvNyvG0B3ki9wyEm/ahIjbUdvd1ZgGLKQpxtbD9ANsBT5Lk3LTrKL7wTy0XmS1hiixnCCiYmO
oq+wtjmGhKVnap35ppfmoq9JzNUe+NMhaBqaMeGs5lfo1c1NbayXSsI6a/VdIfzPFm8WilyNeu+y
KCTD6tC3ogyOwTLLMCu6nC6OX3fMiCen7riXxrx/WyiGcnj6mkl07LIyw3AIM2KsJ8NbXKZr9xhi
Hcg6QEWYjKG9kp0jxhUD0b1xKyzLbPsB48PNB+RXvZvu0UyLpwEg8DKj1HQbuts+p0XMtDqpNYy3
y35PVc5PJzl625yMOmKxg4LWMsceX3RUwy2XcB33keh1YPFMjm5eJv6CoXOyBMv6XEWtuYnGvnZh
7/CIqhmv18nCQflSdbSTeQAH7xFymQEMXaPPi7AVJwQeTZfqXq1fcsdpUYhEtjruinqQ9srgHLWv
MA9pJVv1YUCA8ZCHFpjMhKHp8xYEYHxrH4keO6R5zxmIGE5AUCkxihHqAkjRalkfva1jZdtLT9wX
8DTfJzFR1qtcVrTX2/ZH7E7ICwieWD9Ueh9eiZqkGSxxtpcnPuY0pj2gdvsw69Z9mUfwzjTypGcl
OMWjQChH1H0YLGuenKK35/og2XNl1rmVzVBSD/tnPY3eeu2MK906Xa3uB9F0PlZHbsVK3ISWutgZ
TrK9c9sHCbHeXs68rYZIQBLRHk00OuhF171CQA9G+cnaSMLNuPjirhkFsgZ/If66mXW1Z4Ot/SsY
r8BLnWqRfPAuljexLnqRSeAlqsqIBZmGet89M34Noqyd1voPjHfi2xWngptp6AG7lRoRGvXV0Lya
cFwfTJFb35EgVGWyWX5+tkCvTZialgyJpKdyvd2L85pi8oq5K3XS+aBSR16DAe0QnRwV6tc47Bp9
YW9deTm5ev0WI5fZTjhAzUGGjqKEZxwELYXY9Yuv3uzaXLAe/DCgOoLFUlEzpUsjTH0I850vVAkr
5KisbCxA66lTKe+pcI/siDH+l7ZrVceJGMwL6am8p2D26redp9hH7TO3N41V8G1LuZQfHG/xflTj
5n0H5h6vcVcKlwuKN05wK4nSn5w99D86XcF6EeRtnqdQI9XdRrEQp1y45n/YO69euY2sXf+Xc/3x
A3O4bZId9t4KVnC6ISxbYs6Zv/48tTUHI7KJJuTrY8wYnhGM6ipWrVq11hta5B+K6NZ0oHFPZmLq
3+q0TehSWN0U/jEXhj55Nqg43RvaBnpSAyDv1JThAhheyUkdpzSZb/TzUqFiasr0P5K6mtwybpPs
ws2aZV6HKmAJFNuObT+1Gul5oqvErMIoIfbEA+9kyea6JIWr/u5U6LceLJfxbaqly59T13UvbTxL
f9ZwWv6k9WnZrj6hLu1GM/KlTyEtVLICbs7OlcaqqZ/SpAcywoux+qspusAS539W3aorEWrpMUK2
cToo5I9FnFizj0w/sraCwPNPN9k6AGRHPJNLLQo+ZG2L2mymZIAZUkjXn41u1H9vOcTTLe9q/Sss
uuVDjedD6DqZHiW8pkKzYvMpQJhKI7Cpv9S8QE4ZZZnnlCDM/w3u5jNO0blziXVdKT2tRBGZ10Tf
pkBzGcwddRQVbqM22C8IOsWs+BBFN2DHpgL/LapJSVF9/2KZSd6c1FJvi5tlWLDzrKpJntoU0DzR
Fy2EU1ECp6O8MMmWh5aYAhRppOR2apOku/SZY+Zun5h97jW5XL+lfhxJFDzz2bjU3QKAEJPVd3Ws
1a0rp1WEe2EG0Pac11Ro3AId+H/imUQToRjDFLLRci8MZsCum2Ga/o7aEi/TeOwc7UZ7lepfUKKt
7ct9ldZPUdKSSp70hvflyWgV4IEzl83o8ac28rtJaXyJlWbgJupmicuw6JPfVEh7Dq0KvbE8Mw/g
NIXhLJVsSehVF4VC37dxTuwXnPR4dXKs8y9ccdMLCiJm5ImSJH4i8mjQOq8TlG0V/uaH2JEUnt6V
Ob31RgksNzb14H0NxpjnQYLJ1RP1k+SZB8UMmLjnQQkgBTrjixSD+nFnWEZg5kHOdS4sw5j0fhoc
Jf04MbfiPPaS7iqD1Z6aTjN5HGko/LqhNkSjb87q8IX7t0eX3VKjNxPYF+OWl4lV3JIyM8iALBBP
fhSKTZmYWfguK5Pp9/8xcuhURYfxXE0V8X011MuH0Q67t/9TBOm8QD+gEJ4VaubBqrGuTUaN5Py4
SH3f16FYTB9blIvh05ubIrVZN22wjGVNL0HSKRb0xYsE7N5rE+gidS4FH4ME8PXjQe86+Qxna9Do
UV8S8F5LlM5/KFQPZox4fh/DpEESvDyhdpy4I/jGS4Pisi9LWXBT1Do+Z5SCPSgFKkRJI+D9YugH
DY77fpGgvuuyLCO1CyBwC3SA31hqoVG5y9SD9q175TLH9vTRlLvlQN5R9C42vQ1K2+CshNSIcH1e
TxrUoyk1OnFOp5r3DNS2PNVRX90er+3uKA7NQdQDaExtDd1bOsQKxL/K1UJl8UH9Sh9xzGsOml/3
o5CIgtJRBHmfx/9m21A7pArbkOP09VKeERICBSiaDupPfx6E+cSKoTCFPp+xaTsWURZo6EqU8Csc
5VqLiZQh9Ky8m+ODoXZOAimLZhgUyBBsfEXJ/bAn5zSg6lHTeqpkM3xCr2N0gbklz4qVU09dOsfv
rcY6QD3tdWyEHDDaBzSFna2Klpbj7aJwGVDh5hHXDyToY1Kj0W8UX2p0ksD/kKoFqZX5j7fJ3hFk
UQExacgeImC3+YIyNBbKionIWtRROYXZiPu0aVfGs1LJ2os0qZTIzAT4R9X0zyVNGdmtF7vyFgmT
8IMfs7cMwHHh0wPutdVt48poc9o1DcsgWylaFO2UeepATW2clq94vWFyKmmt24JaPi1SN9zA3WZX
R28nN43EA26Iq3MVVipKf1b9ni6legtChe4H0LyDgHkfMKCSA98UbViO8dYGyiBptuTIofjCm+VZ
KgPrhl+07Dd1e6RSvXPILFkI1yAoxX818ec/7EhHyQC75STp3IbaCQhlcqWOWBwtvoCer+ISQAaE
qFETRjgBiMImLhkG4jNZwzBALCc/qagOc6PaX6ZBU/y0xPPOSANgvZGx+EZWknJUJXUXNTAPAuTd
CQTTpSq4NhKQbRR7Noc9tMBC9kaOBT0WPyd7EGexKIznbMKAvY0nBAlCmBuP997d1mNQTcVKhr/Q
NTU2sENrJDmJRSQrxANWI4c8BTViT4heAZxWzfAyyJ3tZTGNjccj3x9BhjagzeDrInTDthoSypxr
hhQz3wi9zpOsBGCKMMHlBZyrL40Ugr5DHfUtsHT1GXo0SXxi0QwN4IA9/iV7C88ek8FLEPfgl643
mgKWDDtcKntpHreuFJcvOYYkp6ilaxdSsnhaZLu5Ph7zft0BeJlk+iAokGLZ4rxMHttaUVOZI8BV
l3lQa3fpZOOpSELHDayy5VmtwcMdwuLgi++sOxqdAjMDAhxd/a0mEi55dB4js3RLE7KxkzfVMwUc
nttFGP86oe/gzWmGsL6URn5sNo0fgjL26GGHl8drcBdLuNwAogEKAk8ExGhz8qbETvMmt0u+c4Nu
IjJcvKVJ05PRPpJXvoslDIW8rMwohFiUltefOBtrwTMn4U+xObnWWQaWTJPng1vlfhR2EcdJBxgr
7rPNhGYlivR+GgvyWbmBQ5zHHyapNg+26/2yAVMXBquowwDA2mKfOmWc7HBpCzCYvCOHKE8vkQ6F
Xh7o/z/+Qvcnw3zVxEckD3E/YFvrZUModIh6pFOQi4jk3odBKZ07HDL8PDEpkS1IsbpZ2KYHTIH7
w0H6RqaIFiTUtTs3hLhusGBRBxT1LSk9z4akPU9ZUEBwGueXtlNlKL49rp7dUTTc+YAMLISxkV0G
07TZJko2ypDielDg6jQhtzJFCDHJ6fXxqu6NAnOL3BFiH9SnTaA3gqmtzArfAD1XbexVLSQ4pOqA
47M7iIXMsTBQhfChrT/d0JMxyn1GeU5L9euo1GBol9I+2CAb3wSAeMBUhRyRkKhHxXmbwfXa1Ax5
gVggaAn9rTYOdBNJnV8oIEmnlj73SXEa+Wy2evRLL6uJu7R9WlPOhhkVJQl6NYYaP9vtJH0ujcH+
6/FK3wG5xc/DJUFF5wo6PCKG61VQhylWAyp9bpUb3+Q4rP/oq/qDOS7ls+ZQZ8gw2XJRjaXGb41W
/wbGXeErVj++RZgGpyB9oieoJONvj3/X3gYHyg0RycLZDMeP9c9qHJC8NJJLNMWU/ByWMS0b2Hue
k5vp01IPX8OsyM/K7PzzeNyd0IEar0h5iW7iQbEel/IaIp4KmyI1KawMgU1lJBCaDXJ+FKU20pKv
O4OxBNTTQM0fSMh6LFqXyNGiy+rWmFz5Q5XJXp7Nmp9nwKK6GVL3EMaYeLaF9RZPaogyziIdZKuv
QP11coeRoiHQzkAHeXVvAhgKq9SROnre6DIFLqhL1c9IPE6WjPZBxme/IcHhPNGwmP6qpE79U3Om
b6gSKCQg9ENqVYrepXZb+FFdW+/BnCIPoua1+TGaadCEVSMpoBkqRH3qOTEo0MeyTWtGPgKg7mwY
wP8q9CkbLWVcZteLSadwliul52aByPvVCGP7Q0BhyDc6o/iwYIjymwJ64M2kUbl7vGXEZ9qsoGEp
4qkLANLANWA9cqTLXSXTKnBzRv4y2oF8wXlD/UAaIX+okTY/OBo7cQubTewYhFAZr7NNcIRLRHyP
1ByVkVr5QJbdv5sLuCKPZ7VzEIR7uMZ7V5jZbuMCN0ycKLjQuAUf9qNcaDURK4zf2WmlHED6FRFp
NyvIfYI8NapseL9vfS6nztCJME3uNsjeuBCTMypsc/+sALN3oy4EjTLKCu1qmbMSq9WlGfNflTh4
4Q0ePKtD/dMrbCmEHJ69ryUFfXMzVBmKbf2QQyyQlOSit6SZFeDFg6N3v2/IGYBiUh0hDNzZtzoq
wl4aZ8jFaiz+DS604cH+Gq8YUUtvS9SWTj/7RRkPqXYCDbQUlBfW+1SXUplsk/F0tYD0pdNhp8cc
nKMSouq/GEqQ0xkRO5wtSjem2ZfVU5W5UGKbmyHyowWx6puBBsjBUPengTHg7eucQDTft/q8TgpW
w8rYMUMWl2cjRzwpGpQjvtPut4JqzzYlyQPUs147W4nkdBqZUAB0hs9kNM8YH9luh+7ZKYAOfZAA
3Z8+Mav/jreJZhbmPbHd1Myq6ZePNeZ3J9DkUNem/KiIsDeUxl3HRasZEDw34aRx2mCUFKZGrLZP
um7BJ8K691nqQ/3gYbU3FBcdguuk/7QdxSr/UK8IVTSFMfLMAAN1+g0BPgzwkI96W8rdkTvIq+76
OqaAgadehs05DRP9jkprFGCiOtByBXLqX2qz5J2uJ/b7CtH45FyWjen2ud5/TtUFAFfbzGdRzHpv
RnWAAk+F73xRBzgLAzCn699VtQebQjk4kvebV/xINpUCLNtBt369IHJH3lj1BFlzSitvQtb9HNI8
PQg098uO6AaMByjFJNUw5Naj0I6mdDSgz6qCMLwgd5fd6tpcPD016oOh7p9DsF1e5YSFIzT9gvVQ
ZdybGfSDDOTRUqQeYAHr18kGWDMr3YRaQGYpyB/Z81EWe38+bQpTTBH5EF7szmZcHESWWSeZdod5
NPExDUOU/iyluw5K8MzClx/4+O0TW315qw768DynFnYLURv6wsEN3q81xJ8nJX0vAxv4pNToZP1s
SKQUY5JryUKBStmuDLLZUwVfFhifavcfJTks3yDACPAulI4KdveLgfAplxecEwIwr+z1R6jzFDvl
KU5xgnWcP1U1tU8DkKzJa7q5fI9MwOw9ntv9NsZomYKngW4F5Mdtso7NZJXXFaWSstbbz0hqzB/s
BuLyQagXv3t9pEnsNPxbZItNpmy5JpURGKWNJImr0Uh8WqYccDa2mFzTNGQECht8zDDipCnRfzw5
SHYefMOdedJrIFNGVETmASz+/If4lUKzddScVhRptAMDr098zIHDj49X8/64ovNOlZu8y0DRcts6
IUY2oO26hIauNnzo5uEXKrP570bGVfN4pL35CO94Bd4Ol/TWIW6uQykepQEgo+wgClXlwxcLMcZP
j0fZeQFTuaKASv2Qmo+6JW4vOFj1StZDzZaa3k/UDlxA2iEEYeFh7MWpE/q4WMyI7SFlMmVz70/m
+HdntPalArt7BvwFED6ZO1ehzv0vNhXbSjzAUAbm8bD+psA0A5IueONSHLXvWvDALjTz0lvaCeAI
p5mnOHpa58qEWdtTqj0Y/+4bCDl0zitEIBi8d3GB4NgEODwJNbkh/RxJTvrGaoMjUfT7Zz6pNfkR
VQhRSSbhXE8zlcas5ULGoxuM3kxhKIouyRiAQIez257MNLWvTmIDAVUAX/t5tPylK9FwScGZ+1Lc
d36DLcbnCHSB97o9/j+79P/Qq/jhpAjx7JW89cfx6z9fV2rYr//Cd3qpqv8vnwMt+VcbDt5gBPnv
7FLIpYhoEf2Q66dgownfpf+nl+X8rywoh8RgEmFxG/6XXArvlDIUbSnY06QBkMV/gly6fmwLjj23
C515HBBJGznW693UCydqZ3R0F4WS2e+q3volSy3kMqNFveaAK76pSWn6rWyA+vhhjd5/D/c/KvOs
o+P3ofGeVyjD8CqlF7QeWs3D2mnTynAttGnhCenVm3hohZa2Uhz0sPeHMkTpncVkQddDyaoeKepS
GK496rWXp9PixjWJoDRIR1406yjwfVY8lzAa4eWJa8Hmylbwc4VLz6yUONKfxh4mh17r80H/bO+z
0cdCHtRAHgELhvWE+jwMk6AqDbdCRumKBmNwHqiaPPV9Ud8CFT3J09Q2GtzDZDpKddeZ4X9mKF5O
eHtQBN32KnvY7VmS1ADHpa4tELxsilsu43sz5JrkliOwxWBEWfnnd8trYoIfs4qEzWa3ONlYjY3J
qMB1ZjeUsbCv+7i4Vk3a3h4Ptc5OXidIBgpQBsgKx/NVEuSH5ICnNBpNPD+Bys8RwN1eEzbgkfWL
CZ6Ruy0ePBgxge8gQvomqFrNfzz+zhZi44h4wCMfIMTm4xZxlCh2xscdpiZ5VkunM10+ZmccjLPO
Lr/PE3ML2O3ks2BiNuMMaH07YZIYrrZky63qNBlgn9m+VLC/vaaM7J96Cv9nPPyoOIQUhyiVrjct
1LE0wC1PJ0lRtKsZAv6cZ3MGpQeB4vES7hx4oAWkAkB+hASWth4qI3nXEBEx3Gms/wY+bV1CMJ2/
REDnD0ba2ywi54AY/tri3ezLYEgcOAExizjbFZriCRxMMw+VN7Yjt5+A2E0weIwq+lVOA+WlHg7L
pTvHUcU7DAwQ7VUkBDdf0ZIKJYHxY0D8UaVPTtBDQrOi+Yb+/fS5H1rbI+nKDj7lTvxhh2Imgkkh
pkJbh8JymiswxsLTNAaTXIeQKXL6/OdwGqWntJJ6RKIc41z1cfPt57+scBdTQApxp241vfIhnuDj
2ICOCxReIWgYF+RbYT7UqOc8Hmp3kihNoTal45+03a9KC6qfG1B3O9MpkWlekttkTsqXqh3MN8KS
4f3AuwwCUqXD1ng89s4GJvpoIHBFM8d+VYz5IQbFsZ6EcmXoFG2T7IoSCG5hipP6sVJGB99y0yR/
PZeg4V6xXXSLAemtD0uLI2OqUFF0w8aOPKfOUCIvlv7MVbqc5DlDkztWL2NLK0DLSwhlifWPJEfl
QdjddFH+8ztYZ5VHBtSyrQ8ODe1hQO8ZsQNtYjsH0efBAj0aR/AXlqqWvSQyeCI6yZ/JmCNp38tf
Hy/6TkAEGMIPQQgJ5sdWdajriwXepK6jfNHV3iQZ6bOW9tHZ1KfiDD8r+vk7DQc2neaoSBB5ua0X
vgLVjfTiyAYrp/osxxUq2vQ7ALgeqjvshCncBDivgD9Fwif22w/7CTuDRjaCXHcRgoRsZWHhcEKT
f/xojtR1Efs0r7U1VF+tasze0eY8krTY2c+AfXitAEBF7WHbXQf0IbcwdtljBkUypATM60yUciV5
ri+Pv+LOVAFfkhfzEtbYt+LPf5hqVXVDIUsRpHOuoHezrsWeFQw4dkDawGxXV12EvvCZ06EKCn8g
//HwO7f3j8NvDQKrBtRcOUsaV7bYsqGM+jmd14PYtN6qr5k6PSqUOug78L+24ieyOQODn7XKRzI2
Pmkq7sl4xWhe6SAdFKRmeiBRtTuexpcjr+W6kbdbNUO5Afx55UO+bT2nganbVKjsorP0lxPhovJ4
Edff8HV6iH/RUUFemH7KnaOjGgZyYvFWlSuYsth9QCpd1L+gsgfndpCVZ6qtpQcNK/Qi8uyDiLi+
Uv8zOrebQpmPh9YWHyrhvNPGmY78qaF0RCO8VlLVbJ9QOm18jHYUv4FE/P7xlPcGFY9Edi6WcnRw
19tW6UPYNkrS+KOS5LesGDNfhovnO/KSfrPsJP0Fy4rx4LOur7jXmTryKyoLWCANu02eFKCmbWMi
0/hSbcDSikv06qsZ/j/+3/Gps0qqcaHaY2lZaQeLvLOjaPKgqYP0EkXtLRC0h/A059MAObyDaN9J
UgghyHFcGbKXr9aLfHu8vntTRdpG5INMGAjHen2tqEsSFda6D1QEo4M4tJ4sA9R9NZnmS1ZmNXaM
NPE+VCmCoY+H3p0qEFzeawKCvrVTzyIJPZCITztbY/JsFTjTRF03/drzI3xkLI+W9hVV89/66vfP
SmOGAAcg5B6cJQNLKYpQb/yq0pxzkZuGj6b1AvbXWKrPpWXWNpJOlhzjQeNEX6PCdt4nATe6BlQY
A4XROkoYN0nG959EVeRVsYZqqLO5gFJpymKQ1o1v4bTA+bLPDsJWXpgYnds5KvynRjVfklDTfBuW
NdF61M7Q3/qDyLK+iL7/DgpotE65H0T2utkGcU4HJdNbf+p1BPVoN2B2ENqeYpbxweESO2r7Fagu
U9kB9k1SsYmZklPIESoLnQ9z33mjj2p5wTmq+/3nNxfdPsrplInEM2Q9IYWbLpph1yMYqeRoyDoZ
kpSz8lnucVSa5CL5udT0+wpSxgKlrGKHRhVgPWAXRMjjyHXno+lbnPtFntC61Eb4T0l0+fm5AYjm
L/y0ARVsrvJaw2Qg6flYNKFrv5Kt4roUndBB7R0vnLujptfe5gBmiA8g0xPi9uup0TsUOjNm69fN
MJ57y+iulelUbqAGRxaae+GIrI82El0k/r6JvPqEnkkbRWillKbqtcZSfCpbO32X6SFqteTrrqCJ
R2hmo+r8eFU3+qvfvyB6++A3Vf6DD8x6mkuF0NxsIoNv56Z9a51F98GO9fC5hu6MN1D/CZWl4O+Z
Ovo1yhZHviIkmZ6lrrSACgdZ8K6DhurmU2jZz7QJ8/KkS1Fw0xU4rGZmzfbBSdpJB3iEYTgKjBhz
9S0KIVDbABGnvvVHKvpvEIp+majFv3eKIno3hVP/To4l7a+4nYuzhivJ9WC9xI5eH2ShT4ZTMXgy
8tfttsiMZKaQGRC7oE4hsN8H+MvUCe5TsVTC8YuWVhVCea3zFygpKKZ93+HXQ5P64mRF8xlxdO3X
x7/pfkW4PHl3i4yedOE13P6Q5OpVVQ/Y/FQ+LZXubEW9fYoSq3tCukH9s5ZnjXZ4Zv+SN+38y1zF
5h+Ph7/fveLupgkq1A+R39s8GQe90kanbCl4GBa6mXXquKyQdlHbXnqqy9K+LlkbnpS5Kc6PR968
EsXmxdCA6E1rmC4lGdpm81JHsfReYmjHMq+V0S4XLixZu9TQQr5ZGLrcWtjHWP8EeP9qGLe8U2J5
/Pz4Z9xHClAPMnFdo1Ek+jDrX4EQjrKUhRBUlyrL0zMVCvWEdKc1l/Pt3wxFCAVFIjrym6DEKUZu
TGi3p4vefQGrh61TiwzQidNoHhy0ve8KjJG0m4YAIMJNkjSmqaEl2oC8NVoGwgVixIhF60xEAwJ7
+XvJF2Qt6smayNCc5igw7W1qrksB9AbFeseSmJK8nVMnqnx0vtXnwIxsN5ZDHHE0MHmpGkhXXrF4
JtlS9KwXysvjdRYbZ3PKaaCSA/NRxWW6yQxglqLbpWaVn/R28TasBnzIFtwxnhdDLq8oxP58Wggh
wKSZw0oz3PahOoBqgTkp4eRjNohm1BIA83YyFLezpuU5DhX6lo+nKHblZopkPjKdaCIpyILN5w20
ykJx28n9geKS13Nhv5mT3KJO1wbPSUUBeHDS9F+cWNAEXHM02wVZYHPdDGWV2OqAEqLVdcEFeqcA
b2KRDdGv+UUyeusJK8pM8cZwaL2k7NK3NDXHfx5PfefActPZKL1SXFKAd64PbGurBdoEHe6C+qB8
QacI7zhrys+q0TSfHw+1s5G4n+kA0VsTmPfNKi+yIrZpU/tD2odfWxXzyQImz0nr5AZ9q2Q5shzZ
i4kix+RdI2o8aCpvJpeh6TLj7upTAx4MT6q7IKfsiz6PIQWwJZCA/rMmllZ+TA3o0hpm0MGwCg65
hjurjJIzfBtRGEbAeXOG+JMBWba49ondzoStQUMPbNIVTwtqaouP13lnNzNVg10l+AVcRetZL7Y2
1GU/oO0yd8Yb5IK094s5GtfUcX4h+If+gA/99fGY4tttThD8VJomNN+po1mbuG8YKFRhvFb7YVor
78fBCDwid/7341F2wjBlHcagwC1T497MDNUaKTZmFLd6p4Gv3mnpU5DC11os0jFXG/mzUzL1sKkW
O0r+xfYl/SVC0H1C4ngzxUIzm8iYLPJtLWhf8gpRwCEagskt9Em5mFGJ1Njj6e58SLII0cmk1s4O
3k63Q54AoZfKR70G7TchsGFH1vhHVgX/yO0Qw+ofpCO+z85W5Wg69H6pNwPbF0nfDxlUBulUzmfK
f5WFh2+eOvbbblyKD6gl2r8/nt9OQGB3orqBxhCthG2xTqtapZKQ0qA9hI5QVadgNYJcelZiyF+h
WR7R3nbuUR1UpgGhiGwJcPl6anwrK0F5FZurBE/HBK3X9zxGZ3QStMj0OrMcXxqlKbloumDyl3k+
8rXa/wEA+GhRi30kFuSHtQV4F3GR8QNQyyn+xBuqf1Fr3jE2RtwvFUapJ+wzwlNfWOXvSaP+9vPL
DdOE4gdNVBKVzehJD0l3RO3SJ8OAvRpgOHhq8YByh0Gdngj4+eXxgPf1FhBkPIep3aFlTLtxE3+t
HN6jYeCcYaPVdY1TZIjDaVI8WZo+FUmh3aCWTS6OHRKu3Xny69xLsZtMTuXVkj0cgPDvQhQ/hp6u
RZVWB1qyLUDL6Vj3jt45XlyP3Ztmwop0tgP9/HjOe6PwTCQMYlvAi3mzxwIHQal0RNQHz9wFNddk
OdVDc9SbujukIJ24R+mV0jjQ5O19UjJHdQlVFbnQKHfzuclvSoPsZxlp4fXxhO6HwnyOCgoXCZgb
CF7rPVvBSUa2SFa9xgmLP0ZOxmd7bhF3qdFD/emhXhHNr5m2YGSvh3KmvKPkNqteHYRCckygsjB+
DgsMGUvssP3Hw92FHwr2tH1Ez9QE9bhF7RmNbSOoq2teM5tfJIzCfWOcq3ODmzD2rKN0sJB3h5+R
6J6J1zolFCLQenZKOofaYk0w9IMIjUZYLm8hv3XvkHEZ3shli/l57eQRilXRch2aBjGSx/O9rzWK
ufIZkbBHFp7W7foXWKBYkZDrVQ/NTTQfQyXAutQKJv23aLBBL+Z6o/2G951OJwxtHMzQ62QmKZ6U
PDppaYNL7uNfJC6wVdYgfhBPKqHVTfFze9eMFVqJSpbjQtpK+p92hf1Q04X1e2y2P8wYZX8ERdJ9
jSblCJO48+lJRYU6iAmfCbDteiXy1mylrqYPhRTh/DRmWF7Vctg9J6YmnZOlNQ9iz97SU5WgNEHf
5NWpaT2g0y9aP/VA0imjUTBpFNAybr40nN5M6IbBk6x4Xk7BqA7eTI+nPdFGyiQU1ILm2yCrVPce
r/3OueYXgQTBaAiCr7451zMSjrhu5Oh0zVDgyhp9JRStAf1y3A6Gus/DBZyGa57PLGjR2++sqoXS
hLI9exrdOT+xowFjqBSM+qAX5xx50dMgDYW/LOPsxahCu8GMYPTj+e58crJTvMccgc6iqbP+AoMk
F9ZQaLPXW0p9KwMFgY0Aa/Kq5mE9Ilh5EF12jjuVRFr2uIlBStiiiGKcimMzNWRP03GatoyofqNI
tfTU2oX0VWk1DWdhTM1+ASgyje5CaqsfLPvOjAEtiHSHijTluU0pNQliqqkLm5yaWPqkyp2KI167
fEZMaPk6lk55JOewc5yhDlGRxq8Hpv32VI25ms4OPr5eKiHE/YQUXPSk5VKKW6Bp1I1LI8iu0fLK
EYfu9aA/qsDvLDlPDzgxglTNlMXv+yG9ihJDsCIj2ZPsJTnL2dItiDpm5qUy+8o4BYbVfMwqNbjU
6rC42Rz9i7tSQI9ZcMEovFsAPUsakIkNqi1jr56SXknR0Awn39ai0Xu8nXdyK2gIFIPAjJFOIky2
nizG4VnqVLZQ08c/3UurRfNH9v6LHeEeHiap9UdbaI1no9F+TTN03cixFOMtOtONNxpd9FOEfeqP
pAhsNOonVBH4x03pc6bMpwy08DxDD6s3YWxOVzJaoeizZE9F0eKRGDXDhdr00VLcp1xUpij3cpdA
NrwjQqUoGRqTMxkeYqPx1cqM4UniSB5gZe9PEymQgB2L3YXjmbpe73imtV3FuoHjuK5+tMNavSTY
rHmJVutemhJADo7vfYBmOFJWReBukCbb3NZS1IJ21kITS9A094pgWnxNa+MTX7o6P95Mu0MJ7SGg
KCaI/81dMGa9LdlZYXpcxoprI/R/mtsImc3JOgqLu8tI9kFAghdAXrlexgUzbUmJYIIiVfoy9Ul4
jvHgQL4QGYkqTuKDKHwfklhEFBbwHDLRJt5SQmVVQqgVUU9uubr6BCA4O3N0K7dD+OlDtWCQjZJy
cCmxTfzp+4aRLWpdHE1om1v84UI3tdCGkTWNca4dKg0t8BFDzaJrsyv9kqNuzO7C0o9BxUijXrtt
pit2GcwhdTDPobV5tcwx/+SEBu86VDNuZlw1/zzeM/fBlsKaOOygenC83prxJHkYZ0rKeKPJAmJ7
GZ+i2WhexiXXz6GTmigMVqZrN0566xTj6J21N10an5S5iPfUSDbHEa5ZrmEGz4etZucaBIZ2AdKE
cUTn6DCnwqP+uDgC61RVp8UG6QyVUk7JtgNQzWOqh0NjemmAuVpGD/uj1JoauWMXeFrbWecQ07mD
ELA7KE85eA7YyVOyWB8WbXGoCuPT4Akd5ScnFDL2CclTZc/BdZYGTJeqTj0IBnsfFra/AGXw8kML
Yj2oMiWaU48Fxot2gNdSr8TNuQWToqM8P5jfUhmneldW4hRwTFzIKF9igPx4b+19XGEULZAhmI9t
+9tdNI9LF2FfJwed8VRO2uAvihR4lQSVte+7o5fR3njUoXiVcY1QDN/cXfj4ZXijxlSIVW3+W84T
5Qzas/xDAVmvoaJbpl8eT3An4FL2AicgagTC8nO9xmkmV2Xea5o3torGxTjHZ4OU1w+t/u/HI+1M
jVKBRr2dso9gka9HSro0z5RysbwKmHXSFn+hwBz7mDjmLip7R937ndHAXIO4JisBtPWqg/BDBlam
mTQtMSKtcq9Rx9IoSVi9pnjYKTRe20XDQdJxPx4RCIoMOH2Y0Nwo69k1iEjnJrrF/jQr2dnigkZE
U5LcPEHxfwqG4SAJeMWDrsMAlF+aYDTcKSFCKF8PWGWDvWgyj4WmmNW/UQC2/7aXNsccZZDfyoum
/5ljp/g+ipLwFld9nV4Cy8H9GUHYF1oRMo2GAuKuHdi/kcDy3n38tcXX3P48XjdQ/VQScb7E+uc5
mkRPvIgCz1Qz88rJrKBEZ+Pt8Sh7qy6Ufoj9XOTk++tR2hJJnSiZAy9OxvJStWV8s3LrE/ac7a2T
uoMdfB8EaclxwSBMh208bZT1aBq9PzLHNvBwMcCJC2i56wSldpLDYjrjb5Zj3l0c4UjvDyglIfIG
vjIXHKdnPSjS620SmUvo63Imu8qS4++RhjomQujvPl7NnfnpZM2kKCDhRKFtPVQ5OItiV7iGYCIy
PXWhZZ10sy79BRuzUzrKmOKWmN4+HnRnfsj/KIQfyBECELweNJmiia6bGQOzM8C2yDmK9IgffcyF
TvXPD0VvEQkA1hKQyGaoOrdDrLDViIK6on2rArMuTiZcAY6CPqWXx4PtHVC0S7k1IOKKf9icAF5+
5jiORYyn2lR+rcyheTeOS4/OBD2qi5xrFRe1PkfuZKvN3xjBlX5bhCX2S6WQe++4apwR1YQ5xEus
Bl9zkJC+ZpybI4raIc18cUplSp3rlS+zTAvCSYr8aZixtG4ULX6K1Qov7NhARx0Ve7Smp1x9v4wY
zwfNGL9BySS+1HWrvqm1cn7nJPCJNQlM6iQ3aDglRdO/Q6Wo+ENFJk09kTXQy6xxpDpYW/GlNj9d
NL8gQ1BKpwG2OYkov5WIVXeR38vFx7KSs5tSp5GgSUEptoAARXnbXdK+Uk+jlXYXzBIlyAm9/RYF
59AHM1IdrOZdJCLWwSWkFyh4+Rg1rxdTYMSKMcIHMhmt6BZiBDWcRrwj3qdOq30w5OBILHpvQI4L
FwCNK1HYWQ8YdAUGMhNC2JTg9auK9/tT1aNGaWUFLp9DdLSf784pXDeGAZ9L8cwk3q7Hs+qlxy8G
GpUej+O5hq4CPAE8woL70UEcunsqiYafGAU6AkozW31Ekl4pGQyw68NYG82ppUr0TVFgFlIY7enZ
p/LVyaURnzCnPRh6Z5Y4zfKK4MErmOKbECjxGGvzCuOxSeptH5pW5mn0rRGJ7/sPjzfxXXbLCJw/
yoDofQvxnvWCal3SUIqCcGGiee9LQW1RoUDbtcotNNDssfWyfC4/RDijeXaYHwHL7wvBjI/EAEcI
xgB9os0GihgR3BDWf3gqkGIHsnD7a4fkWiGDL2OzktaxxzkK2nOsjMonpx3nN6lV1Vfss0b38WKI
wVYHWvwYQD1QKils0NZeL0YFCkKxQtgvoepgj4O7mFe0Rfvzh1SodNgInguG2pazhdHIoCJninh8
Hw7n3ikwSgC0eLKrwfHSUjt6Gu7OireaKtii4j28nhVOXao1AWN2NToKt7EIi5e+xl7s8drdXdti
7Xg0CJAbEXGbeipjDkxkbHWXmBv8o5UkXVpsFl9SmiYSZl6q/n4GcXRAcN6JP8BveeFTWYCjvtVL
TUj+FGHb5cZKZ/6O5Xk+nQyzks+LXiuJ32nNUW1of0QOC7U9itlbmF2j1gNOtfB26mHBbg1zNF8O
6+yUawsI9SToDtb1/usho0HFBKgMZROq9euvl6tWuqgF46m9ipEzig032o3G+We/HqPQDAepIrQ+
t0Qa3QnCiPI0ZKglTN+hiZj4WuPMb8eqRwXDmCUkoEu5NQ5whPeLSdKFCBUqL8Aw4ZutJ/d/STuv
HbmRpVs/EQF6c8tiVbWRb2lLoxtCYzaZ9N49/fmyL/Yvsogieg4wcyVIUcnMjAyzYi2yIO50z1Uw
GSd86MMmeTDV0T0LOPWeLTebDpZ569OxB3sq0ZfDw21tng+67rlXtR6g6Q5SS9OZisceotCzp01E
SCE10xL6f7/MzaPBth1Hh2mGSly5leD1Nr5ljkwFDl/w2paehkHUoVUDDZ5+blqkuWcwyRBxDM0l
hyw3sHJ9uii2YnxRLbC797f69nEx4DimmkH3ibu69bjdAOYJhRGoHGDmOod1DUWI1jlPtjUfRdV7
28u5oixPdAeBw8bztCIaFT2ENSLqOwsVE2M6NdqsPEC4M/ha240H0e6uPQihmP2nwPlKrvF7w6PN
DG0EM8px4mCdIyXnA8JP9a5nV5mQbeeD9HfvUwIc4WbCGw0RwGZPe3u0SRcgcUhdVaqsJVkwx+5w
7jX9qDm/5wbk3DalbyZBwTqsb4poFTi9Ckw1TtSfPQK7wCjcI4TV3gcEu0ABkZCW6vDmfkTjHMVh
3VinkRlfP4xRFo3NOTw1YfKnM0AUd/8o3r4ZxFf0YLj/XAt927MJaXrqlaMx2Nq2NRFWol2ztEBV
XG2g7mKyG+m9wj44JLcRD2U81sYtYFSErtT6S2rVTPPX6cwTegCgo5XE69Fom/oHFS1RRJPLqfnk
KnX+HzNVqqcpVacf91ctt2odZfADGE7gCiIZwGOx/gGwucyQGBrmaRZzHGQIuZzyvhZXDfKur+S7
FclM4QWKXY2f71ve215qtQQ4PJeSz3lt2ZjaAsUtvrebVfWlNTukIkUprl7UdX7fGkNw397rlP12
qbR8oXHQXF6xLddSkVlqaqsRF7L1xtjXo8JmWjLq3b9hTUXdU88zHQJXJbSRDkV0RfXnXBQf1Gko
f2hhgb6YmVeVCWlgoUXncqockirRtaM/oaw8SHHEcTy5IPO+t8LW/ptRdO7QANLz9gHEPzq4av2q
V27byT+G002/UuRxG58eABAOK1kQPq+WoTqAN+wcMTkbBKZN8skDmF1/566M6V+jYX2qUaW9xKlt
+4aXdWcRxcyJ1nDWzp5doxAKbUjWFUe4oducmoCI8rxpwdXD5dpeY89A3haVKgPaF1X8MRtmR1/H
bpAXzzSpfJk0/UunAUr1TQT/Gj8Xhv611mZkfRYUvX+UrhnRJo+b2rqmXR9+skRfh75OeRtl9bEn
8AbNlSPHR+uF2aM4H48Ckh3XSmsYzNMruQGpwfoTJvOSW3FDYOcgsxdo3py9jJMS+STkRxT1e6Ys
OsagEuj5gbtZmzKyvqo0LiTnBtglW0erRmsXXo2sO6jP7jg8ORv0P1ObB7EwpbcTrMqyeu150Kvs
B0IKOtx1uo3AJIjW6WGyyuVy/x7umrUQdqFZg6PdKgCZZgSdimCFbm0jbmqarSknJ/tS+GrVVz88
DzHI0GzcA7s7X5buKYUuqk9EGzfTL7BETzG/56QibPiAcIgU/XLrd6Gu/nV/hbuW5LQhcZ1ENW4y
ZlR0226aUzLm2CkABE/OxTNr9J9zx65/3re18xTzMv6frU3QOhUlmtE9sXLcZurLABfOz0r2pe9b
2V0R/FDUVAgakWpYn0pTLd0x0yuYPbSoBsVde19QKCueRAk33dtNQX9Mb4tpBKYvNqdSlJ6NnAtR
uFEhrgpbUX4BqpM+6H0eH5TKd04icQWNEFp4pIlb0OmABO6oxyHZzNwAeoLL4qK4I3XdaoiuaVJr
X+Ypt/64v769DQPbJg8GTS1y4PWnREwZyeOBDcvQV5HShIzx6qDm71vZ2zDSawIKRr3YtM2GUT7t
7RkGRwgdGv2PqCn+qQrd+WLX6b846yyFIAXyKSpcm+0ynAGA6oBWe4lU5PvSQpiZlzVCh2kJlYP9
2lsU4TSjdPhi8peNrUoyRmQeYnixPnaBpQK763qKmuU8Hw3x7u0SwTS0Lgj9kHRtTMWzNlr1iG/U
kCS9LCVqp04XvhnpSC1Pzuwyac1X4tCvz0JVWO5ow4hxcrrmT6K++pxDCHzRWdAJ5djw4f6h2F2U
rI0St8u0c7MoW/Fms0LM+4Qud/Gu6FuyrTBzQjW4b2fvXjHB/z87ch9/azTKF0c3FOwYI3NammZV
vm7WPegfb4ESw8ue0Lv1DmqHMozZRHckPqTRtBZ0GBo2RplqiWwkRzHaMmjqh2Ervg9i7i517Djv
s84tq4OS+97nJD+h2mOhYEHKtV5mokkVU5Wj31hV8dgt1a8iUvWDrG7fCIdETrcw/C+/9W/fcnZR
gtbtlgpPPnRPXp0A1dfT6fT2HZMDZiplMymztXFKpZYUueh04wSQSbyDeSY7dZlogmJGUFMJ3efR
C/973+Ttwqi06BR3wD/a0AnJsPW3hSVap1fIxRinjPwg8KzK/qINhvv1vpXb9EbWczRQ+LIzzNTr
2kqLAG8cM2jLFImTXUckjJ/1RLgfYNeuTvlIDFDCO3EqyqQ/37d8ewmwDEkmBWWcFZNja8uwRVQj
sHI2zi3yTwYy6d8BNSNV19XNo2GGxdmaADXfN3p7CSgkycqjxNAyiCU/+m8flepmiygp+zh3UuVI
QUgX0mslMK3uR8Erevk35oBzMiH0Wjdbm9NEBLl3Ks2V0C0bnkAaiwc0mJLur1kJj/Bie6vDW0Le
jrMEXiT//LfVdVZCV3ThiqdDz7QVsLzAjtPY1xj0/5b2uXJQz907otKbyLlIApEtMlpoDjM5EZkL
uZUUArPGBzV2zYMW7N5BAY9BYeq1cLMtgSUNZHiMIII08VrxgcR3vCpjkpzUZexOQtRuwOhcEdzf
uZ2l0UWCUEQOPIKU2JxOYJRex0A2O6dE43OmZ/HZG/Ay963cPthgv0g9QTmjpcoS1xtm1o6dQ+bP
0vIZoK1TIIJs2u1HCL+OJKl2vqJkrKYoTedIMlCuTY0UogY756LriRoGijElvhu7S+AtVXnSzKI/
TVZ0NJq8cyBt2vSyW8URuWkAFjW66RUqySjk9X9oaeQ+0dQqvivKiP45WvcH8Y/clPUTJ+dlQVrQ
o6LHuUXxOlZO01bKTOvuPH4yk3E6M3TsIKZMHp3VFYqguZI/TVGcf3GRaDk4M7e7yXAEsQNij7QB
CSvXnziLh0z1Zgdofh6NP107RMG9YDjuvJRz1B88rrvGZNGCDUUkajsOmI/LpPZLwURwnTbXWszm
u2aZ7StZqna9f0pvJyBgoEHRUY7QUz6FpmG9sEJx9Kzs5zyIx2xg+GeYzipX4uwh8v0cof/+zprg
QJpii8FgZXpnDm7z6f5vuL2P2KVbJV8puGO2wANQNIptLHDhwMU7PapCq86RWOIDf71rRb61BJyE
f+bmkpCNc0YzNw9Gve8eBFEuyApqf/fXcnsrZKDCKI0s7rEqff05ja6ZlLSgiGa0lLsNsQyPejdE
T8IeUXbSyq492MC9ZeHD0DNnYOgW/R2ZLUTJwAmCpTaaL52W2u+Hym0Poue9ZTlgQsCvoNZ2U8fK
Ewd+2yUuwMsh2BZPUABkSznBdTYh6K5FR/ZuPRpf8Dd78vf89trNJT1lJlOKwJmV9xl4qO8Qs84P
wioTRjbdn50XeweX7maJjBTT+5IAOsp1NyMSaogYVx7B9jrpjekPSe8hE+80D6ZEnmuiPILt31zy
V+UxyVDjwhp6Q6fmxMWC0sDASVFicYmbisaPAbyBX9kdOK/X9s7KeUpb6OG+HhJmpzeR4IR7RDGB
9lbbDLN3Mscp+sFZmj46Sz9AXSfygqbbnJ3mvPfOdeUZv1SR6FApp2ryrlti/duiG/CKzgmUuGmW
U0eaBvrKZpH/gvWD35/n5XeS+vZBs5v5MxXsAco2o558pWwOAr3dL4fPogHDC0u3dH04igqa54nr
FIh8st+NqtOfrYFkx21b5eBQ3JxD+eEwAyBDsoxucQj9hHbHSOodZPb80xrd4tcY5vO1SLoY1Hzd
JgMi8OKI+W7PqkSIAUrj/5shwMKLiSmR5wlKRZvP3jJVzD9YCuK3VXTJO0UFpq9r5/uea++rUixh
ABn2RsB+G8+1pEkf1raSBZkFD1mT6AhcQ8BJnbA4AnLvmqLhI9WBwPlta0/j0s5OBEIg6ECE+VZs
1adUjGEQU/l+qz9mA2HUg+AdjIAsPK3PCkSXozm6ZhZ0Y+5eHbpqwWB1wxn92PhieHn4n/tf8fY9
lQaBLZqMIEAJsUVfKBOlNh3oSqBNUdL4mll6F4DO2VOPkPG7MVraZ2VKWjh50/Jv4TX62VGT8uBF
3TlAWAH6wdwajYctgYuXgx4sEZNFuFE4QSMMRDUms/ItqDA+eKFX+3ZuFgdGd3ZVKplQUmSwRLKh
rz81OuEMK7pmGsBhKM4hVERfF81pab2AlLj/lXdNUZ+CdJj5DuKytam6ILmcR0xFjRpd2zaLLoOr
9x9aq8ne7mxA7EhWUTnudNOkh31wMI1CwdRQe34ZLu5FgVDpVBbNUbnjJsQl+pFcdsB6IXcmhVuv
KsoTCVMKU4hgci9Qo9S6VnCVozvseX/ZVj2dBw3q1EYiFiCVOkqL9j4qwGxJ1UUqQWFibb4mIrLV
MMqCJtYyf+gVmFsrVT9pVdgfFHZ23lpgpgAfZIcAJ7Dx4IuTxHVu9VmwGIPKBFlTvWQhTFVl2BQP
Wm5k1/vnZe8+UDgl+rOBtlB6WS/N6CmS2CnK9WmkV0+5Y9XnstKLC7w/yynV8txP4uRI3U0uYvPo
Qgj+f0Y3j66Y82VoYNEMJsSEoFBGYPSFoW77Whap85gaRnzxUkdD+MHU0z/uL3jXNuUssBfgqIFN
rhfsatPcDfpCujJ1xvNSqJ1PZAhisjXiU1P0v1Kv0J56xH4O/O3eIaJyLOlwYWwFb7I2jKRp4SpC
ZIHaLdHDTO77LVEpIOCujmChu6aI1l6fSUnbtDZFZSsrKrXIGCnQPi+56ryUg8PAcq+GB1WKPUuG
RyeX3ETS9m8WxUebTKb10gBsnTgt7aKcx6nIzsnkNJe3bxy5GGPvBHsgEjc3o6AumNgq7gaK0OJx
zpOmlnJaX2pkp69GxcQyj6RCE6CZvt23vPdyUYuk34J5h8k56Z5+i7mBnUJQOFp4ugXhWN1LjEvd
qO2jO6Nd1DcTksOOcL8PdVw2vi5b6QM1toNQde+m0ixnwgq3wKu9Wf8cilTWTdKgMxPvsddjuPrM
Ij7VWfFLc+HLppVzROt2k0LhdyXSRBIDkoduu1KV0PMhqmZsCsY/J7PtP8P74x4U1PauJEMpUBfJ
OgYzn+vP2+XRPMWtl+Je++ljYbKf7jyFF17Ln05oVcup7pzqw2xDZ3HwUfceFin7wNwcYEnEQdem
x2KAxqjJs8Ac9KY6mZ0Yz1ObRg+WlTbfk65yf7leNMV+4+bzqV1c9UiZYc/hywl8cBjQexCVrH9B
h6w2am1OGtg8cifSZ7AhcZ8Eo0r1JinMo4H/vRsrX1CidwDVVPbX9kRma1GnYM9KrOzkzt4SaLWN
iKfXZAc3dm9pjP+Q9FMd4tpuTCXN5LSiNAh7PKH7XunajPKH7UNmF/N5bBfz4BzdLg3/Kkk86ZpR
Xdy28m2z0ZYwitJgmMYvUdP2T51KoJmB4nlzQAcEg5KM9EX0RrbxSCZJvjyzTYM8qfrriLhoAFR+
uOTNYB6c0FvSAAn34D+60fLF3Po9ry1MisE5Easipj/0Nh1q3+wFxFMw1y8vM029v8cpm06t1wua
4lb/eSgL29dh67jk41geeMNbP8SPkTypuESmL7eAwkxVHLNbUvywIrKvZWGNaDparflgj5Sr/DCv
2m9RXxXRwfu5a5cKC0zDLliDbZu316O86YYkDeBB/WtSFHEGeuC86y1K4WTbc5D3lvFy3/PvnSim
ORAlkCSAN2B7j96XmddlGpijljErOKYXJxnV97OBnsa/MMWrBlceXoA8aX0vl7GP+EfZ5gZ048Vy
xcKNqW2ETJoj/anbe6mD1eAA82JLcP/G5bRt3Fm9ianR1Et/SJl174hxgzqK1AfwZvrj25cmXy0Q
NsBCgW6ul9YIu9eLrOa2FNbH2G3KE295gc5zvBxY2lsZiQKnQ4I1b96rGZVqVxlZWWYLyU3E2MJS
55E/CdG+dNlYHIDobt9HCREhamYgg6xyu2mmPkeKUzpJYGt1fRkcpf1Yu41+AIncO4XAXiTdv5xl
3zboNb2kxp9XSQC16eBT+bDPVkqrq8fnnO9v1d6Cfjclf8pvkU4hzK6IO0y5Zap9TLswuULgPfyL
qyz1joD9ge42bopuPIVahPgNpGHp9OwVnfsevcviyRqm8E+HjuSp6g778jtnQ8qMSPYV/BbXeb20
qC1yledeBHTR/g5DSjf5YjhoYDB/NjPT8/Yv+cqxDaSUpB96mbW5EFYqt4TcBB6Aur20sT19Ykbq
bbpnMLgAJnsthBHt06zYHsAG5VczrrHS59XQABQOEaNvquTnFCvTB+ClRx2JnbMoxVKZoaHup8Eg
s14WDHwuFg15FqfmxAiYdbLjGE7l5JB2ZM8UDx6FBeqZvH4bN9X3ajXR/hCBaojKj0KUWYZI6/DF
FI7uH/u9R1bWMZmoIlYh2t1kTAbyomLE6QbZGKo+0iXaX1qomIUfCsmukqGH5iJOEMSTp14jWJNO
MKBk16IvitOY2/2v+79nb+kSloD8Nj+Lisf6K5vMmo+W0ghI2RXxUVuy8D1OD44iNTrCP+48qw4t
UrqVtCoZEd1cixbxKztfKhGglZL5hlM3l7TqwVrHohmgKNLCc5l6y8NbF8jrAzgAuBHMAzCarRcY
67TxXDVl6KoR3lmf+sZPJxyClYjkIEW9vfcGo8XAw5h9pxO81XgA0u9UaipEkE8joultPZwBrKHV
UjLV72lw695f2q0LBb0nK6sU+1jkNk9jUhiUWAeh/gJV3HdqvfmZuUHlet/K7QmRNHzkSlwOWsxb
SEefTnbGXHscTN1oBHmd1HBltUjsIP7i3ze1tyBmWUnM4Ky6JW0fC8jmCk2JAiJ2BdAbk8ojZf7g
vhV5pNc1ISxQFUb/g1PIaV6fCDhHaQsO8RQUUFJ9VhsvudgWvFMNueE15a/5DqLkn9t6dt9+QHjE
qS4SDcmW0yZNYfLcmTyUYwNeYKRcOq+/tEY7/1MsCWoRRTofnP2dA0k0JKcbZAeFoYP1ShFdClur
w17Y5DMQqjI75WofPXp6PV/tjJnegw28veIkD0R69F9hbmQP1wazqoNfKCdCbpM6vFYM7UJyuuin
UDTWE80q88kQfXIQtOwZZUYVH0ZmD8mYPMC/RRJDahCZT9MUMDlfnPW0d85Oi8aVZvfKO1uPys8C
bbODwGLnVgAO/j+j8tP/ZlTVGzASACDohNohwu+L+0wTajw1XRZ9uX9ed9dHmA7JPzfjZii5S7Nm
HCrOK+K485+aNiKb4QqluAh9VoI25ygVpfPm6THyQAYRufLUoqF43WylCalQOcXZFKQWUyp03eZg
gpP8iRjUo75nuW93M9gjRENMQCbym12s+sVDNKuYgsSZ6xOhTnc2YaA8jU7iHLzBOw6A1O6VCJC+
F2/Reu/CUGmHsq+moKV387zAt3BuQoMhoyRJNO0BLhzlGmpq8b40xvDA9o6Lo70nu2GUYSiKbM5N
qk9JX3vLyHs3vrQoKX2cajP5ev/E7BxOdJSZPIafiVhjWw4hatIKNFzHoI8NSa/YiyvPexWkYq4P
8pKdw8mwHz1L6digIdiEM55I07n08J5uQXe+SYeFiqRaPOUW/b6sStr/KPmQHRjdWR+kB5TwpB/V
eHDXGzirykJpRoyB7U2eHxeZGsC13j4kztj69z+l3I/1Y8EkN2PiDKhTfoFpYW3KttpQ80bG/TmR
4qcCEO5kMiL1hSpeHiQU/g8qS7v2QG2CxAF8RPVjbW8GcVGNDfGQOVvuU55N4n2cRRXzxlOU/1l7
fX5g8PZAskB6s5KnjaR523Fq3bgeJ20ZAq1BIyWqh+5ZtFN38BLtWIF5TgKMJCUQFBnrZcXxkhp6
rfQBB5bRZmAQT+gTFQdOeefjUbRhlBEoDqdyWzBaBqPtNV7VYIiN0SCiHodrOEbpd6XpxfOiNeFB
FWBnWXJMSjJFUJ/inV0vq7TGUtDU7QOvNNVr5QzKOT4esr+9Y4StNCKgJZd2tkjlxdXT2rOXPuis
VnyKmi58UppZ4JlHjXJy73yC2qQ52LG9bwkDBWEKZE4ytVwvTQilJ16xejBNufsnvL/ZKUqm6SGe
od1OhumI+ub2TpOBUXeUJJ2MB2yhmq1XM/NV5QM6UDlCObGonxqTA0P19gjGu7Nr9FdANlFvYxRz
Oz0894m3tF3BkS+G+qlODO2axqQk9z3HzoK4xcDBuMTUELcP2mIlSuNqLGgKs+yTnjTdOTFL1AXj
I3LVW0vgRcBbM1APTMbc+gyaVbHTJSWxiKs2H81Wtb56eb7oDCfWXnywrFcdz7VHxNrrLkGUjAve
vJ7QbQ0C0bwp6EVcDnCBFxKivwjX8eG1IL1a6LI89FE+D1eLmAb2n1lYMEgViUoKW6lW5ocoE//V
LYrVnlKvK7+N4zz/pbit+DrH5vAXcasHUK+GCe1hpsRs+NmoG0twf4NurxUzgBQYoMqQnBlblMjA
YENqRKILRES9xo+nvPyW0jaKGJNzDR+SdYawvPHgXt1SHxCSUx1iqACCVo785vHy8LhtHlddMDDg
9X0KFwXW48FatHPV93N3Ff1oX0ypsXtpRobP7Tk0/qs4TWX7Sxqb3oELu73n0G6TO0oIBxzrW73u
KY6ydqTDAPd4K55bMuXzHGXoVw1p95wKJzp4b/bs0ZMGNUJrnDMrL+dvgbOJ1HuqJR3BV27ppxxu
3LNXM3sbg530e/SzDt6E28tOmRs9crISHMzNg9oOtFWykrhSOKIG69BwA4v0KFresyJdJR1beu64
6vWqEAAFpg0YMxiKxLuWSOBeaEk1Byf29qJLWiJJasiDTTyyCQ6GpdHKCHnZINJdcabu1nw2wzr1
Ve7gm9Eh0hQxKpzNNIK3GIJkBsyeeTXhP/JivrXk48/cQYyVkHx6sMMy+s/9y7i3NGgqoF+C71Iy
o68/YAX3GpNMxMWVObmnBlLyxNeLEv4yw87+erstGYhw/CjeU7JZ22qVqufAQFY1t2b8zOsXnik+
pe8HZS6OVKZ2nAwHglhVajcRKGzW1UxTgSeISN7UXn1QJs/xYbsr/QoQ0mM9W9NJJ00/31+gXMDa
RUNmQmwMHTXvAsDy9QJDrZ68TpUueqp7wIoifsnTsZdiAu7LDGPYYxUOzqWdB+3HfcvyX95ahrkZ
XBFAP5q+mxM6eZG3LBnb2NcUVWFbg3oE/z+6f963s3dciI7h6pIjaZDlrVfoZo7TQ9FF2rFQIc7p
I/pZ5VboxVbTwcfcc1gQDWGHt5XcdGOKBsI8KnMItRmXz09glbtUCfQFids82+k4/HF/ZTt7RygJ
T4yM9gzwg+uVLVMq0IqVyWlhaeiEgtDshVfV/rAs2sPcoUccx73nD8ZyRLS2c1Zl4EXawbVnxZuQ
D3SGpudNShwRLSlzkkaGNIEAK2DonfKDFmHhT041Xe8veGcrV1Y339fIonlZRgoNBuQ/yBRm87MW
RdOp8vojQpf9Bcrys6QM5disvy2LVmp1xqlNaiQuk2nPQFlKaho9bzCa6eOzm2pH+hbyH91cCdlU
gKxYEm9bW5ykE5YTRBwaLICpCkF01EQfwnF5Ox6bJ5VOpIyoyBC2lKTZNKoQyAqeOS/60WWJ8yVb
nPDSGL1+NHb6Ojm4XRH1PYrdBFAIIsrP/NsTDnFBuHQlCBm7dfOPVpz1j0MUmkCHRflBmybl725u
ukBvnfYJPujyizGm3XLCOaRfFsvCs3eZbSGwYf8dxWZ4ItJo/0uvleprZs1Iw0X9Ubdx71YxSUeK
RuMbka9NJTSMxqXMKl5OPV4kwRTU4FkDuLIEZBTA41yeo75YzvT1lYOH9PbMUWLGJaq4Yzof2zM3
2p3VpY4DjZVaidmv3bT6rBZqPfoU7MUnbZld7bFn3Cc6MHx7ryjHqGRvlERRgtiiGIbBADIyU/zt
Ztu+LF3tPZPdZ/4yhOGbXSSm5BwfpM50kbaE1XanhvY04bOSWSmY4XWGKlCa0f5oKWXd+mlrHNEW
7S5O5omAQwDHbGnIVaVuoGzpeVY7awyE8OxLjoyGL/RGe7jvn26PDoujrwpzD5ByDs/mtIe9npjw
IAV555iXTl/Sf1KlcD8i2Nueq4FhP6tjEFRV0yOI/u3Lg2U8Fc05iifUTtaWjcioa9vjTs/VMp28
dArflTkvXRyOkBwUadW83F/qrkHElmhdU/ECsro2SOhaz56QsbLr1M8OI3x+ViblKW8m/RILwMH3
7cm3bO1IXLhE6WDRpJAZ7ObTRqaG0EuFP86RQX8SjTE+eRoMPDPKTwH8TNlLCZjjWg7V4ptL8+vN
1k1H1tMNfgAdkk0iG+lZ3dMTJP+zTfrKkaBo6xu5iw/zmu6UMt9xYcSseJ+Ivjtren2EWts5xKsf
sH1vx1rR8tHpgq6miUd7BAxJlw/vWms6GnS6fYQIKmhd8XsBtNJ9Xu/spKWOl3tFH6B33QbQQZon
1YW49f4X3VsQ3o4LSSURrtjtgR1Hy66Gug9qm5Z9OONo5rBHCT7x3iygQRGCKjqtCcIVSba+XpDg
DyvN7PtATZFMDTUz9YsRnsJqztVTrByySO0tjVFCAgdWRsy3CcuGopkqq1L7wEqj4sFVcKRxVy7v
K5Cap/tfUdu5hrLmBjcHfUBEqbbnwpBd0Ebvwfwxskz0RQ/bT2fF+ZOWlrf4aAFbF1SX5+I664z5
n2O4dz66fWzldNp6GIZAS2j9mQpz+ZLOof3OKUUSQ0FgzUe0z7vfRSo4QsJnUCOXf/5bLEDfjWpQ
1vWBLrrmoR+gp5qa+KuIMu/AOe0UTogTkQqDYABMIKXqtalpcCOv1vgsalm1l6YtEalTKOlWTVKd
6yZ+SZiXuqK7MnF3Vffkekv3xMhWc7A/O9vD7yCIoN5GQrB9e+qZMdweorqg7DMPlVWxWD7EbfaJ
1NZgXjFy3pzs8M7ZfGCyAULXbVc1Rg2uypNoDKZY9I+OO1CvHAaKblaoHKxtxyMzOAD+HHdB3rht
d6h5CShvHoegsA2UCJgRe1ySPAmQGukCRguByHTq8FAv8RIYuThCXu6cJurcVOOwLbO6zcnvbUZp
RenSbRGR+uRmxp854jv/GZrDS7bjEEnnAEFyy6gEb+HYNRQthSpCaJyLyjj3XVp9XcJaHDCc7a4H
oDlFZvST6Aivj6xVZ2ZMbjoEsEgtT8kyjuc4ExpFU6U62LmdMIVaDVQYzLsA8t7GYLXjFTkdmCGw
7Dj/1i9t8ZSFnvFF01PdHyqkqQqhTX7emW+vSgHyppRCXUoDaudtXICjcKJAnA9BntVawMgNsW5d
Juc57oyDgGHXB0g2P3pxwHnw/OsPCrkxfEsWnb+m8+qLquXRNS+S8jyl8UtXWumnwdK7d/iiPBjs
JfV7zy2vPbnRwdfe8wGE1QyYM6sMVnLji7TedWu3zMagnGHH87Olpd+katn0PS5MANPxDFX6/Wdh
J5EADc38MFOU9HaNzd0wZ93OloSmrld3go7/YCBMZTvP7ozMzoQC2UkJ4Yu6b3TvmsiNpREO3SqJ
8/p7z4wS9rrV873Jn/zMnpQvxlwmn+5b2bsmRNbyABGKMUm+tuIkhrDMBhU8o4uscxgOpb/Maf1h
0sujCfPdr8i54RmhcASwYW3Ki+akR9lrCFA4hkBRCxmxFf1QnuGC/Keb8uFbpppHJYC99fFegaTg
xLi8XWujZq5ZvV2WYwAxx8Sh7NsyUHtb/9Bn1tGDvLdACt0qp1N2GbZ9u6xZQn2MZ1yONsTuo211
QnypYZC2vhmTfKWiErZcSx+zo87Q3p0AfUpZAJfG67GJMcdlNs0OooWgUuGnjwjig2po+0svtPEM
pvCIoePI3iZ+D7VwMqoEe6LqkkCth/ic1U15UWfPvUSDccQqtreLFsryslMOsndLXiH5hIZ+LodA
AcP2Hck9FLL70OzPqIKLgy7Jka3NMTUmxv9THRgAEBT9PM6W91TM1MPKOT7C6O+aolhMaxmSKlqI
68MZdUYNQyQAAKPKrW9d34lTPOTqGUTs22f46PCC2KDtJnPqbUkiHTxlLHXOZqk03hV2O/eqN6AA
PK7H5b5L2XNc8OEgkCixbzQW1qviAXILSx+GgEEqUzsXfM9BTiEceeW9Q0g2wGmHngnw9cZ1xamg
1G66BKWmLT6bSmbTVbCSp8oxoxYW4eXofu9tlxRuZRaS3JWBp/XCXETiIayJAMwSoV1UuzcvdYEe
Wzj1+kHlY9eUxDcg2LozKEJnNyr0JSTQVefinCIa+pWD0VMTsJIDU3vbBTqXFglFUjLHzWdsQldH
A1gMgRcO7WNBbveiKIdqBbsLAktu84zS9d2ClWDoWtwYGqGgZIrimtg5Alj20Je+KKv04E3b88Og
zP5na7NPnVEabuIAYIBtILsyyuQ+O8rk/uoyBjsVNXaChNGyf3Hq6dfBsgC8nHqnDBJ/y8aypOrq
PsFFUdoo/8m1hgmuqHPDg6hg9zu+juHKwWbgNmszVpYlfTFy6JlwTpJHLYvMpzhq2+aqpmBM79/k
XWPMYUmshsQgb56VBohXGc0VOcHQmqFvVFb8NHeNQqqn4eX9f2ENQAD8lHAUIcm9XpoGgZU6pMkr
DKX8YIcj6iCT8RRlh9xde+vi2yGrA+ZJjgSsLYVa4mgKM3Zgh7IoUJeweUQS5Fs8lMoB7HgvNSD3
IIUkS0fEZxN+2Evd2IXgC1ZIXX1XJpgFnFJPJfO1OA9dp/rFpGSnZcq+3/+Ye5UMZBphoYa/RSqP
bi5BZHtKmo9kWfBoL8/2iMh3ac3lNekHGN57xbpmuTl9qqtB/IA/KXxuIEdcTrB1p+cyLturnUTG
TzXsc/tdZsfFP70xzP+9/yN390H2BvDhUIVsDzP841Wiebx/njpaL0k8gq7NlOhvb0iO1Ev2Hgt6
NKAsAEzKXsR6y62CwdTa4VEqQg+CWvzDxW5nGP51sA+oeh0NVe8tTUJbiHRBJgA5XdvrCk3wlEw8
7ekMm1hhJ99NyYFedu6/SQKZKKSFJnNPKC/Xpri6Ma1KlmbXCZIMyEA136HUHuyTqJAT+Rc+QT4V
LnRAjHdt069SCgwyhUHopyXhAyQE3UOhC+OEsGF8vn889vYMFJzMu0CtgDddL2wYnDgyR6rEg2zg
Rzoa1lNhUkfLoxRhbW/Ift43uLdpVDapGgDXImHY+LvBrDvXEEkPe5mpPEaZDiF0McQLl7QLDx6p
vWcX6jlYDigcyNRkvTiSeaecTWyVgzl8SVO7UwLSwcE52K8dO7LjyugYI4z0pDbvkqO3c5FDVhtY
oxE/Wvlcn7Owzv+4/+V2rYAJAIZDnnXTaWWiJx8QHqYWmbdteRnKWH+MhD561/8/O5uzTgUHZCJP
YAA0a/Jnd6qAbsXioH93KxcBAgAatNczTkN3m29YpicGDSHYoNKNeH6ys3LS/LLKcEtDnaU/1E6U
v8a5bPoHo8w0kpE+ZtreBFXyC10r3Tirs9U+amqkxEFOz7n3C5E5uDfd6X42haYpvmrE4qUTRaYH
YVVQXGg0CE0/DE1aSDc4G4M/hIWxnHrmaFPKDIn56LakEuemTJevzZw1RyTROxdOjvvBEkNCQtVs
U+IZ7RHomImUb+S60AbkYn4x7HJ4MMukgKZ/Pppv2js1hIOcm1c4+baTkIaF6VXwQQSQ4ya5P45q
4ztdVR2lxzsBIaU5JmsJpSmIbSsPelvnyVCpdHuahkE0HdQ/0ZoalFWuXZemgMOPtOjgqO44EzlV
QQOaAiT53eYFWOgsLkbHx1Th9HgYkyn90mLPZz7AfHsITznck40fGBGIQv8fZ+fV4zaSruFfRIA5
3JKU1DnY7XbbN4RnPFPMLLKYf/0+9MU5llpowQPsDhbwrEvFSl94w/FdMpRUVXDB7tmuhUMBrCq+
WvSFL8Qy51ZrawFsupwbm2/bPb9FuFIzR1MTNU27VtfeQJZOeThRHY8/PuLnCo1b2ELrftPz5hE9
HscJ+sJWpt+jQJ0Neuz6s3gaS1zNo7rO3L9bNcGFaTslpvupq/vPmLcvf+Wuqxk72yjwOfn495xb
R8I3yjq4HcFDODkUIBZlDmyUK8eidrUKw7wCEftvbfSXwNHnRkIPDvDWxq2AI3c88XbSZz1ZcUj3
qYh9Gw26XUjMFnOYYDR6Idg+dyS2tSSHoDQGu/h4rGIWRaksTcWG0jzj3hSeB5hxzLUmspG2LT4F
ueaXIeJ/818ff89zlwwlVG4ZOio8FieB6aLKThm43Mapo2M1svQlljv48zwagXAjmOnLf1hAGqKQ
bD2ao9Dlj6eaOppva9pIGFGaRah5moe0Msr+0jXlhb17dm4EmBuBn2rcqehCiee1XUxOHze93V9j
4+RGiZOOh9GVw7WzaSB//C3P7hiAvCjBgRyg1XE8tY6qMJEtd4ytxuQ2bTQLC53AuLFS41KT49zU
aDBv5ugUkYDTHA81olXUjygHQCFWzmEYlzxKpZftPZX0rxrjX4hbfp2rE4QCjF5qBVvJgIhy+0G/
XTdEfxMqp7AgKpo8UTUOfhD283wr53oV4VSp+Uu92svfltbysNK4TT+5VlFfOijnPvHvP+PkUFKf
U7agDh+PfBaU8SFuohfsoIaSiv/wYnDdgXT5JZtwigFJU2vEFgcODYJtQ5TZtQGKM1f7tpvt3ccb
59xdjhTwdv4246/Tl97QpxyNNDLgdNGKqDDN6Y7Sq/728Si/bqzTNcQEmKoIBZUNEXWyhr7dqVmb
B1iwjefu8slY9lbmtzGof6jGrj/dOVbe3KU1+Lymmu1rqxD9AaJpV4WUv+Z+3xWDB6eBossB7Hfz
UieOc92TP1+Ix3+h39/9VmeTl0f9k41+8l6bqCjWyI0NUMu6/p9CeONBrbWh0+/pbQi1Cs/kqvDU
eDDNonsBnx+8pbZV7PHmzX9k0jIq/Cl9JeNOTvWF9Tq3C2likk4aLBdJ5fGHrCW6QQY1cKCpnZdF
7ZT4V2A2ne8Kuu2FS+VMzYIBACHRUUD+4VROvaGmqUSycPA8iwR5rsSuwKskWjOgOQgm/ezhZ1/J
Obt0e56ZJHQnYMUIFECMe3fiu2ZdCeAo6I6daHZ9O3PQnZygLjas2S8u3DBn5olyNHRvbhjatqdc
VBu912n04SLliW+H7oC4em1PXji1sr4H9mvus0L/Zs6TupBenJ3nJvFGHZ7X/hSr46kG/mgJPYky
5QTSxKl2LdKWB330L0kwnLtFqcJvGGqSMwTOt9/y2y1aw1xaLKPloNdWdtUugxnWnhzCIMfqWOt9
LzISNT0LjStGmzKsB6zlj22dGJkWJqxfxN9IIE5v8gQEVNrT+sKMTt6uft/emXSuw3q42O47P19S
NhAbmy3FqQ+v5+ctqHzKsONqaI9OLZxPcMD8m2DCPUVPuyJc18WLK6TkQ89avJ2fJ5eejDOxFVHV
//2GU8SrD4GDdAQ5eWmq7m3WaUq7eI58Ru+gvpnmLHhWeVX8eQ5AbEpzmnNDnnN6alUSpFpVAR8Z
1TiFKG6Ytwlh64VRzkQBG7WBlhXFhM3D5Xg7CURaARAzioGrw4tI8yaPWrv3HtZp0XdJSqXmwm10
5qWC+7u1Valtbf3+4xF1PVNDonQ+pp0ua1gFnd6EZhrY/3z8Vp07lL+PcxLfQBlMMVSmFkkHRO6n
uUp2rQR5M1VTe0EF7OyUTFA+mJmQHJ4GpKUhVqE7A+cBVcQ4x0IhgnN9qQJ5bheiv4q6DFsRk5GT
ApNroV4pc5ZqsAnzhZlssa8974ala+OUu/aqWtxLZKyzXxEln03jjH+etnl8t0Gtc/hV0W3qG31B
0Lp3sCLDRCG9cH2f3Ypb4QDcM+KVp/m1sQKb6Hv6Vm6DFnqNm7IRrj73G4S7Mha1Up//ww7ZJIos
+CgA/k924uSjIy1mYiartSqUZUc7yqu5/2Rhn3n9X4YiPiNhAYJ8SskyltXXlq0nZyjs79JlaeLW
z/2d11iXiNvnVgwDK5TW+S+l6u2V/O2BsDuU5A1tu6zapn0d2lV8x9LDuZtqI3n5eFbn9v0WyW8c
cQRKTh9c8vjeG6atnaTn/gsU6vJVQ7vgwr44OyHKYGS1iMORtx9PqNc1qCY9Lx5VPG2Pu0cbTkUn
r6ZaTy7cTee2IOwSUMxoPaDfeLIjBC4ls+HzkMtyEHu01rWrssuLl9Uauj0yXcmFi+PckQYmwKQ2
DRs+4/HUOqjoArcCEgR7bmM56MFjKuY59Kl67LLUSvHqXZO/Pl61c9+T9aIaCgqJiOUkLnZzTcoZ
j5RYVIX/As1/wiB8kLfJhKL6x0Odi8h+G+o0KyF3LtpCUmrR/bSa91maaQ9l42kydKc0iLzeqe5n
rwYeyXUXxB8Pfm4xeTeRMiV2oGR+sm9WmWe21MBpb95B92Sbj6XT6bFuLut9ZqaXfNjPHQZAXbAM
tkoP+PbjtTRxS0QVdgIWbuuQhWxn3mtK/3NZJ0zWSO82bhk35Wn41ycjofuk9fEgUuPa8CWmNsVF
Wadz+5L9uEnTUYYASnY8lzRBwwnvL/blOixgdJZll5eUjPvOMfdWYeHqkSJN/fF6nf2AANfolAB7
AjR7PGhhVmYuFGVCoHvFQfbYUEAJudRcOzcKVzDbnpIkqI+TXZEgAGK5WUljY64kMAL8ZZY+qXYf
z+XcGSNcRbME9Dmp8rY3f7uE5xUOrjOy8XM0Or9meT2HkHoWEXqF+18Cqo2mBlOUl8V4B4xFfL8c
XAoanvSdfe40Fcwa/xLr69xpIhblZrSgMROAHM9oc3XP00GHIKT1PUrr9hYIONVBVkV17XmNuHB6
z1WNiQJAzGxgBcY8ecdo5+kAL2BQYpsMRjNbg0OpZe6dra3pbkqA8VurdPbtmmthX7g1bnV2cljN
5ZKX/LmZ02ne7D2QiKOFdDzzfhons/SmKaatNPy07DKPKqAuuJ9hQ2GI3P7253sHPbPNSQSHY/gA
x+PNHhYbQ894tdk3V56dNjvXlt3X0VqmC5jqc4eBzugGnUBB4b2LepYsfjDBa0vnLtiLQBVfJkxU
D38+IUSoiLIQDiSQPJmQUZapZcxQoWRiamFt5CJeNJ/oVQv+A5cNag5cNnbOJn5ycoc03ZSCvEPf
K3f7JMydpAlbIxlfymVaLnRPztyRtBDomwPbQcbztOCuCkV5LNikxFLH3Vu5qsOllNMelbQOOoPn
R7RlL8kUnnlQN2tP0idU+zdbguO9MSZDVvpGPyG+oOXfzdy3rppuHCJLdcW/i9WtMEWz5yAZrAs7
5cyFRlsPpCHdbVL/0066BP5ANw9+4Khl5p7O/U81ds6VnosL0cm7LUmxaCM/bmwde6PqHc/QHTFN
z7KUoltaqmhRAAUamq6fPt6S7870NgqvGwsHNIlm0PEoadHWVO9LRhmH6cYFWfNQYxWyJzj8lI7a
H2ucb8MhyAAHnf1C+nY8nCitqRsl9bUm9f2Dpg9drI12jjmrYf3pYaNxSGiACBUXCG/CaRiy0MFM
ml7GbTAPN3ZQrbFa8uoWta1Lgfn2Vx0VWBmK2J9GJcK8m5fM8az0XlReJWQLzGHavCSkE3qdW+yX
WguuEhC+Ieot7bWk+B1OwfzHWn7b8OSEiKBCJqPAeDx8hbxXkynAPxWCRzsqZe0nWW3cUkKxuKtb
Gl/dcilIeXcOtkFplm74fZ6C0zlLvcNWrBJtvPkdRQpG+r7R8Pa0skTsP96jZ4ci5wbQRiGc7XM8
P3flyVWOJWNv9daDyk3uFpdgXXbecuGxfXeXMSuCB7QmKZVvpjzHQ23+VS7gDhnrgdha9laivplp
PcyhkLb23Fi98wwtI/3y8QzPnHVARxteYMsiQcYeD9vyU7pJGDKejQa5gmUkuhBN/x++4zYtkh2e
b+DSx6NMWPOS+rJP6rGvD5ajmbGf+UbYTyLY/YcJbRgBrjBKpKemtmLxtMBOmJCpe/KTVXFIqaa5
yA19PM65rUG9CQwnjx266adT6il1p6UtEfjKqp3f5v/OQwAwZQwu9ZXOjbSR8xDtY0LU8o8/HjrD
gUaZpIldY/WvfEArYZsH+t2YO/JPnxg2If0r1gjcwwYaPR5KsEm0yaMy4shswsp50g/+OvOWKru8
/vj7nbn+aYhAeGdTwJE5ZVqyBbIREfM6Fo07tKFaSj2/N4nxrgtamFkkPV9++/MhaQ6A+NokgN/1
5zGIszImiAeqmrId9FE7zNW8hgbe2Yfa9y81yc8d6d/HO4kU5jJhMUfsQZ3BsKNG9lqUz+Zy7Q+J
hV5Dmh5kW1xSOtqW6PRFoJTB5jd48d7ZlNQ8147S2zo2tbreURPXo5KKym1Xrh1Cp6a8EyhSRNbs
mhdO3vvpwiPd7ENIH2HBeyfT9TKnc2XHDVYjNXZditWKpx7OxyjK/rNeTO21Z3JUPl7T94djI69S
YiBFhkd3Kn4XmABX2hGBBv5p0YeotZuZPCI0UYj440uM3cp/KGcgssRwx4djaIjM2Ms0WsvZeVXj
vISzk1Sfq86TFw7HL5H741VECBRuCX07QBZQkY/Hyh231FZmBiJz7TOsJpSfh7XWFN/KuW5gBGIU
HLWqEn00zIa6B27OY1tAPTN5q0T2zU0KRBV8G2jshYvv/YtBUk1YyEUB9cU/Pbjt2LRVYbt8Bs3K
P+cU5yIdq5UvH6/r++uBThPYCIStKRGgKXX8AfCL7MvUJ7DJdRO2eKY5Id3j4GUo5Js59f6F9uG5
STEgeTqVAmDT2zb7rViwLm5nt1Q4Y9/t7X0HBbx9xJvcvaRteG5aG4EWriciJu+qm9S365WN00I+
bhEe69OyCMGZirAOlHhQg3apov9e3xAWD0k8Gt1gg9i6J7sWWSedkhu71s9TcT2LuXmwm6W5ctle
u8V2tCI0Z1O7hz1iv3hLAosQMS11nwzB8K1wAxUnRdB8zWvfvVW98G97lbv/2lXjfJFtauOmm4tP
pTQy2lftRTDO+9uMX4+B7lacRebhlAHiJaTMlp118HD72gu1oNCf29UsbyzMNx8Cr9fvamex3hZD
Cy4kl+eWCuDChk4j+EPm9XhLLOhvzf5oEVr39r/DLIKHYG3rXebbrx3430tVxXPDATmCfkvHcQMw
Hw9n1VmQ6F2m4gWnop+15sxXAy4YaEFYfjhU9qXizpmL85eomcetSRBzWtLPateu+1HrEOowx4e0
74yQ6ql9Lf3pkujwmYeBobYsjwyA3OvkcOl22usFZjmxcrpx3fvtIHe1To5wIwCH35SW8mMlsuxC
Zf/M3gFeQxWTW5Sa5mkXxpioONCtVXFeiuSLsmHqHSDqqfnWsRZfUj9Vxbesy/uDIUEI7j++wLb1
OrnBiTCpEW8NIN6FkyJnrZLSV43Zxfo0DG/5YCOm7lfzXWdMKYprg/WKJkGNR4Q5ZZ+Wurg0/rnZ
w1sAmkeZld7att9+u9ECtSYQr5WKO7EUbxK/jdBLs/S69TQR+Vm+vixymK5k413qOJzZWZvrOuko
n56X+SSlgEDoGP08qFj6mhe37iSeTF2kt0AWyuePP/LZoajG0MTeKpSnEJ4eZjR9kwYJmBoH42oV
djgA34uqDIz3x0OdOZ/Ueja9GX8riZ62RpvBgKOP+kY86NjRHFatm3peZAeIp9Ev1U6Z6aVE9+Mh
AVAdL6GfW7gxIfGJc7JHd9T1k4xs0HG1KFu15W5UzvynPF2U8v5/kqARjkdsPXfJNS3pAKuvayzc
jq5Qv6x3TmFduhTOTm47m3R9fylfHQ81acrIErtAqLUYra9ZMJR36yg1rKmXDIRUGbhPHy/guQOB
sQjFbJJQbqKTucnUlfqaIWKamkMWJk3dXAdj9k9mZt0TFOjlxlNO8IAKwiV2z5nYglIFSNLNn4Pu
1ElcjMaBUlbWdXEyFC6UwqqLENf68ywRVhoVmA0NtLXSTy7Zpa0GyyXNjoUufzR1ud5bhpFA11z6
3ccf8syhw72PVikVLuQ5TgugSslmFSNplJvgMIk2XxtPE14RyN5eQv2cuUSJfpgWvTwoyac9e3sx
TAWqsoo7yxpUNBt5e9sN0P8QBtLUjY+S1ms6TvVNbdfFXT4AsPt4ru+xT1uLivEpcJERc/iPt+nq
e6NXb9gE/vIZS9/p5zhSxWu1xj50FoUaI3X9nSD+CeveDQ5E65eMDM+cFOiUpKwEIfyGd7Jiub7M
fYZ1u11N5d7N7elxagPgyfMuq4Ly6uMZn9mtv6qWkM05KmAjjyeMHLqak4IJI16R3paNm34ZB5Vd
GOXMYWSUX0Un3SHRPnkjysFIPUIO5oSF8LdRL9wwsKr2PvCkvC0wPvhEzCKJ+tZL9865LUVIB9+c
ywDpq9OwbvaXdOp0igDCcK7STvpxndNKElk+XalMafTUDDOeV6vZe/5cvn78ec8tJlRjmllbP40C
5vHnNfOiTKRNTSA3rJUrx3trCSv2KNn+q2upeSFXO3dUafdw3wFWJIw9WUyQPHZaZ1wKK9tmDhtV
qxuzLrKHlar/haPyfknpujMKHReTuOuUHNv4QZePLXJswZQsz6nrJFGFlUYIas85IN0uY5ElMKAS
fsjH39R4P80toyKttxELAnd6sqZtItSQCqlizxEY/RWpk+3MQeu4aPEBL0N9Me0rb52cnaeNfrvT
vaU4qLFOin3RpHao922Xh5pbWSgEanB+Rnvqf1z4kdu3Pg4Iwf1SoMAInYoh4dHxyvuuyJtsQki0
m8Vya67bSzQUTTj0c40Alt/fre4nWvpxIOwpDfXZda4yq/tjCBsJBjgeJI42DjqtkOOfgbSEK4UY
kL9qLPe618ZvQmHltYx2uTeQQd3lyXqpVvp+00PV3tgimz4VRJztz3+LRcVqNplIFCwnHGnynbbO
oxGW6GjqB9DrKEIGfbfkh48/+PtNQexr06YD1kPX7DR/A1TmWeVAqj3gQBLRfBTRPLrJo8pL50L1
4Bdi4XhtPZJTm+uSB5hOyMnaDgtHIqiQokq03sbJqE2qNVSJFZihIdPpps9QJT/gD9k2oTWBhYnG
2p3/WjtttHaBlSPuoq+Of+8PXVdFmjeM3yazw5lC8xf/FTVcuewxHxZ9qGpdPTZjiaffx5/r/Rqx
Ng4fDCGJrbN5EqWA7G2SMmdTDnmpR/bkehGoKO1f0aQldMmxevl4vDPLQ3ZCCEGRi7rLaXaGczJ/
vVd0sZfbwkUPUwbPK5KHL50z8dkuDPb+cgK0Ri5ID4eLl/9xvANlkefO0nm4nJd6094XppU436Zi
wr8eCY3KfwD14kyhhh9vH2ulhvOkUw15svfom+f7ctqEqpeulF9N+ocqbBrXTENfb9J7UWVUyIcx
TSiXaOuDNVQj9guBDL60EhZ3SB0NE4Zk8r2nfK3Tl3VYpRnqHgL0+yR30kcv8Ye7ydd0ETcN8VDY
lilt5KK0kEsEQaiaHSgjB/fiBGxfNGmD4+Beju3f1Qjza4lmOS3Zfk3rHLtHCLTipirKwQqLBvHy
KChnHU4YenDBLf4uIscsO8vHfa+1/nA7EuGlbx14T5wLzF6YaA8GaN9aQk+erLkw5BUqZXhi1EbZ
eRTFXP/7KhFB+uP8ChAEpRbQ1lSr6D8crxAAUzM1XerWwsuCUODLHjmjqJBPDoJduaTe7sKW4O87
PrIwkFAS/gWI2CgLx+NhmOIaCng3gOEyfVN2K3c9wktP9YSy/MdDvT9a5KbkqOgokQCQER8PhQ+A
aCF5trE5tdUh8Y301lvw4yR3XG6hnVxKwH/1uI7nRiOPXcXFt700p7Udq18ssE8geJfEwc10Mbv1
q5kP2XAo+D/c1ZaV/KVQ4hUxEWwinsqlsauooTCzRp6bBMmXxp+nLzzVWRMWdH+TW7vrjJ+NbLs2
5HFpvw69nT9lc0MdJc3E6j8g+Uyi345iuq60HPk4si1zjrrCbfWwN7MgRdUucF49ZYk3B5/tl9bo
6iR03MqRu0qUswjXIXdeu7QamghQjPy7tqbqs57X2rd+BCGHpsTkv6bUH6uwy4S6pnNbrnFWD92z
yDX9H7DmyHjLIMnX0FtqAvZtNb6agz28Ivzm3pSqMP9ZRixLYtdes7+I7zq5M2Y8XkJZYt37uKZ+
RXckb73ndCzVKxZFK3V0LVFVJBXU8tuqMPwvKwQ78VCrVHfCin0qP69DOqVPXmLZPQIHKl/L2BR6
7TwlFTriUUDYxcFDL+Cm9IP51epTp480qx3ftK7KFMysLlv2DUcADU7kg9BlwKqyiAfAZBVVjaR4
LovNdto2kuFhQqdJD4ca9brQGKmR7htqEy+DlpO+1viG9JGb2EseDtB+btchaKanYV61nRB0wS7s
79OrfBNOJ5KlS87ZhaRxsr8njhloYEBfs9vJG6MPyjuYIbkXdQt/cGGw7R74fW9vg3k8tQQvUF+A
Rh4fpr6HL7EMjoEBql5Gczl4ez8ZLoF83kHfts7G5tvHy7QV8BzreBja73YLm0+PjLxOtV3ti/mW
SlOycwT3btiZwfw5Ec5w646tQjy39O0pLH1dyyOjNtpLyFa8XbcRjydO2IZTCl9z0wg/xWaiIGhm
8+LhP1ET1r14Q6mN4MWcoEOn3M2cr5PA49ZW9kYFNFpkFMTk1OsVSio5Eqd1O/dACUwNv3fZd/J1
xvrdAi81pYAoRD2lsRl0hRcqOXT5VYJtA5Ut2etmBKCkT56lkxfWrlFmlYbJnCXGrqhcXDcUhIud
kSbDUzcqwb9dptuVE5Qq9Ce/EXuAiusYYSe51OHgjN6/k5619SGwxqzc5VpgPHNTePWu7OfgsTPV
/L1KhL2GbZY42aFtRP/mZFI++UMb/BhtjSOeJoqPPglXzVHqNvaPVo6AOrNWDQ9JCaM+FMoyhpdu
LNaXxJTat6IR7oOHqJgOK60TU2Q4AtHStpLFnRYEyNAVZY0/uN2azW2epvN4Z+uD/9Z0rb3gSNNV
1ypdlYiKNW31vd758zcaf/310s05gJAiMV4G2++dUBsapB4L0TzSRGryeBYr9nCt7xdJOAx+Y0XC
9PJ7qODsLpppywtkeO8G6wDCO/Sl6aFUTTL4IaZJODr0EFqGA6kVCpxFuay3oqxqIOMYokQemjvf
OQ/8QhMwwM2gD46AT1thOyRLrZn2rbAXiGn+nH924ccY8Vg4LTlZim1j2HldIeNkrNInURO1fBr8
tvue5jpq0AJHwi90+Go/nBNz+lYjNakBh5zrn7quVveqQbp4jQqt8t/mTHQaEY8SRQT8wXmjWLt8
Hsvef0h9fGCjReuDv1d+/Oe5kxg4oMHhfusbI68iXbODL/q8JulOuWki46VeDQ/YUGIi05tZEj+D
SSR9tHiJeByMOjWjuYdFFOJcLHIwOdachZW7BOq1qXz1c9RKfdmBiJcP4MtoOliZ4dxVa2sWcTC0
lRV2LeRfgImarsWBavJ9V2noRXVoQVh7eovez7ovl39I4j3+6tYcrP669B3I2WtpDP+SVNTdLvXn
9YsDa2X54lkCC1PM2DUVZXU3aXfT0jlt5KV+nsdj5rnP6LdknwfYkM6tU/D1QvLnjTbXqQwZ0trN
qgPnSHzqrNHHT6zu1j7nTezHO7SZq+DGEXYzRWM2u/Nu49ql4dTnZb2rW5dfntbLaF3Xaq7fsMNV
c9h6nnZI8x4HAXRq0r+yuU4emslvS6yPpP7mAGv1wsqyxPMw4bYM2cG0Yw4EaaE2OerJ1pzSjNx0
sf4Zu9LrQ3uAqRPOqLU8mKnfsUWLsfwsoCKbB4SmyttiTHznzjMSgJFisaV+jVOG7UR5XmROHora
q83IwWL2zgpazJe02eS8zkX+qU628tpcrPNLgoNaAqhXuDKskmIao2AGdzVbpmyJQwwbg5wGTtmD
S0IkrpIxk4+w8t0fsp68LuxX7Fyiza2q26NlM4yh1bGpbuzcKp6EZgvCcmuQ3ldVCPNQTRlJlCMq
K0ozVwyPQ2KW2bOJwW8bqbxrSqRpaeGGpEaGH2v9OH/yLLPzYxRo/B5JVzl/9mg81FFvpQmgHOGX
Tehiaj6Gxpxn5V7r6hRCk5+k662yp668qVY7/1tLSFuvy1w0yw7Dn1Tftz76pRFAZi+IEz7ZGvrz
LHCLWrTpE/6nG3PXzooHtMlBkpho2rQ3UE5dmR3yRDZp2Ig1qO5H4Yp/6VR43g4g/2LtNXtAWMAr
F/3HPNHVDVE0mZy4MwrrJxk3sVCz5NZhHSg7RpuQ4ROKJFUStTLpweR4kwfE28xLKo220+s3mtYE
gqO4WlOUr9B07k22neRP/eCTTE3vcfQM+7vIgim7WqWc3CfowEO5b5sgrfZ12erPS+Gsy6ZdWT96
U8qa4A6UYpOSlSvb2izldW461Q99k5eJcCgdnu2x8tMDbrb1fLOMcz2EWlMZr2vV9VzN5pzejEh8
OvQrzOaNmp09Ii5VT6/Fgrh5OK1e32MCh1H01FkclwYOSruv7MJ/HjsD+5bZ6D0nBki8+rtyAJgT
lpkzM7iq/X+7eXA6sAdt/cqx1McQ3xetvJ7MRP87t9dW3qxDZTzjqmENu1w17k2Bwp48yLJUPh+p
6T4lrkv0qHemuz5PXS5uNUJUIouEZREKLe1rT8jyRcs0XfEgqupHNo+NGcpW6n/Br83MMEmW/r5L
2ObxNKPvdYOolWpA/ttOtnfSILhy53GFsIRbbReqUscsJ536MYgkwJ94qOGPxODiOvs2SLseSflc
zi0Ir7bYymPB8r0dNzx4YPT9V/AB/WOZGgtvZdeh71gMiS5vGkPyYuI0ln0jyrQxnjeCpom8EbDy
zZSNaRbZ+IFLogNDuyFMdaBRsevX8oAFX1NA2M0GG33ApUFh3smljQV0b712XctdmK1D9hPcrjBD
rbVLcd0O2WKGjTWW9VPSKviAzTqa7X3uI2/yZSX0zu4aOippSHdlDTC+rPMN/JIaj8VqVEHoWlUy
7BaO9RiJ0SgtMoPeh8dbrksXuuNC82eYzGYHFG1VVDuUWq4SO1/SuPSa6lUv8zwJi7aRj0orvB+D
XfGv5a5w0AOau+VR5rAjIiG4qfYyC/IgBEeQf820XD7TUbb73VgY3rxHT3Uysawp+jzicUoQvfck
ZJHGncw8IhXv9qUUC0UIYaZ6OPozu6NTznQvjXYdQfHMxnRnGDOZ4kY/sSNHtsknTLspmxtCJp80
zRjqSICo+TGLPLDisdUTdOClzjItetc9GG2je4cp67LuRjqQJ75mWUYk5+WD81XlutZHeFt6b/5K
9SM2nRLtKM8cEnTaslLco/We+CFF5GG6d1J78MKVvxWIYEP9IuhNrQznxrQofIhMs5d4aPyJZ0Xq
Ock77p28ox0zj0Rlzo/esOTYfiW6+0Ri5V8rc5i0qGa0n7iXCmSPBQodyiqtcm/nJiexzbCAPhRi
MLO9TuU8CBPZJX8DIYDsSwinp5+9QiprJ11Lfs0Nr6zC3B6Nu8AdV5alMqzXlAID8mZaoV0hSaT5
8WCOtnXgLm/vvE0kIWwXQ/+HgoGDP+U8EApMfhK3c0nYpFtJmlzN/pTpUd46aRdJZ3LyGO0K4ycM
BW1bDWGwdQ2riIvE8oc9mi71J6txBB6ii7nI0Aqydg1NGOvfYcTybhTKBh1tlLgf8ErUTRo1Iven
W4sLKr/1x3xuOMsKrAkSet7NWoHEDpep7ZI9R7Jro8rt13u7VmYS+4MolzADJMe76tkdhQ0AZlNU
joNMDwM05QEeRkuvPFcOPsJi8MerzNQMb280tfnVqSkDHxD84RC0s64/kx5lxc4zaj+4Sws8GUM9
Kaf70nKK4ro0eKxCaWWozyZ0TT7rqjP6XTqs+g881zp9nwiz6w55ObVfPX2mlUQOIZ6ciUQqalOE
4EInmCTGqmqhZdDrGC0Jt/ZviKwtyOiUSqsDhSvNjVs6pjpi7RZnt055b/b0a7Q0dDexNgx+8Mwm
mWtcvBVbU4U2OQfVKvwQOoI8SCgR1hrqJQkcvo9CYuhNCRR+2Jzp4kf6kPoElLXzvVBm30YlLkFc
RmxrnnLKJ3fd3KKdpnQFSMukWaVRpfDaJSzMXt3Xc1mMYVt5Kxg9V5Uy8jv2beSupWPtbUEFIUyc
AMQ4aw9xi5HFGMpJDn+pPHNrrp4qeM3dwTeIIDs7yUJ8c9z8kLgTgD86O9InDMOPMyyANX8hcLYJ
1Gx39MN2EtbfskY/LDTxj1J7X2tl/uLXc0BHA0U0L3SccR5h8ElK+1XglbvBswq1a8AWOiFAdCmj
ChoP11kQYD/SrVqlDmWW2TerNedMA70p41A5RWVHVpNjW7RadbFGMBNnI7LqYXxy1nRCZQ68xT+t
EG5JRpB5d13T4pxi1n7t8QQiSfWUcI1/G5yeFyRnX65hsbrrHTcDYbXVdIQmOPya/9RFmjx3Vd2+
qf9xdl7NcStpmv4rHecevfBmY3ougEJVkUVPUaR0g6BEEt4kfOLX7wNN785hicFaTUf0xQlKSgLI
zM+9ZimV8sLIR6mgLmfN4ZQYSNesjJUoyDwnf1BHKUUwRpNuM1VyvUMWS+uWL6IZQUsZsIVzoTth
Wo3z1ziT4FxyEGtaYI6RkQWzFTsHHcEVm8OlNpfWJAnubepWKVw2JqObaLLNgmSrUTZZqwwy8LrW
frOtxfIOVtMnXxOMR/j6wzg/DQPTqU3eK+1LbXq0tbTRdM602hz1wO0M42Y2NFnR8RPFxZyrHWDO
PGm+mHVMmjnGGZ956jFPCmyBB73fGnrZB9XcRAddIEQXTBBMjU06J2URjLFI7kd0hAV41xbIS+ql
Q3JokmGK8K2xp9qnr9nft/VsLeHYJWZ9jra89Zo4qZlv0r6hHLe1KXb2EiJYvelSu5/8NveUh6XS
2zqwaBjWO71shq2tD6XrW5UNjZY/QVesVKkEurGsB39xxjnj2HlNumF7mj8IfdFzomSIR7VzM2Af
zn1eYvYe9S+W6Af90imXogsNr7dfZ6YkOIcuTUElTWLqd3mWZpvJy+i45TgDNYTtkj+yGNiSvWjK
ov8cRMw2VrNsFSaAA9AxIUnlq4zS5DzOertBngQZmGCkJ/bYKibwStzgSw6aWilcjN1gPiAS6b45
mrTwtdB6N9lk49w5F1Np9rfVYCffEGuzi006ql3u07jtlvMFr71XvAD6M5eMy8N5VC1+amquTsTf
lJ7C0LrDvd5MabzvVch2ezcyJg6gOldv5aRPWZiTmOU0Qivjaa6K8XlwsloJsDhRG5owpUcTppja
eb9y3RrfahZT+NZojiIY3MG5VVqLKQmK0SZA2AgxOyJ3VF8U5FVcLnWr72Cx4MZaidhwfDSI0rcC
S4HEhyWALncF+vylx9jox5B1SU4ZlVfFBtDUkFPOZMQitj/+c/O0VjzJnIxiQ1ZWZPQVB3E1OZHJ
18AIj56QM+qME3jl01YVo/WkNiNDAtvLxt430tqp/Yx7pgrbWbXehG1TT4zpOvJEc4G6O0uBNbO/
+L3Lqpu+QjyJ0yAmgbpX5kbpSQxmZS8Y0Lg+nLeW4DwOTGdzRCt8I5rwtO1I8b+KUhhYt8/j8KJU
sbgqRBr/LPM6epxlmn4fyJbpVaMC/SA05JqDqIqXB4mHOc9nKjBZC9OVvoFuSBzoBdhAh9os9bU0
1i9bSY0D2RTaZihnLd6NeC7ftbLu76Sb0m7pmi7LKaYFYbGlAT1slIQIEaDs3XxxHSxWfTOu51vu
a3oI2axMz41i1m+imeoGulLqtMG4mHnlL0j33SLoZdxHQ5SfUQ0Mb9bSG3cJJ+h1bmqAewWtk5qS
X6V16yWGDT1IqPbkR2jour5KDYqvvSndB0FlOPoJ7YZnTevqZAOqxclC0dik3+gdd0xWrKW9oY8j
C3LrPhsDhjJVe2tRgqbnhrfADcj00vjWJnZ1M+j6+OzlTT5eCFm4E6PJybF8Vdhxc5G2iVuFlN/o
Yc/eVG/STnj1Wc7o4CWl1X/w8IKszhGVdG7RKlsF5hg7NgHSX24Xkr+UV8vcjLdRPmY/YJlPB7Tv
oiQw+8R4SPvck35VVTSQB0a5l0631DHuTTbSwQC48s7vhsp6LMt5iLhBba6cSdrjtfQKuv+aqVTt
nqu42fZmmSi+rUdc5jPxjBGZWitqUHJn3y4aYRtmc09vEmSchaaTqtU0SrO4utPsdpDndDfM+4Vs
manfSOEczhrOSn5MC36h41jMZ2NJzzQoUrVj+7QKbfyyxALPz1pZaUHiKl4Ryt6Yy6AdCnTPdEB2
10VroPgVe17uXpmMEN8KHHEfakHBy1lcM+lE5u5ZHJVTRsqmiumW00BzCLuc4aqLs6pFi9qeyqDw
0MkN8rw1HiyzZnrR4xWxzl+USrsQidGfJzQyIn9qoevuZBsvIozSyikoqbWZoee0ND8nOacPgHJr
sUGPL842UWLhJNC1g0liwBz9LZqm+UKKcXkpcu7US7XWJk4o3O9+Ryo8nltLrXd7KQplb0s1HhgM
2UO0LSfPq3Yd+cuzN8/Uskaz6NsmMkS5KU2R3eIjq1ybTmPed8xSU38QtnMLY7n8JtJJScMqd6zG
7xSdf3KW+JIHtjVWlIaTGdEKmCWho6VutAKDizzfJH20Yo27fnWVrGT/naQ2e0wGl8DoREoTc/5d
5lhAf4c9vZFlgONqcEDyPKPacqTaIMOoVghk5IJEwbPSn5ExWp3fjwC00BWb44KJjN6VPpz1evaB
0usPpCf2nVnMThcMhTufx3WjeX7jWMpZMcrePEy2mM7GoRzSfSH15KFcaCRdJOg8im2MRG9Krj9S
ophGY31bKFyS0KLRTXjIaFjte8eNvEAy+n9ADsjKtrDPamszFFIkW4a48S2IqQJfFY3mVFNr3g7s
/PDNErNz2c5KzpAt19UzwP1ZzYSp5SDkpZdfaMyzel8f8/RG0TViezuMXRZWfRU9x+D/Gl+MLRcj
Ts5wwtxiMUtfJZ26j+SokUYWVd6H9hh1j0tRgYFtG24NH8nF9gHiovIzYwP87EE2JAEzi+jJzPXs
uuvJIIJlEgbzcURddsPS0uNL0qYawtGOO1wPx7I4L6pBibea2innLhefHaKQYlabbnSiap93xVIG
NuYJpd+kNoGn6yztwjT7wQlRJyD3ogqGwqw7abL1Wj2ug6QV2tlCo575Qi2GXcZkzPKHZCZ1tctx
cmmyi76if2abBGpuW7KNGHSfx/UjGRZ72aXT1h7pkbXoLyWYjB+1ifBrkGuFRk7Qo2jhxSmX9oBy
fMD4rXN8r47a66lcUm3DySgdVDwkVn+mN0hzZ2uFGlNEJMtjb1iTGuTSro1Nr9DzIZvQhixw6tl8
rAsw3YcE+yXdbwGaXEpFelogvFK7Hpe1zOTysZIDWNP6S4Q1yAoq0bU7i0S68xmpMdYti/x8XJOe
ANEx5d4RCIkglJXp1wXVTnUb6eXyUgJ6cM9qsxoe3DSNb2zhbtO4Ubv9rGhJS7e91ekLmDI3gRt4
3mXvyemJkYXb7OFIlQcKIvGiFDE3Qzvr/I28VPSbZVo6j9xy7MGKUg5cN4QinKrchd5tRBJBU8cx
C0rO3EjCteAeN3GTuxsu1tijeTMNYl8D9qJ71BSIX0g84YuLtjASLktzyq6kGc3fBGH7zuDjpGC5
ev2tdhOy3lUt76I3vHre8Yz1tZllDWlsNkd0yg1+pqaYZ/lIEQP/WgqvoBx12OY+VhcmvNhyBBPI
h701pojePq1967s9O2QQehulP8FGIPfUo/yZ+Q4SHd4lA16afm5l0qDC38ZSN5IdanF9FwqEJnAm
7XVSxaXq1zaaYTi/230c1pXov5genmGHgcFGF8oC+hzlsA07t7GXBscQnLGfQZPkzVYq1NihOmUE
G71N4mXn0XR/gB5trG1ji8pFjoyc9pKu1eD3XQ6XLGm1GIxR7JSmn2euSw9IIXYQHuy4Cs2lQlSQ
pE8rtumSA4UMVXfwVOEbYpLWdjT6Urkq6T1jbNvkRd+8NknbJldz7E54F3RpTsKDj6UhuUVTPdfD
opgVAChjDKSzvRpSxtMysDtDDA9iEGLZkcA0seJnkQG2yZsBbyJMpyfKvd7PposavZ4DkfLj0uYe
DB2hVdmdEdtijHwVedECCVEpjC8m5rvVlaiUWaURQ9Ax951qQ6vCVlMny65URXlUk3Iqz7J5Es76
98q0PiToVQz3tjYupFqKu7j1KwajOqkNYz/W6BsPJoM/1Io1UeYvk6rtrTnXp0th0kRnYtCM1RtC
1uNSB4yTKcS2bWPH0VvkLQ7+0WbWFYeuwh73Mcd5pX9xNWLnlerWkR3MCM/PXxm3tOqXcrTJhYLI
s0vtW600lmpvi4IZ4T7SxpGhcmcs7vKizPUK6CGdS54roLP5jmVaponxasctCYmYEzwZpqJyuDUn
1umX5UgKI5DvtmaH1FMNQIEODBMVVB5y3g7kiW5wrP1oLYNyX1p6TaYxTI3FsCQaWwnEuVcFR8oC
d+H+sIVhOz8G282dfpcyJ40T35ztrOnoQKVm+dS4RJkXj9I1Cmd3NtLDnKZFf21JgTh2AO8Nye/E
mSPnMLdQNnapMY7lhUqFbu5cHDamsKB1vtzaDb9/7asuowIk/HHwe4nTeC6+2ImqzN8jORM2mJVI
b9+yv3k0W8u9HW3xYTzT+pGQmag6oxTaa1N7LpUBUWe7c/Jx35UTXiJ9VaQToXLosisAUYnY1pMz
1Oftoi5ZOFqlkX9H2SMS1Lmd24Z0PU113wI1Wfyskou2MRRZOswyaLYE0jIr9ynnxNyhCZjNF520
qGYWlfga9nOPLAJ6z/LbEM/JazsvWntmcwnkm9nMo29K3NaqHyvj9IDKZqxvZ9XL79K6NAYf9nyB
yRLhzwxRMcvr73GXRw61luHN+7jhDwXEDRmdxRyXl8ESmbVRwTrLHcBM7QECEj0mi5695w8efTgf
Uo1ywyQ1Lja5my3fpXDqO/jQ2hfpxqpDwdSlYSeStGKIQI7oJwK6rc8IJbmsqL1vXNQ7ADKbXWn5
kR0l3/su7rRgtNp+9MumkU+lvsiJRHZU1Y026OKnRJT8aRry+Vwh2S+AxdT22dAheE+RZoeKwbnA
5DI/M7JMgBnolwvGQGMR1vFoHmpOz+Qv+sD4ppERBr1mOuUXhYNJ5kTZQBlpNE3pj4ne4BHAYJzJ
PE2gH+WizV+aunFonzrFWG1EAbx9syRMfu8ybsQvqtJ29KTRMMUcwnISyVzDAIRQaDagj4S3+yUV
FqDpvB7bJ3BH7l2Ul1q+javIce5qnL8fBYaWAHbM2Xrx6jGXNGOsTm4iaZVVYE1zHraxN6/aDrmD
UjOiYUUwzbjgXnS9NiHXUYjybFSnZD8BZq4vLahMKSW1Rfj22opeBnJyzGsQm6T3M+lqcgFp3SqC
ZoiymN5zh38vgb9i8Ckix/SF5bTfRUxsCmdZgufIKN2JxrmH8+2wRHJPWys2N53blckBNJVS4myY
lkWYRsvwsAAT6ELKSPmjtLXkJ0L2rutPiTUfSoSfxq0UIv3e9hNwZTdJspu+MVNGl7pbg1uUS8+U
pdfbA/US5Ssy/N7lSm+IA620kz4A6cMchuEq095+rHA+aEp8V30MRzuC1ViYii+ipb9PEipjHy8u
xPMdMp12Y85yvukzY2x4JbOl+gk30OLHrVNw42kegKt47LjOPQ9p9Z1GS/ORwT7IhzFHlDpgW9K4
zpa0OcQzKVY4Qt0ZudxWU0JrScW3XBjmF9Wbo8Ln2mff6J3s9QuladvUV5kEPcVxZxfUeB2Q7rpr
M3fLZeQmW8xUk+2gNsoQOAyvtG2hed2t1cXLiv2z9Ms6bu0bpHWQeS1rLnFfWXJXhkkq5U0KNPfe
SIUoD61n10kYmWMWBwLQQR9GVhS7zHpIMrZuy1R8bSHQ1h+tIW7oZWqW2Gp6mZXboTE9+j8UgDRh
+3kMBqkN3ytirxkUGjo4j1AsqmUjVLBv9N0SJw7VxEtRSXeM7sAkRdZPWra4abiYivvs1J1rBEJU
8xhyuFFPyMqqxN997jzzTKh1fznOuFwFKCHRZXfLsjrXa4UWdqJRyW1JEPSvwhrbV+5Qhlt5qq7N
IjrbKuXnrLlBm2EG/ZBl7bLPgFIU9GAVRrPAg/KHNmmtL9qMMPFBI97dLqVmkw98DtL8DVcGWhxZ
JRfVI5Wc7lj0qCp6OZBU0YdtsnZbzol1NmYnVzmmwiLyi9wRCuAo03loHh0h4SlShF0ulRs0DT1o
p+DrW7UG9ikH0zFLIw5S1MhPPNpv+Lx10V9wUBiZdBTXn/8Nfj/EGpEoQpbaxGX4gE5yfV9jMbAr
GeH/+VK4JgPWRT2KqHJM2EKBRytk3jhBo4ErMNy038V2PuwSTVQntEqOUbWrXvLq0v7LFAIluiOE
XjI1FcdudIMoayo/j3BLyJ0y3ckss/1mWE6RGD7YICtgGE9q5M1ABh59ulw2SwSExAM/IPWzYhnn
M5eL9MQL/OipQDTDadWRP/1tg0BmL518zrwACB+GsxMIcCPS8k0xWox9s9Y6Aaf8YG9o+LjrJPKw
JZjUv98bOgjxroPhH3i2+JGaar6JJzDm6VCfkgf56P0hjYhaFRc7u/EIJQpFTjRCSb2ADkh7DyDA
uSxIe0+8v98Ie+u28ODpsSNs9BWOebqN1VpUh3wmpaeJX+eNfglqQ9u0rmJcj8Idg6xIojthz9pX
JotDqIORuf/juwSOD5hvk5gJo2Z9FX87cJR2DjQNXmrXAp0PUg+oCigtw/hTrxINcte6JV06d7g/
G0cL6VkCkxvDU1i6zmj6WAyAJ5vURn9cpuaUbOfvW8VABJKZFtBb7knv6MApidYxOqGEV5J8/sH8
hOGmRBPhCaJdespj+piwsT7ZytW1jVV2nid8/wqzrNMixhw0vBzNvWyc6lkwpd6S1fyk+1UG8CvM
TR6P0wkqz+8XNOuuCh2cvxXSfLSuPbutQkLPebBGa9tg1xWIwXS2pdc0GyW2ZaBqpbb9fL98+LA4
FrNnABtDwHn/sIBJZlPkzJV6mhlw2YG6g/GT2xnDQb83cxHqmgBJirj/Hx9/Hnc1Eln5tQ4MoPcr
V6bAIKicvSAylvJroZTVnTQKWqnTPJXXnz/l7xcAFF4Uj9f4Rzw6Fo5JjS5rRuGxVhW7O3WSYqct
zBE+X+WjXWpR0UIt4vxrx+oDlOURbVSHC3S2WhjDNXOroSoPEnz8iQj00V6xdJhfkEmddRb0/uUt
udcJBwWmwAOtdTX3Mroywf5809BjUMOlMqPJJwnIrPDzR/zoRaJ/hwsajorQaNdX8LfrRclU+p8D
le0y6eX3Qo+tclN4vTFtPl/nmCq7nkGIlQ6ETgvtMeMoNnSKhveBtD2oBFAFkYDlxGW9tmEiAX0S
AAPmM4P10gKCvJoM90+tKtflucYth8kluqjH1u/DqDOeZbgcRIhkByZi7X6mOxjOTRnahmp/SoHv
o52DZuOqxWrQtz/W10wQ4cgkNNbAHdRxiwfMbYRp0AZ/NPdEkDq10tGLRUF0SaXgxcZ2bYVFqWH4
kOXRphSNefb5N/xwqdWjVUe2ArmxowNOOyuK28j0AlNJzR8IVeCEbqTN1yZNTnmU/566rNba/73U
UTAiwbAHBk1eMCYeYtU6fqIx/bMQj28LQCbekp8/2vGtqVskLquig/pL4dk6Wo/iBjG3IR/CSZm0
HeyjGWiW9Lb56h1gGPO4dWJaOIYsuhM32fFL/bUywkBwCteoe8xdzPQBTqOuD6Hb5e5bWdfeWc70
F2F8rT5xBj9aCsVElbsZtUHLPLpjbIT3C9mrA6TZ0X0DUm8G0CK+9GOrnCoTjr/f+lTQxVZ94NWN
4fi8FcXQ6mkMilUx5ksmLtrXtpxan+GEfVe4xSlW3PHtyXIrORelGDCLCF4ePZnWDxifuN4YzkoK
RtJ2d9Yv0gQcCoamdc3vwfTuxJc7vtLWRblOyMvMtdDzjpLQ1BpF79QgM12GnKtjTr4fkSJ5aOEK
b8k4rJAmT32eDMJ9TuQ83f/xliWl4StSHhk889HBH2OGaK0s+7CUbb/r821d3xllPNyUiWuFjFpr
ICP1qYf+YA/BzPeQNvPQPYQ19T5ejAPJPIv0Yd5mzGlsXVkCMlT7LW5TsASfP+JHn3Vl45vuKoDL
Znq/mBgAhpCb9RCljDTwSnu6qtuku4k0mWx7AdhMaWr1xGfVPti7UKaQaUV+EHOPY6XyInViNc6b
HiR6q1/ptG2Zurh2/6Poa28vxmn64iRLfp71nX5LhVc80hQ2QgFjV+B/w6gs8sqUzhR0jTCqI8PX
MBc/lUF/+FuCUFsFBMGYHm/5mSIdV+kMULIKQU/07uKzS6x9WyjdvrWt4ufn3+Kj3e5AdYGQDnZB
Pc7uIHtWpWFPQ2iAilbAICpFFBogmgDLzNUBL9V0A3spOuRp0e0jNC/G7ee/wS/Vh7+z1tYDR25k
43SPKDIQivfboaXJqa8ORmHe2OWBtlu5dfA/3ztxmm+aTi5B3fXWZacuTWgVNTBuvnAohiFnlALA
6fNf56PNidWMS56NWIR5LMUDgD+Oap0R8zIl5aGUvbwdVcgVSmL9yJvYYcY0ixN786M1kXwg90Uk
lmh1FKamQlUXZYr7EGZQFphSH9dRVO/cZtIdc5/hHd2EMjKdE5Hjw3UxC1iVKoElHDuiaUzBl4Q2
G+blhs38oK9W4dgBH1KmKQm0WUVNtlkuzBOf/MN1ETdcbzmI3MdfvO6TOR2sqg9VvTD2TpbbNrDi
PjtEsL43Yy01hiKQyU7cO+trPN5oHC1CGILYCDiuZ+FvSfEEvHfQDZgeCGaOD2k6dxt9sK2HzzfQ
BycKYx9o4xxg9CKPdQTAkhZW7y1daLd1FnqoDp1BCwBE0cVv0JbHoNNnPSA1MNDzH4yzz1f/4NXC
1lQx8DQ1UHvHeQd5gmxzLWErFZl9yGxQ8y6eTDsy1C7sKx39ANGdEsz54NJiUbopZAUri/1o/xLJ
UJr1iFnDwAwZ5RSis6SpnjtRGjjWNP75GUXqSF+DNK7L6nGMdLtVcNl2+9AspHLo7K69TUD21lsV
bmQaqEUfb6XnyJs/f7dU/qR0vFgdK+b3+6eHMWGBpu9DZVj6nay1ct9bjRrCsnVvdPDqEARbefs/
WNSkvaEjjbLmzu8XbcouVQuLyGznSX2YTfrerWspP+OmmXdqpV9hrCvzEyflg3SANIAtrPMedRT4
3y8qo8yxCzPqwzoqO5rcxnDf47FZEB9aKKifP+EHSTrGFrCp2bUsdlz0jz0IwmGcSLgk3GID+ti5
NS3GvcIc0+9hbwcGGt3bPl/ap89X/s18lNDDIBQH2VU4a7W8ff+carUQ4qUHnohOAfMJKa4EQ8g3
CBhymzQG9qhG01o/3SZq4K6DUQbMoejqeYHx9wPTGACJ+lQlG1BN8AU+/+0+OlXEZQ4WTUqKiKOP
YI2TqnBzExddwGouXumQh2L7ksm46kfx+KfKfr9eBr1rOrDkZHhlvH8ZMnE1RwhKlmSgZ231qBfo
NCd3qd7rfx4AVn1gcKPWql58bIbDrMjoEvhgYQTGfEfK+7XilO+4YKhdvNa69vQyD//8dWKIi+4d
Evr47xwdJChttQ2IewitsqZXoFXD9ZRWMvQigCUmXm93n6/30U2Mxp7rGSRzLi5Q71+nW6n4bspq
DEczUvdzMmhw6Lv+AfajhvZ0GV3ZdZ2f6ht8tGkQMsXHBcnLVTXx/apjmnhTDKcgrAbLCGxPgCwr
UmUDMFBZJQmME1/yg5vCACFsGnxPzECO12tcbmDGzlNoyTi/bKy0fWx1U+7op+XfPn+hHzwanXKk
4Hg+Wr72+vO/hW9rode5LNnEGBL4peMKBxqxDQFRGQB/IxW/nEjLPljQhGVNEGfWt2r7vV+wqk0Y
KJAlwlzE0bayp9fSTPU9VmkN6kd1c2KDfvAqkdNE15cJL5oSx2URg/SBua86hR2XVgiyL9+BazBB
l9unxMN/qbodpUJrHoQDGjJfdJOPLj47ATpmp/Mc9lki95aBaoFIleE2GzJtY099R/mpVjfp0Knn
XQO/xuq85Vqdhvh7ihL2D1jdJgoHRrsfV0MWx7Ci+zhqhyuXou+c/ZDtK0gs+zjO+1PyZB8VDPAU
KFJpOlq/m1wtmoGFJvi30Gq7GohQBBHL0mfrgEVd9ViD5CCLlXP85BGPz2qRojsCVEh57Y06hRSC
IEC3+XxvfhDDmAYwJtPIdRwGWO+3iqrUCKO2bBXN7hXARqW7qi+NqLKA6Go0M98vitdBrqyNEwXc
RyvTm6eRzSwCpaLja8Ya8INP4jnMVOcFwwmThH3pr2CUW6HW68Wj3Y2pP3XecCLT/GC7MgJhrkTJ
xnbV9fePHMP+qvpGm0NE0RPgZXbu4xFohJYYT9lwf3CVorK9rkMvHH2To2c0+iI2CIczmg3RCs43
p3IHUmdmhjsDbpRLu3eEPp54wA+O/3rTYEFBYqDqxz10qVlDm9cQ2xuJwokKIhasNnId+2WaK24A
pD2a4PNt9Ns7ZTeTYFrrbIJ23nGFwui/1mZ3kJy+tLvqtKTa6bU57YBS/ulcUGcpNiwKFWQx7m9+
dE1WjHbmoIOxgi7P4d6lfj664IzoaJ9IZD56KpSmDL6gi2jNcbSvtEZmrq3IECowHfqyNYfAArSS
AFOaivDzV7iG8Xc3GyKCNCZRSafBCvD26CS60GRAwiKbkAKXvgKBzah/WWoEWD5f54OH4u6h4NF5
f/zPe7/9tRjRg1gYMixGdBBMOF/wX/D5jb1aPH++1G/bf9VFtEmNubEpPX5pW/4t8Nm5hwTB2jCH
tir2/dA1YQe7ctMPitzS+paPqlZM288X/ej5aM8Zq5wslcCxGVaCRh5kVQ3QEfA1dDP09K6S9Oyc
HnDs/2QpAwuC9eHIld6/ShvemwZqccU39bjUWh2oJfTngMR7zn/N4/7Xz/l/x6/1zX9thO4//4P/
/lk3EomvpD/6z/+8TH+2dVe/9f+x/rX/98fe/6X/vG5eq/u+fX3tL5+b4z/57i/y7/97/c1z//zu
P6BAwAu6HV5beffawdz5tQi/6fon/39/+I/XX/8KYuuv//rrZz1U/fqvxWld/fXvH529/OsvZtF/
e+vrv//vH149l/w9n7sqrZ7/sX3u6t/+2utz1/Mv/JNvjRA8ZSYdd04rF+L0uv5Esf4JVAGEECN9
5kNrXfjXP6q67ZN//aVZ/8SlAs1EciSHHbrCQ7p6WH/k/dPUVIaPKk3etYXvOH/93+d/96X++8v9
Aw2hmzqt+o5/mKnp+7Nt8I/RYuD/DAPIWY7HOQV+Jdog9MCZ6iIAuSuQUiw947VXgEZBpAYYiHqi
b1c4FpbA+L5VcbYVY7LHwlANdIbYOomBFiZUth7kyM2kJKv0EbRPrfGcAxJD0o8LQJi6NNGH8dI9
YE/IqSAg/T7ClhZnizrAyaRt+3NY9k1Q6EkKP8ER+6Hz7EPdZfeJsuymucNwJoqj67Se26D3bLKl
zm9lFF+inyJCV2uma3fkJsS6SQHimBZIX7X9XVsD/AS5eiulfIwqIIiKE/QCeEESYS2mRfGjl0YV
oO3qQqIsDUJ9UTfTYutP5dzhF7SQnerCTDdLZ8xBBAbej9TuoYTleT31unFWGCrCDXb5VhaOF0Zo
j9+g/7W8WUr6XXclonSLVmy6Os/O0KYkE2TR68wbzEOF2+wtg3vtrEzAjWNIQhvNKevJHxD0OAd7
qC4hOYN1Z8alEojYusUkaiMb+7sHzPGFlAGhIBgVJbaZWoPQy1yN8UbAWb1wEXHQWNVcLkW/GMg8
q1UdTnFmb+Myct+gZVthkhhDHlrwnFrfa8r4W+12CCsZs97dxLnuPBYCXQWf4am8qUVRXhmcisRv
gQL7kLmNs85yJ3HTLXN1mbbOm9ejUuIzPF7GUO8neSZp/O9mWdkSqlXvJenORg1vMoLV3CQYSKXg
oleTHRgkyuNmikvvSc9Md/7RgazZKJ1Qr5vS6MwAcKqufRFqrF6NrXNb2YoZkpmmIrCLIke2NbNr
v49nWAORyC9Q3WzDOjOq3m+LuTyf9cK+Hj2+RpKnDdD6dLlGqPgKITrmFsKo5quC+RGI3lKeL7Hz
FbCmnp+nulntas3cjzVkMSa7iMJW+veySJASUdWgn5f0MY1oAy515YFXR9RQtXZisYxNpDtnrkcV
JVsUkeSih0DZYL/eIhEi/XKormBWXZi5epHRpxkxDsx6+eSI7BLcahi76aEadHcDYC2Mkzgc0H8K
wOH7RqXgpa5tEqRHAf0HC1jNFkSquHSc/NoYnV1RjgHaZxtICV8csKz4RxW7GbkMUpIZ2kga9OgQ
G3djfS+sdteMEoG0n7mxgFmGJ1KoT6qVdXcMeq8j2BggZXZcR1AsQFOpkX4oWuQOZHQZG9VmJqPz
iRygvnUaouVIN9jdp2kW7Qs1DZYWqfpY8Q4uPLMzPtV2LOZDgWgUYVLfoY2mYadEQTHZxlmWJt35
aFrLjZWwbpLls6+UsRPCHGmgi0QXWnYjkatx1e9p7j4kKlC9xdpBEAYy5J0ZSAB7S3Um++waRHTQ
5E4g2+VA42uTpG8mt4oza8kZ6jXzw9QaSLmUvV9mYmfWjhk4URtGifPgFLRZcyD23HPd90jVtYsk
k2PAJPGtLoqbYiVdLBlep4MqnhoxvSgIeIaC03imm8OBcmUzzMVVJbpnpB12mjIv+97QfgB3mOPL
YsGLbAJwDW6yiorbOlejTa7UJihn6CyTJ3bkkbACXb25gsAQ1KhYx2ddtbTGNmsitBHGPDmAH6ej
XxZZGz/EHk5cuPBtY5HD9Mg3Como7JALy5NXpg4/KqrPQEvc/LZcpmCBGdFE/4e9M2luHMm29F9p
6z2yMTmGLcCZIiVqpLSBSaEQ5nlwAL/+fYjMVx0ZWfbCat29qbRSKIIkCHf4vfec7wzzmkQaTEB2
r9ybU9B+GnNzrypqcN/kAa7RUFfOSTSUFM+ZO9TeoLrDSQRTutIrpdlJgkwsD4PhPkRp+MyMALtu
3pZXpSwGX4cnxzh5du8LlGUchrX5PW1a92Qa8SYM9M63O31eNxUeAKe0Eg/Y84n64SEKGqT7sXPN
FAf3aZaMe+kOvZcN6k0TJ/EhMir34IRO75t6Ut0E+uQAg3TXC9GhrfJHzm53WY2tuKtSABtddlMH
RXIbFB17f/REdzdYlWr3UuflxkzfKSF9EYUP9sI+skv1uxNbu9AKDgXF8BCnWw33r89AZzyGA8ha
Ja2/aZp+ctL+W45fzA9akxywMr00mvatVprMh3zFw0eLdzlYJl/aOpCcdE0vOwfUlFIxz2aFRiMZ
1wHoXcR9hem5E9y/zLBytkJd+lFQGPA5qm8BzINN1hUHjCnJ5yAzhvZl8ek25QECqIrgIvVzhKpV
TiBuoUbAxPPzlMe3da1Gix/aBnwdrVN78gOA8PjKsRE+a+PzPL+2tLTqFH8aV7sppLfcdK1dvriD
vMkanmoQZ9ddP+6E8horpEhiovAsfX6xnXSbKK+Elez6Wp5sc3wMFYQLRQNNmLsEYAvoe2Fve7W4
YNPbmOW4n0OL5QA5xLSHu7Crbo2wP8bVgKU7KT5sIl682GlP+qxiT2n2sjAhE2Ynt8ZeV0fXwFQO
w9AfUm7ikg5FyHyrQNADaGvwQSe/BVjirLzam0w4c/s02/1LPCkHXTEeIWVAb2iUs+0W3+fhoW5t
XAOEIXqyikNvmMwvi/reSARWxXcTQoOTKJqnwikIRvFAjXmd2q/cznZDHp6YWXiYQ9iJ1eRcZtqu
Chri75z4LulNT++jO/Sp5kK5BuMxqSxzzLl2221w/p0i4yiNANRg9q1W431YibXeVqsEMAyOgZlL
Ljfu+BY7jm/wtQOGEMZ60rWTGwzbGvPM3lHbfQY4TAGAl2jg2BJgqO1LNIZHY3ohgGkLT3czjpOP
uRi7hCqrA8i20ovD4R414G6Yxwv4tsKf3QIogPvJol1FrbENsjaEkh1Me1Ebqo8V/NOqqj2omg0X
zOfW8KcMKFiO32B2tkWD5mhQVqr1iNLvvYnUrZEoq5ltI4Q3ygJszgFsJLXo7nUg6wg+/EKp9xOG
OztHZGYSKFsjWShVzSem4eS09kJnyF/T9ruTWeexaK+6Nm16bPtmKjYgOjAQyczPinKlZluIjHsI
Gc4qm0FzmlHjblFz8vUyZ3DTfiUEhNXKvEHoczOpBCOoWnjp7f6plIaCpu51Jqs+t7JyZww5trgW
l0dru9Ohyz/5Kvcwy7dBCSmxz08sLW9sgUum5sFqA1zYQ3pu8GF4EOIu1oDc2O6Bjhi9QDtbQ5pE
1tBG+j2wsJFvor2nfvaGbrhTME0RD7kSkdw3zIs9V2VwKvHMjIJeIanBRvuA1USsyk4WrImcxNOi
7lemOQ67uTWvrjsUj9BJi7VBH/HoKtx+FoYvqC+KeJyM+KqVj+48nrvKeCgJBxaDvumV7hI59dHS
9RuKTlpYOidOk1STpj10k4Zltr4g5bh34mE36vGbVJ27rs83xLzpUllFs7rVY4CqXPvMbG8AQz8y
kxg2s9p9Lhs6fL+c50E5bDPhMrvrnupC36szbGbOphssCi6OIufJjYJ145igKfKVPXQbe3ox6V3Q
oMzAQoh+2xJQVkKLquPd0EcR2RExuXlCcKsTHSKSfK24+rew+SiiKd5yVI+4lUwDA3n/XBj5qzY5
b3o2BgcBuIYeO1uAxn6hJy8G+Zyxa+3JS+B7S3lmsC9gQnV96mieHHEqPMMO3juBf2fIzgaOTU4n
vs0U1MjbNYSZTQsBbsxPuYH0NDwH8VsBN9AxbwlX2A6Fshdt/doOOk9mUnB1kIaV+mbQ003B+XTQ
YWQ4r1O1XItyQTkUGK7UZgNHddUFYLDYY95ry9gmI+2JmC9EKI+2nPdFXPmVFW8pW3ej0a9C3eXm
kdCkKoJUCyXYxuBKo8Rc15mw1mlpB9vOBCRgBvd2/ZbkzgSkurA3s3lvOPnSVlQwlqVYqGwDjuYE
MEZo+0RFrW/b8HmtTYDFOU5RhThZ+lwPRElM9g701xlHqUNc1Iertcx93nGQ302m/aGF3zIVX6kV
1QTbJYdeezFK/V2A1oSa/Rg3abTJZywxuk1IvQL+Y4TD4OG/Nt4iwDmvTrgEahZOUiue1KctWQ3w
g/SSNPumeWhGO3iOyiBZfhZOJyCYYtPFFWcIqyv3aNt4YLYF2Yom5ysD6ArbhHU0zPRDEcZVsj97
gAM1zJ7LLWkNawLw7vTJ+MhHG1FOXD9oo408TM4HV7Yveh3dS2E2L4mafibLszSAWwz3QNfktpnj
i0AkuNar+Bz06mdbK4cmxhBqFdjZUmyjQfNZk0A3cQu5o3NiLnzOMJK2WaqAtSptgLTllic/DUPl
JuRRekfC8IzsXElPxVAn54p2+w6inc7pNGvceD1kSQ+EKUny5kylq2yGwjX2vUzFQ9bp7cZ1iuja
WXb6FiiAPbNizvzY1NsbK+NY31XK/AY7ofblMCjrxZZ1Guii76DvwZTU9GoA8AKBa9Nls3JDqHsm
Mdr2i7PbjvOSsMnZ/BqqqALYkRTynDLGvg1Fo6S+mB2HBVXWFo5AZLy1hwEqIp+yD2S5bmO90m4Y
zqmy3hYptGZ3l5Rj76yCLg3Fc66CN/AdMYTNVmE4cgqsMN5yp+VAbMGDEL/MuWPmCH5XySHNvYkt
18ehGJ/dGF49J99u3zVEjA3tgAMxBaR5gOc+L2DmMIK6PKe4JarS1FZcLG3wlMFGgjTQ/qDFwcHi
pWcfxWmNlJ3jSaZYu9lwhpaDXCBHZh0LeShwizGCPcVocwUHxNrIlMOGBJSx4pDa7awkrsyzjbtX
98bEivdzq0QOBhGwuVNjN0fy1tzHMudJ0BqWUnAkK2FpqJAXe2gNZlKg2C3tc9Dh1o4tF9xexh/u
ek6/3tBExakPZz58j+H8QgspwyEuW0Umt46mCGvTQDmeH/GSovKaRgF3HtMTLWFXi/d5Tbm2MsFb
PNcwD42NZbKWmnRajp3hBGVSrdpjOMM1WNskgNahj7hR0b45PJbVPfrNhURX2qJJjV0yp2rNQFur
tepEmkoRaqvY4ULtg8ItsptEjurIaVeDeabidxuor+3Rbs6oasGxZIw2xgcYmJn2nQIusr/Hhcv2
I0m0PUQisMZrHs/ypuvMeYcoKO85g43SHxsn3ukzZvP72gQ1hQmt145kdbrsTPFYT9sCQHOwFeTv
MqABfs7rspuwn1WFc0qQ21ce5therIZxAYiX/IgjgRuSRJCY1sI1mZP2xHwngwyYKoQ3D2kqPkrU
raFfdG7XA3UrRLFRZzzfjQBB7Bv1OIhtHhI96U2dALJZ9qp9S46pqFZMXpR7GIXG96Jy+w9dN/TL
pI3t97LjhJK5qVh1DajIkQjpQ6UO5WulacDwxlTo816qy5ykdwMb2jYGuHUhqqLbFvpc30dxUh2G
JAgvkFyCaOXAT4s9wujAMMejvi9QYPsCI/k1JmHmOIwZXdVWbdamKu3Ji9gGBkhdAfVDGmrfOxIo
9mJI3YeqE859HTvlSe96cSG3Bj90Wkjt0EBcatZWLtwX7ADiUhdSX8ruJIV4KbDkelbdTjQ2pmQ6
WHleLd++xCRdxcK9o34S/qgkyb6FhUHuKZJgT5BPaW5GlG0vo4i6L7VBnOzJQJ38GMLIQ4ER8baI
G2VTp5N+JJGVekG7idWIrpedcobItSrfW/PETjc2qpF4Igv1h5Tt8opKrzokkM4egq7hPGIys6OV
NdBtExzGz3msu9e2n3h653GQuCR3jOF7UWTRdsipjZO21b6Rn2lijB20/DlJJ0GbMVQML6mi8jwb
WvNdC4tb7iOEPF2VfCmJo3GjynmAVdO1PGK4ztbGcmKyOlSapAX7C4f2sOrvkzrXcPa3oflqlG2A
6BvxrHPTVY71oo0Vp5kQp+pUGYNG60ejfJtNsBfcXjZ9i1qMMz0/cONP9FwlKhqpDjsNNREJNCaH
ZPPWQODkgeA1txUoVYRAPVDofmzbHW04Yy/GUNw1mkN4F7lre2N+i5p72RBVE6CNv6HzOdk2tO3B
iA81q/BgWLOxie0OoEoflhyfFS3+rqUzRxzwXNMBm3t4Rx6C+SCNggLBJEdOh/D7OKoRhS8t6HYT
9mI8ZX1oUrZW93NqTmcc1AGLy3CO5BRkwKFAAhrsMBw7mmItx0cjpUOg02LYZW6teya6HT+MRAso
mZYk34U6HlNDo//iNMMmMxJY2kbO3S0LYP8QeHjP515GJzXjcSqSLcsqW0EGvNaTeEAf4Mlyq4zu
cczDz8LMtm1megpHG7vN9rk77XrX5FAB9yqegzWW+iU4CGZ6GSeaX5mlzs0JgdmxaThrmLFPZimD
g9lMguIHLISVd8pLEhrIcNVSWs8pk0FpLP53GMtdfLXa5DiRAvBBJEp0yqfR+JIcHBJvMtXhWENi
uWblNH3PTCN7RWJqHgJiAZwxAoxBnJpkFU02uoHIqdw9pJsWj3uVFuOW+zOP9gO+2mtmF8mn0QEO
TtPZ+GbOVs1I34b0Zadm9oQRSHu1Src6G/gNQ18mrfIeNrXdr2xl3EdR2j9qMwwYUllceG96CFXb
7gLa7mpnfSSNmR70mGMsv7TthVR36mhan5WW2TcRJyRtLfV0eG86k/aEJOfbKLJ859RC3RKrSqCF
DXIeMqJH+MEFYBn3SXCcpoUF0RE+AKEruk5Nrm2REOu+qwJehicU8ghcBVCokOUAKglAoO+BT22g
2x5qFfYdD3KYxO6yJMe420RzfRpkDk+6qB0vHMIjba3Ed9CAIXzUoGhARKRz4VrPch7XY2HsyO6I
PiGVJ55ZtsduhM4b9H23gyKDMWsW5mpU7BsboBWQP/chV1qK2a4FdMIojbNCxIN9WOMxIeSuDJ4s
3Uy2lmklN2gdVW+sOmsNP2S+Ayz+OsbN92QYVwnoiVDHe5iZRXHoacX7+jCWq1QLD0OXPwOLhtRU
G+/21NNYihJlY/UcCyBrhU4R7CsnoREjrSdsZt0ZN5B92xcJnRYlbzb0tMBzdxzpQNdC+eubW6sS
DwP0CzTKMDfZV4MP3SmODCNWUnSggkrlFV78vCsXtnjObexWQwOpffC63rDXzvCZCElx4eq7qgDA
NHUABkOLIS78F8ZIub3uneFlDNOGdSzONG2SZ46f6bYUw7Bme98GMdxP6Psp/8x07xjJirnQJsyi
cjMMbrk2tXLawSUX+4VmsXdp9u6mohleJz0DiG81NCuMULnLxFU45bbtm0NIa3c9LcWNYU0XADXd
Bujrscfwv+tmAqJIYIAnozad7Y85xqmU8GivNfVbo7FoEyNs0VLWUuk0PN6KlUWjzpHfHCINaXio
G8rrao9ibIDLqXvSTrX7DJlwR8jYWkdMuFa0es005m1ySgytKegr0XcvZkrrHJbIBoYuszRTyDvF
abg9OIf5nWKl8NNsVqA27tux22UmvUc4Dc1FSu6YNBvPjBQ69jqLiLScBF84rtUDbPuT67bavlfy
x1abbvRw/BxH+1BX9RHY101SJc/uj1afBO5RDSqBJ3l2qTR7/Axp3GFrbs7t4ChvSZzat5YKXW0e
l0AbnlW4BLLs6ORFwuGDDyP7EkqQnn4Afauhn0D3Y7q4QiquetizQuY64Tlvoiewv3Snypz+vc7J
Hgi7avhzm14YEe5yx95BMAGu68BN5hjvQ48HMNesW6W/LUS3rsbk2g2zfZnq3oe2VFySthbv5Tg4
92iZsplJE7ctuqjs6C4hRd6om48jlQC02KFdy9n0GqssNjgEaLgxZdkOAFlvpG0cdJp4/qDKcxu0
/TNIyOg2UEig07v4XitmWm6dM/p9NZqeNkwzuGbnva4ZK5ION+knKTW6Ou0Q7NXSpCGGeCBT36a5
1nYFzB8ndnUagXIrjVDblL3x2LOVkEszNgeUfN3HCM2Pw2gKdraHWI4NBu3sDarve0KaP5ClbjO2
RIcmIN/owegGT3cf0oKpTQgRsJP6fgqUY5iae73gfO6WbxVYc7TyRwmHmIM4hBSzKtN1O9NOrKqM
1jobO7l0KT1y9RuwyxVxNTDQk/oTV/h91aTH0ojJIGhWUxKPHi1+a0u1NO3APkUbKDbPE81HOD/G
05KP0tPIK1IJsir/0RZkIYyR3j6PoBNfxlxB5MfUhdivym/kpG+0aBZHu6lfE8DkZpkwLGDCPWPJ
GfuNPdbQUCbmRaoqr0S0vrQQMyhnsyc+Tu61QtZ+5ewlITSpScd4DCtSE8MbQxxkVB0TGkh3slfj
TT+J2yT+1DMJPzFp6cvUE67EovBHCsLXeNDHj6YZxe0Qy+4zDmVvrZdAm9U49ksnPa7dwFdYgqZX
KjRJiRI03UteBGDcwKy6zyEliHJkQq7cGpNTvJahEO/q0nPLeJcWv7SsJzD8jQJ2QWvate7q9arK
lSyHDAPRhn0xg7YzqNpW6ASkGnA0bpHfOyv46OoJRlQ6rxqbgZSZqfM3O+KIQT8m/85hNGSOCEC2
s7OeDSzTwvAYGgwvaQZ/Vyd4zpyD4q6UW52DmR91VvJq9HKSp8A0JpqbhKxgSipGBHxlN/2ptvpL
jPE3icG/VB7/b4hBtEWF8X/+W2zxDzHI6b1v4u69iBEi/SkuWRQkP/7Sn1IQxfxjMR/qyO1sgewb
SeO/tCCa/QeCMVyt7I84xhZVx39rQXT7DzxMrkEXFiUI2ij+6C8tiGb+sSBmeKjqNiYG/vOfaEH+
LvIS2E8pkxevFKoTuKW/glbYDKFn9TFTB1l7GYw4up6j+h+J8f56Edu1QTyoKs7BX+S/Zp7jGBzD
N5A/0Y6F4HptrCgHtWLV/HT1/7oPf5a2/NuPg/IGESfyG+NXDSetPzdzJ5dGcMYOq9FAuYc2XKa/
Ean+82V0jdHPohbFT/IPZyvTE/o8tbgaNWk5a0i+/WMJ5Cr4zXX7uyJ1uW68DFbSxYEkhP3DiPmT
XE2PHYZBtXEFnUbtKALjJXRISQl6XVu5kdLRwbWrXVpM+W9gC//uhQUyJWEguufhvUjafnrhlBuw
b0z1auRIewzOUwyoWzhfc1r32GdyHV2NBQJUiX9n4FvEfn9qzZaF8+dHXjLKHTwkCDd/VbCVcQlm
U5uvtc6U72kEKhcgEGhnwbNUV1SG6YWpryxYhhm0dL2z16Riyt+Fev5dsvfnu8AnxPXnpsXX8quO
bopRK1X6tU8ic01I5GNdKaTRwaD7zf36zxdafBSYKHBfoTw2F+XsTxdaKkoEfMS4Kl3KwbAX9RqU
HU/rMQx/Iw1EQvbrpbXYfvgxQmM0kKiN//5a6GYUqdbReeYgzKTajKNuFTCVpoItq/whbiQD6iZK
XUKvpiE4AGCdOk+1ctrn7UQPwEssMBGoeWQ0rgr68R+BTRWG2Moy3nNGcgTSaB0z/Lmoi2BlzWNK
q5U1MjNnnXXH00l8ED7Ruxnd+RqjikcTwq3o0ub0dWCJLG1HAniYLc5IhM0ggY9vaClGKQLF0IAz
MCBsTUFA1x4DAy62A0LzJialbdyQnOHEG1n31Tu5AYZ5ahUXyK5DO/WFjgjjh8wY1XKH2BSgH0ja
wUWaYAy3VW3BODQbcja82XKZiiuOZj5YQ5GPuAvNDijqFJCKl0soJHji8vKTVA1IIxkD2GEfmHrz
OOExIhqlagjnySDwApBdQlNxO0WqPytWSRBLI8i/ANwdc7YOTduTPRC79SDGaXi0Vcrz44xcCllv
Gg9vkVJEnw2Zpo5HWKmeqrRdiYt91xpHDT96ywru50Eo3XkgrrSnzm0cpmGaNSpc2C3RmKSW1YjU
IvXBdJKI0OtFg6tcyt5qF80F/UyMCF7AwWxO7wIRp42kf6Bk4Hg5lAcdBNM1gH34dZ5ZyaJVzgSZ
EPP+WlU0QIyLjpTByXeqhJh4n6iN1rdelmRKYD1IkM3duHWbmrzkDqFZFx85EKVkOWomWETqhlRE
lXBgJyqLx4bWoT13zmOehTU6VF+ZkaergLpjvnxf0URE6rOioSE3zJWlExD2EgyDwcw9Nu0eyHhG
cqUZ7IcKW37k9bgdusdsnGZkRGj0mi8ENGQwJngva5AZFApVcDMYBDFOd0KPEzSNqVEZDTV6Mgnm
CiIH6F48tVGTAGkXwZI57JV1ZVQr0+Cl6MsCaa6pR1vO1X1Xq/k5csmoOA5EyqhbdEbNl5yYKHnC
aJyTG1lhtaf2d16Mhm6D35lW9j3JSj38qqi2zHM7LZFsTR1U9i1VpHLbOVkcbAnRVKLniaCc2tdw
Qulbm9SC+S6ggiYeBBjx7QjPFwh/XSSvY9kllDqNuuRr00XXuBi6HMuXSNcqwHCz5Rg3tHwjaxdL
t6HjKsgLBa0aagm4v6i+WqkOfpjsrSJea7OFiKXT3IIaTo529RFGKbEwVmiM82qkHudXTVr+IyNx
It+uMljitToiWZSnSXaDQe9oCFBudgvh2JlQWF+TKRXG42TlavSJ0bW2vrVxbRCxk+WTpkHo63O9
fEG970J3Hlnu7ilRa4vRa9AlLuhDt8vhRQ9qt4Rk1W0zJE/pTFZf75ORYEuG4GUhUsKyQljz6KF1
caPAg+S7jELTL7TEupucijxHhPS9Q79kyC6tsGinabSXXW8Qej0hIx2gz8dJa4GEp4S7kVk1R5D2
muyiWdF41zdJ0nljs9Cyu6yKxxXMb8GsUMTaF8kpBJm3McgwH8QzYQhGZZMviunFInxHDrT72FkY
M2l9Gm+rmLBjL87pRmz10QouNLjG55bJhuozdmC5xATGE8uUWzyGGF46ZI+Yw/CIiEg8lcqM9gad
qBmu3HJu5GZgCGVtdCUQiFMWEKUfiIbw9NKOX9sJBQTbfDLeASRGBuSWSrqI3gJlKSNDGgROIfJb
aZhs7doUi2fa/eGb0/UNNWuqBK+qnpTf+kwdHkchSxjckZ58j8xZYlYmnurNUlT1VNUiS1coqNLQ
6/sOeRKqgum15OtrVrVIyKaIjFYRnq2V7ptwC4ZXhdkUYAvCzvLJyG1fWtlGr5Mj8o9Il5Xk+VHU
H11eKqNvxbLcV2NRxtvI0uWZwmbO96lCItfGwTSE2teY4w9h5+IyEKfxBL3GeE+IwrRoOyDH8zEb
xA9amrVv0aiZT72qyG/sUEmyLvvYdVY85jSqZLvRU78aHKZ+kzoTgTBH9hflPDiJmZdBp1aj6llR
9RFlHmcuY/2p69X7Gf3oyIssCNOKsyJ9KjEvVFkZaMqGD40gIJ/dtNtmLA6Y+nYHvTcpCE9FIYpq
elUQsaWhGk2hV8+tPM6cRac7oMf6F5Ec3U0Luvgh4xuQK4sHK0NEYrezE0uH/NFkpvQkkDsgQIqG
FfFWSm3nK4c4UaKEeEq6TMGc8ZtRVORZmAPEaG+c0/DblNjEPSDYNST+c4W9ULdMsvToapfnrA3s
gW6hrD4aokvJodUGvhdk9vm75UD7RxvLMWNjTIWgcVHbRbsmeIHg23CuZLDltxHJRU6LDDEl1Iis
MzFY1N7Erm1qJUivLJmCbm9Q6JGvkwMuEPF2MvVtvRL3RksMyJ/ujP9fuv5vvKs/FU//KF3v8FJ0
5f+6j7/93caw/K2/aldL/KGDB4BDoIN+EtB0/lW7WvYfiykIfxC1AM27n30MDh4HwREejAG0KNoX
/7d2tf9wHBMaq7BtVafi/I98DD/Qjj8VC8LSIDEullIAP5gFf7gcfjo9F/FA6FvS5pjrLWVdzb1c
wcdmaKrbjFoId85WNfX3YdLtB0ftH2IjLdawYImFRzdGP8mKd3bcEIXRwVoeEsVBMBF9TGXTHyIA
3D7iqyM79Mj+O7i3IQHph5pZ9vqn6/5vitalmvj5YzgA33Dt/6jp4dv9Wh7LytRI+I7zNZMC2utT
365Q4d5xBml9hQrTQyH/n5muMBviccRmScm/mJutX0vLUChKV9B5XgcVGFLDzb50u3hzVfwE//OH
+6VU/scL/VJK9S46eSfIwrVpZm/ksRLTkLuP//lr8GlUOizcXWi6/17ZMIyIi6iLw7VSIW1qZCtJ
EG5+5yr+4TP/+/dEmwTsmqNy7y6svL+/jEVOTTnTzgNv2rurkM54mbsvQSy25K9ch6Z/alqNuVqn
bRA/XHJn/A02Y6kG//EGMOPBMtZszEO/VHBWOWhuleBBd1PSyEqZnuZOJ6x5gBMIdcn9TfvhF7zr
j5tE0EVZ6MmGSbvplw/MA8to5yIIViC6Jh/770eUhwyKQh5+QWbfFi7D2EaYF9EnX4NVP/zPXytW
qX9+YOxQ9M1Y4iQiO79YA2lXKuZMUCPSvYokVXLHyKVbM0b7CvtqvqSWuMSpLLAoMWSBR/5hGsmX
EWc3ld6Bw86rdpVOMY86dY42RjSbd73pnOtYXHI7v3EU6wxE/kttzXMRO+mqJMuDyE8FBXPPmFRL
RXDI3Ta6SzXMsjRrPoelc96o/M8UGJfZSA2vmOMHFDFvaWA90nW+lI24OIhqVqYdPiUGmlVLJB92
xUy/npt2tbya7AKimHkbuMiY+RX2oyxLUqRG7WL24UdA085ze/XVmRIOpMsfIVASD2owQi9ZqPJZ
5DQ7qwV/gxekXRFbio12InVd4ZByMZuSIBdoLl5FzkOc6IxPOB/8+GR4bE4TJ6KjWS97Xqyk64LD
/UFFuXqK0/aa0i7DUpCM86lAGSNJqVspZaevodid62VaMwvrVbExiHcuIYhTB6W2RG6AYSNKfJFi
SAipLbd6wNmwqPMPK7PPTG7OIulKxjzlfMpIHNxMwnm0EP0wKEyo5CsTvQ7xIL4wwhg5KIYtnjyo
BJDD6xMSXgauFOi2canS/COdjGc91vWVa7fXII+yNfpJQGJwKJ6W7zXA1JXgbvKyMYtukdKss8TG
cFI5qGPKXF0NlamsEQ4bntnOLskgXOQflxFpIs02p3ZQMYfTk409dc343llRWLibQivc7RSpgCtj
++ziPtgKAuy29QS4soriDxPyk2+kXbXBw8uw2ZU6Y61o3kjyRHb4di9lZokjw0XUYzNWe8lliOCU
I+PilZLZnU643UbCEAm3FSkmvSDn/wb0b9Z1nX05sroSHrz/8d6z0C5g19h7zo2DX47zuxx0FO3K
Yz321QaWD1kAFL/eUEdf1hTOmzSUuh+2QHdpFw3f+xholZNM9Y6M+UtuxeXWKUd9jbpOX6duPG/c
oL3OSaEiv7UItNTckYg82a40RgoegpJwYxDNsSXRlrum6K6z4AZQRPylhIuDamqu3Wina8rFwpMK
qa0IwDmrNnBwUd7h+3O1i6tVuh8PvDMlQWCmBMXNsmjUgX9Y9vxSUPHjZbn3EbPkacCONJDl5ZlR
wD9NiIU35ekXOhJ6EHP+ETfWOZLaSQ/kba26j/nCtUjHNj3VBjf8zL69xbvVer00LzM9KJ86nimM
Y52LQpNrYkqIjSrcszYZF/BP6Fms8IPsD30NrIjXCIil0MsbU6mudNX4qR2/2EwvVwgddV+b+Zg6
HdpHcmenUwRe2CNyJPZRY7NE7fnbAErHHx3nUZ3ndBXkyqOqc3cvPyF//qtrsw+4vQWBSPZjG9GJ
WTbfrrNTLH7NlZSNSxNXLFoSLj3C5QzMWRgjNIw3RUd11OnMqutSKTzDZMsg82k8VHE3HsYcHTVV
pEH4ktp5OEejswG7LPDNkK/TbvlqcA2TU6koyUmdeU/4TliiVfYhOotPkEc0hOI53Cg1s9lmKPNv
+RztUxMnllux4hk0XRs7+qA9c23yBgnLcu1Ry/hwHdiUbe4TBz63R1bUV0ZI8+bHOiWihPaPOm/7
ZJHrTr3rN2VT7ipnYFWEgus2cJM4g/I4Tik3l+Ie3DSrNgzZ0/vBTLJncsqmZYqeTNvMZSpGu26l
j4ayVkz+Fm6uC505g1jQOnhvEzFC5mGFBohnvaketRvDJisS3YbQtkYr4UAT6XyrUdz7c9iPd47B
JphIDVMrkqa9WYSuJxtubcQ87eTxpSi7MG7wJDTKO9CM6A65te4n7N+7XmfDT0V5tUiFYNnQO7kx
iZvbaOGs32szUYzc0FNzHGzkfq6Rol/pIgWPQRqBQ0q1nrG5yVvWrH7ahurEm5gGdvrcuBD3wL44
9gwHCY+kT0LX4qXJIiQ/AGVAe4j3/6LuvJbjVrJt+yv3Ay464M1roSyNSEoUTb0gSJmES9iE/foz
wL1PNFlUk2eflxs3er+1pCy4NGvNOSakomxtGxJhR9D6a5Ny4AMRD845NYZqG9U6HGXNH3eoSKZL
jaxOlA5p/NwKjUQcXXsy6qxLCE9fnl9KAZQEsZmk4IHAqh7J0s+qysp9QjE1zAQfS4/qaEWmzpKE
YrZr0ET+1qt7wmjS/HkkRqxaJiciYsYziwXbH/l3UZY8vCyL7FtvpqFB9AjCOmz1ZV3MouZcLpsN
6TtfLASPYeHxGVRMGBao1rUpnebcNpQWtu1w5fQqOSIu99cvc0SWuF/0tiq+aUX6LPIqOqtEbKxU
Sb45U/yypuS3BD+hKHNxDC/z8Th3Jsau5DeVn+vK6i7xEv+w4/yx8LLzbEKgO8/sEtqRelFZyGCb
9gg2G5xSK9LZq22XIK0lN4pyb0I92crkdD7WenYxjR4Hlchv8KGhheejO6CP+pa2vQRoq3drNTrj
tTmwhlD8GM+KimmdHeUDOTNcpqkjVCHiiRJzPR8pU9xOVfycCO5f1iS/K8GfNpDcrl7u5Mt2gVDX
h8nNnmsy2FiziG2n7Fp+slM8aS2wySeiAUmmqy/Ace8UuGNJjnrFSIZijiJ543raLS5Hlm02akPS
mCGOmCSEEJJ8Mq771sfODhX2BsRLPPEvLKrTDeI4FW2HrFRbe15/FSfeWqn4DGsKOadUsSujyNmL
JDpiH8zYUYmBS7uDzfWQ2vHOy1CMS5v1fLYttmxZGuoNyh2aASSjfBPEQBPdaC5FrfYQKf2H4yta
6JF2T6f2m1M157XhV9t6dM5iTXw32u5nauZ7A5vzatmH9nn0u2pSFcYyOcNiwzYtx4RLzT47kxPf
MhZQNEqeexiWvfuQ8NEs75yT2l+QyZHdbYELkjkzZKuyK4qWqE0bxPEgPyx2jXnAJzm0czj4qCzR
w2A2qtCvdJr5jzj9L3eZKAKT/QokFdpyVAhed6kAxFRum/gapXc2Iei62KQZ7mH2xG+sl+zM2uz3
x1v/02bV8mBNGp4ewxJsYp924MwO/3Yd5dq6WO4UD8c+0Kecb6w4EJu2nR873zvUKasKbptdH/lf
lu2kiRsBwixZlEpxADBm1txlz6Rj+SU4lLmSzcBkZc8jKa5ryRzSF/5hSnpUZx6AIzMnNLh5sDBt
EtnEuYY+x+gzzwdtVoVJUrELYtmHVJBvemXfmDZbx2W7qc3sHCSb8Fbn60xMFok2Zw6IqVOza+PQ
8rKn65sKkLzp3/otnwhulDVJstreoLhMrcH5Us38SQ5SD2NqtLcl9Cpab0NarAPBmjxHLON/rYyc
ucTCyaMmqW3GMYZbSGB6EFImZWKlYwdOgVUhCCZt2di1a44qNI0Gsk3YbpF59JC54BfZPEdEeTvz
8eXx/aOiGoYG/jvlfbzhhPzP+CG7X+VC3mhP/6nl17xWo/z965ZC1/8rdIjDifw/i0XCUrJjaV8r
RZa/8Fexzbb/RXzJwh63gHFxwOcj+4sZYltU4QKgwhBBwFKZi6jhb2SIZhj/slyqN/zfxBzY1oIa
/FsnohlgSF6EIgG4IItPyPlHQpG3czxHcOZwZwGdUQkAohOcFB+aujX1JHNZjQUN35WuIRBThj9/
hXJLBqgSDsrGzjGQbNb9D53sqFUE4O2bWbQo+tJGnw/Eaz/meTFKFr4GiWxgd/G6xwlCVCxevnQ1
kHR/HbWol4kEib3LAko4qgPY0mzWWtHdDo4T3eXGgMOjB2Z1rJpCXpRFU3Y0D7SV1slmXgtcyZcB
HPsZc21UcdrU54cp9uxvXZ7RdxWYXhMZf6/Jpr7XBgLdaepWDnbV2nB37B9HEXLggxY5RPcJnusf
Y9C42idrl7ncsH9Xc5YbisTCgpD8Ao2Cc/t2Vo2JkiWLfnJWCYaY27lEukpRNSeeIBv8m3JqjZ8K
md3GnRHUh4PCXBPWUVt/DQyZ3U9ZMPyeScHbz5GqjJWMJAcsm2JEA55lWJc0iM7SOHesfTbgh3r1
4v6hZPm2EvXy21kJqP8ySTM/m4uu4VXllTKMyGuK/IuirNrAA44QiNLMdrXEB4eQ6J9UEY3lZpzc
rDcDLj/o1YBWpMc093JnRWodxA/9SspoReo65gb7ZrKzbeORW22P/pneWVt89Rf5nH/Jc/OsiaZ7
E8QdeZJwHIb9xzfibXnzrxtBlZu6I6QxamXW299lNu048MI7K0K/otUcyfJMy8boEz3OH0chfIhy
O3eB4vnbUSpoKCjlK14VzVEXTWM0m9piw//xtbwsqic3mbomyWxUGNlUWSefOEGXc2KnAVbe1OcA
kpS21rOJisQ5qkpsY11MGnJCe/ReR3h91ziY2Vadq6dPjTXXv2PdQYPICBaufOCzUE3meB1Imf0y
zJz9oD1HxgZAgBtvulir17odl/1eJ7F9iKzLLhDdtWGNMt2kuai+sWwVD3UVu2dkOjaUbaJ8IzCF
Nqu66AY4HGZbtDR088OoI1JdGZSsDlZB0N3q5b78o9Xsf7ZU/f+GuqJv8uoVedci+vJr+D/HX0/5
U/Hz9aL18rf+bhGhOfkXfA4q0jCkPcRwfJh/LVsG3SP2iyiXIWgjcVrmiP9etszgXyZYLLRIwJFN
n83iv5ctx/wXHxTpKaw2PiVf4Fn/Lb/8e2L6S3n6H1hXy9703+80Ej2EesgkyQ2hO7CoAt9+OqY+
llNfpOoRcaO/dYSY7oelvFoVlRZquAKx4SiiGwHU9JdRlHhfWWfjpwE3HLZQWAKPr+7gH2bOZWZ8
+3tgPcKeozfm0jozlmX21USWzBiehzaxHw3Z++dDktRnMysZUxO2/4+HWi7tzVB07fDOw4Em9IPx
lsPT66EC2C/SG9NjFQGGONCuXkEVXPkoYZiqx6YMc1Jh/xdjomJYqKJ86PbJUUE52Eo5oKZHDqqr
cgfvIEw3Yq1tPx7mtBfj28u1vRrnZN51vL4HoTqlR7VFi7YVZ2JTH57wEa0/I0m+tMLe3cZXQy2T
86vbWMNezq2EobyVxkW5IWm9K32dhD/q9R4j38rdfPbkXuKPXo/pMh73EAGkyZND6/t2zNy03AiB
ifmMzIQuIMws8yBwW+EsLTiE7Ty9qcTak70D+LnSqrCG1CjWPYkkHAKEQ5UbJZiYw8oqsQg1ZlFF
Ye+Ao6JcWFkSHzoONdhPgyTnrR3yGq+Jp/BzaBkkKa/AljgPpf/sq0EUq7YaR9b6yZDFek4EMR5N
RRMgkj1+aY8y7UqNAT7hkZSCXZvMvYUmyvFRFEM2mHfa1GJYykfP+FGVLW651GrVz7ZMXDsU+Ww1
VIfx2KPFidLbCpFeFHZDPlFgYX6h3OfSfekGoIl7mi2AnnMT2gvGESdZyrgWZzDJPo/E3Qp/QijK
LgtWftC2i/6kwASLjqIiAZXop4s2UM1it7HxoPdSr0fEipBY2FYkxObO7eLwSAMuORmJ7jwHLo0L
iwMq9QNCXeTXybUJkPr4ZX67unPUXbZQWIkX+CtIfOtkMxVAWSF2uJmfYwMafoMJ5aLvJm338Sin
Ew+tXnjYwM+XXh5d0pMvZrI8yoN6pD9zmpc463QUR15Whqj0PksxePd1voy1ZCYQTopwwDqZdKUX
p03S5sYznmMTL2ZMDW3V9wTKotjS83yj3BrFKWnMtwjQo185MbDmasmiPnZeZNibf3zpkA5tSkSE
vrC4nPyctmkEU/LEpRfC3TqGNmwjQ1V7EEnzJ6WSt3MuHyqTustjRLJN7UI/xUHHPuHQJkafR2ZH
yB8Jjn4K2lk4TTh97CiCf+PiLOLkEQCI1eX3f3Kly/DLwAjSUYzbJsDtt/PGPDWUwwxpPYolp3UI
oPthmsLHhd7ykyn47Vv7MtSS+ceWF2dDgHDw7VD+gCgxRVvwWCeddT1ks731e1oCH18QG4FXa9hf
oyyvLMsXYYYEQ78dpaX7Nnmqch/LmuZiQguBpo4CAUCo2znRR9r9x+OdnHLBrnP0BuLLwmlwaj5l
MVeBoleIw/WIcDcJIV7RM7TdYatSEmJj34nR/I/qCXPZ30IkihR/3qlQTDu9Vt4Y5AVLNqWLT8I+
eU0xgIPvgznwBBsxe5bG7Iud5sQpmCzV9MWFDVo4X0Wa2yFbLDAtbWY/LejmQdgL6EPHVr2Tbo30
pTQ8LJ/94JXPZq3R7el9lcab0jFiMlRMkje2YxoVzyMA02xNCDNMAJlO1k8nbyZSMP2iEZd2pMWH
obXZNgiDuXpH4SH9OYsauXFqizo5FJ5mNbt4coDbTr3ipiEMFnvfYU3aUEigRD5bw3hXRTmkvSTg
BId3W4u+cPsiOGJ1DIVmtj3oGLL37Euzzm0A5JloKbBDiYe9QftmqDZ20Bk/EfQVFRsZ6fWHwupL
tZrKUV2hQIT21qJHq3aDPjkYNMFpBWvSAay7EY3y9zIW/OEUcRyQGamLPhRuBdArmDULmJRlgDkj
IikNJ9j+9mUZtWMAMku4xh4Hljdfdsjo0r1VsL+8jqtZZPscFy+cnMSh6gy+MocOauTZvrabmB5b
Am/RGuY03lEFlw5fHwDg0DeIm0AIqjfwGfG+OLtKtBG1RVNIHpmZF8Y1MsiuX8HBiZqd11YgSMiH
MxQNKBshtOS5TGs8EYPYxJ4vfsPlQl4JfJj13q45FRKuJQKmGNdgQddlPYSy8zG6E7WhgGU42UhB
HHn2RUa88t3sEnGOq4Hmc1yYvkB8KyyK3swyt7MjhjtZ6hPkLg9JA92uRm7SMpD5qhwc0I+KfNj7
fm5LZ221QYp5cG7kSs+7tF4DWzQEjTBq6ej/F81sJSYrLNzIA2EWB2m/pusCeA4grux2qSvjuw5z
7H0zz+JHNgXCOquttD4fRhqnG1Sapb/pO7BkEDwytBOAAoqNnpTB97kx498cGuOURpzFXQrG1uJ1
1kA1gI6x4rtKxcCeHGx+3sqTZnatebbqQDjqxraT+Gg2XVK7O4HY5Q6to6KRqggQgHA0zkVY6fSJ
OmUlUQjraBGTxK7bbrO+HftDzk+9wbhgno2+bvZh5ZUDWD/aJRR0p8G4rgq9mTeWw/arBWtvb61y
rtPbPIYQcmQT5yc/M/Zc/peFV3MFPVD77oCfWEyCUzZcFKaZphd6gCP4PHGGgVJ4O0F9K6ZAPxca
1a+VN5pjRmSuN/SbWUVViuI4HW4FME9Ck9RoX0qUt99p4wePlZaycUKLlj2UTbBQQa16KsnQiLSv
deqXbJuUnl+B+YeCoIrCv0F55vwi1iH4baXKwJxJdWzlOI0wD4028xecsXLTvRh8wKiZFqSwHUia
Roxj2zcG/6QMS1GMG9hhkFysvMbuzY8f6w2lJcQJwWBXV45o2kt7FKhyAah17EvzvP5JvjgeydR3
8ltN74JpZbW9u2E262+sposeaz+SXiijhpA5f0ru+hob1gTSAu2EB/BOa/30GCt0qoAxgyiB1FvG
33oeVrxKciQ6oa9HLqg4AJVovL3+0tdKM1rR0KcNPIEbYtdZ9E0DMcBuf/To6IFZ+L1O8TNzvOcq
m6A/lPWk2eCH5jxfQdJsf9OJGta1ysDuyFlDj+tq6lti9zbq8XwayOYrEC4wZ8xjmDlFcU1ZxaTP
m3o8iSI32hsLL1kcelaGGZd7WdurQuvFTzKg05IJsSBvN246tuxCCR0vP1PYNQJjAUUX6fWDALVG
GzsY7Z0mMxdvSAZgLczjUU5fPFEb3d5AC0P5TAZQEGQkzL0zsOO8COAeszk2YYjTmPCC4Ywpy7TW
0FjKZoNQLAeDXKdVRQ9o7Jac0dK9d0dHObDNIg3DLSimjbRkB/wsw0G1Ihcmf8wy0/4Oqz+ewxZI
Zratc2Oa1zX0n0dFiHa7QWNlY6pOg37C4uzC0LRhGNWhPWozU6OA+VDPsdbR3h3FEApIl/oqqQUR
TmNexD2N3lSNawGNhFlOti3KiblC72N3aRCH2RjrwwJjHs7oqVXARSoz/T4hRiw3BRaDn0SJsqcA
qSRVCFLBlMgjho73qPRn7NSmMkABxPTuw750u5ZqdSAR1shCOmHvdp21wTCmX1iVqh/HQpuBoJAt
fxi6qZlWkdU05jZH+OAfrFL2TJpBit9JHw1e6oLig8JhQ27rdiR+fGFd+9D0xq4J0CFpLq5kl2Dg
r7aGOlsWI4ct9ibq3EwrQPLZmNxmjo5sSiRRc0E5pXLCqeuW3R9B6GKbsimD3tC0dQ8vOAPzaGpp
dNP1TntlZXlJd7o1vN+USWY91OzIO5qZBisC5fr81AtboVwCTfINp0n/3R/7SgMF0kzdujJrceUl
0D4KthEtQnXD8tcNcJubLG6xdczR/FtaYtr6WsQcmLs1FFJb+cD/MPdxhhSxP96iOBWgQ0TNcQ8U
V4+TeZgqvNNmkw8HUWvTfjZ7/ziVKadAW8+GW0Qjib7hKhDVM4twPm6ifL62EdL+EMQZRCuwr5wy
J2RKz2k3tVeqKF0J+yvJsSGUffQ81uPELXNoygMlRWpG+mmtwqRtxE/Ny9VPJfmzK05uqIqwwp+L
HMCeKm/AxOg5UsjIL7ao/Rw8ClrD+jrjB9spNDzQE3oNI11aut6lIxMoho6/oMhSZqaLDhRVi4eg
o2VdK59rtjLHfS4LkvpWid956OPcqF6VgY2kpEgwzWYoyr4P8SCXhuUEQoyWOETeSC/VmhUzPqq4
yB7TugVsqGeufGKzlP6QvekxcZUdEsFCdek1qUIgbGtP9wlCnQuOWyLug3sj1dW1JWkhblgVU0Kj
RmsESt4OFwQV3AVOXV6VhUju2gJTHMAcNTdbrySGGguZZR/rvABOXVPujbeFPnRfgdl68Xpk1xmt
5KgNoHEin5lA8J1AJTLGMdiOdaNUaKVpcgmUC9ibtI0BVsRIPBCTGtNUgiLaXVF+z7+4PdXvM7ut
TcI8ZjFS4xmrVG14a8FkoJEx94Cn8F7YbnSJYwleH5+G+mbWBdtIZ3SYBRMbTEsUgxg1nPTYL45n
XGVytHHn93ieVe6O9zbfKUGYZl1S3hmZgc10Si+sPNC/kQNj+GvhpghOKidP1KoexYSlblSiPoPD
nG+jpuWsUCvSJa/MMpNPiIVdvDRjD0Y9DnLfRIgXcQviIarH5zwrBBUPOYBnLdB6JkW3g2gGM8bs
vNRix6BVzP59F9zHRV1eE/ipLjMjESq0/Z78ODBlvXkUAjlPidTTvQAK6oW4cup4G43mMNxmDRbW
UCtLjFSG3+RXeCiZWal9pPtlXkHv0lXgNx2oAcUuSvPsNu2JnFmpTDXlrjNrpg9EVG4b5kS3DWEU
G8O81bXJgyo95SBCLVIuU5b2A20fsnEszlQ37jwiXNGb3v9OxK8Sh6mWYG67uUjscxOvjJw2oqIx
l64rr6vbG6UXGXKGyrYRlWklFSSsIcxTxlBFP8BQIralJGBdASHMVGg2XdruMf62V3mTmepgEwJJ
T8/WKdoUdbUQPVHCzptJa+IYdqk7IspRU3tNUayHegaa6bxpJ+MBDkrwQ6+YDkJDlLrcNFhNm1Wn
swdBIekFKCtyaRlbzy66Cst61l+Cn2JZiNoE6YjpzrCWA2/h8c7FsB2LGrHH3DTVtMYMgx2SfDR8
fEqfx20dYABgJYGZ46cDwGOCSMge4GCidXtXAaWLgtzlYFO1Wb3CP8FzqCa7OBpNFz8RB1AdkJ+A
8K8BRH71RTfDw5gxQKwU55fruu9nn+QuaBQhGFvvV6AiuwIEWaT3nPyiK7YxQMEms2r28Abttdk1
gC6AR8JxEcLSn4NSTPsJGMjXmk9t44wG+xyfQ/lXXgr/2c28izmJ13rx1R55y1DIuv53TrE5dOmh
6YdzFuPuySzMLgd9HPVXfqO13QqvoZas8yov70ymtOhyUlGWJCGKPEleQDwIgcxXiTvRGklz0Vf4
KjcWSHyxGt28jc+QbppXPnD28hwQbJ+EVZL2jzR6gwAAjS+wccxOfCY0l5eMCaj82TWSyb8CPlcz
5RMUhbasSHsqeiKIcL45/X1MBeXZTEeb7TNnWGdld51zliTxdM+LYKKmshLwab1ZFrdApo1iDa8G
N3CcWtxVgVnuRgZ1eetWdQVd0Sfxog0E8ECAc/KGfnj+jVOpPOr2gMk5cnPtvtALvkMFCgkBEqcd
rayKo1Pb3fOg58NdHykLkj6n44sKdEF53ftdL7iVrgZHvzfM7grJ6HyL608+T3w48JUm13nsJ69T
aHRjt+Hxw6laRX4g2mcxtsUPIEhBdEaRI9LPdc20Buj/NmTSMkizB35Ecy+13v2WjtX41RETExHZ
U/1FZmklu3RvCkBnxi7tAoSV5Y1srZGnQnp2s8ajn7iH2EvinSwFsjtXIUHxoSsjOrHn6UfZJ8+6
4PNfI3ICvkSVm71B4c/rLmU2WRV+wmFmUgQ8rCbs/d+bqqOOm5Qi2CqsAAAHWEcgRSMTAliDlJ/3
tETcjsttEJzxY6t9aCkO0V9YYvou3SR2DVK+zVhd2L7wqk2WZtTchjEY71PP6rTvZgvJ6HLi7hHK
Mc2tPI9Nt3I3REs40Ky6pv/qjU3Frp8g7fbQS6s37wVpzrjnyMehLeoPhbsxsqL/jTzdIiBMLwtE
hFBS3XCK2zkFVUO16OBENoraiLLuivp9+d326UFdC27a3hFF1RyC5fMKp8oPnoe56bxzLRk64lSa
pjhzyqoz9mR2DDwEkfTZNq7dAtdeOUYVOyW/8oj67lj8CE4aACOYeE4BsKH0PRPgrdLNUEOGYUsz
6sWZqO0gO85aUTdhKu3JWWuuaJJD4qMQPwhpyPo8ACWZfaMAAR8+mTAsb7gh3rznuXjDNgdm2qyj
WS3rGwHT10pZWRuOQa2R5KnL/rYyDeuB89FIaxaT412MWYdNnq7Y60cVR5wgZeMT9pLa5DrDv3OZ
j7od8W+2tdx58ZjDs4CWCreXXd+ysyjLb1ms0vue1yoNO9dLabxkqOHR7Sdlu0/sjHN21AxsrIy6
I6aCtXH6XjjgvqDG4o1Gy4kyTdeq+t7IMVWEeJC86twLguV8iSLToakdoUVus8J58HGeDuBxnRIR
8qQ7GzoJBEj/X6r9plPJznrEcV/+qoJkglWvJ9bPj8uO74qpaN0wsi1eLH0pIC9l0Fc9pnnG66tm
wCVJTvRdPgl/A17+k0He1VJfBlnS4gGjMMOdVGyz3KVAQy33cey8dt37VrQvnWZceWbJfrUjlODj
i3pXS2U8dsgm1Q7fxCV6UruFrayUPyTR4xy0MGTZn3O4S+AcBV6xjXrzLvaTaUtERvpXw/4/llLf
X6jp0Dijf8b6RN7k0gp5dTebQdkJiC38bJ4qdsmEelhjjxE2co6wVHTq5uMLfff0WOvMl0wlGnYe
A78dz6kNo8upxR6DIZ53Y0Y0i5619Se3c/nV/+4JUgp/M4qln6gzvNIZJpBP1DSkVp6bJeudG6sG
+r1Wnf/TC8JMSbCr6cOE4HU50ZtovWLT7YniqEooGZL24NXkFN3tx6O8vyDsC7pOq4JMLFpTJ4+J
+o+KxjkvjrrGp0r6x8zxMH7uKMN+0kV4/4DejnTyeY1jHTiBXhRHzRfqYFG0w/JY/f74ct69dYva
AQE03R86B9jz3r4F9YBGGQ9LccwHgR6p9IsrAc7xcapb68vgz9rh4/FOMpeXFwIZnmdgCEQjG9Cy
eDtgmzV5o+a6PU4DpEahVQXs/UxzvskmydcQwCqiQ8VtlKvxWm/FuNUaC24qIg33ZnYV4vRoQGpq
K/2TJtgfHiztEzBMCDwWl+lJF8qYBNQQPrijw6y5aw0aXl3raIe56n58fA/+8GA9AszAZ7Fe8t/J
K9TQtGC5HOujGpaYiXJRyWpW9Ml88qfr8VDr8aouIpJg+RWv5pNcGVU12FId0zzAcTfLnzOAUTjk
nG4/vp5F5XnykXv0XJgreYdslw/w7VAjRzZvEG17JAo92pByb+6prRdQ4mZjr9XRsEfyF8O2yfq7
HCHY2lVDdTkbrfkLirr4ZB4w37Uzl3YYZKKlKYVS51SHMFb23PnFNBxjuwB6i/ufQ0sQp+4uZ3NA
5AnHH7TNOP33SU0XYu22bYUdgu/seuhL+8GNFIaoEpQPZpk+GLtNwJE/omcRTIcCM2ITZm5huBRr
OrGv4Pdeal4hfuaW1K6gmCy5H4jhv8OHLX2yVyiVhpM12zc90/+VlkXG/E/nimWVhC6+PAPU/adz
HxFmJb0+139MZAK7Ph2Ne1p+2fbjB/2HV8pHSK9jsjHoM7yIQ1+9Ul5Z4wqPje4I7bo+ssesL3vX
kFu7dj5L1P3DUERMGriWkZuSxXSyOnnwu/wMkegxd3A/aTp7VekV92ndFJ9c1LsGJuqC5UUxlixP
zPAnL2+lOQIyQDEfh8bbzJrrb9h9jpvMGH7ByE/3mIg++V7eXVuAgixwLDY1yMhY7N9+Lgn+vbnE
mHUUiqMbOtpv7G11mBFx++0fPjBG4kPwl4tDRfGi2Hn1wHrfxExVi/7od5R1ImzHECdtI/TJtFh/
PNT7SYCxls0gIkxawWgo3l6VN1Gxiyq/O9pRPF9pqoyujdYhjkCac1jOfbypam3Z8avHkcPlg5Z3
3V5LYlxbyejeffJrlnv4Zt/Br/HgOeDBdi24g8u69+rK0ShXGJ6r/phyvFv18Or2Yx/0W/qWNGtH
w/+K4y5aBUbjfvX6St9w2HbuGil1qh7BLjVb/fHjn/Snp77oZOBHLHu800RVvMdL/IHVHzvAnxe2
zPRN3Dn1GWXlz16wl4b/ydU7WF9s3mjEiGZwspYVbjXgS+3GowbAhwysmpoc4kEseqiFvOkqCLCv
oakzxzs/6DixW2Tg7BqnpA2fKzl80bxmnFctFmb8lX2OAkvHO/0bN9lSRuQkf0ZFjSNmw416dilV
3Blg4e7yNNZvP75ty2vz7lKw1LB1JIiZncPbB2mOBLvniTUeh7koyKbqc0gGUfHJmmH84eksmh8d
OROH3XezQE5/1JhkMR0LA1I52Blc9tWMUcqq5NfYcgn0lsrDnV8bX7w0aa7nzuaOTRhVp9YXW0/J
7hyRm73n5DXuP74Hy8t6eg+wWXAmMGmmAJN7ew8MswFGRqDIcTQQ/LNPkZu4Fo91xDcW98Nnxrg/
3XLbIzGFO+Hz+pxs0QIaCkszfzrSNaDrGI3pphJj9cm8+4eLQh5DmQnlCkiU03m3sVSkk7RCyItL
jgxUxhbfNYluYA+0S7M1/hdXxR7FYkJk4mX9OJkRzE5D5hGU03Fwde1MW3J6DN/MNh8/qj/cuwDM
hU99KmDWtZat0qt5R1YikZpopmM9zTycvNeeZYnh6+NRjHdbHITGC54Vox0iJp7U22FGxxz8OkiN
Y4QF7KwjX+HWd7OIwqpNM0dSO9upppMHo3bp/ROweiypXa7c1sovEqeoqTmhD5ooWV1afmKFmp+w
5Q6M847Um3WBe+uTV/j9fWEr6gVoh3Wb/71Y517dF1cSBhLhDDpWGaCEqpbmqujs+JPP+P1XzCjM
dzYUWoCYi1Hp9d1vNN8CLBgZx7QIoh3+VrmemqheB2qwPrmg968vojmHt2lZZvgkl5/y6oJS3VJB
Ct/p6DvU2ScMSGHvNe5lYNfjGV1xa/3xI3+3TeGdZSjd5YNhKng5V70aj6zfDlGRDnWMdxsbqNPn
tIxcVwCiBGFldsm0q6gNPXw87Et95e3c4/HBcJUkPjEHnaoiTSenoNwo7YgoytwzKyjtS1XDMj0v
ebu/aH0mLjGzV92Nj0y2pYccOw+RKes0nF0tOLY2PenQiAKqoB//tPev1PLLlnIJqbwccE4edjy4
JISbTnRUyEa+8WnH38EoZZ+M8of7jguNkoLrGJTEX7Y9r+57ZFZmpKlUO2aLiV7PF0KZMGpac3FT
f0lcAlOtARj+x9f2h1F5tXiSLN/IFE91r8QMRoIMvfiJc4R2EIZh/8qy1HxMSZjYGV3hgLnIs4uP
B33/SiOKJMseUhCePPbeb1/pdqoXEPEsnxo2v4cgHdEygwVAv1DGu1SfuruPx/vDAwwI4kX5uYj9
eZBvx6tB4/ZpPRZPvGNsEVnXLhOEdZ/MCe9HIbccXSsvCfBzAsTfjkLTrzYb5VZPrjP/DFJ7gdnI
zxaz04mHU7bLUZOPkzIlVqSTQegdmRVqJuepirxLJib33Ithz8ZO6ez+2U2DsM28g9oJjwr7Wmu5
3FfvY2FxtqvYpz5JRTqig6Y3hLsbXX08irn84Nef/TIMbx8HPaY56oQn05sHWUE3O96FORkkusgh
MIdDZfZpckEQi3MxuSK9pEOwBCDlVkVb1EfAsg6c3mkIYKPTPg/K3M6FAbiRIw7oDJg2wW4MjLTa
4W5v1SoZkM6D6TH6G0KYg7tG1ww2mrIhkiyAIvuZKeL0/X65Jt5rvhbDMN4LvPusxIDtc+sGY6MN
OdkicqjP1GxfoRAQn0wcp+/dyWj2yduNMBKSb8BonSJP3VKKgEwvyj6ZKN69eMtzWpYh9hw2U8XJ
i8deQxnS9uRTnRLUl+cW8WNB3Wzzof/18SvxfiR2nos+fPE4UR0/2dnE5OSBLK7jJ5Hz7AYNPxzt
SjecMRus//FQts4BGYsBWzAe19t3XBY1utR8TJ4KfSS+uxzoI9XKOWN2/4y9/u7YykYQDwPOFVZy
pr7T6QG4R0wKH8HKMGhKHCK2Wpdo+pH4qsU4bycaRx/yEVb2VES/iI8b11ZjDRfxFJdEoNPT+WRj
8f69efuDTi5eE62btZCVn9DX0JQzJICW3GRr9/E9/tMw9jJXUfo1Fj7C23vcGL7E2G8RKN0IfU3i
mH7tW0P5/PEop/tU7u6CzmfuXTYPnH1PRikTpGKDKp/0Xh9DB1jIBVWR8RxJfHCvJLE2rRXEm3ki
F7OL4vSTHsf7L57tMUUAJkrd97FLvB3es1HKIs8rn+iAeRelWXqHVJLs1iUp5JQMvvE/v6tvBjwp
W0VmXCO+88snlXVy5woSJAkT6j95Rd5tyritVDYxHHJNzGfuyW113BFte1RWT3FWxQ+lBu3OFMDf
HNC8mwpk+CE2bNrqvKPELLmaG6auExBMGlB5nJnzqag5webjZ/2Hm+1hCPLMv9yRzskEkbZIrkAG
NU820uuLXPOcOx9RHvLB3LjssNp/MvX9YTwf9oCNK5GXywhOpr4s77wk5dj4hBZxvgKOMVzXNRgZ
EFSQfO0k2H58feZSani7JgKgt+n5sCrS+vdOBrSquvQsxKBP8McNZ5tK6eAsbhWiJNX78Q8NC/xd
MOsaFvixRxYw13swLDBdtIGUc2JcbGtds2YeHLbH7ipxh0BfkzvT6P/F3pk0t61kWfivdNQeFRgS
06I3BEhqlmzLg7RB0JKNeUZi+vX9Qa6KFiG1GK51byri1Xt2EkAikXnvOd/ZyDI1MS/zH++aqhjK
xRVu/yb1Jz6Va/HOi08LhoIgbz8uy3WxXpC1mWld2x5cGL7oUJz2EvhucOJmvR2FsylSN0goFo1b
c1W2kfFAoyGauwOg9XEbKrF6VtZ1cWIKvDsKga8qGB4KRGuSTpwNVidQ1B2suc08zUmhgqL7/duX
GoewjvPVod8m8CWsnnvLch/H2MwPOUe9nbrk6iFbjU+8Pm+WSoM3me8dC+Zyyls8ya83doufogHl
LQ80UZR2G0UCJ4mRJRoUlq65JvRHPUcoB1sBtb6Ky9DNTuyU37xQ/AJ0mLijlv0RE/z4F+TzxDnH
UPsDEC9xOfXDhAi5R+qUE6eGZPRUmfL4kMM3ly6N4XCu5HDMlFzPRK2QknRqmFDTUH1HalkSeCrn
cZMs/AfTRBMSxVN5ypylLRuv/32N/wzLmkEZFkfh22oagpROVqY2P3bAET8TB9XBfhx6tLEpmZaa
N9t2fGHboYLK1oCFc25hwmYHlxTZKfvU8Z7q5aeYNsvJ0gsUmvuy4rzazOsEwYaFoAbWzQ6BYn0x
e1pMIawaXflX7c2XobhWjvG4WQGirF/IDrlsVjQW/g18LPsSvwl6nCg4Q+R56mC+WihfxuJ0wGzm
NOlaurm8tq8uC9pUnjUjCWMueRI2cctTelcmAXpWtuV9vAXN3tz3CWozn72eayL27UPDm9KsvlKN
ORB+icbsDA0frhEjrFTjEvBvTcqaGyh3bpiGF6iHlHtFo/UOVH5hE4m6/frxen/8Qv65CtYVXPgG
VUP3pQb36iqm2GpG2iZMT0trbUwUnXYrtLbz6nGYPs/joF7hXKl/5kbRXy8E8hNnsHcmxyLQWOqj
rD70247vYjy1SmYZ8/zYa1brtwois5jNEv6LpjyxWr87FB83xO4s1m/29v1YdJ3S1eqjiHFrS0eZ
z90gQ/HV4s/4+K4uW67V28dHdHEsLrVsa31XjYwIc0JUtMcccacPp6/61QapvjComiULO73qaiiJ
hLglf1Xe+PM8bXzEILegErHuHN/PskrsvsTW8ThmdfOU8OXY8l+LpQoanc9ZSxLMx5f63l2lqgEr
h00ag64eIDrMyCSbnFcOl6OPUci5aIcIRKupNSfe7uOle7m2xbbLR90Bj03bZzVU3GuCF4tkepGz
pHqpiJOd4db1D0znmJfiqIi+f3xxK7v0nyEhZ1BYYYfPfV0NidOzC/p4Vh8J8OztXe+Iqt7ieIo+
g2scHkHsoG0GJJh+6oVRXbHmFle2SWBvzd944k6/nVSEoABvMF2+nbSKVl9oFJU9+72l7ouQIqYW
kbAxmycsjrqTxlghk+w+boD+EH2rP318I473IC/3YSmX8e1cyORvZEezUs6h1RnGY+iE/UU2B6T1
uqiCPx7l7VxCL0NDj0Ikr6m6ptwA35gjDIbuo67UjqeOru5HTX8IJ7h8fzvSQnha3kzcTezfVtt4
fWyHjrUuOdDl1XwtEfnObIDEOkrcnTrHvL13bHlVzcbWaonF23r8SkZ05Ql16NJDFbrFQzrSUkMw
qW9JGho8ImfKaw3n2RYjrfimDJZg2e9U0MIF0k7MJZ4tkf/GSn1qJ/T2bjOlhSMWaRTVlXX1a1bq
ylGknR0GJ0l8tyXVFLRVuNeJcjgxdd+7BXQQDN5fVIesN8e3AHnxGJlmmB+Kdsz36lyU2zIS2vnH
D/XtVmuhnxHZ55rUDBEeHY/SBS1wA2jHB6LVjauGGg99XXXAFWPGyP9H+wGZQ+d/POg7lwYYDskz
308B1GZ5a199QKtOz0a8NxX75gVuKERxPhXJ3++hKHLCtl90KSxH66XPjlRlJMWz5gyQBV4c1QgK
FEXfFWmQnNggvzRajz9eYN0tFZmcyiaZte/4iizkVLKZJRVr1QaUWLid9eSESnRpBOl4y0yvabZb
ZodxSjMBKGSIcOKNM5FtBvAyss44BpOZOzeZAhBkIKx8Q0IPrk92v3hkgCJrm8GY23udvOx0pyaW
dmHGBMV7ljLE0NxxkBgbOdrMSgrB6u8Cm4OzgU5rfh0pOVSbmrUHr9ZyHtp0toGRAvnvjzLI5UNe
mfxG5BAQkDXbvUfo2j9LmVKrNdKkqHyCP43gHImm8nNW84q4+qoSO1XtQ2KcxNjjFHbq6qkpVS5z
SbzPNyi9B9Jmm06/bG1c43QNguTZ7knC2ymFMd4NQ0HtjIiIcvSdFmYwhOpphr6ZNCa5pHiDVMKx
UzXCrqOGgQ9EK1I8Pe30p5Da3OcujMbfpYnBmd5LgMV9tLP6YM4OCIGmU52fhSEz3N5hDCe1cEaY
cl2aUxO3SXbzgbTjOyUfN8dYN4KA93QMCjjfUIV029xZCB/Y7pxv/djAGf54+q9Ki4iW+CqygQOX
R3IbXcnVhqNKkQoXYVc8OyQGyfB3njs7fLGzc1+UIEwKat3FeZn8TMnwPRnDuBJavh19dZrTigqW
lS2L58HcXE/4eJ/KL+K6+2F9MgMiobxY7ivQs/uPL3q9aV5f8+qdLwynCoXCqJlBD2Q2n/ALXihK
Q+gUDmRza03Ck21/Ynlbf//Xoy6/6tVKk1q4CYJu4Fpxvdg29/cbQuOM297hmw3EiTX7nQMOy5nN
J4sWPNXa9dY8G/WeF75oDhaOxmhToaG5TI3pV5yH1V3lLqbxWBmBS0tUNjqRQzXGpvtGmHIH3STy
a61Ld5M0y3PBl/18biNnC0oVe6MK75yjPebXKtPPIVuIE5/3dxZlGgWq/oKistnzH9+qCFfnqMdT
cyiGpuKoDdGfk7e2/XgavPMBJXQEOTvwMmQraypIn9WDNY1tdqglNuLJHVx/mnucF+Fk/gdDsTci
0gdsGxqD1VsWCmPA/2/wrXZn+yy3QsvXss49hy31r8Tg/1Oi/85XFCibQ7sFacHyZTu+d4GBHbM3
s/ygRDreYZpW7AtC4r960szIwesC93NXjdPnv7+ZL+doFFDUutbfUTgkgKbsoDhIs9F9gntLulcB
0eSxE53YZr49R1Cq5yDB9EBjgD7n+Ao1o0jc0XKLQ2kYGXZ0rGtRFKVng5BQpIcm2X18ae8UY2Am
axSykeUgvF6nIZGyng0iy2gQ0Lvd1jV9jjQZYr/ViRCKwY1/V7I02jZs9y4gLsdbgb7gxOu8XrM4
8AKXQtQqyEog0Ug/vmhDTmNAhZLHmuAK6+hVXhtmF9zkihbfquRX7nJ+4gYbTbqtJ8K3P74Hb2YV
BRnuAAdvJjAyg+VderV4CZuI8WrONXokWvuDSfxLE6Lc4ZNKziuEemfu0JYnnvPbS2YXA6WNRjIn
J+q0x2MWc+Em7HD0Q9jO5UWNcbveVGoOL6wo27s0GyAVtDK/tmsSwZ25PaUkfrMKcc3sCrnxjL7o
7o7HH0iswq5h6AcREP0+mWK8Smbz1PniRUn/er/G6QUBKO1KJjN+jfWbM9D+4Pucmwdq7K22UNXZ
d2E/di/LKszkwiVRMl8gfvwhWgyEAFhCMDUqhRfovmXa3USKYz10rgIcoswbnGC5MZU6bq2erLhm
GNTPUF2cS1nC2+9JHdp22HhaT8+w95b0wRenVvDbntLyKShm+hJWmye+xmwzvLaeksgHhKSdYXmv
rA0yTexGodHPD4o+6BHe/QBf/VhH85MBDwghdKbPtWeBefvqBA0mlEB3szOYZM65NvWtutcs4sW8
gq1WuFFbdyL4Lig1E6S/2dcowXD1bzsiFK+MOOyHDfrX6rYsc11smqJQbxRp8uvHZDQuQlPkT2Ma
C9hyTFwvLyJcxKSQ1N0GI1P/2OLv27u2ANQYjLkynVoa3nzUdXxYLLPwo5fT4RrgPobYt+txFIe5
CYIJYFSfk2ZcCostNiB39pjIUrWhjIEvp25/ji0XG2+tsH33ugZ+vT+FevzJUBT7W6VTXd8QByo+
T0Pc32jcE3lRZK5y4sVCO87UPZpzAn8QJV1TcEqni7b6wIJk0Ia0wlZs4FlfokFx/jZF2rgbO3US
n7BE4CzgEsAo6EbtNp4kNfY+mpPyIJIxcza0SkuCiO0wEPusq9qrLmy7n1mUKF9cqZjNxVjoMDg0
Qzawdd1mvCQ9pSMysVRjclRlDyQmC5zkCbe9NW9kjd1mUyyuzb4bdIKNsCtvGmAmC/qX8PTdmA0p
0qahx1cPMQjQXqkXmO1cQE/mbp7nJPa0rK2eoCYpjZ+WSn5vDf047RG3Cw2ScmBNnq1UZsKkC1L3
C/y1YqKY54BWC6Iu+wI1bjTJOh3KWw7T4XWCvF8uKOT5wQ3G6VJ34jzwoqoNrwnehQQDAx4Djtqk
8yc7lqnik8eonMmBTGLSpvPkOlTlSMaXaxYlDArALb5GPtMPq5Tal5gomnQbd5PzMwtJbsoxfOo7
cGQKMR90Tw5FI9Tb0eymByrP4Bt61WTFS6fe/iVSibGQBTj4VKRkZaLqK1P3ssvK8LFsAWERyDtD
WAJxwukpjcjqmcjg3Viiaz4T0gQrX22bEiVmJs0nKNZ1wM0vzWqLeRfycB3HyX1N9K96nXfwKfzE
1cdkX7k55O+hLkrNz4J8UL5NCoJxP1K1sPaTuhuna0IVYAnMaGwOIzkk041LsmnyCfN3kDxaVWAq
6AJrSSwDJAql/WyoQQZUn69amZzJuR/7iJjUycquh0hF74LmVrGWLEG+emUTll8TTJXEb6VKKvwk
TFVy0irqTZsyz+QeKQYsE056AZynyap+2VbXfXf6mT9C1jE5oEOmt/eBAWfKqtLG2M1B0F7lpIWr
+J8TnUMf7fELjulaShybDABYTj07jLzWXXLZg1FkG0gj2rAvSRaHCCYTeTYYbdV5Q9pU/TZQnCj3
VKlM6WXuqNkvCkjW1SQSk4iXQDcBCA2adU19tHkSRitqj1YPqd2am+DiHKGyu2MFzwXoEggzdEfx
CDhJzUNPTpIkmUXPy/+DVCfaGjQG5nP6sYV6IUVCqAUFOP3KJj5F+LlSw+UVEmXvOdSp+nM49kpx
XnQEWlz1VuTGt81g2Pg6KFWda7ItL3AGFzXRrMqcPUVRYN84gUPqTGUMSoW9yAibjVbl9jXXacw7
ZSpYr4Leqm9goSq/ZVehtp9ixYCENeYBXIssCa4HAeblYiy1MDxDIO6eaRF7JI9Jn7We2hml7qfG
IPXdOIxxcSMI44i9ViOidKeVPdQJ+stQHJLSyQmmiCJpnCE4BPUWqCHG5nngHcK70YK0ILAXhpoz
Vk82hAxUpzo93Z3Og/7hYtnuPCfMerB6ehx+Jj8irwmOU7QHBAOBudWUMZ22aRQE5x3wFpuUdDt7
6rUa44UeRbPq51PDsjWkerElg0oafuWG8aUZ8/ugyWnk0UR2HT0Rpmoa+6UyQP5lXlmfwhRe3AXc
0/KSNhFchsZJcXsBQOHYq2TKBM5VzPayUOrZV5vIcFqnoMDuZz6zv2uZNt2GU3yIrB7mkAsfboof
g9aBIIdDm5j3KprHeO9ILfw+zg2CEb13Wov1qdPI8SFQ0PKKrBPXUoVLumkaYOR+TRGqWsBrkUmp
hQCanSUnupsdeNt4A02M00MA5SykBKHP90i3XPwFJDJ9m0RZ/XbawnhkLYcJVhqh+J6SdPazqomQ
9kHVJ9xZw47K/dRU9oGHO1de1dkjH70ySu+VKtZyn/0FYUBEavTPIkttzY+4SHbxnaZtDeKeiMCO
o5FoZOJnog0loKwn/gyrv1/0A8VzDYyFNxP1rW47fJrTxpZuBvGWqHXNnwfH2JchZzKvbtTgq15a
bUFXTEm+4q43v05WV5dUn9pY33YgoR6op4YEAY1uejuMOTfCdGvtqjGU7goynv4lKQrrYAcxfwqA
i7wida0LPY1gq58sHCL3WheWw8YwqA3t7WAWN0o+QJgIpgmYFjtJymadU4GMRL0Owj2G2kTJKijt
M2ui4eSLQE345hlqpEArszpnQ0Cb2JHExSm9KFlkN1OVqw8iztxvNPuJcrD4ISYbsMQ+64zI5OtQ
afrvKGmtzGvUlIDaeOxyOA5Jdim6bIntFqUKWWYsB90HEDY+NG0fDeyjyzrZlcWUQlBN4XsBEJGw
04o0Nj6xtQPYVrlW+GNW4kxepOgcIHuUdahvpsbNxIbQqr7astJQw2GLw4vVFjPEN9WI5GNdKPlT
HZNscAZ6Td0nE1nEWPHV6cLo89iCJQgwaaPnWffNFGH3WEGHuXMHLarPpJCEbydIt+5F4VSfEb1V
d0UeIaFm+rIjzDh274pAL9UN2IT01nKUJ6s2uoL+Us6KOoyKJDsxi3uedjI62nYkAB2iGTno4zk9
hhlkBhjlS3YmKoXRuI+fwSHmEM4oiIf7QOpFAjeyEsZXVm8ixghW0yF90CDi8NkZxZ1NN8IA5jDN
Yt9OKa2sIZMDy4UVG7+KtMv02yw0guu4UwdaPmIEQthiFvzKqs5XZmwTAbSxS7XPEwmuMcrUxPxK
5UO1L2PHKdK9Bhcm29CvDJwvBUvt4IF+GaaHgX2/3BgjpJK9bGEx7SjTt5JOGt3e/TgLPvnDBMVk
AA3a7dlw8DaVEGOmCzeZ1eBRUFucz9NIq8qfhWpBOFTnepY76YTWoXGUZNpYhE99NkStQ4caWjM7
k5wAv9NTByU94l1QLiwAst+Ia7Spo5LksFGjqbd84YzloxtrGQg5cHDDFoCIjjeqdPgTEQchj05g
kn8atSkaboj9q8zfPD+pPqQB+jQQprFKJjDLTLjt3EbPriIWDXDcnW58zutmyM8UM8mbCyMbo3A3
VGlnfasg8l6BpbfuY02QVoGsQ/sNcGNqfCsPu9TvmIpkAA84x3atNGTqj1kpKtqDsiZ5NTbkJfIz
lzS6jq1Gz6r8COimIn2QilTs483sSmwMpaCo5ir1Q6/N+oiOVe3Ha13LZvtuEn067stZb0bfjp0h
9BxeYNWnDzkmLFz6JD2D9JFfMplsxUMVWD7mWqBU51PesIloLES5G7p4BuYTkedPRmdNfCumOk13
YsrS8AriSXydFNSpfS3gJAd9AdrVzu6pmHuBJEl3R5lavUOCPbBTd+z2W99FQ33OMQZUEleckytH
Amg19USKK6APpk3bdPbg9YUW657JQnRnmmA+92ACe3vbhh3xNFPatL84Kav3kJG6A0u0Uu5KFauM
K4Y8RDVm6eeppojJ67Pe+K4EytxyyzlM7JpYqlcJh1VWjClKA9/pG7slW61tP41qUnPmyGul2gMS
am6splbH3ahxYvONXJ/azRikanBZpVp1laO8gQIxhFkHP2HW9a2WZPl1luOtIGfG0omgqvl69zYA
KC/oa20btgr+hBL4+k6Esyo2nezj4oEdWLJ1xrb0MAiCk65MrDnQqICqeW5Y803Tp4lvLplloUeO
HIT/SE9bP6xJI0ID4xq110Ot41hhpWG6iaZ8jkFfUlHfY10cmr3a6urezmApXVUli04aN5p6lc6a
fpe7sjY90YQJKdRL75rTjqpYBM7K5HE01fGHqk1pATN3RJldNq1Lsl1LUCvQO4XiOImcqg2za5ZX
0uIfNmVMr5CXSgxPaauL364zu58nc9CS80yxgA8qUZJwmsuDH2ot59s8UURMnJ1qHnqgnwKWruKU
O5bbEaltkmvdTdUEZnOjV+P8ZAZ12Vw00wDFPegX9jZAYs7jfHB+D0Zj9dt+civV6/KFmKg7k/hC
HFFCdjDTdNgO7TQBsTen2drosJbdKweC2ez3sh4Gn5S2/CaT+J5hDAx8+DSEZaMXF0kZn1l2Ef1Q
2LD/tINw7jwwqiqEAMBhvPWGQvs30fPoF/Th3LjvRhpDOMja4Ro99NSfBS79qj2l0PF3DUuPjWkx
mj+hzbmVXwIUN/3KCl0A9wvDLCF/VQ/uMyBzkVdWtB1ZtUiv4N5y4uRi4+ZQJqkTcVzR44LGUjo+
u7Dl4aMlxDMQECfFLQdGe+KATG2C746w7yEMEF3W6noIwonqaOfRUgavVOKgAUmsBMkNxFVbOQcn
kUO1BP6pXTRaPsH5NXoK7oYSya/xsDAxhZXbGMyDNCccFjXB0m2jf4azE0ddaMaNZwqARGeK1hfG
Vh9owuNJz4FiQiyM79qqWe5BY2rfxjGmK8YHUR7GaJhuUAYMt3GST8G5gPtA+LVdKTcQZcLJE0bZ
P+Dp6mmjjWN5raZTDt4OpT2So9EwnvooJu/MnWc0tZPdWmd1bte/5gB27VbHkKts5Cyi3HeHvLwH
bdlcRgaFqU1pQWHbZHXWfAGILPE6d91EKVNx1fYsM5PWvAWmYsNSHcqcszhKkbNeH9n40qcXl1gK
4cwGBiEKXt5MUDKFVJPradbEYWxsu9/oqcanE/BXJDzC5RqYzqPZDmTr9N3DPJdwHkrbzjlKRrFz
OQJlCS51Q1D3kOyo1M0YWe39EgLydYa9f+Ua1RBt25LACFJ7bfs2iIR1k8TV/Jy3Sic8/i7ierLU
eh5qts3E+I7jI6jIFr5wbOsHDMKpzpDRmGyCMjN+UMYLv6Q9XC1O57Heb3o2/i1oP7e6w+If4tMr
FRaXCq+BzdIDrH3bqWJU73NeJwE3GsInBQ0ZsI5UfJDZD7SE/CJWBxNJ2EO7N6ym+9GMSfz745rw
ug5/3NCijnRcHwVrqqppQBvNGnU/y3JvUn8rdgoCMTrRPnlTZTtqUtKiPh5pUOQQ6H1fPI9Kf0uh
mZEMz3J6tr6Qrbqd/ne59+u+JOXX4wGrAvx6S3rNc5XSA6dfV8R3H9+8dfNpffNWxW2zqEIF6Gjx
TPVls/jXlKdhPDHGmyrfcttQ4yCVRbiCOvD4KmjGm7SCtOK5OG/3wrf3yvnfJWz860a9GmJ1o8aZ
CDpn1ItndOTbJn+OtFMCtZWP4O0QqzuFhVCDZsRVcDpiLS70DTHR32q/2c4X7qfwbvai/cfPZt14
eHk2ry5qaQy8anYQyipbSPvFc+TIvYj3taQytRdlsc/Cs0L5jmvrRHdn3WpYj7hqr+jN1JJ3zIgW
NqKg2YXtqbbguy/rq2ta/v2ra6LCyFeD+tazqqg7oYhzCxZzEFyk7Qn9yZtu2fpaVrXlANdvbMup
eMZNcY4i1Jvshu9e5svmGmy2p2rtLil+NdpJbNO7ywQKLRBJi4LYXM13yrlzRcuweLa/IOS4yL/F
FyXZCpt0L75wbE/95BoE/Zfpatqcik16d8q8Gnr1HlC6n6xYd4rn3j3I8SunhHBofMd4VsMbJYv2
wnj8eI6+u368GnD1ViBsLoypsYvnnDfO7b5h6vdUIN8fj/L+w3w1zOpVmGn52TkQMZYQbff57g74
tQ9Y6MQw707/V6Ospj8ejciQFFSec5scB/Y9cbz7+EJOTY3V9NcnoSCh53ZVkGu7LeUDbeFTeCNp
Wqf8Ve8uu6+uZvUCKCIlVkljrNLx7J35aD8CLs5P3DLtzSiOhfSRTjAiSMLFrNWTqecyFPo8as+6
NQ53iL7AxfZWiKE9mf0pWrS1dRde07IyiFkqMo/dW/ozgc/vy5FQ903S5iORvpbwm1Ih3Rp9HMrQ
yjnxQ1cuXdZvV1OB3Cx9a5qo2KiPVx5Dl9XC7At+ohilN84BZEw9m3CryKPoGcd+VxvOb9InDXVT
yQTkBR4E0kp6o7U/aaNrgJI15+LSnYL5Z4ozgO77YAzdBkVNV12gBbAJSXFciqtSicJNvjSqNz2J
xXh/Ddi8gY7N7ePp9P5HadEfLDCrxaJxfFF2Tc8zXz7fTnIGU90sN9ahfQi/up8oH55H5Q2ZMKe+
hG+e+NEu6A0yLE/ybkmC5y1xEjazj3NAdPVv9G90i0/lpJ1UZq3WF3TowJJyNnf5Ib6JL9JPzrl1
h3bP5ux9RfBZCLv6V37i2/HuovZKjLaa04HWtyZCAvZ505fZ/V5VHlizj5/cuwv1qyFWs3Eq2ySn
28iXFmXdRtE+KcxDpbtLm/5BUE8u5MGNnl7G/P+Yy38swuv/O5b5Pvr1X5tDdMgP7euUy+UP/Svk
0tb/uTj3F/Mty5iG0OLfIZdY9//JYsGHHFmEwefsVcqlbhNyidgI7AQ7W5yVPMS2lF303//Q1X++
RHRBahAAMXTb+JuMy+PvEjJ9HcDEgulEe7MkLy6T6dWmyWyoWyDdqPZu1JeeSS7eBnvSKS7D8Xv9
71HwesAHQba1bsaHppTCGA2KXwFRguizNoHqIiNQ8CJRzCwooRFx8upB3P1p9f9XIfO7xbzc/vc/
3r2yJdBsAQ2h2Fqd3eYywicvrGqfCx3EQNM2nqJWp9SlL2v7/+oM/lwacnG8LFgfqIgvn+VXN1CG
ZdfKoK32JTTk0BdxISxqqW7pl6rb5eSKlCrZE11MVTPraOHMoZJdGEURm7uG8N/zmiBB8uuy/Ges
D269GQrUMl/wxRhyr1c2FawIC9LVFBWKfic1M9R3QGam5BIUhnMtKYndVlqenXGYU05EB6+ks8vF
oQdzgFeAyVw+wKslcihnV0q3Z4s5K+JOob4zbUQRLS2tSP8qLcoZmAZLD/NtsEsatT8Tokp2E57C
YgO9a/A/fqarzdqfH4QrEgk9ldbFGXF8t0HNUMSw63I/0xi4EJo+PsQjAppZLSda9W52p5BWvw9B
k1P4KQxfUUdxYgl/O7HIMNcIEQXmiZh/eaFfP3ETICUHdbugBZYN32OURNe9HZ/aly5XcjSvFs8+
dYCFJokcbk0npatbqIigsj30vMlzhjK7UK1Frh6j/fj4rr55O1l8sFHD1XEZCIn08QUJs9O1liT1
vcAGeJmP3fi9A9FYwGQvvqrjqDxrQGH+7lzNo2RUwCaEUvOS6vpaezZVxEcxb8J9aBI8tlER3VzI
tM3PPr64N/eRZG0ETAuAkMeGd/j44kIdFbzWaUuEnO1cRHGXbjOHt6fLMPB8PNSbifEyFIVs22R+
4u84Hiqo3FTQKKv3Stcm91EgLqlmNyfsiMvsOpoXDMJzQhRqsZTyP8eDkNmXDQYxSoSXYnhvujE9
07uxv80bt7lG62LvPr6oN5MDmiqLAEMt+B4qoMfj4XrgMzWN9b50hjvdiK9m5FS+VPotCS1P5kiM
1ccDvnMXF6qa4IEtmehifRdZBcnvc1i3Hfb6xLMEfkHn9++fFaMA3cCAv2ggV7cRQb6eW4Zd7TVU
XMSBy3araUH+n4zCDVwCRF9Unsc3D4g5dzQThAs2dbCdkuHnqNntiUFWFkCeDCOwRsD+XUBckESO
R4GS29fMSq4FrYw3aEPh6dgCIZJp33JtsuhEJOQL6jOxNJmMd7VOx7EcSFX4+yeH8QdTMxMFmOvy
ZF99CvWiz0w94MkNVUuEXeaiPSrMU0iDFSPyz+UuaD8Dhp0AEL+63LjGH95qXK4b0OJwOp18xojs
m3z4MuX9fVRXpNMaxsZQy30Y1+dBpT1SZSabsDGJX6ITuXHD5sRr8t6shXvOu7+QQNT1EVCYYRpA
6K/2kyHvlUBXdqKeTm2j3hsE7ziLNLOWb/Pqy2OYbWypDYNUFWx6RekLzyb55sR8emfFROrJvgGe
B8u8u9rRtK2zUIzHao+yVT2TaUVKGKvaxdjayYnFefmrVovZ8iHHNsYtQ3m9+vJMPIxeNrLak8ip
0BZy8q2jmmR2kMLkyTGFWZXX07ZRCdz6eK6+fWlgGiNJXswj7G3oCx9P1sAKg0Qg39sT19E/JNIs
Loo2VPaVxLJisDu7lPZQ/mqZwdfkZ2UXmTBIU0O5dGLmLA/t6B7gJSUGd1GBE6DCvuL4hyhYH8uu
dMs96JjfqqpA+cQxuyWoFh2N7NMTL+mb9Xw5MoCW4fJZl94csdvACds8U4o9gp4k9Zpikbj0TN+b
BOvOGfFJAVlZvZi+fnzD38xdxgX8yWcLG9bibDi+zM60sC0MstgPnJauMRB2m8wNzRNfxxejwupu
crzA1bd4CRZOxPEwI9AFe5RTvs+k0n3FlTedu+DBz4ImVy6niiA7p5soX+RRtO9Ia7uxW8fY5jmb
AcL75gdu3HQuHDiZXmYOJOqJgWwL8m3ce1uKHzgQpk8p5uYrzi793tLxAaZpXWO4Gzp/bMLqwlBk
t4GYJX1FMeUnwxb9Ng0b8liyXr0s5BxdBipqe0colIpowXmRU8T7rmNNSpFj7vNsTG+qfLbw6rCu
/fVjWPKQgVeyMizMnuP7o7htNujUPZAIEueSq2zRa5TRHw+ivTOnGYVACwjUHHC11RIy6IqSTTiz
9oTrPYVVfDtaVuHFcax4LnJPPyXRJjKULwXI2QQvxmYIrH0kw51uENCKZ+6qHJFnjxXKv49/2psV
h9OuyrHZ/cPeUVe7CxmgknLqmemvE2Eza03jU1FHmqWDqO+1kDdAZxUQMZltH4/8Zlldjby6Jyac
WAfNVLHPh3zwZG8OaM8m289jWf4nDxl7GTtEi1f8zZ63R76lEjCwd4AdbQurjrzaOunXeeeNfsFi
kMEB8gco5/FUSo3KCBI8hvuhldqe+LnYBxry7eO79t4gOvZlwA0vm97VsqEqJiqpUcn3jebU/iwX
P8cwaCeezXuzgroEYqkF36AZq2djGU1ok37Ls2FzsQsckf6IgsH0p3Yor5NksC6GsOvR8ijiVMnz
vQuEWYkzm48RnojVC9kTaCbRkeT7qBDxN7Q2hU8opHn28W1874VERbAQ2LDOcfY6flZIhyfVRNy/
hwhrXRJwOdywKkZ+GcbCI80tOnw83js3lAdG8YUB8XOtKes6Qmd8IUm+V1DS7E0DeD8cAWOPxFmi
TSqkr/fUtCF9Nyde8GXjvvoAgPChMgYSAtvHOm8Djg7unbLP9jNqM99sDQx6cm58I22SLxYPdRva
cAvCNq4RClbaCePJO4/zaPhlFXi1ByYUsagU2SLIQdqApbpOvRGAzYndyzuPc7G7YrDhqYHFWo2S
jnBOA6SKe8UV5tnIzvMsodCEqkiXOzK4uhMLytub+sI04RSD39Z9w/idFQRnFaDhfcm/8xEt/RhY
FR4cJ7E8VyKcS4El3CoE7Xn52DvnfzuZyPdZuMcm+1JNd1aTdzBClehctUIxmd6yRrtoYGwSg2VD
su4SXMMkU2/sLDyxKrxgEY/nEiQuSnrsXPiS0QU5fpiaUQ9hHAblvq7xslyneYN3oUyErVwCrzF+
6TxeTiCNUiPxkxE51IRYtN4wYUfe5uHofh+JdvKkPbJsWFNjoUXWetvHBakcUCzbhGtOExEAXeJg
IlIlljD6RlP3WU3JhfMqKTm26GGghd449J22052k/VaYnSSIKCwfSSWPB3AA1dIhGVrnlnOOr9ek
ZzwYoeNEG6Uc/oezM9uN2+q67QsdAuybWxaLrFKpsWQ5bm4Ix4nZ9z2f/h/UhwOoKKIIBwici8TY
RXI3a68115jhj8TM6n9vf5KP01wCSc/9i+MdDva6sXhoszH2exCyhiWI3xtObLuN6mInjvgYq4IT
pJKhYTlANuCtQPhuMeU9xAChagtPIMHhB+M9/FsTT+T81UR1b8uNuadS+JhgBHS6XEkYDz4H++X1
J6/EiCbwOso9Gsu6s54N/t0kAk1gfQR3luyjaUqGHAV+6ZN9qeX4qVnM02+/3Y/PvfyIxQOJzBXH
wmrC46RdJHLjZ15vLdF5avXVHepdmgvHAH/ozAiki4gz7j+3h916eA5AJvpiRkXosAqecT8OA5x5
Mq+NjMSNy0J85OgXHEiSsTMObfsYhbH5w6enwDaKJndRtc7e7R/xcauRZRIaS1ssJ/GHvj1LCGsE
ljMnR66Ur6liROcARMbRGECZd0GY0H9TN/EFF+zBVXEa3xl/+yW8+wGrGUBzWdZXkNO9ThmLZ7r2
4udR1ehj6wfBidEMXwJdNFwhUVK0sYWwtLTsgZQ+Lq/rl7C8pHcT328nWq4nJfOqqPsJusJ80dS5
2TmjtwaRNG75S3aPf68KJG1DeruXxWWWKeGnpldF1IfZHqB/exQAPm9flIl1/ShhkAxdWRPfGL6K
RlzK5E+1P5k7K+ZjUgiOGV3MIAFIwKgftgqlt5paNXGExGu1xBN6CD+PDYbuVBGEh1bDfb3qxv5T
7nOdzyEIEtqNyb+mmirHeRT0x7zUklMwIZfHKHgPebb1Dt7/uNU76PSwiC2p4XOaxezhlTk9C77R
ObdXjsabvD6teAVI/TG3AazG3W71psNBqTqJVwDKMP2iKFV+P1dJdIzVcOeW/TH8YCRdpfyiQdpi
h74eyS/rIOnUNPOmOcLFqIYqHhrwg8uo/tEa+d4dYG+41bYkyJxqHC4MB3vmoBSK7uh14J8hnsYA
8gRh50VujkeFB/YUKWLkIdeP17TwgqM+AwPV+8GXTCkkT2hC3QkroyUrTVvI7Q+3PZ5J/6PKMUJN
5Ho8oLS6GUyM5+edcI8DoHFMJhWFPn3xnuwP/Z+PR/cS9HV4ilwR1zXfPG9E5NCUlsII0qWOt/rR
1IqfszQ3sGKyParhCtPCvWbhJ2JgA9IBDzFtrSQRAqz1/EKgy0cTe1uPk99taeLV3rpFkD9hKhbY
tK/aUpTcx0J1F/mmY2SFU0uJKxTBfUGtz0m62I303EmL0lXSwiMUc8JUDHc+/cbJS1qZiYOiZyk+
rD5F71N76MFxe2pqYMBO+kFRnqjUlwdzai0H9IC18zGWtb9atVQ6OG9BobJw1zGOEQRS2Fp64ili
PXiKgU7JbCM0hA3N1Xqu3wXGLJI60ZudLXOZxR8GXlAfcOR17cMVDarbnAvFmHjT0GHsW8aVg8FE
u3MdW8mI3j7+Yk6rQCDQqR5pq1hGMMR5KPwwweomNw8pBS2XdofmaWwt4zTQp3kn+8b8M20jxbGk
TnwU+xEyM/7sTqn25mOU1n+GqvnfT6J1ZBEiUBTk/nS93ugzyf1sjhMPW1TxrECcd1QxkhwlRXV0
e2lv7MkLUI9cJNIwCk6roSBJmCR3efqELiYvF2MuvkGbndvE+np7pI3PyX5FOZXgdUn9LDP7XciQ
yRXEmsaMuav4mVMomA+0gA52Js3GVqVJMOxgTRL/U1S6HqURJ3XKyiL2sp6ZY/aS9Rmwguh0vj97
edWHr7efauP94SLEgKxGJpC4CoSoq/fcB5XYswJJvaMAMro0yk93ZpcXO0t/cyiejLoHKERqj9eP
1glFNkZyG3thhg2KUoS1PU+KfNa7WN05P99m2Grt4RGxEDKZGZi9rD8Wtlpd11sRSXhpeLUqWjcs
bDE8rexrp06y5lSLtXia8yl09UpXH2ZBz88KBcSLYob+cxip6nEiI/aPYgQaVvWj9m89AYnNxzpy
xB4NMjZUlMBSIb7omDcfcE3onxIaVh0NfNuhmeo9WOPGBMQbCSErdzVUg2tH3k7Uk6qZeaaRYoej
94BUJq3bM9r4uEGTcwT+hwhEhVy7TjpKmd9EKT7eXlHNvQvPQT/2Ghp29J6Fp+uC71ZsAO6fzkIO
BU7n5akojBmrAESZwrbP0jDyyLYkbmRY2rEq0OvQfrMz3zduH9x6COP+V9+HA349C2neBrlrKKHX
IVn1hs5UXUlp5buuqJTjEMrRoSqq9kkbqCDQjCofMGTPd1bCxy9JfQZBGEWYNwTpslLebSWQNpoK
PVLk1UiOXNwI26M2antGcCv95bINMwyOVlSjOB6I26+H6ToBvYRlhV6KNo4QIBCkI473viPMPvYB
ta+cUhQi92VW5GccnoOnycp/BH6p3c8wG+2JSXxRprnybn/tj6onfhifmdSDthjirZG68B9mTErl
5RsI/pk+5PFQjUFz0rKZ3s48Hx9zuYdbGPeZAwjIOM2ARey5juaj36CQuv1zPu5L/BpEHxye7O3c
ba5fk4b2Wa0KPfSCRte+02svAvmV4c6OifZ4e6iPsQhfneclH0289mEJaw3Hs9JqiScyvcmYNpDp
OipXU1BUtp6rit0GI3RojLZ2ptzWvOfuIqtgz5AFfUD5yV0b9ZNSJZ4cW8IRGgEoF94LeZd+OLVz
ea9OwoOv0QI2lZPsmTTXfb798BvvmTuNKZLi1Nia1zlVY+i6LpSDhCi8Ko4KNbqTUtDKXIO723na
jU0MHh82zVje8K7X5QYFOIA+vZ1qstzcCaFOJ0eftzQym8mxWQhRXVv8sRYFjScrGjWpjFbxg3DI
0PNyihOO0klWhEMtSLVDkXI33tt6jeBeADIhrkEQsTpGlbwy87lSY4+D73EeY/NpghFztkIzAHeZ
0J0Sl+3giL5EII837FlvlMkBA9HYuR9UFD5N4Z7SwYUGg/KvP//EgCKpDFBqX4Dg10spVIJUN8c5
9uZ0ekxMtbqPzb60EWv+Gd7xbW/DU/itBA2/TTSWLfbdFqrS0AXkJYs9paJZwdZhjtqG2jXhzuaw
/OLrQAIVHRUWmH1vItfVVk0wJswSdumeqUxYbKuAUeCe/RvL4hP7Vroz2ta8XSp9UMxVToZ1baWt
ZTHU0BJ53CB9d25UYuaogumqZpUbGkFKt3Oq/nEITSqQtlf2YpiPWF9dv0ps061qGC1CzrzAspJm
ZldfrLWUHgDj7fnxVpdev07uBDTcUmdguNWRBLRXCgfRZ4II0uewxRumbh8JQO99aNh9aJxirTo3
YApiX7KV3ngR6SIei+bRjBonD8i6D/Wj6o9fjHLXbEje+NQw80F042mK9nW1sAwjESaCvdjD3bc9
AIQzANCVkm1I0QD7IdHcIa7Lx1mTizOPGGDkNPeeIXQ6chpgdDuvStn8OW9qJ4JlCgHXn6VqiImS
mrUU91N5jERduoxZ/TPtyuRT0AwvQ6yJDmrwBbcjmBi1Q1RNe60+0rPTuGFCYez2L1oG/PDtwHJy
o10UcepqcefoPkR5YOOJS0M9I/ewAH6JsKdyUT6XmUL1OLT0r4Uc9ie66P5D0MRHWZy8mDmLquj6
ffSGAb+m5/NYgDo8RarUQ4GQayc22XxIwPMLRFzBOWX5Ku/2Fb/IiX6FiVEomxxCMp5/ieYkOWSj
NTtl2R8ms4eNNqjZY1Ooys47fnuKDy+ZayaVVZC7RPvX4wM8DASr6LllphKXl/C5o2G+q/QzrpyH
UjSPlUIXAR9Y76wnJWcHsqr4iZzgaz2U3iz5cDugHQOBzCSkFlFyJ5vpXasmlwZNiprHv9qkvDeC
/h7h4qESk2exHH5rU3mfQ6Qp5egIpP01KMZPE22HNAge0MgcUM1Ytp7GHmgjwGzyp3FMvmZV8WuJ
Wo26crkc3yHZdbnKYbTL+pjacyL4njiM8LHCy5AvNyTznFQlxAXtFOtAtiP/MgbWHRYWD0MLMSaT
z6BIP5V6dhanYLGZuoSDehS68ElOJmCUWsEmSBNoWxwA5H1rBeXUmxpUxvzsS11imwBKhKb6fHve
bx249IKQO+QfTVrjrQ2F7vhhYCGGOfXQCH8iN2vDiJ9h/VnP+P9ONS5fqNVI49Est1piY2TNnZUs
56cgmV5oTZEN63FP5L9x/VhYk4xDioFIYnXbqhIrRoUmxl4eWNXdwEyydXyi/wjA/P+fBZnYWycB
UrjrmVyNWKCk+hB7aifNTuCLWGDizXP+44/DQoQ5A2iVmPKtwvxuvZajlqQ5RVwPnZSK0qicbBMS
qZuUexXZjUiAkajQU9JZuNLL8fFuJK2v1TBW2Rkm3Zzve9iBBzEpTGzfEsgzSVns3BU2vhLxHcYU
3Ii5GK+9GTJSfW23IBNTsvCXbuhAB+r+nrZ5exT2SbLVS2V2td+RROgykSjSy7o6s9NM049Bz5l7
+yttjoLlFoDaJfBfzwWDKHVIl3eX61N10SOrd7jvZTtZn42FivQM/xlCJ1Kua8sdTuxZBhYWe10s
Ba7aZpMzBHl51Iwy2Alk3pJVq32asQz6+HltKP3W760XowGvJvyCpwWeQT0jqw6mETXDqZbK8KkT
smI+RrKR1C7SsFY7zCSJh7tapfPSrkN/vhiCqMK4G5UicjhZk691KFevyWz9o/nzfIR1qv01RnqV
HhNDQKyXT1b6IE0IHOyqNHr1roNeBvBPr9rPgTgArg6loR+8cdLhseaGNAUHlZvdLwM1qptECylQ
DFQrv2PFV9KzL9eWeuz7rP+m11HcHdI6G1qv0vrOsIHrVcMhl3rdSwv0xQecDeTvIvf2GA8/NTtn
Ug8+jw/xC0GKNtpKRkUhN4rsqa4mV85lQFLN2EWzXVBP+zSYyDEQHsrpj7K14ALmxjSe9GDmp7aQ
PpNDY2b6N8wRxJdWL2jKMtu2/hpWUvP3PFOhPYRdWFoOZ3byjSVz5m/mHY67mnpUxFTrbAssa3uw
5F7/js2D8lJzDdJQQcF8PeS9PoR2lRjJiIW5XjzXqD9PXSZh6NvMnXTPO+vmu7qMgy9VYlaAtOTq
U6aH9bHDW5Ja/Cw/VIPUuaI2ZScrMrArDCIZn4a6lMhmGti7fVWaEY6q6QtQam6vn417wVK8Iley
kOa51F7vPUItwU4StcjLNFLDwLL/7RR6zs06/iTWZXcH71jdCYS2liyB92I9jsKRMt31kDX8N+6V
5NThAgnO2AgzLnX6npH91qbKKgIgRtKPA2lZ0u821S5oeZ9Uj72Bux6xjKz13ox/hytL/vQwD1Ll
3n6TW3sEKVQcDvmDcHJ9AREHEQQdj6W0ZMPMhOmnFiRkhsz8cnukrW+2YOwRbC3ti9bqBeZ9NpOs
gqkZ6XG7ENLMFyGfSK9n0+BV3PT+TnUcFm8PuvU+aYZBVkMOmPB1+VHv3icArN6PStTO+TDKd8zP
/qxkY+EV8fiL+pq4M0k23iZJYg1NC2cUKuRVtFr7nSHlesMtvARYayVa4eCV/M9M+9HOg23lDBmK
Ig+ZacQO65oxIKS6SQou/LpZZ69+ymGCk5rkVEhpDpEKRUpCBnBUGlDjgx/ol1qmqR4r5/AS9OJe
N8rGx736NcuLefeezSyuDNGnljHigdEXRXvQMjVz+iBBCZwI2dla8Ai3v+3my8Y/iaSxRSvhm0Lj
3Zhtyz5p1Kz/pkutI/4AONiVE+Bqo1B29puNaYRLNIEbnTYqhdpVrMO2H5icboS8c5KekKGLbhDH
+aGt1OYoNuTobz/aRrMIhZp3A66O0wF44igjEPaMGZ1eEI9IjwKVLGHtV46WN/2BGqeAiUyew+Id
lEObGhYmK+NO0LUsytWxTsIcwQUpJfJra6PVQaMbFdwXc4sF7fR1W5KUzn9g8CQeIYhmxxbasgeu
WzjJZbe3nORl91kPT6ZeI/NKEoIujutphexpzIFTs2eIeULRCY8siLlDUt23evfvbOhHdYpcPan/
8ocYELxyTwB3YDo4Qlt+xyz5myH751TPngyxP4xp9yrjVLez6DdOBpX2QYprSxYSPdD1j+xpjQqq
pUI06JjR1nFuHWGJDzuzfWMUS5OWyj0eTUtr5PUoCZJ3MRcCaiSTCWsNkqyXmIm08ywbE2/pM2Z7
NpdOY9bV9TBiqtCzHnFtxvoNlGFlZUc9aZNTNo9A7AAE3FtCXL4UeeofxTrUjrJei17W/BkIbbkt
LYVKLn0GeyOVkdWGMvhdMxl+RdIvlIv7RGuKUyUosseVsPhZVYpxur3iPq7w6/GW//5uMxE7rElF
NB6uMcVwg2OUXOOcBMcqnDTSAHW10+n+1jh+PbUXM0y83wjMaeLTV1uKbDFpKKioLl1R4UuphLMG
owBele2bUHVsMC5D99iUffmKTiMil91oxWvkN0prK4UPibWCh4ObmzXVPQFZrlzaEH61M6OpbJwy
0AfzGPYxSpJ5agxYyoqWiXaf+NKLX7Jc7LQBn32w0iKW7816qioSrB0kmLCrRXxHu1H52Vla0doN
MHM4oGiR/7HyZPhJg3P2DUw14FEJPQX0azWue6edm/lch6pcuXEzk3LPxcFMD2rCtdeWBGF2J7xh
XywqMkAA06o178wc6uLJ1wqo7xGv6r6PwOc7OJdn3FIEbbalVNVKRx+tuT9o0CZTx9SUkpa1bNQh
zZKdeh4To4uO0xR9TTShKY+i74/pwfAF8dvk9+rzaEYVrOUct7QLJbPRdCjlD0bfSC5mVWLm6Nas
owbqs/GBXx/f93VWq4dkwknuAD1X2VPbbmgHCVkXzSksOQut0mp3lwWcfYrZsCAYQHdVOkWwBbW2
YrstsHxTp6k+JsU0uVQMoFE2iWHzu0oWfRQ9mZXf30UW5Gcnb7oK6MOeGu0twb2amogtqIsZNLsu
2ZfrtRCP8DSjyrTcxmgmuwrwQ8ZRxVZyzSlCQzoQB7/Q36hSMBsE1HiJrZUdT4DF2fSiTyiW/eZS
GvlnZuZO2LOxTLGuoZoEXmO5bi675LtlapTVJPmcRa7RhvfDrEAFrQXxOY8K9asksHxv7wofjj9i
VZJckkh8LJMcWsWsQVvFYVjNkacGOeh9QTQPcxj3D6ZKInCMA7QTfgP5Svo+lvOejeLymq8+wzI4
j0idhbr1B9XcPGZK14dN5NHTH9qZEnzSh/wvKUkyu+zK35raf7r9tJsDUvYlVNaokq9NoKCJm9VQ
9hxkPd4uaZK3n+Ek1441kWdVK023O7P944QLon6Kg5zyvGQi9NU+mAv0xoU9Tyl2OhHMkOLb5097
c/rDvFlGIYbhLFEQoK0TiVYy0jcQ8GhVIJXnQBNJ28KQO4bN1B0HP9mjry3H5OrbkdyhSEEBlGN7
TbjIR9mQ0rBa7nHGY1XQ9UtSyXzwdexRKPwah14utaVssVe1+RAmLA/6buDV1lL1AebVBheeOMPx
IJuD3oUtvKf83XidnMyE3Wj3EX+tNXajrjY9ZnIIFgq8gIQ5MdwWu4SjLk7jQ7Lv1PUxLKFZWWU8
FuOiS1jLwIQgEOTYr0LPL2X5pHep8lIGmBWVATO1MaPy3E5d6k295l+kwCgA8SuhHVux8Hp7jWy8
X8yGVeJeOjaoa6/CsHKMKyHMg5CAePqVQ7N/jDRJPN8eRN6YPlejrBYF0CKsd006hv2wjmy6YYCT
Cc2/ZGnozuH4sKnDnK1qdOPFPp0UnzMVU3zAcl6xLT8+hK1ZHxe7ImdIxKMPoTyPp/A4RVQcIk70
URSfhyb+1GYUTRA8AuAHKIn84UJSRT82bdvshK9bMwbpwVJLROnBGrzeuKuu7H1DTkIPKrhqD1xh
jokufkGW1juw4Paa8j5ej5kw8FUWk0bSG9K6Hj5CWIzn1gi8sK/+MaJUduJJVT4ltJw7ma+9aAqm
bmjGwns24JbMkZ+6k06fVa9of6zxXX4L7oGLEoItTlvlWPDGbAs6/QPPKpX4KChDACWomQ++PJD+
SHXVNdN5L0GwMYWWCgDMgUW8RnfN9QvnxhjAG2eiRk37nAex/GoFXfZZQiPwiltMBZWN5DA2tIa/
N3s3zhGGJuXCOqVCpK1mL8mfWZqiKPQGo7gE0ozRyGJnlgwpdWyDFGKLrUuejt9GTBbizH9ODeOs
6NUv8hn/VIDYk6Hqyb33v/UwoZybEu4J/U+qHqfAMkWnqbsHWihigE/VT0MrmmOX5e0xKIXD7XW4
sdh1LnScTDzKUv+8foddV+ga5tuhh/NW61pGa7iWBKjhP4zC5ZHvhKjCWKfpSXJGQLT9wBu4RjrM
aJn+wmmPGbn5UdC8URKigYJlsXqWJMHeCZMUDzEMeN8sFJ0wSaVzBvGRzXu5SZBB25kKmy+Qvo2F
MoH+ZV1ZS8Qos3oDy49GtX5VLSY0WhBlOzHhxywBgTSrHP0LSeGlVnj9aEXtq7GJ5ADSQ1w+qZUu
2TgOi8cA5zo3D5TUIZuSQJK3hC9CWbW416TiEe1m9Blx2nAY+lEl461qT/3cqg7VQDyX/NqYL3GZ
p/aYdPyJNeAf01WW342+BGABWWzSr9e/O45B4LeCyCfprMHWZRBHeh/+/g+zi7zrkidfdt7VYiwT
PJjNikFEvWk97EHw4q0xff7zUYiS6bhAvkgqbjWKYmC/QU2LDz0DqMjBEx+6JSq4PcrHixNvbJHK
LLAfWibXEWrWJRYOUi07aSDGf1XDrJ5TkeqSPkcgeMjROOjDaJ0YUDXP5fgMx8VAIYCUMkEJfxpG
fBGLpEbNkufVTgZhK0YhaS8yimyYQKpW70AOKNQHdJ+7nCXdT9RkCsaT6XwQs7m6E7Um5iLN2UKT
gWpjxkarYae7cVw2e29pGWgVfFI/oAkQRBOFzHUWGgR/lOOmJ7hTVlhPQTTeV4FgnvD2Vl0tVrKn
vBywe7D83xSlst++GhAAYBP3XGqF9Hz7k23sAOD8iOypmCzAySUueHdhC6xmqBuzENwynSoHwJaE
YxutNX86ylJGJdpGQrVAH1eHXVNIdFjMkJ/0FCM3sY3rM4YBe0CNj1soo/A+lx2U9bTuLFTFSU+w
iPFdBH+yU5fTdIog8x1kORpPMvqSg5jL487KIsX34XMyLKULzlTqCvBsrl9hE01KrY2t76a4DkuR
dF8qWfmLWpApHkU1GbwSXbJll1ZRK4cua9IXDXtHXEozDVv0QZw5hEtDfEFoNz2jExM4hMUnPbas
z0GvJj/GAiXc0UJkSxVolrPXMFTkX5Wi46dRGt2kH7ADFn90qZSNTqWak0AWqc3U81gvtmaYVRTp
wfcTuXNSZY5f43pKfboaI8wqcdTC2ddQ0Aw6jQRX2Im0Art3v9cE62AK2MWgfUmDh35qo/s66/zv
4yCES8Kn/BkF3ZRiC0wjoy2jlX3uu1L9ImEl9jtv5fzvuAyqCLwlJo6UJbWe6WxF3AuwD0vU1nqM
ABzpTpOLDOWT5h6Z5VioHgVjKJGs6DS8z30S/orNihVQJE30UxgsKbPBD0RfA7no/tLnic53mj/+
kvAAwlVAYQ54cYjtUi+3uEaV6Fp/jarUPelRbiG81PT6NKGvfs5gM+N0KMnCvVSrkX9UEO+csLij
Ri0LYvoDi9nha16qzXOqSjNW4WLzbFI9OoRadp90mQBQzexErCMhSL8Y+eC/6n2lXdhdjNeU3Ohz
Fcf+MSNd1Dh1bk2XgrK3dWqFOFLtBBya4NRmU4p/l0aCA4w6WBFGhFas1eA0E64K8NpwxswE3xpc
+ryDH1I+95XTSVL3GPdhMnm1Vgrq4f+lbQxcp5LRkeAbRy92qVrPQqLnj72Ya19SKCWZDX3T/zRW
VvsSoL8K7BxHvgwmuGCSIBKT4IuZ6sLzEGXZX7dX/7K6r/c7clQ0j1MOk2imWZMrg9rCzTSJfRD/
oEH9EEBDV0iyZzT6lz8fCeXO0oEKA4Ob/fVSJLKo5DrIyI4DG7mUTfi77ZLqUbSaaCf03HomBGKy
qBHEo05fxQb46ARhP4aMxNXArYKsvsw4fR6aTvh2+5k+KuGR10Img3jD3kl1djVUYpamiW8RSrmg
AdOkzNmrYFDpZ29QThwkkxOqDZV+BMZOGPT0SeKPurfLLYOsviE/gh8gEgNT6lltckOpIKUbfMvN
An1201HPbG20RrdQ8y/4e11olF7cc83hoPnNzzw2SW508Mlrof03sH7EwnBpW/97ZOoXPVT0312J
NV4TK+XOKb/xXUgk0VvITRYL8PXLGitjVsWCudYKTe/VoflP2mTdkf5o3779XTZOG5W6LjItOkMo
va1uzGbgI9xSUt/1Nb1w+kyj3NcZhkMiW4QEkSqjraIE+fN5R/FnoVUtPC2s/65neOBHA/Y3S2ra
CMRvfStNdiDHw4n/V/8Pr5IuJ/JHLFyQz6vFZEitaoU5Q1kJrkBdBFYewVAFTxJT49vvcnOOE5Uy
v016bGg+vX4sDHO7AZaH5fb1gEym8DPjaAlac2xm2TqmyCzOA4fvUdCkHtO1Mj9XRBI7k3x5d+s5
DkKHOx7s28V+/fpH6EEUTGQqLHeOpdQlaUiBPMRPNpopWMPErV+rkdtJquV7X3VzZMoq4J7YUJi7
1yNrYoaLdEravKW5+5jnNT6gOALeCT1o1SQagi8T/ktHOdHknY/8Mf5DSGfQeqJRx6OetxrZDMCp
1AE9uB0q9+NUlphATtYebWprVUoE33xcg9m0VgkPFWWaKB8tNxf8yGli3f9Jt9c96jpjpyC++Tzc
QlDMkFT5AKhWCYKqNJEtV43w6KVqiHVpFO2JjZa38mGmoL3XOGQkUo3Lr3gXNWMbl1kEHIySg3Lq
a6VxFWlMH8Qyrh9yMq87e83W7isv3HKUOeTmPnSh1zGmsOy3rpCH1ZM1Ab0JynZxH+0zdpledvoW
zwilUcKnvB726vxbWx27KfcE5oqsrVUGkTanoZgxvK8YwxkjL+uTHBsYnMlgWah30QwmRuPX23vC
1pp4N6i12hKGUvJRujFoQ1XyV6P78UUxssilDy97niwVb0AFSzLB0F9vD7z5tGRC0WXSGsSt/Prj
tth/1uiS+LjUz4CG1IVjKml6EtuqPkxtWHwGwfXr9pgbGWVSMDJS3aWWxE1itQ7xM4yxhm9YIVL4
s0i5v3A9D//pVR3fQWXqXUApc233uYrrZRzkdzXMXjsQcIz2W409esoaNI3CRPHE+KoJdfWp0Vr9
UZ4BFGRMERdKJh51qoX+h/qwS/lePqck15BlwlYFB5fzV5XuV51nwcvtp9ucvuDE4d0ye5E+X79R
Fe/dsBh4o1ouJI0tore6dI1FII9Twq8ohaOaSEF4EY1AsSXsMPcYbBv7D9ldDheVhCtpqNXOHtaz
wW2L46Ut6vZBFKP0IRrN7qE2MDGelRx7P63P7s0WL9cGdL2NU/TwSeAe5+RSIjp6YqTnrBvN0wBa
zJ663j+mGV3UyYSjZS+iqGxnc7jIwizaA8gtH3jnCcoWHMk50x+iVAqO8C3EL5rZ44tYNoZjAfk7
ikETOqKMGgXvPvWgz7J0ATEINU1SKC2P0UyF+9gpFFFUCF8UUNWwrTwzm/MHFer/N0kKkvPtr7Wx
hUI+BPeL7IHE1zqIFru0EsSaOaW1Wf9Qmr11FLHX3dnSNpb3gnqnQgXxmnrmak6EmRb5slkRUGqC
cQyyEdgpXupOUDekiqYkdeSszdyCw8S9/Xxvsflq9150K3A/2b25mKx27yKS+qHXOG3R5GbnMlSq
/kKjutwdTH0UfSic5fQDJ0bpXAYsCDlM4LJhRXikE2ycDug+1O/YwHefWzyg1QPIJ/EeC1TMbyKl
wXHbiKToHM7G8McdTUuXxdLJxL5EFL4uVCRTYmKdvryzXFJOAnawB0PG37gOq8KZZbVzdE0BN8eF
whWsbk9EuLWKFBS9nHdLlm+tRQ3QeoxTXRCkZUhsJ9nHVbZs0pMm+Ttb8NYURLBFqogNCDGvcr1h
RI1pgMHjQaWoD9zIhKEXYO+7MwU/okh4nwTvSwCkIR1e06bHKIuyZq6J8DDmjFwJH9zaRm8LgG8k
VEsPUR/3n5u6Dp4bS5vvBh8f11Mk4Kxt4yiMja1WTG1it6MVfb49Sd+Ur+tJSsIMbRUZJRJLyyn1
LsQoLEOIfSO13KHVnUqwfowxSkOxy455oJ3KIrn0Rfpo+eRIAvUlG8S/k35+KKfsLqjL567CgLaM
DpqYf+5JjJetckiMEY/U4iiDMsZs1HcCJkyn4MPdWbUtg5bZeb8bBylJv0U2QLMm+bjVBSJK9S6h
xcF0uSChdO3Qp2Rlpx4aVbuXcD11jEUYuvPelqmxfm/U19ErcFcmkF/tK1isJ90866Y7GV3z6kex
9mQhm8CudhoTHrdqLZvbe/03jevyNxTXQ203nfVTqElJ2VUfTU8Tzea/fLSNtaOO40NMdj6zQy2K
v8uCBOBygpT6NU20NrTrAobqYfJ9+Vvix9JeN+/GwckbpHQCVRGp0/peMHYw7MN8Mt3W+onb6HwB
fZud8xJFmdlDasbwXrfDqk6OSkDnw+1XuVGjXdhMGnIdFLU0FK9OzdSXfKOkn8SNqQfbRlxdJL/x
hLh+FQOT0reUu0KXfs4t6SXUhd8qrTJy1OyheDdnkUHpiPvR2/F9vRAkcMhBghjNnQPrURrCJX8/
c17mUXC0/Kq1Df/f2w++tfugtuc6tESByJmuRxxwnkdYwLwtpQEGUWYahyJkC7o9yptyZj1T2eHw
YKC9mE7m9QqPREguHcdbG0w/aNo1XVzDaUxBIO7ISRbhf0sxvKSgch6TvD6hOO4OlhRqX0x/pHk1
MlRPl4LKm+elcBvlw4lSdng/QWy8ACNU3LQkfTvqYfoI1f3PC5YLVH3RBC0iE7yFrt9SMytC3pSK
6Va9nFwo8cmuKA+NHQZy7VlzLDwEgjDubCmbn4YYmY5nOsxQuFwPSj58hswymy6ZmZgMZqUjtqy0
nQhha9mRqKRbinIltzz5ehR9rsta8QfTTSXswela0kmLDpaLAWH8RdOi5j6aI+uS5b35ucbJeWf4
rWwISZAFMAOZYGkevh7fr/vKSgXGT6YY1ArhGLFkEp0LlBGH1g+tz0YaDUQB+OiKRkL2XO/knR+x
+aYX2RdKPk7HdfFTKCOkVz3ZDzNUJXvyDfXUgtxwbi+C26NYaz9lDb3iSObcdBfz4fuuySEGWEL7
X54FvZyEwAzZvrl6n2Rt8O6OG6aq1GE10Em4SptAXP7Ds6BlgXdESIuU7fqrpVqiZGrXMzejMGBD
1j/n0BB3NuWtqYkIj35B+pwWBvr1INittiCD2Q3HMJefUnOOHmeLQEyYcGVUUgNmyNgAfqgK+Wih
Ntt5xq17KrUufgEEP3pL113+vqEkhQptmaURGnCm4nqmzzvpMDeoTPNHq1vxN1VJxsLGVEmc7UjU
/o+z81qOG0nT9q1M9PFiFt5s7MwBUAUWi5RIUS17glBTbHiXCX/1/wPt7P4qVC1r1TERHaOgxAQS
aT7zGiWnnRu35pGMM/d8rHuaGJedKvqzx7yTBpVSD+4OoJFDr6OyUB7VZt4jbmsNtT3hwfS1M7MY
grx1mocFn7g4MHr+6yt5u3ZSHK984viMnwyvkFc8Zy+lKcTa9I2JwUD2b+5AUBlJM7QFMUwNPRyI
u0X0wK0ARXM8ZOTU+87orWBSnfn968vp0r23koTpKHIGwbA4/dK5rrc2DXVuoSVOHgV2ELvWzj9r
Qrx3e/cpcZZroEib37i9kH4ecbOAzcIF4KJyD6GlvKON8lw4+nKA+RUs43LNPfhS8I33BhgwZH3h
tW0Je63o0z7vuWWLUak+l6KeWr9B13vfSrQqEiKP+0WiPlvNysfE7rzjiDrlbjLcPOjd/jvo+l82
CIRczrW+svtASoAnPp1x4Slur9AECWNU3w5VZQ7H/0PWceG7noyy2cHLkIg4Xg/WGVGCG9TEzRBV
QJuuopSPeTynD4r6F/IpNNhcEEwUtUi7jdM3Y+2Oirces0a9jCQCyxzYa3Hj9RV7LuDFBKKjg83K
enEyiafD2PgSajVQRYpL+vDO6r2EeKVsd1OiJXsZa+5HkXVzOMtI7KQ5G8faqMxv9B+HB82KimOS
K0qw9MAuXn+wC4cmicCKCiV7Vikqnj4XarFmN9Qo1CSLLXwOSbl6TpIp9aoVlHlJ88xQtHCwjE+u
KoYPr49+LiLjIem0zgkSCTDy1c20lCQiC82MKCRlHESAm+/4JomsoQlS+BtI9OFvuMtdGT9p7aqd
spL6Ez9VFOdu6VoLp0cww75bkaDsFLrGe8yYiiTM6rRY9wK7y8/dwrzy2BdOPsi05MYrKRRg5Ob8
cSbdUrJxrTh5+vhm7vvy2Cpt/9ErEuRFBvRSHApfoSoj+wr35kJQQDuCXjFUdSAj295qrmoUznpE
Eagd9d+1bOqDbFjcK+z7C6P8gECy0/HpAp5yuii8rMgGe3GdUJvxavU9tzGkb5nNNdfq8/0O3RSg
5crT45TblpPVwhFGLQcnjKRX7FQlT56STGSBZU7OzUTagyF1lD+9vuYuDLo2W0AXAYVZQTGnL8dy
bJpcw7rEjHTZ+ovrzY+1p32KbF3c181SPQtnsq8EBxeOdMqGkDDXggW6Yts2D55GKfWnxAkRz46P
FFzl02xRW3BjzUBblXppqzXRW+GBOZkm23uLfEgT1jZNTOnSvTad5tcTBspkbH1qmSvUdYsJSno3
il1p2GHhRcXByNv+Bofbdv/6dJ/fnIwCzxU9PnBd0OxOp7spzCTFu8wOcbwrDoJ4YoeSyA5FvYkk
pb4mInttuM3SlYYnO1aVHcICsgOpNmLvDSB4VaePdno6/HqUzvYn2aOjZiBE+eO7/1SLSgtFKIsy
2+FkNOJm6ujBFo0yXlk+5wcOo6wBOmc0Zo/bLpOQtoGlg7RDO9LznRHJ6d1gxAYQPIXxsES+d0Ac
BEs6XSMXrvN1GvhQaASLza1PUZiG9+nnK+LGK4u5sUMQ0EowFxI5PLNob9PcGa61Is6H4vWAczCh
EIe2lc2mQB6HANIK03rUb2HkRbfqlLeZ//qCvPBGqwAQNhl074npNqEMNYMyhnRlhUWixHd5mumH
ARhRWLdOfeW0vjAUrFoaNSuSERbW5nI1+wSxiSqB150qNdJ5SxvgPOLtmnq5Vgq6ONQqbLd6lQHP
2nynRCapFKNnhpWV1qEyIoEbj/p4o8EjvLIYLxygeILZKq4XKyBgC8emkSa6ZDHNEBdseLZ5hPhj
Eltv1SXNP2lCU28o2S1XvtqFzgTTyC4wYVRDgtpS5lWNpAl3agMdW5LgdkTabmrcXVQ45nEocoEO
5mA+jbH+nHlG+j43gBHiBZOG0+J5N0luaccFLZGdXZhdGLt5ETZSqH6HmNG9E40fX19kF+boR5GM
eBn3OITOTrcNGUlEErjQayhNl8OOsyEMTJBoB1FGyeH1wS6ceeSdtJ+ZmxUnva6Nn84genSei/yT
GeKKbtwRelg3yqwM6BxigDIr5fjLqH/CLOA9ZLtIc4KwPB1vLJqRLQwiN1qAbQoNlnPplumVt7qw
on+wlTB0XmUptpvHyYasbYqUUezZfLK9Yt7HxdIh989x/voErg+8OeRIZCGo0zwCAr6FqeJIXlRG
5lAVnIX2EHkyRpQgvRZqXwD74y/HKY4IN81sWtqn89aWzmQh2aqHmBUrR8VzoyeZxw1dKXRMcj81
lXrvts10i/vY9FLWYg6ryZxuBfoQD7RorDvPph1qpW29ILpTFOhTaDneK2ni906yyABQpP1oFckc
/uoE0RymnLnWfNl8zuYg64y27uzG1cPcosheNNGz64r4rwyySrkgBmqsEeHp9GjtUvaIKOshft4D
ELlafrXjtvr99Vc53yzYJJPmoS1FkYi+++koZhnnGWIElJZR2PPpwyTB0nWkCcAoUIlOrStr60KK
czqgfjqgMkLyzibbQexC6Y5zIWpql0n5MtZ5ekzuE7h+Wj8EpGcOUi89mVg6JSGyUOOXEqcr2OCO
9yRl3e6dlBonOWR1IxsE9l6fl/PtxmOCQ1/LxzRUtg0/I11aQHuOE85p3gZtTyDYjGrvgwUwrnzo
C3QDxkI7gCIu5xVXyemU4FvkgeHCfjuNkUKEeiZ2Wl1rgdJmUxhVDZVy5Ltv1aaWO5Sa5t2Qm0pg
V2115Yw53/g8COYGayWXhG5L7TM9MjQYH06II9lwGCO05Y3Zu1Y8ulC0ZhiYBLQDIMycYZTiailk
RPuarkMM3R+y0iGOkt5v3ZbsympQf5mRbCxwIbtrQEOjEKlpV77vpVddXTXXfiM4ui0uq84S0h56
/mESOyaeq0kdGGpvXlntF0dZQcbAF0gtti1GtXG1ejVkCtNudHbRPM6HrHKq/etrdQ3RTs9r0glI
vEgIrYIf2/Wj9mKCRaOvlDYHEKCrTQdtcV7GxCHp1jUYT2NeHnVigCuhz6VNssqcryXeVbtnfbCf
blokZbuoaE0mcWmcu05a0V5GBVbhWnVtqEvnFKcToTcQU8RJjNOh8FQwlGbme439VO2GjI6WpqUZ
rsodl7pl/noi8yNFo0UEgnYl4JyOp6F0LZVpdEJbn+tbvU8LvxgS90rocPGtON/XXb8ewJu3GrR5
Be5PVBYqxw3omjSk4Wl1SMvxgzG1xePrC+UHRexspayNOEo1hI/bDZ5S90vAB7LzADXt66qdgsjr
dTDIcxTqsRHfLsZAC4lKBODVdDrqeENC+miKQzmhx0ug2O00tTNv1cxANaIcil2npN9hIupv6ORp
QH6t+qB1WnPs8uHLUkCv8DSwCUNU9g9V5Rh7SA+xjxZIvNOQYt91GjiUOIsqkP5LcvP6C1+aX6po
BGcr1Ufd9qWNtjeaeaGioohCD4sij0LKDowHJ4D2o6Fdw5SuH2w7wRxrq7cmfQCk/k+XTU4DUI0S
1w7nrq7Q2e+9wGEedwmeGkEcG40voccc0Ny1DyPxVwjzBGOAUSQPqTm6h7YfDF+Jlzm0Fgx1it4c
g1mFSTLIUvPR0h/e9Jj+3Mfcj/RNXHn0Inc6uPYw7vplBXuO8XzrLJ4IgICpte+hJnxoRIQ/Ms4e
hkS11q5dn1Fcu56w3cqsG302srt6Qlvg3xpNdHEqhBPmJQTKRlnksci49xaajJ9e/ziXjq2f52qz
+ButTVhjNIikp7e+6Erjo9VZ2kMbZUbQokh/g7ycFXiApoLXR75wLIPnQkjOI+WliLAum5/OrSmu
PVM6KcfyYLX3/YS2ulZIeXh9lAunI+g4rnT0TNczchNagZKdcht2czgUHbaPhdUcUqO+n6xJXjlG
ztMr7Lh+Gmmz6srSQOq8iDlG4tgKDL0ascQApK0sQI4cBctcoSrir0wi3Ali4DVI3TqbKPA5ulZm
3DpWNd1UXqPQM8iu4ZkvTSLVeNpjawPI2hYKkzaJG7OhUJiLHoUaVanQSxv1Y6dY1zBzF4fitFgB
NGB5t0bHiSLS2NIKh2Azb3etp7+H7ZsdZA1K4fWVcaH9Qcrz01DrAv1pAdZl0YPZte1QsS3njeck
TSijOr834WCFkxc1X5W6+DNzp863hzY5pi6xXl8Jx28LVdz1lf1cAPi/EhP9L49F/wOduAvUnW6o
vLQrS/aFUanqjaNhmrmb3VrX92mt2r4L9wtZinScH5pyMYUfWa28c0ezkbsWB4yDPddAz9A5aj/n
nTpdK55eSBmpvq9NTuDBeEltRYMQuOLjD3wiM7GRnkjCpp7uFs/5qnnLQ6KAqlI1EhgT5luSPRr9
dBj05M24Ip77PH2cG+XW1qqPtdUFs6G+lY4SjAsCtK9/3vPjhWiPwh0XD2wYxMFOv66k/djptbWE
COpHt6i89YGKDuCVRXR+t62jkKGvPsMkiWsr66c15Eaq1SNGtoSWTFqygeJNlEdvtUHagaNC9fzV
d+I2omQNCAley1kFp+mj1IKopIe9brQhZMICEqtUPrw+yo+we3N/rukHDHciIioPm5eiSOQssqA8
7ipKBDKgH+c7z4qHfZd2KH/hRxWWumwOMc4nfrPU4wF7u3ZHXFzs58kY9wqWAfu8nLODUhTmW6/P
lnt7tMG+c73uM3vRPv0bdAwNFLyFXXuD6bVaOeMeXIvpw5i6hmy8AI1jyVLtX50oVmrjZjHMSzvH
Tm7a4aqx9zw3svbR1xl2mWqi7R5NXaAYg36j6OXymHgVoEsvpfhRltaBxv5V3v352uRxKFKtzHaY
XlsfDvx3pznLPDtMVmyLFCUqRnps3liRWfpZsSD46yppUK76hGphv4ihGiCeF7lPZD/4o1D7UEBj
vbK81u969t0ppgAlJ+/kwjxdzJ4CqqcgWAhlEt0TElXv7Txu33cDYsaNqr7YqdMcSii/obGgUPn6
qrs0J4ij0d5Dpwumzuai1schz+wsskNSxXmnpdOCWVF6zR/6fL/CV0MJlHoR0SiqjKev2GvRKCl+
02ircee1on68r+bigwlPY5913q8jmRgOlzjwmA752RaisFI1+lQ4dtgnkbOPJiPdtTpK2q9P3YVG
HsPgWWFSiybz3Ip+lTIxNGWkwVTlee8jo1QElNw/LXrr7Wb+/9dxRnJDCOtoxDW60+4bV7F2ST99
fP1BzmfXBGiOXyLgLVzBtm0MoUvNjotRD6e5+EKyqgeWAgE69goXSFrVXVmv57ECw8EZ43tS9kdh
7fRjttaAM7Jd6aG5KErvU0Dq/aEokzvdrs1fbgSdjrVdntypqD7mFAIjdbq37eG7oyOn+Rfmz6WK
QFRMMLkVFynqKLeEDTJznuGour2n7o25qfeO6MhJnflaZeTSBFqQr9dJBLhvriHtT7cXlrzzChjW
wslpOr9Gr+6BMLLaS0ub9q+/2qWhKOCpFEioadN9OB2qUksUJdD2Ap5Qqfs+BUKmdi7Wa06UXxnq
0iq019fiEIEquW1/ousLgRxXCFJN03ww6qY5IvPb7GNggHdRU7VXluF6eZwem9zFFEVgqKzkzC3G
j+N6zpO05tUWlZLgSFlvn2L9SsbXlftIbcudAitxNxXetR1wfmgytE6PACYu8cfWhxLAearLuNBC
jO7FTY2DiV9hcHNlQi+Pwn5G5gj1vW3ZZ+mUudXcVMPNVzODrqfChPbBNX+zSyuEHiipILJDkNs2
K6TpRYN8KZ9tdQWA5TUvWHc2mMiYrbjyQpdWCKAcbl4SJxArm82MlLYGs6zVQjWThZ/Fk70TSa/v
YjJ/v4NEfCU1vBB/AA/WsFVDxstCcmp995822orSW0YFmetC69JHxUUwyFRjy8/xZNiXLKDEN9AT
39lepB/UVl1uTb1tA1E5MojGprqyYs/fn8ch90FGZhV127ZOIkmaSlNbDakk2fu5dntQfDmmbtBG
99Ctvv3q3j8dbhN9VWqtDRxB+B5KFwqU2qbhyH0ZwjL+/fWRzlcq8T4bf1WMIS7bHmgSJYWyrBhp
1fu48dpo3Bda1V6xnjlfqbQSuXmot5JBwkw7/ZqurJDYrb0FsTlZ3RKSx2EF/POW0tu1FvMPhPzp
4QISDfkh9GOBBdGCOh3Lq9oyJttUw76XkRGM6hR9XSrdMnbtiPKPPygyyndjES1EZbiq32UATZsw
FnXSH/krY7yvpZ4oN0qUNwPChIp4N0+u8WUwM6MNltpZdgmefW/bZOwrDFQWsMCd3QlUaqvUlU+6
0j9b2dB8wCss0/yo6ZdP2RKJ0e9EDyUyGRSdDkU2FsVD4o7kAaWWtRr6vwrTkgugr5NTf1CLUYPv
ZozmV0v2nMHT2m/Z/ernt8nngaJQN1iZ65sjBFcneqb2oIaTLLsbMaUqOWqSfHl9lAuyWZy5az2T
jgVFka36QUJwChUNDfloUuj7pmPytqoWgYAeqgjZvdXMSgbPobKyHVZmLRRTd+gevaw3qLlGxnyf
KtZ4l/dR99AteQQzEJzVtcR0PcNOFw7rhpLX2ljB7mkLvlggPRWi0ToqyhPa8naTBPQ/XDSHR3eZ
dlNtKotvKbqr3rRDgV1nFHlAemVhWyN1kNHsdh640DtKItE3S4q0XM2xuuK2sSOjPDheR4yQda0B
tiGVe0s6yIQabZN+o1E8eDdxajFAgojs4ksD50goWS7EzBrsVeWTzFSaDwShaQNT1tHB6KgCwnzW
9bfQfJb71JHOk2pOOJCpbVfJXeTgGOajVpZUAWqT/V7TESsJtMjyJj+r1QF216DL+zlriiCDrwpT
uMyrb9KqMHeVqqJ9SQlQ3qQ1jiuHuZyp3qAwr+9dtN9rICMg1YMoQ4/Yl4kwp13hWv1wb3ilJOMy
EvRSEtqRVIIpy7++oM4DCJA4BGCgFkA0mVto46jmqT5V+Rwak13drZzWnTEm5VvRKQBaSi+BDC6r
BzufrgnPnp+XjAw+gwoiicMZ0wK3VNrAHq15YanDQQeWujPcariyFi+MQtZo4K7CzeegWnF6hhFk
msqYUSTp+mxESnbB+sCc7F8GiGJase79lX1J4Lc5lTWrdRDm65Ywrrv0zgYjFqR26f6Fd/l5lE3o
kLdQxQ0hFshFbb8r27kOPQM+1+sr4vyG4V0AfRArMGEoSJzO2Ojmo4LyFTOWV61fi9TwzbxagpgT
7kry+MNycHNQAKQDK8iZaZC3berWbSGMoZ11cB1mT3EhmcrikyCrEsdC0RdOBKVo7+WkxtWdkgtY
04kx4jMTq3Ot+JmhuPa+W8zuW9Mkwz2+cEl0Y0Zz+8Gj7p0EolHgvjWQAtHyaj3F98TSY9pXV/rb
LoIzuxtaLbtWRb6wo1htayVhNV4A73Y6f3mOQdRMdTSc3dw9zmMX08aRK7FW1augcqWyV8qZinyS
OL98B62oOgYGY0UQsyViFdWY4YiT8eliU90VGfR4SsjqXxllRQyuYDeXVPH0BWNwvU46u3NIIkSd
1SrHnWJE19KL8zhxJQaQr/03MuV0FKGKEhKjCQVgNpKPizV0N+AUi5saAaCg9BCee33ZX+BYUuGj
UbNWMcALbgPTcbEL0dOLDUuQz3dFpw91oKXLp9iIEN5mc/tTQzTszZr1EbaU94iLfHPjgJX0DXeo
nkS1yFu1jgeswPBuUAYV+be0BtM06u3BFC0ReJN9Nzs1+QB9qLpyBJ3P13r6cJpSAQG2sO0k27Jx
erU1p1CY2hiOosrvkzm130fWpGPs29tXAusLoJW1swXnEGFKlB/MzTlBcDNEKLtMaD55ILizND6m
iYyOk65+sCcjCxEpgUCC5uGBnKMMtNrs36SN8eH173bpOWjYrEH32qmnqnm6UNo5ymx16kYAq1Xz
GdhWATmI7t9j3cTiT0WhKANIYCyrvdGO87tKc4SDH5zzrTLH8ppUxfnhSW63ar0RBq5cyE3IPBWp
xdL4oeZNT9EQTn9vITS3K+dC/+XbALgQJQ1u7RVRbm3uHCdLMI0qGGoYxvjrMCv9TgLfuZJvXJpe
qtfUg4gNVm75ZnrxwfLswS7GkAL374jqREEx0K2dFwRjpuJ+6azj5IxmoOjDrdVlf1BuuAaEu5DC
kiqSVJFWEVsDij79xPpsOUMxJyzrHA0li5WEx6IePxSm0frU9mqaAJ4RTlVfBt04y2OU4eVQp3EX
lOlgXjkp1oV9emnxNFSs6O7QfSGtPn2avKH0MSjWEJapbTw1sll2Y1/HV9iEF1YSGu+oqa09T6r1
m2tEa13oEZJRlFZvEeKP5ftusfvMVxVDXnmjs67LSllci22rJCmp67aWM45QwomnW+hsZYvXqFem
n4rGmP+09TQhYo7FUvs2Eso9IWvTo5aP/4xelr25h/uckcu1dW4C3IuX0u9jY/woqkFTjrgJZgKl
hKIigoXJ8q521frJQeHnezHU2DtVGOJmg8qSwfnLvpYsba/i9bWowXE8re0OwLmnX0ptKsVENwwT
G8Bme7JO98uENPNzXxnY8HWJ+66IrOKrq+TxrVmPzhuzURofGWeaRyky1405iDtROvrsZ7nq8VKa
cwB+C0I6gVP++kG2XVbrw1IGpUID3GgFDJw+rGgaxY6mvg1Hs3KCZFkcopZxuRLdba8JRmEtIWJC
0Rr5qG3TPnLEKhCQtSGgMViiPTlOkTS1H6Xz1wogyevvdAb2XIejvguxDAz+ioI7fSmCMbdLVlQT
8sXPVmx34dISmmia0hwNMRUHd7EkmMrWeGdOiXlQVUxNvTJTDtJq/8jEyG2qx3Lv1fA85FQ6d+Wk
3nq9Ml875y5Mv05XecX0ouNN///0SQsAdslANBrWiZ28deY2vTeKxHund7a41ZSa5lBnRAIjClE/
QcecnzKnXov+MxCVzMwaPVhkbbxbPPOaKvqlR+MApl5GdkEZZnPgVDN26FZTtuGESzssPiMJ8zq+
ZutwYbMQ/jAKvALqS9sChtOqOMJEDT7Usyjeos4u32AzNQR9Wllvmqiy3yBDm+8TdHWv5KBneFBW
CU4CuCiBNwcMvmVeRaWO+B5WJ2FhlR9Lu/b82FDRYRG52r+fcAh7G0n4r6aMvjS5jThzPo1Xvv/2
uEVHkpq96lJIh1JEheX08+PhbOmjYwzhsOBCngpbHltB6QoljWvq4heHWhtVq2LRCrw+HQoJVCXt
XGTWltx9kfls3M51+skum2s8iLN5XV/KJhkguSIjQBr2dCSkwuuyccohbCN8SNUEVx4nz4339izi
fZuj1DKhmreLxkL8nqvVsjeNX+YS8AwkxWtk5hHKG9urxY6ZbW3w+nBxAV0YadlxWXTXDs8Lc7qm
3q5J9VXFJ3kzp5m1ePAmox6ma5WDo5RRQIbU35Uk/7vXz7RLQ8HJwukZOBL4js2kJhI0nlPbPdCT
gpPMjItjXc/tcRqvaeFtd+Q6dUBC2RcUyyFJb9bkYhnTmMT02xNHrYJYoc3Su1Z+ELhm+8ZiyCfM
e7sQkNA1k8wz37B1aPSkqDRzVdA227wkfm2GGBvRh3E693iGGZpvNT2cei8WvpYsFYXapGrfy2RN
vtXlxu4BnvWaaO7mxGsOkU5yy3azQsMoc+wNzeX3NqqyK0nPpW9BmkvhFYF8mnvrz3/ubdDCiBLw
pKE6gkiwUai/EXEz7MEKW1c++/YQBjGxYqyJJTgiaONvsl5C+bnHW74Nva5Rg9kkIOrH6NqF+UP5
4+fgkmEs6mLUTVe4G7zc0zei4Ak+Iq7XKvqUJ/taeM3XCGD5Am87047019sqyHPLi79Usy40n1p2
lqKpaYwRMri2sUvafC5RyTPyvVok+s04xlrnW20Pk6QZoLD7ZV0MENWosU/AQ3Fd8ZXSqRS4tzL9
1FkRWVGG0P9jnVFoprzeWWCtMpHKoLAr9zu/Q32xzL770JhGHO+yQQ4VbVU4cD6riYNGKurH3uo6
worMSgCbmpOS7fVSWGXoRRbiHW6l9e+sQcNaV1enQfMVLa3vWmURoaxKK2j5CvdlLzEMpFcQZ0EK
ra7xS7bDQ2cOmHq8vqm3YRHTjmDqevevzM7z49/LzNHMrCYs6mHaqUbe3Iyejw9To6XOlbHWs2jz
iQm/KN+TrAOk2mqcoxEyA80umxCIq9iVnh7tkPHNgdbQom4cJdqh+Xntdv+h/3U6KhQ1G+/VtUJE
3LcJIvoGiifQ7pQ3lArw0NQs8l1pi9V4fFi8B6stvJ6m4JiB9Y34MQqHQn22nAQv6WWGl5Lac/QV
EZ5l3M92Or9t+7y2bsy6k0lo6ijcRiKycxpTxdLsJzTz51vbE+nTDFF38JUEFvc+bbtI9yu8HfaR
l6CVZpCfT4GSGRM+QiR/+o42LRx7p+xiWNFEjH3ojHGaIxShqajPs/5zH3OwadmPbmrMtyKf5mfV
LAd6S3Z9a662lrOKFRbDmP3vCpsaJ/ll8GruBQuWyesr50f/9GRiPQIzdgkCfFyxRJCnO7ZqO7VU
GplT7+BzZkpG37Ts++UxXZq8hFRS576uCqNiD+VJd+i6xuiomHXK16VAlupWXYb6xeiXFHwbpVK/
L0t0muYkcxw/aof+qQc6/KBqQ7v35CK7valFtnaD4hXzVA5GPsLmXu0bxmquy8fXX+8s9+YYYrGs
VjAGAEA+wOnrJUlvdHkv0rDDDxty0mD2y840lPYxmj3FwSsy9ZogVxLuiQLWnNgNU+MVQTNBHtvX
rqlRqY7q/woZ//15+o/4hZOlmOO6kv/8T/78XDczwNuk2/zxn2/SZ1HL+s/uP9d/9j9/7fQf/fNh
eBFdL17+9uZbI/8W9tX3b11aV9t/c/IrGOlfT7L71n07+cO+Amg4v+tfxPz0Qk7a/RiOZ17/5v/1
h397+fFbfp+bl3/89lz3CDHx22Ie67d//ej2+z9+o2Xx07daf/+/fvj2W8m/47/pHylVu//6Zf/z
L16+yW79x39HLw7SIMpgeP9C+Pjtb+PL+hNN+zuaDtCUuX3XsHtVeKnQsk3+8Zui2X8nBidgAy+2
YrpWMQhIsj9+prv87If6HOLrNAfI5f773U++1///fn+j3vKIQU0n//Hb6c29Co2s/wNPStdkrSNu
jqOGChoUm47K/CC0d3LqvkqIIxgUQ6r8aVb+NfLPIyHmf3LgMhYoA7AjRNu4p51rpMlWQLOJ09ZX
C+GujVJybJWhM44eJeiqaLJ8qxglcI/efqsOmEk29jS+d8qo+oYcZvW2VsfYB+Bc3rolAdhgOrmf
6UAnuWBfuHVhWDTTp7T2jKMEFPuY9nq34/TXH/MiMr8Yc+y+r936baIpnm9NlrensvOCpyrNP1yt
nlNF0wLkJz5H3lJk9Cbp1tpmmcd+l9LP8E3FTe0gGuzhge7yIwW47iUyIvqCgKT/cK1E3qQwGvxU
YgJiTtmxGGYjiGCL1MHilF4gekGppmJ3zG5p4/aqGkE5iMbYYbbbvhctXsnoB6Liv+8RcJMwe7r4
ZYlz2rXGBGs80WW9yw2rU3WwqUasiO59iQtXru3RD0CQ/r2X2EaiuYe6pOht75C6QhfhqHo0crpw
mOrZGY/O5Crj51kvaFgnY0at3CPpsh4ENOTHIdf652KKHQxo+9JMg0KtjG9yamn2EgVDOXLNLEFD
t5ttv5ad8sWLZvvdUmJm3Nt1+gQzEkvxJlpLfoMmhy7Ixtn62i2t7UHSRWTE9xLK+r421pSsrcRw
Ps91RWNo6rJl8CsQDsdeEVDpNWFHB65B+UHWI/3jUdipfTQX2eY7rVVhOZgoRTf+7HVu4XMzpZ/0
WmbdUSGhU/2YAKtFlqx0vGPdgIHzQaXhTCqKvreIzXITLTMGRtFHWG3rQ32x6rBp4+To9HBuAmXO
otHPF1F9RBF1Xssmdvd7plpEJaY3SxW1tN7+053cGpvoYqDmHXdjPgUrpQrfabMcpQ8HECsLU5W6
6RuzmsRBnTvGJ5kNkB1xv6Mjjtue8jJEwIB9gbPid7fJleXGc6T3qTMcJfbRx6cAaGSJpwSD5yqY
biXCOy5jGmFk65jAQIwhRfGyUNaVWxt6/ZyVWvFgqlHLdSjdqeUCd0oIPuNaLzGGrv2+kMUnPglb
Xu+VysHaZ8yLXux0Ybak4MKbu/idpJTLucChBGj6JRe098DtJeMXk+YgIq2lMh0bvciXvWEnXuu7
0qbBliiF1u4rpa+SY2uhQXxwuq78ZmdG/nkWiShwNtKmLpxBekXo6Rhqu3dzGXu+G+Xq6Ct2OkV4
ATvxO8PK3GfWRGreNhLoZaAVQ84p4mRuzIExzX9QIUjMfafjix1mCPyn2MW7nCYsn/ILXX3lPeL3
mFeNyOM9LBoO92xRo3CRPpgW/carWTP+OMfju3JIbccHy46YZ1cINfPxuOw+YuDRf5BVhZ1fV+ed
5XOCUTCDt4D92TRa6aGyxzrx60mVL5WtNamPXWOPL4TXzwdEuW2E92rTaveGOujZozpM43fHkJTR
k3rIOx8p6gh4hKIoj7HWpp/B+PTxZwPNiO+TZvXPGrCLJxElpQF4w1wwJlWGdPEb1Yk0Px/KGEky
y0iUCSehBH+bMtu3sy0fo4aGmi+bPmn3aCOky6HuY/EEBI/ctSHg0P3ca+I/EUKEApyVitkcFwHZ
f9dH2ZDvRVcYyR4ngbp/UM15Yb+UU+egak+M6btG2iehSFIBXH5sEzVIosHRj169WM1ta2gsiiFJ
De3gdTiS77Qs0z/3BW2OYNS94QaVr1mFXl2tGwkqUHw/t3MK0dEbZ3u/VGo3+YuutsrvuiHi5y6P
IOkBliKXsSdvQCWl7KJ9TaH7M47kenHQcjG41DGXiDhZx+PWH8tSup9kbs1lgCqqfW/1NecAfCYV
iza1GD5WIi50xKq1uXtTeFYZf60nCLUvrtCq8s92qJbpjzrSs3KXA8izdL/QtFE8edlkuu8ksh+L
FehWVcyznwxkkvu5aNTxvacQLr+dK7B0rC0nWrBvKqWekQPip/T/2DuT5qqRds9/l7tXteZh2ZKO
z/GIwYANGwVgoyk1ZGpMffr+ye9wsSHK/S560RE3KmpRAWVZY+bzH0kSw6oQkAUsh85wjpPS1fKO
62wZ501odEQnmP7cB7HDz89ORWnU02VeaJdTWl0hZvakdp45Pyuj7pvTyKYR2fcwzkbYxV3g6QAe
zjEA7yrdtruPYLI2ZNijgfqdV0cOn5bI1JQsbbXZhJ8J78bGhA+8kh96CdCQhtomSrDVXuces4Fo
7cPiSEoAKyYHPn6SuNuLvLR6/+QJyMlbY6wEtvHF7lhDWWinh8Yq6u5IgZvrHCmoq62ELhyXN0oG
6Gz8rprakvjIRbof6oG344RUbArOmURo6ogbTWfko7NYMrrXgz+ah1ZFRM6RUqNk9WObR3v82E/+
bF9rEiyaa8/rLYLrGldjJFqXLiiuiDqPvGM29032yaztbU6Z+OfiaFdeR5Yc0TTboSaI5N2yaMc/
FKEoC5L/7WV5Gun2qzD45433nsZf52ot+L5eLptc5nSo6XPjCvlr+6GOSD+9KIrM/9GDQsE4d8i8
DuUg2iAdt6GYbift2N89a8mnn0rLrPiG47+ZaAMQMr/q/IpaB2C/pjJjZMtjkSx8Rs0g1q2W/pFH
Za3mQ69cpb2kcPPNvTA3/biSdEIkV1/HAA/NjU/2HBuPTDf06Ok+qvimbt5pEn1BFhsVdm7aaXza
2KlFnK0kzujMy09Emn2sCBL/stRSoq1qvP5QbqI8EAQgbtgzrD+9zsTTM/LZAqY0BgpUzI03OdQx
2cftO6qrECdN0u6TfsbNC6XgHuBC5TmDsDiupqPjNpNeGoy6P5/nbvvc1lVhxRPJIWk4SmzqA/ZI
7Y27KMz1jOvWWsOjQg8V+2W0pMxXNwQlxG0fBCend5YryxoWlKTBY6/r+VSM47PVykzqPGOcn2R+
Vo3r4zYZ49G3hR1PWV2IeOmme5Ic2ttorZekYqI+Kd+tHlpUlF/WumH251wLP53DNuImC5sgtGyz
WeRsxGL0lXpLnAfwWH7lnVyR2wdgu1Gn1FXZPNA9ppZYTbmfZm4kzlC9GT+izP/OYzLcUmhnJM5I
AGulIOCVQ9MdJJi9sy5CgZQxqeoOLIAvX38hfekdLW80fuSuexUW65hKo27Shgjnd+giiqSXsr6o
Aq3uZh/WMykDgjD5iqnqGFKiNqHkSdnNdayTrUtHQ1R6N+OqjMR2xedaiSxeViOMl2ExP/QZcV0B
ro5zqWjfqah7u+vpTbjOrFBej3v3Yys8Nj+N6VP6nJtnhUkpCV0+LJJd1l/ogScGj4FyYl+Y5ZU1
2nfrGOUHqyv61MkLL8mMvkVhrCgtXtv8gZdXpUE+jV9Q45hJaaz29Yqb7Wfb6ex9pocg7h3Xjj3L
2d1Yn+y+NaEuDeMkxuynq73mhP58jtkZp/zkksQ61U3HoDT1Z5GtmzxDW/rVY4sbz5O/nretk7N/
NwX53OHGS41dPvS/TVEW3OKmC86DaPCuKfNojkSIfyZIvvkCusH6UU/OBU0S9Cs3snvEjUomyjB2
F/YmxHlbiLtIWjopFn7xlKBnFW/N0h4qp4mCZCA7Z6HM0v8UgbiUMQba7snqWr86OJWvftqDTUS0
C/JkT14XpWG+UE44IOTgI49RCC/vOKXIHOqa164an7YmnECp0C7Jme0pAV8PVe0FzDjCSw3wSLj/
aK3i0VnMg02B+89KFv+KFP5/MfX3T+3dqJ6eRsb+/w9mfcbf//Wvafq3Sf9/t3knXgz6/PV/jvnu
XwzPPu4udOeYO3bnwr/HfIZ8RPaUngO0P7te/jXmu3/BxOJA2MNtiM+jTe2/x3wr/At8G8YGHRTO
kl3e9a9f7P9izH8GM/8bHQt33GiH53fgnK+QtcMQvyL0XWGOu9+PIiJ7NI80IBKfF1PtUE6CPC5h
3jbZ7N2xH6i8lD3xeL4akcfHQkb6MTf8YEraImy+Se04QTwN9fqgtmJ5p73Z+DqWrt2lNkLze1UF
kraIsVpu3NEnpkNMo2oSN5p9l95KZfyYXYN3JDIoLt2nnrZKpAGoF6uKbVMi6im6q7x1UrghQ7b6
odvp+TDvQa1HJA55dG+WTCrxZk3ux86rTXXm1kX2M69pfEhZrVd9sHCrRonJN+kzuxrZHUqj5AhB
2VcfA69dgoRoV1JcOyGEGbPRnljolblW6erBkCQew5NMwl6ac1K21vjZXcqcGWep2+YwkFdQxzLv
vIgeA8C1/BpJpDhCDc3dytc77NFeLIZdlYeGcvr25y+P3B9glJf8BzfSo/GXU0d0BCMEMfTyRi59
v9na989L3LLvajNY7vGugvz9/VFewUImeDhKH1AhqOg9ZfEVLETR0TjNtvUOR6bjsKNxZXPi+zoU
pzmnGPoNcBNoi9/6l8cT1QvPJk8lB8TbSbz0y7NqGzTwWTl9R3DPZCidWjy0UdB8K6No6E57TGHB
UNHahE09T5f286S56k0th2Ite3paV+btbR9Lq+cJteCmyeFJjBPRPw95rqP22NPpdEv3eDfhKx1R
vYejzsJLR1vjEvvDoFc6VTKevXyNWMoc6Qj6dtW67hoJtOpZI5CGU7bVX1PqYIy3zmh19yHjJCke
M9/cdCNh9UCFpGsxiEs43WlbvIYwkNIKP2aLw4ZeKNdpDluwOerMDHsKS6Zy2EWNo+pPCHEXfRGU
bP1Z1hrHol26mx4pGwQi4dmqE0+FFSlrmm3saShN/zRtbPdOEql9ePQ84T2NYeFdLF6/FEzzU72h
mTHKORpZfddt1anNdNfPFB/bumqRyVvgPoEGt1abzfjY11vzvZYbLFLOmtXEw+qzPXCdnvDbyGy8
25UFKLoofbgu6E8uATuGuv4+5nPeniFSK8NkswM6uPCHZjLx3A7UITMd+5tV5HpJJmzhVuIT8+Ci
szey5kzourU/bEzmNBiLIqArpO+mm8FpBu/KZ3weEnNesguCjQAICkIboktlM0cmyDym+wKFPhtI
FaAL7UJ+zwu3pzY58Xj7r7alEIiblDF9VMScEEGfY+o4o4DDud9mewjppUfHkthV6I+HooFUTmq3
KfazCkH21kEuIzEXtMYgBIrWuz7P7DIhDsOB75tGk+pxB8nOcbVcUtqWGc1bIumvaXh0sJxfOG0d
XHWjaMihcZzVOC9G9r9pjiK6P1bSL/okaAuTHuFFmhB4VgXqIKm8+lzns3wiR6Z+Ktxw2jD6ABHz
Nm6+vEBU2Zwr2yDJnhxqknj59G2n0fSCq5CN0RJvyhTJsHk3dmW37UVfqso6C52qvtjk6prJQOnI
vYMP5BOutP6iMZfx0KPffFoDe7ovuYo2e0JF0RwgdNml+eLUzL6E4TVJjwx1oONzVrd+WOswWcTW
tgeIj8qOrSmci3SklPDdaG3uD59rfC8MI/cuwz6KygS6tA6p5NGzcdxysJudFUW9k5U5d0PYZRik
ZtnBM9KYt9xpk/31We+ETYECXpdTUuZtm2bmtBCOFJILdzYuQXg++pv8KfjAMPN27WKlcvTUpy00
VuvQQvF9ZBxdn7xpcewYo/RwTpe3kR8h/Umz06yHT9zFek8HyxmRI6iU/hDqGZEjSEr2vhOFQ7P2
1uMyiZrNGJJOCxzquV+ylZ3tLvwe2pO4NqjBsi4nCqZ/rki33y1m3j8VW0firyEdr01NJYTBu6WY
8cUikPQTJ1Z/KrZJXQc9A9fU8NGLV6PJHvpmJmiWx6MM09wi3YmFb7HvwJj7D7rX/DVeIkBqe4pK
neqyD97lDLp5KvKF7CAxEjpzFuo+/9Hmbn+PhQWb4Rggy0+UYYso3UJnpAB4znj+tj0sc3C22Trr
zC76kIVYdgl0LAGJlpkoulho15Rpi5/1U8byWFPn4GZP/uahwkNlY4MHR8LUCdUP4dVoO7gKf2Am
rslWkJLurYzHlb+zDE14VeDQfm8OK1BZQd2HOkWiMScHkePmdkesU8zrl5m9jWFSTCP2nM3ESX4h
J/iJGORRGilCWeAYPg8wdC777cta6M2ICUTp36P9X9rE4TMwpyH9nu+2wFvQJnRGfr0ikg4OPY7y
r3UO+nEytGifSj93vDMfkOWTkkbmx1ZotHZShKo84T4agF99MhrTLq/sUB1bHE03kZ4ngqOHFiQp
VlpbR0FyZpMssmOKKxz2AmkGCpKnC56XPJ6K0Py8DKP1hB05fPQaj6s66rx4hyTMeFjnyuYhz4zy
Z5VrxAaZL+R0QWpcRODiIF1NNt/Q8AqFkzclDQa/n9gOLTeloX3qzsLGBdVyqSngXmU2uS/ClQNB
9GUp23jesm1g7JMMCJZAABnPmZ/peAbB2Av8tvZjQdX7D1VF7hesG+O7zS+C+07BP7dZhiQpKgZM
4nTPM/wLik3KVAzWggNLmbOX9rkpdRxy3YckUFl1jyydsj0/yr0ydYEE9mi/KkOx2jUgoaXrOt8L
H9FZ7Nl6YQunETTTnDO+y/j8orQRpDEA8Feueek1nfc5N8fybuR5V5RfevV7VZOlFffCzN4xbQqQ
gnHaitgoV8NKi1osX/p89kQyGVvRpXrJtiJ1m7658FberjiMQFNSFsH6dqmGiUVHRx1JlrDDt9bG
XpKAXEv8aBzau2LM3yZg4NQ+1EQ6PYa1KWBnqjx8COeJm2+1BsNxkTXYTGx0SY+Cdgh2kWuvQf2j
sbUPol79j5sS/rcxn/IvQJcmZDvYRx6b9SDHM8+szCK2861YmYgN04lLvBJFOpP98YB53n+AwNy8
s6ioowBnnahpFbisl6VfOjDrvGN7MJvdz4Y2FotFbLBvVt6yr10fOCgIFrwTBevtjDxkKxCMNA40
SiP2yOw+DIRiTV8KdTuENMLMDAFt3Jd1dWosnISpuwCsnAdzAfu8IiUeztB51eIQ1SFdmjhQiVMs
KNimmBQNwxTbfblZV2intuAYjMIYL6Nt6Pt7jZHDTeDJjfkDjTjRTPb00t55eFfsm8WAZzoRXU6Y
XUwgBxWbMXF0mUtlr+eO1pz0PvKM7wBKObCqaefawwvC9pKNmS91601HorltuLpp15j2/Bpmvt3X
JVvKC4l6U2es6GFOM3abL9gcJ/LfufVNrTZoXq9A/IrBioTGrssy70r0SDkW9nw2Fa7sGonPuzV8
vWBKN9hG2IkjPA9mhki7GptFw67VcBJfAD7f6m3a6isiHIwsp25m2IpHW3nCoAXKrYJbjN+e/wgn
zfmEWUvl8UFovozwa7MZtci7VnSXFLm0kZ1gQe3Ksz6z6Xnp5MpZeGWoGWXqctbBcQgmWX4aoq3w
RFrJsJo+b5ruq0/g8w2Be0NNQclUNQgU49rZyBBmK2KrUx4NlZxir1Gh/Z7GULQVMRoL5X8oN4YP
YKViZe+NZCJgFTVaftt0rTcadmK+kN3wicztKZLJUPgAF9CRW3CwzNwdro2iK9qrVqp5uR4CGSBC
6qkNgesqgATD82x34rybpLvbiKCpl/d9P2f2nT30oX/dPGPymhbdzxEFrbx+dQZqj6KK7U24bNhY
ssp17pdi1T8HSw2A+8/QP23n0ABwucvDYBGWdPB2nkD6ugzBVXb6wNqZhHb3f3002FuT9l+Zm38o
swZrs++Ndn5V+QGExMJ4YSZdVC/HZie1kz5c7Idis3uZqmFyrZMsXLEdwmeyI/KKyL6wnkkQ+UyI
BM/kCKUYECX9iJeVhWknULZnMkU+EyvjM8minwmX8pl8ATjaiZidk+me6ZkCMBJCrx3UB/OZwNGD
14A8ZiZbew0vdIuVm9+su6yeaaDumRJiyw491D5TRSDO0EY4T8WHZeeSyHp2HrdngsnAiP9A51z+
Hh0IBFT+TEb5z8TUtnNU9jNdlT1TVx5iQglgv1NasuimQ/NMdLU756V4JAjvM9byFKoNEheeEIKs
N7Vg8g49tZ7PRTB9AtYaP6NF24m1TYL/w9BCuHXlsLwPn2k4XKGmfSye6TmDaRc9DWFs76xnAg+H
Qv7R3Fm9je2SH0esEEa6Vr0jzuQzCSiKfPu+PVOD/VrAx3bPlOH8TB/aO5Mod04xe6YXq36rdewD
YTOXPVOQZdUEGa/ITk0+j9T/A5r9F+l7v6ALv8Fml0+tfoGaPf/9f+BmrvVXRCUMBiriCtxf5TGO
w5/s+UwAVugAwXf+LY/x/gIsoJdlVxmjMTZ3tOBf6hj3L0LpkK8j0bdQzoCS/Cew2atUJSSe6ItN
iv320DC89K9hs6wwSk1z73dvbTPLflhptvFL+tDGcXmIVtF7H6JsXIxzY56qpwiLZED4SrsaVxnd
YySBuuFmREdcY5POkzqzRv3ll0v5BzjoJVDzj1+Q3DksrmQf4YN6BZzYedD1JKY8roVPT6xjoDhI
vEa0c2KtUx8c//5or8An4kt8cibxkeAHBbF8nWU1b6uCvKirmIDsPHWHTXzu17p//58fBRcyizZl
QoiJX2GVRaFrp7DbKs615Ko1OzHZBvMbEbEvVd1AqrtfEkABFw7obPhaUIcBKsoDm+mqt5rqbCZU
/CZaiwki36N+ozCo0C76J3fI9Run9/KW/fPAhL8h7UL8Zb6uKZAymofF7fgALrk4aksv52ow6jPE
UW/FEr2U0/7zUC5fdjKvgZBfWxy2du09uadSeBZQzzRuCA02+W0xtp+m01hvSDB/OzGk2bzb1Aaj
JyNuYr/iv6jAMasJsAsEJbXO70dCLw6hOzxp39reQCf3B+BXtBCHHDJzNPEghnuo9/6L/HKgCjoE
gUpRUqRhGSlIKw3L6IYP0m+ZZc2lvYxUpt/QuP/27FMBsHtTQnRs5I1FfI9+PWjmzmWFr7SMayZr
ALyln35aE8jXG1fxj8fxORAqVv593a854/2M/IrjbG7RPXiZ05GU0Vff//4ds357NDgdtNbP/2DO
e/as/HINvapC9mdTWuZW4xQXCHiwVM0u7Xb1R7jma5F3ONfd46CyRDKd87ican8+38zuWkdTg7am
u3H87Q0o+E9nT/8Bxn2bXeBvfVRQ7G2Hxonygc1rzy0PhVc9Z289QH94UndvH3AzZ45n+dW9NCmR
D2eXa9wsagnJKu1WN/aGoe/QzmqEFH9/sf90rW1aTBF07MuJ8+pwLmVhRlgh1DKq3DhDhPTVmsPL
IfQucq/L3/hG//lgPpg9HrVd1/nyOfU6RNIuWz6MBU17ajZzfI+mf988Gw5qbyQsbz1Kv7+OGL9x
NhFegnmVg748Is52DIIWr+McLfIG1JStdwhcv2AQc/wYV4oxPpSRZvCy0y3Dp+vUOglm0q3EuAsl
0Rogdqg+F0b3n0XAcnfREnGn7Z0rIUTjNV2C4AdZNU493LCTDfK0mCggGn3+9zf49+eJo7hcBYS+
Hp7zVzfYysoi5EgFYh7T15drX+Qr2fgiW45IXqq3EixfmcH/eVa4CLi9fA248C+vOB4TU7YeRay9
yehzMc8oLRJS2+ufrupcqljwgzxUXl5ViaGGPDxIJzTumZEp/VHZ8laf1O8vLeOPbe0bLtyl/uvO
83Fq87BRnD6C+Wk4LTPxHqdVO7n9xov01oFe7QxQDBUebQrM7rISp45twsGy1Ftfh992Bjwzu+4a
kTI2bGjRl1fXHhfEyzNXt21nihNV65grhUyO/3lZqwkw0CZ4+dxFFrFiDACDe+Ms//Q0IfN3MMB4
+8fp1d3tiL7W5cg3sAbkSTXfw7MmD8hi6ue3Eled5xiUF2vpvgpwzwiQ4Jj8x8uTNQc6wStnp7VA
veVJWDNSUldFA/4kNNFmOoFBfbTdFbly1g3BnNirtnJWJ8+KHi0UIp9K9NlISZylnUeLpaTbINI6
Yw677+zvJcWFRT4FN5Haw4tjIBZnjdlv5dgVqk1mX8ZeT9aFIYbO4oGulywhqmOt3xuLJZpkUkKb
HyD5WHjQiu0S2XzcsvZoKmgImyqEpTZSS3vbmGadud0U/Zq7yUSbTpgY26zGswh50niYV3+c00Wt
zrEJCbpN+qkqIbfzaExRVOT+pUOgW56GVoMGa1jGuj4OUe+MIMxt58e2o505gZigCnUk6aI5qihU
8oL33PvKhshpriCClX1s/KBEYCsbL0Cf7MyL8ONVBOiwipmWLdS8RV7aS3athj7IxfvCmLWKLsks
gW75grvfyoN4EUU9R/FcNHMEJBVZq1EkhVKhDtPQyNV0HnTZ+M2VznjbN6J8H4R9MCbD0HRkGiuc
oAlNy71Oa2Ftd3VUy/xoVuhFk6lv668z8eKPShn9HDt1bfXpoIOqSSDZotuaQM4vJXAIq//UUfw4
8baVF3bR++G5hfK1PoSrKv20XJ0CZHeJ5uKCRLDyy2z4pKJvLZuoItGjdlQysw9UD+YCDk3KojC+
7IP9FqQhl81vWDKoTcPD6MqLbMnJCYiDzHBvkSu1wYUEBiK0B49alU6o4BAfhZk4gkZ2fVy16Mli
x3Lyb2gRB43YGn427mrSxw9RLiCFi7nXn10PzcxZJt1mTqc1c0+5LFWGs7lrHGDbbpG84jU2KQRH
vYUogT6Gnfub1g+Faom4NCwdvqtCGb2HYlgpzavNrR5ZXmk+TNVi96KLg6Uv12uc6AZCg20zoIvZ
TmHk48CiFTxxwaLu88kikarFefSeWPmZ3kLHV1fD4EZlyn7ICj62zraaH5amUhRrO1MRHXvX2oBQ
IqDH9vO6d0P0Vj6ad3W4+uoQ2q1hHZlE/SC/cN3OaMPLdvYHozyvWKrKcyaa1j81hqoEssJJNMe1
Cs3bwDCr7wTVjcV1t5aRSkFBcWrVhggxRwxi4YwM+ApQoQDNoGVJuMR8a/vYA0Y3IAuG4snTImvi
uhjW6CBaZizkiN5gppVd0XVDGPcWwQfNTkY2CJkKaU0DLTUSCFCw0koY8NhvW/xmfh7uP5IA9wXm
DoEeD5w1ZrxwtIyl/dKs9ckPR9tN7SHcripEzl0s6TUCGSfgUqU9ruN3zHJddOgDueVJ1anaimVg
8UBQTS2u/KbdsnjcSbA060VPiEHrUCePiBXxFnpcbSf+WoZG3JTj9o0Ue+9eaMtdDsg+xXmZU5uW
zm1fYTswjf5LsSxLhLJcbsO9m1Vi5zuz+get4xZvwaZ8++jnbhtddgq730UINQ0wGgSNOlP+wACt
RON8nbOR3FZJWziYAsl7Rpr5ZvWjCCMxHxtdmCebqaM99JXKoYRRCyOvBBSP4oHoCEkakgxooQZY
wdjAC60ThhIIvrCihRukvJQ3tDu7DzgKq580pWUQtcO0TUkuZeDERWM1D3Vk7nqVxiYcEKaDr4RT
kHhymJYZgB1VxlonxtiRpdhRVvghn1o6YYXv1F7ib33lrmDDnZPMcFjishWj1Hejb9HolITNKN2j
bRdt3/MjCmWdDbUy1WGaRYXhZlnpzd4CK09y3rOt/rzAFIX1iU0/m9iDLEmD5S6qwJnG8SmoMk99
aYreGyXBksoqNM+i4g2b2MtPt+uc2+fGsHVfl7yyhmTNvLZCgSDr+qLoPLfli4NV4EDFpln2icJM
aKyJcprFR4Xq4m10j5GtzVr+Y2/4P7jff7E1+mWb/Bvu9xH59vDKGLf/H/9A/rC/eUjS2HMQckE0
5R4V8A/FXPAXqVBIgdA6hWbAlvrfwJ/DH7FRsfgS7pWS5K7+G/hzzL/24hUKSkjE8Imxs/8T3A/8
8heAgdwu9n9s5UkyMIGHEM693BSh7OczDPAHbmI2X0W1FBcb/krovWm+Wyg0SOmLWm+D1lwuLXbY
x1+u09ugHodnfEOpscc6E4bxui2JmvVRlgLyapK+ddO12/S9HLL1bgwKdfYfHgr/YEQGDQmhdNsC
tb480wbAcB2WAO6mrcRH/Fd+0gkqiSVdUW+c1W8XdYeFmH6ZyRjtATheHspRLejhGhHm6RGIN1ow
gHhP5oYCqA3X1cYhP/pz2FhnfEuip2EZiOT4+7N9VazCjeUsSRYB9yM6ClTs1ekOZBAuJqv9bq2u
OiTESzEkeDcmvgEbUUOxJXs+0brfLoaAAHsvJ66Tkqa6/+xQ0FqRAhVsjz7bUPvQLurN5vGXA87+
+5HxCzQBIk7WBDaIl9eIOD92az6a/pb6jeveqOYLo5HNGyEr9ssJ4/kwHgcizZvEBlo9X03scqp6
VMtAV7XRlhmOmlV7OMK2jouhbPNLgNXwXTNhoiMBuFm2ozn3aJKxj7mPS5Op4n2p7OK9lO1cgw7N
nXEIaasS6YSJ4a4augCVFz+6pCOIkhgEccMNmyfqLCGhDXVUUP3OmS4clhhZ9e6Pv7/NLyGQgK2S
H+7tGkCefF7c18mIeE8bzUvWIItBOO3XZngmed1i+meWw4BG8A3Q6hWY9nxACIod3OGAzG2v5v8c
w8cCDQgoVphH16Okw3awEWRTyq7ga5ipuy700HohK+rcL4vpX5ghaQPhSNhye53vF3Ew5jcedj6G
Lz5iXAUULAzlbM9MSrZe3eTAM3bBjG7iQnnlXc+X7NBk+mkb6vBydWc7EXIQyd9f+dfP756lDtjC
S8Ebvuewvnx+N9QBDF/wlagCuvMC4fpZK4b5jf7qPx2FegkORG8Kc+uro0ylFw6VnfHsCBR/zjLi
sfUH/43r96ejsAq43FgIDzKUX56LXl0/w+bGUWaRA0WOftpFgXiDhvjDUVjjkI0D5uBwex2sL6Pd
P6nIJqhL+a1xneWrJZX7+MZtsfdL8t9jPk8o7BCHIX1+jyg0X6fJriRZkMDu/VAR+U6xWSzYp31S
ePsnJC5eMqOSuB/yVZgnDCeGnWLnDHDIWnNupHLpxXIzjU5n33jIFLCrmnUA+tt443AafBwhCWqR
Tp6P7piHSbWqEYnSOsC5l0MgPFyVdChSySFC54rAQP5fd5IagVTm9Sw92oQimIesmpCfIcfBjVvQ
MhQULW5NhB6gDVjqUFJRJnXKa0VxNtTx1MUzN4QMxMab65Qt8vp99Ky6StW4tIiBG1XlvFggDe/6
OXdApEg6uzdIjg6SsQuM4UoUzbR9mBy5mZ+yrsjt4zypkUSLyFI/ohXN4plSzRYm5uhXBF6XwqnT
ulTFnLaamZY9OUF96djRoZuqedANu3kvzI/k0qh7szfmJp3MLB8JM+29d6ghavOgVRhOFxlCwi2t
W6+z0pEaVk3o3SCR7NpYtFOvdGkQdSnr/hj620QfOPICyhd05IeMADpbElQuoTzagG9IFjtoudh0
pMHybQ2edQA6mfJkmC3nZFoDKvl8E51zDoPD9akHbztHi0Fhijnk5tdON11NBaE7Zch/PUOeQX8X
TZr3+xX0RCNGoka8/P2I3wxZK2v2jbYRRsPQqRUDfz+GAzdDG3W8Vdv8ZdV9/aQWZx4OQV7V0QEM
y/qkZsVDQCHHB3hQy3jHD1PFzor6zUHhYV2PNspkfSBjBsWOXWrzmhTdYjxYa2tGZ5Fe2zMNqJ2d
2wMf4Qs71AgiQ4W059aYiRc4Y+6oy9SDlMHLbU3Gg6WiTh+MXqJA7gWentCZm+/AtbOI2ZOW5bWW
tBDGQUWl0Y3VbfKLuc4iTJuQve1JlWFlp4PZyMfZIWcljuxyPpUWOkOKIvytY54SwznIKz6GzqI4
JeFZ0tYhc0EhkjkMmiCZpUCGMDuNGtk2wg4kBP4436kPCI0DTHKEB6Exij1earXEJTHpqHfpZqgu
FmOqv0vNqgW4m5Me1PsuMsQ1kOg3885g7soQJmJ17YL8GwGLIEW+FK46NNqwv6NmXYdkMLtujUnx
NVAJms1408i1Dc6JNmjVRZVJPdPMTbVXIiHOEBrVdoYbVqpwTcxKWE4azFGQnc268HEFtj2FwJ5H
uHJsb7iTbqA5XVoH9bQFt9M82F98Q/b9bTboPPtkjYNXXhi6z87zxia7Zuox5CfEqbcgbDXitITk
fJ8+Uzpev1QLsQlJPa9zl2ZrYM1nA5nnXzU9d++dgogHdK5ZEI6HcJHeuMt5vOrMHUbfP/QzOq1E
drrejkXduwoV3zaKo83M2qWw1QO+d3MOHDJwJ1jQCJsGU/1Qt1ebF6xsgfhmoj0Pi8GNcUhDW6zU
2U0Hp1XhpeyH2Y5tfKltsk1zeyMGgaBQuR2uwnVp3O0WQWaIH9qW7iONrJl1dFddFhgF1+LeEl1n
kodQ94+lMwbXdueUcPW9yTo8rVF1sNpoMJK2CvtL35JoBL0gu8727Ke4xfSQEcAnBofyGClPpVAz
r22laHOavda/Kx3lnhuhwijpm8K9rvuA2klELg2ehrav87QUFQo9pt4IDE906hqXBbuhqnCUc26b
fXbn4kbw45k8iccIkOrGcLdA4kPuUOu7oQDTIUZp2o61iDb8fHgL5C3gxeafe37v5jRNLdH/Ye88
liRH0iT9LnNHCQwcVwDOw0lwcoFEZFaCUwMx4On38+6e3ekVmcPc51glkhmRDrgR/VU/dULHQRAK
Kkd2373tLScdfSGDE1FgRpymtHwTqvKbTctqtVsJ1lhIeykldpnvyTG086oK8QY6d3+yuNLNliWb
VrPlDISTfS1IDLuisMoSR76blfngoOGe6m42MMbbfvtYVp1RbNu6J2ufVPNcgtwwULJQo5IM5TAf
nKAncvmH74L8WBBNvpu20fpgXvFlQzoCOBlOahh0jnFtk2BbAvsTzAoDfpgSE8YO6SS+Huo+RCwS
Cq795VuFwCJM7ltuG3eCp2eDYqtDLanw/00ajkx9xslJD4GSv6x6lvG2s/D2B1hSvZGAYNXrmzlv
Z2MzmCZDGzan+mglRipCW2s6O+gbR7smceX7UTUuzTPOJTzCuchSXpxyzF6KQXmvvmrjP9Xo5/Ju
tTb0B25TCk0ev3y9W7H1/pG48q2DXZjV28IJzsdnKu2RalxM++RsY6wrHf3zxCHivj+PYywfNL7U
dFsUbntzWmfmxBhPxmsZp3iy777pz3Xo2kdbK+vXppBkXgojNQjD61jkQrup9SmywbQuGwv6jffo
tnlJI/aorGJHmKXXdvcP5GLWbjMfU4kvIsJsPWJitbv5VzURNA5oXuwKdk/CMDyDbvSDNrdXExfa
hDl6cGrIS9Xk8TN9lhFDjLq2Nzn1s02NvL4mlnO3GMPBuH+t/Oz+VCf6VC7WKnAvOz5hVOLBWY+O
VfaLRg0WEnlyMxHv1LMmrLzsQ+G4g3ts+H8jWAeRLB7is7vwLTNKJ8Eaq1w1egeC/DbKQGOYMavs
Is0/Y0rOO1Jd4t2DY0XmOFX0j4Pd/4pL/3EHo/33UcwAmtn8XX//V+rS/U/8K43p/3U/szNzwSfG
Una/j/0rjen/dc9BInkw9uW4fb8a/mcaU7h/uUgueMfu1e2oLlwr/9NWZgBkQgwChgTKgPsyJZ//
gzTmXd76t/M4JCTELwweuN64pfJr3q8F/8V+MXtDovdDhZ6OkDRFvdnL4kdLC4BGVimYUlv0LsrI
jdlfr9qiNw4zAFt6421uMYdEdqctImpEkpdRwoegn7GP3g8oyZywWZO1s8kyGeX4gNW88I/6ICng
89Qkh1dXQfU7mGufvGejUHLvrMsQn33sSN8AHDtGFMw9/aBihPcNN7LCs+uPt1h51rfLrHBTgIH9
yNyGtMTsMPQu0uLTmmqyLUALf3x/JkuCmB7hKc8vzNeyj1iBKXHFoEecNcx3rbbLrzshYWN1Y3nr
y6wOXSFAqukKRz8EB45nfZ7eyN/EGeEcH6f8AuIg5KkVLfyKRQvGUbNeDNV21x4Zq4rKrkkeR5V4
p4qw+26lxuji1s1ECCofcLeMEgketvCFxIKcQq9Tzm+9k5++kQgaqeohiOde3GQyu/eBTtxsG2ut
N3DtmQdxX1E7YjOAeIcuFkfdHoeJ/aDxrtKNsx9R6+QD3fKFC01KLFwlL37StmWgdV6yNx06TyE8
MSuddP5cX8l8Y3vxn95rP+EOFCHnpzng0Y5HyY0+hLjDYC717YPG/YzGhbZ4pThpq81NlDLhlwTv
EmI6WqlRaU5XcROP3Wlos2rHA9MioKTytRg6cU1jQd9N8ZqZdhEMC+eEyFBZgj28j0+EFZigNvHE
LBBOS0Q7+7pHOGEoo3HEOTuzpnDyO30TurlbBim/G05r4bRXKSeFRsbTUrTfcWhq/fQwxj3tHpah
PfvOlIa+JJnCGsrdonaanZ+mdKakYxeOi24f49IYgtyb6LwpCEdMmc/PkxcnIVQ1MlgMVJHvErcV
B8mmiHxvnut+1SKn8JcHv3MudlebJx3iDASxRQtTyex1KI3kHBtz+1LnbnWJmyH/vVqrMwSLHKtD
OWTTTplLxgk97d4o69Wf1rprw8730l8MT7tIrma+qykMioZazy+dI3gBNYO8ocpumenJgyQMAN9o
7Y71UmTbvqoe1qJqcZ0LEAPeCMcjmXFD50bBqbowWh5CxUbqGeAkc5veIqdf6FAhTfOCeU88ddps
7PI84TqXLa9GhtSGKgEeLG/ShRKi+jhWtjitJNKi2hBfs2nlB1hVyVOc+/MCNIMrfEMpLyVgrbp6
tUo3THHySNcmO6TOdbeuenWlqrvekicz4Tpo/lUm9XqpNSyW5J7kac10sjNt5Vu/GUSb4aLL+SA7
lZ26jNpv4UpuU4Iqsa6gyZPt78y5iio3bBEJKGt1Suj4TMLZzwdvq3j0x0TXiEj6XPQPS2K9kNmA
sOGn5NJgG6mPYW3iYM0WLisdjzzNYhDwyihpYOKPDX3d8+5Qy8vVh++WEgWRP/sKC4MbaJHOiARG
EsZJTWZQ6/v8EHPwi5w4Kd9nB2ZDNwvrVCitCKnBNo+NiDe62/82puIHao176xbQRZVmZ6FsF0AP
sm7km6ryddm5aafH2wR7caEHPNo9HJ0kqYOh0ObxR4oinXYIb4kiCJCokztjDoawUdNyPJMe7hJb
7AdQa9+FhTRSDqRau9xyzvE0gSrOSx0/Upp14gm+lwttks+wLzbF5ApuI6gjqIcSilxS8SAfFbIM
d/6kTHBYCEhlU0m/+3hW9wBwo7d7o28PxE+YpY2QXXj99qRixE7g+S+y5Y0I1LHjkOrwMx70bNqA
vPixwDzlFrXdrgUqRTdComV7MLWXxKjicGrK58EcFNn4lXFAF+kdqn2Z7qTQt9UMGLVr9qWjAs9d
flnZsx6zznn2Z7eKUEEHEf20a+DyAOLc1jmYirLamAC1mtw7tTmTbas8cdk4xarZUcEOY4ULQdod
lrzF+F9fvN4I3B7o6+RvqsTcUht6JQuC4j6Gvp+yfKBeahbT+4FJMJpBS9pfHgn1Mxo0CRQWWvxk
5orFwdgXbESEMB7msok0a7mhPweK1O4LC5x/B95OoFCclNaEmZIForiFIms3Ossjs0HOj2NrgsxF
7EZTAkRQXzvTfCAD+FxUxRa/x67X8j7qKt3Y29y/LmVpp7/pw1vXY1bM4hEGmX5ItUKi98bOa2ck
vb8pRPHqum5K4HtmEXRNgV7lLEM4sZhu+5mmNdsvtc1QtCQ1aS3dwPX4Y3By3U0VV5C1Fg+1lfxq
HZYUp5m5AqWkqiYiRwdfzT8AfoZznFJ9o0YueUWXxldHNXXE3LcPa7M5Ko/LrEqHcQNvgEhZbh1Z
FtOA2QZkwVbSBEnUCH7LPmn9a+P2SzgOYxrhZGwI6CftBkRyB/v1/k0ept/x2pwpxTu4XjH+rLUZ
9Y1/rczV2Mezj/xkNc+2HhPzqpgxdNo3k6YEgNDUQXBzipAYAMP4dktiYzvn2kUofT2XrruEeTk/
TuyLvl2bIZcVXnaVvOfTlERqco8jNSNJLB/1xHzgLsgiOdFmMGI68Hq9ep+rJgPUNM37oSvqc1cv
7vfM8OVYYkzaxQPIvcD3VbY175m1eRjFZ4rA2Tos4tLMkhGsos9RaCLOK0Vr4CSoqo3dZcVHyl3j
c3bXMztJmXHdqH0cUr71N+aIo1PrxmHoxnrDGjhzQcYyRefEFxco705RFBt7pg8xGN2y3s2p9ylg
joWaGz/PpW8Eec7qRzLCujN2YQHQPMz4hSD9zTHQPYmdb3OTjSlr1/fYRx8Cm3AtVoBwkw2QA1fC
7Jh9wLN/mOYVDqXsD9OsfYos23p6hxOJC2uKKBvm0ny018q4VLkJ6TmzAoQaqiKR8TY+l2XkU+uc
rPPTqhdPI/dsTimC97c9DaWz1cYmgnxd/Mm54eG20mAfmcCckmzd5aB+98U0uVHKMTXwJ3CRZj/4
wdDpy6vMuiZA1iDRt8BBHoT5ifHqjx1TfdxVubdfWtQQt/XDuereMUTbYTJh+4EwMsFzwkjBmAxE
zmTdu0S9tG8pR1DlcS2ViNx1fjEMjlBOZX3HHq6erJProSAFhJzVhdoknlKJqye3zbCLAfg89Kkr
bxQY9ttiALXMiRgORaw5MNOL5ndikNsMhU42WOgD7COnj5NvW9KnMnklQd0sqaQZ1Nry0Cg1PDZ8
YoGf4X0KNaW/GSA6AtuDqpavxnpYtIn/Hudu1SDW+RXg78Qq9rG0tWgYGxcEF89UD8puWvRjSa4x
7CqY28GSdg7epJp+C+LH5ZelJfxAY/WucV7058FmZtzNKr4kjlpvQ1uu5r6qu3UOW5DhZ7ocuy8d
mP09ZCoOhauP7EZqOgDD40UzYhtHveY9gBJDdzBw6Jxdrbjb5dpuy8HbpWIo/8irAWy5IVaxk5Ml
TlIk1odcOg48JU63bLBpyMgqufHS7Lam4CGI2/6oecRAnivwWwkSSxvZae9NSEKelu/aIXZZtDVn
Bj7YS8W8MW8u/TIup1EIavACoRYdjpHEjyR3uWpWAQBtlXvNJ6F4FoMgfFs13lNsZdW897NyqQBr
qP6VqBlfGHuoxffkd+lbacbrFGqlsh9alxINkuPTQMLPpVznt6kVDoz1QuPhLwKxbANoIzeP+kjH
0Llpmro+sVajXLCMZ1qkZWTbieBDdwgWzxqQnKaBkHKgL3pM+yh0MX1ruBIZp8kcQHa1Ir/9VKY9
jyRVvdKelMzhftydywWaEkH1kS+743QbhSbqHtcxa42PQrUCtq3jZVrY27FrR2Nayy8EdHR3t6qy
HnNVnqQHl23HuE3WCla3WhdZ4+VcuJ8F3eoApVuxFLd8YRNIjfSM2z/QQauXztD66YB6N03PHQ5F
pjwSC1EAD7SYH5B2AcP57lJ0uB9lP33XY1PjTo1HK3tMK7+iQibV7OawUojQ7ydSIMG6TJk6FlPR
jqc55rht9hX/LubycCmWDt54MiQ4a3F/m3mT/b3UU3IwB1H8lESCI0KW02OsDfbBW2rnllYeQUzI
3Fuejwa5TXp3CG+qYGoii3lYI2/KmMqXLPEijJYhr+XBA5wYFSn0y1xDwGTa8VqX2tWkhsMohHOI
TenuO3gPJvPqK9tGCwqW22yV9h956bUbZ+y6TVPx9uBq3rpSdE9jlg0NiqZ/Keap+kDB/46l9PbY
hd9qRZdupbk9qa9G3Iy4S59j3Xmm9wz5va1e1zFtmMAOTDy6o18lfsjU+AY8KQLqI7ZmqZ3AV8b8
uuaLxD+VW4hYePHwRbXtdslUsVmZ2od6Yz0ujfnZV/6RW0IcMljUA61tdkYx/D00zkY1yxv+tMu8
5O/xuFjMqUaF6G3nbzzqT5B7NyxRXPe07ruEAj4UB7sefuV6s6+c5WFdK3s/5fITzN3BU35YDaDG
UyYZzowM23aHvKOqKE+1N9htT52EBzeJ6+hTg4BV9hj789+63zpBm/jNxdDkMzFZItJ6dUus+QnX
3Fl0hmI6pfUhY7CziuUpdo3boPDGNvrwxzcQRuDbFUDoHkwz5RQ6cZhvFCgniHlJNz2uTfkBZviL
2/m8N4v44HQmoQKHGxJfQ0dvd/dNsM72Vfcnx6boOPGt9NjKTHMDFGjL4juFTOK/ymE9YYykjxL9
EUCCtdXifLdy3UhK72dY+Dzs5YBl/HPxMZ5Pc/a5YHmkkzs7LGv8WXr5LwuV/iT0+gv940CMK0hY
JKNqSdYNrIM3StLou7em3ai73xpgxYhMM121TgbF8D5GXMyG0PvMBzZcXNquSLsb6/dg8TpSCMbv
PYGUqEEvjwrtt9Np7HJWSLCSX9m4IwNk/UnxU0OKgkYQzyt/95m2bYZUxyCLDdoQ+YnZ7oPnalHe
0tqggSdBOmW8y9TwaXbz17qwHyES7zrb7h8zcCah6/Epew5kvIwpgUFFFGF0/j/jFRdyUvncanI/
ZIR83XoHE+NZ5+iuq+SSF+pNdXP8Wo7VpsziyDXWi+kXr7BvI0aFx3TSD02r7bK137urs+/7rrxH
qplslRts6Hi7jfk0DfGeGNfRGwfu9sVraeih45UbIJsHQpbPhtdKJJvyKPosol08e8CPcBxasdMh
BZtSY6Q71ri8s7+VJa0NTCNzp1vDMV7qTWL4T+YSyz28fOoxNGYGLgjhThR2wBc/LJf+RnbTu05O
d0VHOSDZfFDk+TvmYLiyRUOuLOJLZlrjgz5TnMEu/tmni3nyW6Pe0/xAsSgrRj7VIsrTZcaTrfm3
ecZCO+V1ErS6dDbco/D0CjMkcGZRIq2KiAbP6pEQs4Fc0J6ynu0XBi8pKL28Akh5Zrqy8XJaVx15
9rL4xS5wJM++/zQmKbqFVkzBQjGKEh06h7+jlyB0UXmOa2sdhcs0F6ivVQzaHoEH3igFEDQOUmnH
e2u1IXsbbWRad1o7z9oyPKh2yB6PscnA2mVdVyiU+xU2g4q1TZZPe7uu6h2w0q2BLwgYpP1DbO1D
av7RLdoNehNflIz5D9W1FzM3w173D13CclXIAXSOe3TvCfrK51DTHnLP3yReubeUrp21/tI33UM1
d2C/ATYXd04GLooI4GpYW/HvOusCvWXG0SqP08QQ5TG4AHpnIr9L3ukA442VO6DNp4Y7o2tbN9Zr
kiN9NNPKfffLbirX1M6GXTxRfL3Fwgzm9Kls3UPfea+6sUbTWj0ZfOCW3x9Gg9sa/mWKFcOZQRNM
POZwq45W2JgY9WmH4W6+0gju8UaBU/320nWTLMlLP3MVZwjnbEXCyN2G2MtUtttPjfE37o/9KtY/
QGZCsFYUxfZOyXc6vv+AO6dMTS+ZO50Twa8uO07QpfOU0tSAydfbSAZvW4ApDGlcRtRdDSpm/oIu
dS7neDsIFTnl+t635afwGavEwFv61kGYqRv8WfPNS8xNbQ+npe7O1LZvXHJ9bWO9qTUegkJk73lV
XCfRh9YoGbVZlyzX3DOGepyRMSJGXzCAceNk4yz259Jb18LuL3ipVSAMn0g9uM2wH8SBg8Rb23hb
vbkb7JtP9LSDciqowHfTeZyYhzieH3Rf6mHnIPUaGldC6h1fk7iJhop+Eo+/JqD9+pyvo0ttTfbs
6UzzC8snhaBv72bBQGR6ReLMPg52LbbCSEwsV9V3KSow4ZMMRjUyphFpjrQqrE8Ly3DYtcm8LS0k
bsysPZettj+22HA2dcqIGnnvZ+QRRGBo3d3syD3nwU9gxXoo0n4DnCeOOJK2mFdIB+Tla01N5/zh
c43iKJtZCxQdSGNQngB2/ZPHr4Bh8DD33j9p/ZVMqxKyhtcq+shCN+vxB4x3yApFXZiyI6OFTLKd
NUGBbeot5jYDBNKcrBwIx64EgvG6VsxzeR6O7W6s2REvVYuvJaRYRkvBWtjun1W4E1snK6zkyjXH
vxs3nqdtAcj8D7UR7lOzTvNTp3ug8QlfKr7nnJ7cQHqwdYDoWyMKJzh8uXGSvv2czYRRfsu4rOEm
5dXsdNVcXDKnZbbgMyHk5OxbIRwvCdt3SZcP5bZkNZhMaOXWrcaUWz0tRbTRW172aqg7IUPCmG7v
3FIc7YnCrb8vsBeKLTTTmjeitey+29Xp6spD7jeMg3nsptqMhRwR9GtP26mlqb6M3BoeZxAUV6GK
JA1r7JTinya3/x26/YeLUfS/H7qF69+/0n83dN//wL/83N5fTMWYngky9XfSKBOtf83cjL+YPzFR
Bk9A/4np/L+Zmy3+wgdMPa/reORBILf/35Gb5f1lkybVGcaZBK7Ru/8nEzcDnsS/TdwwcpskUCyb
v4ifQxb0/7fzJYWn8UWpKRVsvOeGDjRwiP4eV/QrUTF56BYfK9mdvddn9OT0o/ttVq13yyrd3ZSa
j63M+0GQecw6fDCKlaa15MPUNmagDdZ5bez6Ahz25FZE7SlGZKheuxd35AxmSy5HHBmtiVc8kepU
9nLfpsIOVn+T23mJLfQMeflMFI9jdXP27erLqfRfzRzvraH/w356diX30NZ9ojljS98rdgpM0o06
Tf4brPK9HR+T+VjnwJe916IzLzLXoYVZZajXZKOWnY/TDp/DL7/94bcLp+SsOwUVFWLdVFl1Axsc
6QbJLlrMsu6tnOrDUihqZrdmnJwkzRKuxdd2fV7LM9YvtHCKMWztV17or4zaDrO/XjzUIQUpVPNf
ZmB9jmFf8/6TOBjyA/GqpcOTB7I5PSaKELlFCCPbuc4PhKtlfEuqdsdnOQNE87OzMi/GcOz0NRw8
jrTS/ltLtJdajkZYYS8trdtCQRc48pc++cZdGYgYXtgzJr6wNPK9oI+ZC3xUc+qf2YbtFFx7r59T
q92v8ImAo1v22V2LnWb3v2KVHKUJ129SdrSo+cHV5yv1m4FaAJ5m2U/Rb1WBW6QwOYdV4VJSaqXd
M1vE5dvHpabfgDQXaG4s4i08q2o4MHzOHxN+bJqgbJpHc7r1xlvuIxTaS9jOt3I45nnLhWLaLiPw
JNTo9JCOzcN0t5QUGke1uH8ix8Zk9BbXjHNdMyr7/pY40zMZvDHo7GUnzdrGEsF/aUv1qZq7lw3p
OmnAmk5gyVw8mLW3bulN90OlW1s4F0/4PlLmGsWHqZCcDZsr7Sr+CP1vSwxuZDTTecnfdFntkonY
l1uF/fTeMsg+DKjRuV1Eek7ZVbcYr6QS7hA5ED15WC0g69eDz3wTueWE+JWzLzZXZzmbDiBqV12k
XzK2uVPfm/veH9jFZwUBdRrnSHrVKWN/smqaC5/7bo46untG+3sZy9c+8fdJHgdcKGgznG4yb9ug
8R7kMIaeKTYOPQZ1+jsV69YS5ftgjM9xVh+McgJ650XLMkDqeyGXGoDofJRuG4q2PJSWtp/N+bw0
+i+/tD/TRfzK+w9/3UuNmBi0NL/qKSR+c3v3OBEgqqDd2+7zaJZVoLgMVjqvoTPtvQJk+VT9SROb
pzIsmJ5mwfxLjdFq2JcRUejbNXCU9s0x/cfDGLYQP+mfoAQHXx6307Q7ekv+CZ3t3ff4kuBS/SN9
/W9h6FOQeQxCSjJ1fpxt0jU/GVq5ufcG50l1g/m10ZX3qEZ8m5W9tvdGh3orZvUMsuzTtyGkJ+gc
uAgAX2qrd2CAvNLQsACMJEm6hZJ0Va7fcIfqXxe+R1g6z7pe7vUZ/1n9SYtcZtsfRVzvuziWLCLP
2fBLxMvKbX+NnPoOr01/hNddUgKvxgxbNkWs4agBShWOHUtQbK1XQhbqiXV0joS7PIj7TdUQzu9Z
90BolWvgGphD3e65SbWHDMfQgQXd2nXL6whxbrWM6dYl7kcssHIC5XwuXIZEsIg3FtP8wCu5deux
fF6w5CFiGI+VZFTTFrsVhlrtKO/olfMI3rFd93EPwKMRmrMlMm9S9TPnm7nIvgpDnhruIIRerx6h
Bm4pD15jLS/UbL8TQ74VeX7KXfsiIBzG1mnUkjXC0fj3kGpP6xxzhfMdyI5GHjK79sjU5uneXwxr
M6MSHHurUlFlq9s02tqnOfiYUGFkM/y3Dbo7lnEIpp5KaIceHvo4UCa1+CGe1/6SdZ1iBpFw17bK
B9eOu308LJAr2qUeLsTsMuwfFPohVG0o44O5YBInMABqcUMyX902gYCLGHXwBt951np8X24PI5KI
wDle4vgDF7HcOiQg3/qhnbf2kraPvCA5aYkke6BunvEuU5MokVazd0hqhzWa8KZMNIBgLLD/QKSy
K+YkGQSqce9v4c7w8DQv0sZ0l5hayLL2CzjLGIi8X/Bc6cUzwc9uQycWIxEcdwexYpgwmt/tkDwL
UP9mpzXbxXiSWWM+xHjLI2ad46Znxbr17p3HO/lOfelNa9jCZJp+oPYMeMWtRRwWFywq5xGb9dao
L+7sUQ+/Tt0VwOmIm/lFs1V7ULnL+riMPXPLP+Z9+0uML3xnOk40I/JnszoW7aB2OIL5kCm+hKwR
LKooDoNbW0iE8D3BFX0OKtW38EWBY/rpe5kgB1MZkqh2PFiL+5wVjMstNy9+DToFny1tuMe4WL0A
EKbHbFi1yM00TFjYEPhkSrG7A0Q5KmccCxzjp8pznAWJ4IXF37vVGnmzLW3akFyKQwsb7gayISbz
7v63mdjF46mvrtQVfZvYAHd2i3VWpilamPcC/vZq6x6Foo3dPYw6BwX37R6Cg8VLWVkP/T3UmuXH
yNuRVYL5v2cTydelt+wxPhg7CQ0Xk+F5QaZfOSytf5IhE5Gv9TrB0P4dEvDvyUkeCxsCENB4VgOj
PIslfzUzzBPJciZ4+rhq7tY06/1gjy8G4jBZW0yr6y+aFr4aulUzrQVT70VZVu7wQO0cb+TIv42t
B6Uc5pL3M5N9zKS984s+TGGy52KOGqbXsySth387aPqRG5LHRtWdG7s4+qq6Jj71iPO1k/a+rrVL
07Y7wA4bbeLqHXNww8W40Qq+GpZoL3z2nCCeNSv3jy0Iqs8mltNpndYkCf2U9z/V0T1LTcPIWc1g
uSuXiStFIvcJrW7FB1cX3q5IDLXta/pMh5Sqn2CYaXzdDGQOqgjlptxYcDG7wJSTvU9cF/No1lDU
YvfCP3at6Z44JDs/BWTMMNXj5jT1XI5TMuC7pl3TR0cQjQ1Soym3csL6Q12QTvi49LdGhatxmgZ7
Y971ZLmyMdV+t54wgmpPgsLa3TivdMSkhXiY+ib/WrK1e4LC11AvDsQ8kNkaP9MaidXRXCr8Y3ib
rbDu1HS1IXwfCDvoeyZI3TsGyjWwZgi5gT5lE46Zut63eru8YKgQ5963cTZZ3DcpBWrCZpiHR1/X
vm1qMzjNdflw8QYsMnjxOc9Una5d8iottgxVsxdAz9jV+Kcz5Nbdx2bkkJJPiX0ohdvulX+X6bUJ
KTnGUKRjfImcmRn+LObq2GcGu4eLNrxl/TDNvdkSBMG2eZywpRlSKmuLLc3GpA3UG/RxGkl3zG++
w/WR/V+aI2s0xJG89eJXZxr9g6XVOKETRJ4ElgorH9ApUUm8yAVenBW44ruZw26uaNo5miaSX1hV
tIxlLbPndeJgrHWCGifLleOOSB1WjlrLP3q/9A5K2OQp0NKISdZlO/0m+GLt1QRGV0uHL9sZdBZE
U4vIblgYyb2njIIjWzWIaZice4ekW2+QOdGO5Gbq0M5UteOT1Bi4aOe4bvBWqDeruBcVzBeiJhav
0qTUieO7jO5dV2G+QJYdi/jLtFBG8N9iIq4fMl08+Ck7IAnFAxO1F2+uXs1yxT1yr0tVLE/NC/vq
0ZTehiqEIWK6VW5A0HzSPIV0c7fWZkw2O70hX5PLG6xs5BcEWvyWuIRYL5l6x+fSaM6tSA++/OYd
hMdUzO3Gd5K3plC4k+Kr7DSDA6BO7KJJ02PuFX5QGFMVDNCVQorQ3tdZNwiZG3z4bo8n2fvxlcPQ
+M5pBQSaHXOkTubDHfZitVov1B1hP3dcH/MDNz8rF8a2yQVcgRx+OFUZTwVSCYAUgkAMvY+0CUJF
cZNtHJfNtevHhdTMvQ0tKWKsiTGtu612TLDWGK3/tIivhuG12Q5or/0upkKcHQVbgSRbSakAEQGd
XAlhXw2GPFbzueDTm4xxa+N8Crq7Tlpjla5kcvHF9HuUdh7Q4Q5NviTXU2a86sLW6ZlphqznX8g/
mDvAXJx0sgoRYYok0vFAR3ThsmO0WnWqh+ToCeOSaHI81vp4a1MGO5lrezvcmQOhrXTXan1kSwt9
K3dSQNS1VHj0KkzwZe/WW3YH91xMNucrJqF7OzPNd71nSYAE62DMKaSztSrdvpQDsir1U901NTEf
CVFmURVj0uQqx5dAxEa1NZIyBzleWntIjOlRyzCUE77yNxYckVtplHk4pKb7bpbjsoMw0u+GuCU9
TJ2B/46/cr05kzO95uQPnkEtGnvdnobt2MfE0DyyLe+GPZTnFOvbuaw1/5k5YEpYpMT7KInMcZ2h
rYruSOwiKKsvSVlX34wihp+J88VxWEftqDtgMbZjJ4ZXf3LH61jU+VGjMOzLSQpVhhNGh51V9xNU
Ar/yL/7sDB+DbcTPBRmqJzH+H+bObDdyJM3SrzLoeyZI42I0YHounE7fJZfLtYVuCEkhcd93Pv18
np2DqexGF6buBigUKisyI0OS0/jb+c/5TsyLiIgbc64I4vypBybzvjhWlK4BR+H+mQRaoqmqaUdT
WuBROiWfkLzExsWQdJ/alX5cjJgrmOSD6cjcuILy0tZl3NCXRe3YHgBTfR+ksS3wDlcc9Ulm4re9
tW7illyW42JZ3NpAsRav+FgDPjTz7A16Y11vKI23ScmmWZvR3L72Cgzuhgy8eEFAmPZE6yxE+ltJ
pJ3sF9jMewLCDRvFrhGPUPQXAssMtWuBIZJvzcCL2W2VJ9yYhXti/UnmCx+UGKIf1mC4rlr8Dilu
GQjJuGajYLvYbJdJHhkb9F1uhlKr5iM9SLwTiJIe2gmXFv4lv6hb00/G4hTxqY3VtDemhD6mZUW0
vV2nE6KE1TlPAE8eeM9COx+YDgKbrWpvXanR4AqTBmvAXPEOog610DWbbLPATqAoacSfQvQdWwk5
kCT/nvu4uwdWsQcOPKAI31pZbTaggeb6EHXeaAUkYiSjzagsGp84s6mJuiR2S0eFOzJ2pb+KkhpK
bRZvuETvKxyrPOZ6+ORaOJx1igApUmx65gZSVVWxDMdsvG2gf4A3836wV6DFX/so2Kue+j2L2k7R
DtiHxXJw9SAgOGgepoIFSTzi3cyzETNIthlSiamJC5hZ5Wtuo7f748W9dQ2qZRx2NJyo9TxcnOWZ
KMVqpvwwRU9yrXRd9tGTHneIA2ZJBitd9rosd3bDYrcfjZALn1Hdieq7E2fMm95oT+MqS/J7VA/p
GeBJMDXoiMIjSoasq5XjrpU6xvXGFHXGMxST2tLD78QoNnB2v6spRjLPtbt2Ghtf1i1jVQ6hxxAt
U7bgPpUm1Zmb1J5v5W/NdMXK7Fk8hW23ScPpA1bpA4ccZzz7K77a3/NQ+Hr1FmjL7DnIJUkw4L0i
uYHn6HYpS0iKuFlqb51F549v9ByXmvbSha2P9Zc7qaqOfbP0Rz11ALNEOB4D2tIbTG5rfKDDGhA/
hjXsjnoTbiz3BHYYyNovTMLnMK2+tIgUVtzzzgw1EHeZFpAkLChQ5K3jwnwpKNTEUbCJIkQUfLGm
n9ONsqt5hLyc4tpLuLCcrVuXo4VNjNE+sfM+Bb3LVJmW7LZqIGAu9YFQ0ztqHbdUsd8N6Y5Q77Xv
tGkl0uXOaGhKI0sVJeouDCgY7vMu3dUJRt8Ki5GPzo7coubPgI0wBWjOPWf2SLSvPVrxsNzAjsqH
OU5JAMZV3IwnHR0I6d9KPsIl4UPo1OXrUk4/GOlZPt4unnqTJazuxH3KqlGFeDLm5ANYpn6yQufU
t1qBcGbgEQATdDeN5nRO24aNSsmCI5qPMGx9qqgEbyX7R4cKtMokbnA+Byspr4DDyhdzBC1uZei3
o0aHmyKSvKIuoSHLzA6wu/l5NBSnq2neiPL1GHld29035AGdOLzcnLQrcxAUQtnCrxd1b4qQ7xfF
QzqSDBHK1io2OUH8ogyf09LMtqronaMjAgZ2HP2AZTYu+QC/iaYHsGT2E0zwdeya2ibMl4XGi0hu
y7JmEVrOyZZ8EJbYuHQvZDq+6jF8EIt14E/ywjvxTsPMl0v3g5oldK1ZcBQmvBuDMN4T/GVbT+ny
VBW6TwLsoQ4U8iIs9pWbxlsRZL3nFF3tz5Z7VLeAczHN77ysDGb72Mfh5p76FAgrppBkPerssQf8
zmdGA2xS7REWiLkeRouCzzG5pFTHH9og/DaGKPUHZ/ly7JiKVYOibHz9PPZpedHMhkOymfpNmDXl
xUlpDSBHiNuYSLkL1GcRh8qu7BOs7/BcaoIWEUPFm3js0WRmdo015kBeXA+ZE1R4Fp0XIlpb6oy6
tZCERXnxbItaVztjce1zZ2NDLTiDpZ2cyQZfXbvmvDJ/D9Xy51uJnwhl3Gs+oind1JK4eFI/2xJK
VGjdSJLdRre4RJDc7fr6xXTeY3I455B90Tnq97eVohQX8oh+pn9o6HBXt7RHkmZujZVgaYjkGNZ1
FnOKy2EZ8K1jMl7cqT8nhalRaZjum2DR7+yoJ6ucuL96t2YwjJuXGkkMmZ2Dty9uV6YRz3ZGN1dV
zxFf6VSdEp0Vvwr4RdbJ6TGqoEDo50HY0yEh7cdCleWmHHwxaAilta87JcaFiAcicVgydxSVMKgg
ylLFkKpgrxvaHTWzpIvxQbNrF/EzQ6/whkbsaozJvm13frJwIUZ2fdVdTANRG9krK5e219Y9bQDt
sG04c9PEqECoubUHmc4zqfvqEEUw8YTtW1pTBWHXpX3EI9+vKeqiq5WOchQDxi6iWi2VKnBcyHLw
Hkyqn0ijiLVM6fhwdRLe1ZJs8K3SsZxhFDvoKZsJ9pKsbbv8CxzAMa2L00T9yp6+qjdKk/Tj0DvN
IU3HfU72ZZfoANp7jHspnXXZmp3Fshr71vh22TBvR9HT08C3Xct5SswWJF9MYt0geDgIzNtD86mo
C8BlSQzJY2V+Gl0+5HGAn3FMmk3uWsPaJE1wyI32q89k+5QEzndU2OshtA49CvIYFdpmIM+3SkPc
n31CEdOq6HSDNoS8/axd+yOtauXBszGfKnd84mPw0OdOvK7M8BsusThVqjuYwKaOk60dKa8gR0ME
jIvPGFNPVIWMHCQUMmqzjMRaRazn91RMFZ6gAMKDVXeHefJBSOPshOGr1s9IDla+tZcw2YICONAa
UKyamlkAw9lJJOPByp3R0wRNEi6j7QqlE4MNFgzCIj6ZrkPajgr33V3UHyRsg/SpSO+6qjlzTaVy
kpDGLOn2xY6wkXXHuUgsTLIUrptSkEQtV2iGG/rL7iw9Og+WcelxXsMaSf2OlA7DjTqbkozAMk7T
RmXfmruyKfvF31VqXknMywP6vzP17gHq0NVmy7+3+/FsQFSkoZwOITHf9ylro1r/TeaVkz4m1VXH
HXg3/oazBOWzSikH8xbb4jkzScrId73Rfxi1d1Jzi/Ws9SATXBo6E2yM8bkL+t+FFZsnF+TeKi7z
yhehTYuhFh6bmRtcJZfXLrT1lVuVvLjvcy27qJDG5olja1EHzZx3RUedKsC5rTOpw6hatebbH3vs
oFdtPV8GVz9XvPNG/bmWPJi4CJIcf2naYlLJQj9v2is/1hWDUo6JkSGpBbkI8ZwHWHEyg3ILSYSd
rXI59jMVXPw0wxBBrFh4a8gg+i2i8M4ouPViykIAzsp9aKtX+B8EVNhBykanR/SBYh9e5dprb8f4
jObkPJTJsoaEiyCalMs5NnikRrMEy9dLe4+m8qbq8kJsg3fPpPZFzzIq3GJRrvizatvcVr9Mfsue
z/Ro0vzU9b+H6GYS1deNvcmce6XyTehEG1j/d3iqPaeOKB6ZfDCbq8z4lQlj8nLnk7Ld95B3m1ON
NHz7tBc9zUTSC+3OmvoD+2DP1bVdP8hzHAfHMgByoYokYQSkxZqUvt+gtV2dkgffKoW7jmrs7K3D
VTnTlyslgckTRXf2tZIz9FusCk9mOSYRK8SQpBiCVXnksnywCvL6tgrInBMkPMyWPa5NPsV/+kt4
Atu1qDttZSzaHtJCuKsN91sVHI0AMNtVQfvrOoOIt0qGGWph3XgODElP0NA0VInrFbdLUNUX2R4z
+1oN/RlsCBOVPlN1mVEdREHAJe0bsKfhhaQjerp1jrQsPTRRvtVSneIj1R0FhO6DokR2M7nha1pF
57lJ90YIaqmilNZHvpOrECEJH3828P2ZyPRJ+ZyU9Y+uI6nOkntnsvAv0EZ1lZyAa9zKiFxFZm01
06qOmuh2iUVueVgeb11MLjeVy9BaySXqIhZoitAMPUAMU0JppypqN3lKMxQpkYjguIbRv5u/uqA+
6/ZjUQa7nogkDQTc4xo2wlm5oeR2a83Fo9sQ0Mb+r9LfMJg2jPW7zqUajD7FeB8nyabohy2VEJsY
ua0Oa7bcDrkUkymjoftZx7Z1SmgAkuWxK6p1ZD05aUtv1ngKo/o+FvSAYMOW5ljdfmo0WJlF6/dt
anldn4oXrXNCz8TAYqzGMQikR1xqWOlKbGLniV5CL21erGzeBHZ6Ty/UJmz2VIdl08mW0ZaoDVHx
+362AcrwIpnBnRBSsrMfUd3ethNflfLtNH5zumljdl+RtdHN6i1Lmo9g1h708eYtMNchqUhgIV6V
gjzpTlkq4DJ80CLsVVw3b4gZaqCw9vldwqsOUSZzfuXUOawoH18z0HvMgAdJx08ldfIJNgbAqsYm
Fhgod6llSM/pM32/uFy1V0Hl6I9JJsNrE7b1Q5EjCFZLPexbrIhbrBzQPswm/tRVYG3BYmBL7TmH
vKYdCUDkA1CiGmmB/WMMqiJ1CRjhJeBLnaP5rqr69hCYxbjtBjrDSzqNXopYcHmbWo76RKAnqsZK
AWhWZyspjF+25Am2qxlXd5bBI7BkuNdTjujE0svX3uiGmXk1mvwGEMbjlAWOt2TJObtZ31J6WXjW
LHe+RRByfvsWTO2QPk0M9V5YZGvTaFnk2W+1CnYyL69Joz3LDngtUuqvYK78qiTtIDMO0VL0l1a3
XF5WLyzMyaDNFh5QUnyrnGtCgckebjh5Gz7OB4qX6nUaZF8iwYjupi9isPYiin4gKHHFIObZkQzp
Mm7yvfPYue5BBei61WSfocVirw3Msx7ztLSKPmxMU6sqeOOUj9cpfdVxZa4xmQCwYA2IKQsXss7T
Mka7ii2GJcpxpZndZR4nZ+WS/iEttluUeY8n61zb8l0T9qM5aofE7E4LWbTEHhs0gjHlR0m4JEwx
D5eOZC4Mr5OeHHKze7N4u1KWufAGtyJ7V1FIhT5KXMWKrvVkPuR6BGEYVbrEijZO7Bt71jRGeheA
V0Yl7D/t9KcxcKvpDPcet1ScJEi8JrSZFTfRH/Iz+EpGXm2hmeFewCur+B/zxHCaDeD+tOjeMvuL
25GUCJZga07pe6+golZUJfZB9GnCerbhzRyaSRRbs9B2QWiD3I2m3Y13a1r1Ri7hQTmsfQKSB1EZ
HpNAvTAY3mN4TpgQ4odJV8yb872lk1cFUr+KCeomJq/T0nR5+poQjeB2JsNocIJoHYwzTfUtCklZ
84WmQfpWLTido+FADvW2UISORDhBL6tsW9lcWYLufa7yM4WfvPvd6Ep3vAYOz2UvGUCVgrmSiffC
urHC+3NXJJsQrSKIqh9hafomFOopLvFOtPWm06Tf6EIns1Jv3cI1dwRs502XT6a/JJTLR5bF65p4
4cSkSPT3YcjbvZPkjcdlkl5VljO6o70buP2RGY2fxJhxySZ/br0RkeEGRJNxDtR0L/TwrJHhdNru
DW/+uRiajSbnR6k+iTnEmX7PupBK0i71bYcgbkbCIhttr+Puk+rDLkvib5t1KLke3NKr5BbLEQOj
hkFnBP4NshkYF/cJ4ho4o8e5v7pyP8f4x4v8MuVXAa2765ybFQDo0KLbjccllWtbkO5DNR3rWaZ+
NAobs7HN3qWIj7AQM6zZwTmJS25CBqrVspSskbjZoigz3II3mDZVLbeJVA2Za27uKotuACPsOLnz
W1vyE9aPq93HvrYYOYyfwaR1L750LT5WLZlJw6GbD7zTPGLNdGLNh0xav8OmOzjKeGS1tqZU6g6N
48B1dWYfxl6T++WqdEjHh0Mut2Y9rwEObOfK3vaKWPKSNJi/u15sC6imq5iMCR85NpCMYRkVr8Op
d/XfVkJBo2U+1xVkKpkfZzV891n9W9OCrd4H4drBRuCJvvnq3OSi2TCRebc+ujbT9kARdAXnh9Ky
G/oF3jG22YSN3o+udYNvyW9of8/NlAICnm+KF0G/JqtPHeWO0Ui9GQlMHAxQqVXJOdov5bGMkCDL
CYsLuJY3hty9XjcfWR+9Aa8x2UPI4zQaL/NQ/xQsclcCAQ/5W3vSebQNBCj43N+LjZs/LTklQ+F6
vet8IB9jsY+t3o+j+oF38QF81wPAJcq4re3NlYG/fMNSf1xTvjvzJVJv5vITtWdxSor8jGRH6j6l
l1eN1UnLcS4B5Sm9yJh/4p69FTBzdqtuv850NrNZW1GKGZ4aGOvrAsVs1YpuZrUB0Vv2KHjQyvZu
PegrB4cMH+XpQIavJDqEcos3xdhUjjrD7tBPQRoRKVJ5/tzeahaE9kk3Joao6KnX5NYAh+bJISFy
n7rRMY5mvn0VW7FQmCWfRwMgN06opg5Lr2sq9G6eVV4P2rbC20NGbLA8CoV/7ERdZwhstK4IdLt8
q8LhvXN64MSnomIFMzd8o6MkJsHYvBfNdLK4JxDhhga3siosGY79ojoSkZFuo3K0gw+ACGxGEX2A
/362Jys6FpMS61Rk9qep6T8O8cUxMj7GkXtWXlW/RJyc4nkCaiXC20LqswPoVerAfNicJlT0ajwL
uIlqTri3hbocgAMMUabIT8FUY2SI95QqPPDjOmoKKxorpYcks9aVzqdJsJPI8DxkQUWQ8dy3dyq6
n7qXWCbWGojXPhHVISQSAlD00c2yaq9XPFp0SD/BXsQcAYID/A6mRjUeHHN6sxMgEPpE1IIN7nWp
ACGo/GhMw30Xy6da8C00xebGzLVQxFZj7mjbTmPKCc1fQXlpNLxulVo2NE/iO+/ZZ+XRY402jSRH
7ai6GPgau3B6DZ3svV4ic9uNyZWqpq8Bw2Egv03GhpYl72gT/WTeF91WG7dVup/tCrcCW9c0u7s9
Fkm5yQgxhclzz15P9Y8xesDopxZAOO61OkuOKlktKCLmjNVwRjPq8lgcqLPUD/QbnCJCr5qr+8+R
8oyzfduwY0YL00sNtOopJt792Oh8oVhS4eLNXfwt02LZ5b2pfacyS/0sGorrgv3xx4xc3jCiA5bH
mygf4+g+zu1xXgvbsFi1zt1riknrHhdtvi1cfcZR0CfHWetc8k61Sda2aE8zI9Apt9PoMyiihlc6
91YTAgPmHuz4eaA3Ow3qJZ7vNHgbnfAjUHhZ7ORDQkLwRVcS/Gs6Fj2aFD52wOo0REtzl4Huu5dm
ru+NdnhpC76NeoAK6tNS8SJhE7IcF8AdjMwNWWimvxu6YDlz/YhinQXayNRTwloY57KNXmeI3zvd
eWljHKZGXBBL5WIsC1DuWsH5ZrJcf6oTR7v0CuHT/CgZLLwqJora63dJlT7UpIHCPtjRdRnv0JG0
LRvl3K8tcrXx0D3UsXxsIjd+JKK3hseJX0oU06HBKA2trY1WMuvvMau/kRs8luIr6XUvHriBsJnp
2DZ37OOTdEtf1mpiR0Uf7Jur39HBsBrGE4CJjWTnEjoPoMV2LMXJ9qZraXxrI7vFSNslvbaezfrd
TD4XQupJ/MJz66EHK8xCyzut7/Om11D7wlbDIQI9aOXOy4cpg2OnYzm1ndIhBzrSNd/LQypDH6Xk
PkyqPehVLEwhhkERvzZ03N1uLzWnSrhekta3bg3CVCGLRnsoXW4MHHyCJgixL/P8oZbWsHHj3jdp
5n1L8TcCrGCw1jA7UmuxnpbyNSq2QxUfy3i+JDcxCZd/4I8adJW5Vdxwp1s+brhmvToFg6uo/FAF
ZdUABsSShH4IHpGAVYomhW/2IdA19+UWe9iYi2LuryKIAqO+GYrbHgDfGhgFrKCWKddKuj6ERWYW
Giw8mlIxDE+OpMB1JFob3YXpshkm43XpmmPb4c0t7G0MvgRjlPqtBEck8or2SxqT4c2RHd4lDvFY
V1uOWjluh2zeppqzcC+GkhInREec9tYfS90m1rDgdwQ4EY5Cu9LUcFf30Ul233FL+Ta6lNhZ9rx4
/QSGqeZkDkfcb+X0ViylT/8nu2xe6azKyUMpkvBDzWCWG18y+WoqwudIfXcjNROrnr+wsYyubIbs
rGo6j7AZimuWJRwkkIhis4rucdIR2Oa9mEuJMtqXfqjCp7kLS991TfmdNxVd5ehtt+LxA+v/uybW
X9hww9+wshHHtZ3PPgl+yEs3us2/DjY7V9/FtWu+v7u7j+p/3uIZXyX79ziMuj/hW//3r+7irwZX
0k/3n/+uv/1D7f/685fD7/LGqv/bX/hFF3fzpf9u5sfvts/+41/w19/5//qL/+P7z9/laa6+//3f
vsgW0sb8+B0yk/4NU2aJfxayOMWf383fQxZgwv5PykKTf5igy2wlWWG45BluJXv/EbPQIOpzZTdd
4L6IZrS7kcD4i21GloJQBvWVOmWZkj3pP+Qs/jBtG94ZRXM2EQxD/UtkM/M/g82ko+Op1AFIWhYY
e/nnr/8D2MydSQsZ3YKIYMpyIxkY2F1mLhejoI4JIXcC9xAOp2LgUycDjInIp+kDC66KgyqqO2fj
miOivBMEOaCgBf8zvR0ojuMS3HLcSxUBccDjfCrCCFyaU8qeUESOfDsXbRTyeg0XDeUvbrZDUALh
bKvYwTuupaVaDy72uRX+E+17QgRSxEPDnJm3oXmsz5bxgEEVP45Zc//h/zCYKWU7VA3rWU0dR1uY
r9gqtNecELWxs6oweaKSJv92ilLu6YuXLPM13c9Bee0m81Y4oQrL9ZyuW+I1HNTk2uhV8TRCWNFW
ruGOv7o0EweC8jcOe9JjgIWrMryHTMqhZ+EH6rdB7Fi6T2oVdw9znvohKjU8TxLezbGsR2vTjw3K
bLk4nGhxKcixNfbMVqjTW/cq2zKmcaiYAl57udk8zqlufhStqvYtRYP6ARsIpKJJaIuXp5l2KsaZ
oyFylHid4EsWW0BtnPFzbLjNypQhF9E+MYfjjREL+5iJ5lciwpElTlM4xCNxuK+7AWbkAje6WJX5
ArZnwVS3xSUwul7VGmTu7fExWDr3GC6y+1VD7ak9tvN43FvK6gUco86lDD5eULXNyhZ3dhoa97WK
penZs5oruAZZc3ZMGq/XI/LH0YSp8yZFgTRqZ50sDwNfHG3x+cTE2JnY7voZHzRszwxBSTAxU9E2
ttM547dAXcHs9M1t56OYTYqgUU7AeErHHsEbU3lyHiv6Ldk8Ne0T6Jzl96DP04XNvNVvqaZn7oxD
hv6tGHPSkG5YY/hqwHxaeZyZj4EdF99FO5e/I5bXwX5wdGdbBZQ7MfiizWtOCWmmmQU85JZOFbHL
0szcBQXzEJ+/wLkzF8Tk/YwrC2tbFjom7aH2/KpixDe2FTFCjG7kBTNPSEQbZxADnohE+IzU2oDf
MYR8ygGFlpvKnhrKYSZt/mUsQBVYQ6UVkyq4H5biZcyGBpBGidRnlGcbbjU0F7hDrW9Hi/sOFYxm
KT7nKeMrCH6iIsaAuFPEEj2UMfumjNZ97a7BTfE+hsRSHIpx7JkIEn5jXB5qybwIwA7bStoLgRej
VSrmC1reAdvA2MaB02K+ZOcXoO/pOcmUhLoAkI+4YvQQrHPXKe5C43SDR2GQk3AHcHnztkTkfitF
mrNAm9nfr3RjNPgc1u1j2dxsqNSz/8IlOrD5VyogmJA2CJBBUE0/mCv0dp3j92PfI3Ltoa11arwC
g4V7Z4V2i0EH99EK7DKWsY7QbugZnaZ9wNG9eWJFN/LboV+zj8qcO3bCE5pSQIv6rkrpWWBayHD0
1Fa/W7h65+vGcsoKot9SPqnZMW02+m3VHszGSH4cajfpnKKkzssJXcwejCJQdaAKow8XyxyJX5s7
donPSKdMC/kNv0GFibl9HLq0jzdd6Vb9QxcJ676eOacv4FviBkzQ7EJJ4Fxx/cECRtsttyZaDEOY
IdsowwENoKR5Y+vaHJz2pojVuH/PMED0eywETeO7WmQDq1Ju/Akbq/s1wHrjee358fNTK8d16kzo
Nr0z6l8shBG2RgbSmiuPSBui8Prywp1RfyMuy+FKR4IqrwhJDBo8aGmVnMexM+dzDoNl3mQjaKV1
KHDJrjvu0sumzfB2eyj96tzAdk1wVpZh1fpUEBbxxdRuCSg1t3G0XlpJ6RWEoeSGcAhmSIXtjRLU
Fg74Wh6y9xbyRb/WOvqGDjRiVS/VHBU17hG7GjamZrKwTku0s8gzabYDv7M0Rk5eSsNmnYN9JHLc
TlLfy3DsrU3ZZC3m4RmaRqVSaAAq0i9BNsf6EeA3GICojVmBuIErnuZkcPJdwrl1N88Uaz0Uizs2
W0X9+jacwgIBvSp45+l5itGIeoDp0Zlo/1rB1BWoyhGbKPdoGI6YzrLrAh2jFj1eg9dzZzrby9KM
oLQKi/o+N20fNH6QQDEGjrS5wmW7juK277eaUQ67f31u+2+nsb9NcP90uvv/cG4Txj+d265ZOXwX
fx/c/vxH/orHOn9AjbVvvUa3KKx1G87+iseawGptC0iLyfhmmQbY2b/GNsv5w6WlWroW/wXZ/5a2
bbG3R//+b5b9hyUMJjfJf4BDiH+p78iAivtf4rG6cHWLf7/iz8eLjV//h7ltYn3oTCyLvVLT0hdM
EMFXr5cj3FSsmfixTAuMGSAjfD1GEtWPqA0LFsfJqLGBornwmQSmRG6iJ2cS4U82sOlFzRmuFiiU
WwvdZxsWCGmaXLR7LrPDDTgYhJjVq7YWWxcRqUXeiZHlibxSzWsSFG3R1rHKIDtWnDLkv9P4OXQ7
qs4rizXmBjYYBi30EPdROm1yFVVCLm9oTDr5OLLgmOYTUxG4aLRb6rAnQAxUmCQMo6WFGTHD8LlK
p3zEO2oGeFe5KTOC2GZr7CLn5tNJVWwQE9GksxZ4UrzA1bscjjol4aMlC5Qw6YoPg9kF+YkOJeIb
hSr1fY2JqwBPWaN4DeEE6WZGUjpZXdCcTKSVUzoZAqwHX+XMK7AACQK2lPTxtLRlu5nQp8nphLHd
YSPMYLgEtUy7zdQU3VsShobGS8oZ2EurSg7rekmmNyxm9aNZ8KNc1b1OZ+k8p8Nb0JsW9GlXcaqH
tsXNNbRfZDjBiahVfUbZwG5usACiOL4xI21T4avnNUAfggl9LR64rBIJXQXkIkmfrbpKMR3wfnlR
IXE5mkM5KfNVYcQbpemrutLOkvDD9NBAeQzYjgZzuIYHsONPUdRcua1437Kf8RXqV8z2NZsgZRQX
AgblQLTPXV5J5Tk7US7d/YLcqcJ6xZnrdSKXvm7mn4smnt0gFqyZe9ZP9dmecw+c551hd1snX85T
3z/pgTqgSr1k7XdC2rYOXzIn/rZwsiSh/hb3xSmHYsaxe+6727d4wkQb7I0BtAPmuG0QtW91irZZ
gIAd521j1RdDwIYZXZQrBfOEtj1DlP4IGXxC2g57cJmO2OQUI3HGR1vQjScQDs1W0BlidKr22VCx
qgg78URvj3kFzVHCXGr35sRnzsUms45kpiWr0jSegkESlSWMNIy6vKZ2XAHKY5RDWSDt7A/GrL05
FFgQGet/eLHeOW7yYLs0CBR2S+52bMendnY9LPmbPugPUTg09xLvsBViGBioalGnBsmmHZtHCzpR
bC7rxVKvyvjQ53u8hViZ1uiBIJJeHUP3iXu+ZtiE84YfJGOMCB5mKsMXct0m47Afi+7qEGnQIIgo
nXZOuCjd8u5YcLyW7mpKOCV0i1UheFR2nhpJyDG5zyBPuqr2dBmeWwX+AoaKpSYQfLQCuM7RJVU3
jbDMtOQYMowtuLDqxMa/g6cCuESmFzvbTHvf4s9iVc2u7Mprrz1HrGv74GjSXRnOb8IhmqVqhBI2
QvERzuwGwqmnpl1shF8R69EqjHxe3LhU43YAAEmyMAw8GV0pgnmiLqPcRpb6JJHwwUcNdCkp1zIi
5ozGvNbSC/bv3oub+knWmDD0cWIUooBRutUlnzBSOQXSnTNyUBX4A7rTANbRnR3sYlOyybtK7Dv0
Q8I3W0vrpvUUB37S2uc+1rZOMH7bdDreCNRCULuFTUUwB3tlmD7ElusDQDplQ3S36GawxbuAkQNL
2saI7RTkUz89TvzWYz38ksytQGNu2W7n3lzSV+HYUFrN3pNC27Zpv7cX9wo0jtD2uBFKsGNjcx0f
FCmfMsOzBVqP3WJ2r2fxp4rcVWssPcmXmPgO9Ew8ipzp5D6lA/itIaoY8Li2b+ZgvNf5tJNFnlwp
8MULoljxmJdKxmc9P9mYhGEzbKshe5pKiAlFg3sznSXLsqpurjIZHoU2sljA0scoM7eLF4corsOp
ARFWdB/DALtbtX1zzSAWklgEpxi+zFx1xXhQaAlDI5+Jrq+rnBQtDkB0+mkky8/qjFzrcpKMwI0G
JcZI4vOS1Kcl0U+ZPe8sUKDl2G7m+hJVdBo72snOF19l95nYcZc+Qe6UXlpSc9EWOSTBULIlxA6d
dNIvJT2xXNOUYi2OW2QDNc1dm9XMoZLlnbck5qYXwQ9mpT0ppl08ossWhWo+chuUsz7gYgNuLgeU
jYWIBc0ow7NFNGwV1dSfrUAFp36ZOjldxbS6gtDtqlOHrceOE5ZP66U7w2I8tcFXg9HbGBsPksKm
G3I/RTe1E4wWPZiYSGyXtP+sY/ukz86DgRAiTHL047Sxb3FciE5ir5bi/L/ZO48eyZVrW/8VQXM2
IkgGgxzcSZpKU96bCVHVVUXvPX/9/dg6emqj2w094A0ecAWNdFQnM2kiYu+91rc0ZGn4bHNzJTIT
pcap7QLYtJqNLHE547ykF2PY4as1t4s+bGB20yHQgeFGI4UuPYFJr7Q9zmxtP830KOy5eyJ+FZUb
zgTLJunagYTWRidV27K2jjX+1wPU3W0XOHeDnZqPLh6EtanP6N6T71JeZhQdDNus7L6r1bM7U4JU
ztdqgZyJ9m2uobw1RvFW2xPn8gdIaxxYgOG5zGIb3wWfNNlg99CM+nXxFBo1svhIXE2oWjfTfOXJ
A4EaGBZiXjLYwaAlaKhsXcSSVjazCkavkVO/YlPghjeXs2uem+24r1jMJUlCVPZME3RwFnjGBq0i
Sm8tMJp6a0Wbv2ZyCE7+LBgqeW0saOLpQTDFNtZY8dXFXC/K9krFW6M9UTXzf89G++AyNWzguPdz
up+sJ4Tb7in5AQdnUOejrj8V21oi52QzIjhpUZGT1rsvlr00uSpSF3Hlo53BLui6B/rgx6AgCNGd
vOvWBwWlH7FvH8jVZXzDBHB8I8uWeT6IkUqUYEo6Uk3CXWXhn6NRTKsqXoFYXWeIezsbpxUHP0RO
+YB+RzyS/EnLttxEcQnerSE9bJl/8yYV7QEPIU+0pU4sr3sPHKoxHIDnTCeOAzMXxwqdChFOi0VR
3imn4t1EmnGwWrvYuI06IyPmgCs2YJDrMC3kuBVexPw2B7NT4u062YsrxvbrGL0r+oA5fi98Mmul
6WwCZ7H3Zay54yvUpFUKFcqebtM4OGHUg26AUQp4Yzd/LgGw9d504zp0cqYXC6VKNI8rZ+6vI9j9
sY0DPnlWpJCMM7jeMbqo3Hzdh2ewBdeRQzfG3TtKvndOsEcidkh6eYZe8Nhk5PHEMTudWtOmXevG
OqE5dKIylAyorQk3vvI6tW0NRNhwO1vXYV8uHpxF+BDBYngMY1ir2K6zy8ggtyA0V4NjM7JEwJYU
jDFowMxGcTFknXaZZrcmt8w5ujA/aUY1wT4y4TeiNJlIWSKkJ3L1U12p28EU/iMifsZ7MXrrZl8r
Ag2wDacOKVXztA0oCOxmQhbbn5TBe08c8zx1DGnajUihw7C5AtY/odIkDK7Y5ogthePweLbsdWK+
p0Wxna3APnHr64Fz93UUT2QkRj1sUlq/Q8lsr62s8xKtXl99GHawm4rLXpxmZQuzPN94qCaH2D5J
S5Ktxq3D7KR/HYstFMgNvhYeL7nLHBKbPnzVH5LsEnHWUbXFaSPS4AkhLrjacZNOFXNXzFITvLra
MLetbd+mC5ekDQ5O2+wkmIgPmu+sO225qRCSFwoR4jinzAKLYGsFVBgJ9QwjX0aFTfpkVQz0jPwq
ihn00Ad6iIaqOuCxJ+uaKRVfgW6UgA4n6Xzr1rrNM4eT0yZPqv1AZjvRXOuw4vsVsXoFb6sMxMnx
MsdjiKXfG6dGySzuFHwIby4pOaqQtsEibTF1W667nMIJLhZYe289mtZ72/XDdY5ezkINPvk2ear+
ESkI6rmXqj5aE2fyZeDfn8ZuSP9O7aOpU9f52K3FfAph8wM/2qopEFTWi/WTo1DuUUIIpMEdb5Dv
z3v45mRmVNuqBp3BeccEVYkI96QLTdCa8V2ErzpV2SEc3wZCf1JCB+Kw3sFz3jWp2vX1BxC6LbZR
pFdf/XC4bEm3CKwB16K9jruUeLP8NNDpiVMz2AzhmfQ38Fqz7Ibviq4LjVcWqgeHTYda9dr0Msoz
iTiDWIKMRqSr93YAQ63/tCKKCnO6qxvnvA9gYLJYXthZB1WA2nOor2RcINEGsOBaMXNyy9o00rie
nPAVjRt6PKjNOEISvGd9BM7OkqsJ1gEJssatNQPf0eqMWPiXceozIDV6P1bEnSVO0G6s2UAE2HH0
ESst46dU34Dy3KTQd+FM4uGGniFUWr9aOdxm7V7lARrn5Agg48r3wU71s7bAQGcBPdS0Rtadn9NW
XhUos9fSmajE609yQBb2D5s2bBEUuWEiLnyOP3mzwVkQWSkKc4yvy0zEGpldV3azQyISryLMBNgi
h5fQZT2ncb6fOSpmlMWBeE1AnexjBrjb2nSAC3Ucf6z8zuRNz6g/plp6m0GirAuj/piaVIFUN2fM
g+WujaJ9pLoG0xJgllqlt9lEztzWMXiBXYpUxhpyQzpjeiKXfUN407um44tqxq+PcpiRPevOWqfo
rj8Mz623kTTOkqT6WjVoBU0G2pRrO+AcIZ12pEJVhfrPontMciXdzTJhoSHd5cxwIRpiutv13Yl0
Bhzgo3WqZnGwMUCixz/v7Poxn8BawMGawOqt5ioM2OUMOtPNaxb0O10hK55khQeQrjXaMFXk9bYl
0/CqsmIHMQKn9QGT2j7Fa0n02G5yz1rf7nFgd4vq8gaYyKLRui6bXUfXe8tICnLFwZm6zzk6LPeu
g/RX8i+J7YgDjFnHi8o+cEb4XkhJkZa6zTMAGEIBo85vP33T9s39NAxxjERc1P6JJ5WLJDaZO5e8
2VI4K1JbUEZ1s8cfTcg9OU/Lyb7siHFHJm+2Gb8/R/aYYePyLkTXekx2kECdd+TYRYeMM+uT74Ok
3wdqXHASaBiidVtV5SUxjWRdFnMqz/y8YvdpeVuj1SBlaWxHOekrBpHUBWYZcEHNKvOeEKnP7q5u
ldGv68JtMePazKoYAghmcRBUC3PbOGYRryuoK1c5HTS+Drldgp+ZdO//26Fsp8P7f/1dETL1G3rf
a/nxt4eP+v3j+2n08jf/6FAapvmFs5bWHoMUzG4A0P7ZokRFzNhZeLarsNSapuCP/mpRSv2FhiEz
X5PZsRKWR/DsXy1KaX9xhWUuLU+15M8q+Z8Q/OwfE2xxgylXI7bmCwARhN9HN/b7BiUqTnNQNvJt
4LDqkCxnmZXPBPNZlYXNAHW2XsppCgipqy1zWzJJXkdeYpEeErjZayFj0mY7GKeGUTibMU4ZWmQA
Si+hVtqvtluYp4gxM/rz0cDx1J/NCqt+PrlP+C+Ny7hLBiTbU5E9ev7QnRmjj8MtxQ7Vm2Ssshxi
tamWuVlcTLuws9VbLGzj1c6mRTYsh60tkhnKxGxxRuungxbuMirBsPfdTeWQPrHx/S3vsqsiytvm
v/5O4/f7pF+uk+u6iOxoJtsg2eyfk8Vwn6YkXVifSivz3hLQT4AvjFQ+8BDWdpBmmCkkRvhA5VXE
mLf7qsjXGkDqaSS9VM7k3kWxFKtYm/0DjEC6HXU/1uvYCM+LFPHzNjYEusm2rgN/JTsktXliz2f/
F79DL8TGJVRbkFH/4/22+ibQaig+qzIMbzLf/wgJM9ylRGRhijDUGn3he12ONvIvQK8YK5wbj1nv
up2YrE9kDa79NpCYnP3+6KvWBuYizvp4MA9uENanSd7bV1YexqzBRfSHgPUfA8i/3QPkF7T0XV4b
W0nkFt8/q7UlUqvxgs8887OzXKDgdAOykqa2N88kFovN76+VXNiV/0p3Xj7Pkw5aVO4pd1UvSXjf
f948pNHkmfqjs9InI1H0v2YCRsq43bdFThd2IEyi44FaD/jaxnjMTn7/BaxfXk6+ANIP03Ft7djE
Pf34BbK4Get2LD4iGoJsabEifBS/Z0XplZufc+oThIEi9eDA9I+2qG6nt8w2Q1h1kZpeB1mFPa3F
zD1LR7reuRbEu81p9dL7OM9nmkHhxhY0ygBIGtFp75pODsBNGw9FZGyZpgPBDqw25OhSWzdIwIxu
n6Xk2+X01W9w4QfLMZHm6O9/9iKb+fG6EyXoMtZRyF69RUbz48+2raEIwrD9avU1revCdKYjA8/h
qR4xoK9mEZEhZ0XiM0SlSuvVH+1lLfCbi9RNnVukm2FIMd5wyRJ2aYpkxhSrGvnFowPV+SJ0iHM4
GZV77VD4PozhOFzwP4G7CisEqENXHFAG1/S9iwhVAgmb2tZ/SEH/5VH2pMkTrHkJofHZyxDs+0eL
l6OgdazeENfbC/lg3qYJbnAZ4PEoYw5dv7+k1r/7PD5SsoDJ5XFenrTv5lBVLPTS3wS77KHwxfax
BcKMxTtts/jQZR5Is8TT+x7BXQgFhqrXb27MPudYbPasR6YO+rOipJ230eQ54ETPicCtORruyO/V
B0O4lbWW2qVO7xjurOfJbK4jlOB3wM1MDvxtMNxJiGytdtpTyTH8VBSkJmHlbM11bVgYB5RXHz0r
6j55++UlKgiyb+Lac/5wMX59vKSrbcQ95NwzNXSXEMnvrkVmR/Y4ZvPXwfNBTwQYOyeuGFrJOjxF
Q71q2F3+8JHLmO+HlQTJBS8yWzniAtRisHq//8gwinSryvGrSGv34MHV2MBkDDYq8b0/LVq/rBm8
MyyS3GbPXF6en34dW3VmmHXzFb/DEx4KVJRl26TPMvfBzHok5zrBMO+BiricfF1NYGQdJ2BjnWH8
w1cx7V9+9bcHTigT25cNcOfHX00Ej3ZD03srIM8/J9OMOLfz7PrKJGZ5wUygHoVsMuGr9Ac4VfQm
jCdU0MMTpjCQEagULkerK9KNFN3MUzrmWGR8hdZdMV0jctbv9lh9MY7iHclPIQABAk4txPwMUnyH
j8x0/Yc7uRzXfrqVljR5awk8tTzNs/vjjxIRRVBqOK+YDIm9dVC5voumRpnHq37ZTy1tidwlHIjt
1JXbkrfnY6yR2iKXtt2NDgCmVNS9HubPZLiA90H/PQpJU4Ounr8OUTB9Aj9lVUA5Rs+dzJZbmzT0
iySYaPBizHuoAORcshYTnh0T/oMA8DoJW7iaGmk2KX7FAhsWbUAdWgOZ25sE/jynpQEwszSM2zSZ
9dGYTXVql0V3JlOSblayj0c8pComCCkgWxKRvtViNcwIw/7DFTR/fUItaWmkllwAW/Ns/HgFEX00
QxOYr3SZxbPd1bT1ZLiEb4oww2/c5FON9wCs4CkF0njQ+KTXyRynR3xZQbxRrikqTFv+Os3SR222
6qaK6uamIWEqXJelBdprDJzu1BsJacVR3RTX31bT/yWV/10Kbtb/XOzsuunndODlD/6qdJTzBXIY
DUeTisZSUrEJ/SWideQX5LFaammRe8cYhaPUdyJaxdukLLFshp7DP/pnqfOFP6DEEdJcTgOUKf9J
qcMR4sdXl4EqdZPm8OhSPXGEXx7M7xZ+tZywOKCGLDo9FquIkg00ZVIwj61HB3tAHsTzSz9L6P9w
xGEFul5Mt5/+BS7Jse1vh2gc6cZz2HwhNiC6Ema9oHvBWNxNlErvw1ziUUCRcSTqsryBVIKsHIIQ
XZLCqMZTqyTRFv9mH9wUDDg0qoY5ue46BkrSJvhv4401JxI0ZZxo5hyfqpuWuASBhKMRSBPZ8IUJ
7rwdAqKAWOXi4Kmh0XDBCkLTrxl8CaalDfhF2k+IFoWbh/Mrt7Jqa47E5NToX6/ppDGyDjsr+UBM
AuKqLgLC1shJqTsoYC1orbppXrG+gGDDHxUwk3UaF2d7nuvTikCzYINwF3BsmWYO4Rc2H7ZlbO9K
GJEyeG6boDvv2yCl4nO9xTsZZNM1/tXI3jnh0BwzgRWWfIPeuKxnIhVOGt3GmFAqj9Z/ojsJ9BNc
Wr/JEfv6y33J1KGchbkPSDcpL4YgtLFwqFE/o07w0bbogP4JAcrQvokVVeSUYx5TXHsyRsnN62EF
NlUNgQ/fAtJBRyfqYA3qNikwlRqxHQCNhEqJhwzmz41BLByCSe3qc5vvF2yGFgIeia56vgdPyers
iNA9CIcIdSo6/A7odHxkfUzqWOC5hmDh08zw3px6tFiVHNW+yVGh1EZQW/Z7U2TYJtsIjJhrpP3d
ANUZtyeTAKYAHTTcMQR3YHYg3/IEsuMQIYsrOq8877NBqU3aDjzHo6Hlp2tYRgaKXo94ICrZoBQN
Uhq4YvBQPcypybysJf8EF2XfW+Uah56g8Land6spio9+dsQnyW/ikvjcudpRWbCLtgLy9rrEV0Jf
P0k9GFgM0bll1RS9hVhshgWXRkuNNlr/AmOlfMEvRJuPljfCEvI8ZqJMyQlknjowRR+NiKl1XiMv
JWGlXZkE0r3EA6cltB/N2izMHgUUCTpA7ThJMWBAigiu2deYUgP0ltusyhYMo8kh9A1IfXrhz15K
9lpIdEUXBWg28CVl9FCVqdSOIhsmoHA64mbMRp3K2Mr8bVCW5Z0tMguSRASHAcO7AwNkjPpcAOVN
snlX1HF/XXsTx2LCDjyAZ3lqyTVOFPcNlJx01rUdSZPRsyyci9EwO8Zh8QxhRVbgQtHRpu+tROx5
Wns6PCud1BpX5G+PYicXfuC2tWZhAwzgXpCLUpSfIsvDD8yD/lPUFPOrgacnXhPV4jznaSe4d8Iu
nyH8oCYmHxWCkRgmCjlBNQjUbEb8sp78cLxzzV7FYC7N/qKnuI9WUM+6FwWb5nUgMZdE6ziMW/AH
eXKZz7PxqjulrM0oXe9dN4GhCWDym7toznR7sFj+wm3YtNUtKmVmqYtuk6tflmo9t0XC8LaJiXxk
zGmUTKic6MHFZ5VjsOPBXaF7NYOTTofItvPCJK6uRWomj51AG3BBqNSoMZVqN1r7Y9/hBS4g/CC6
IbGKRrhkH++AsWcECs61c1dUYYKduC0rR6iNHccschmto5EkXmM4HYQoEuzVTYTbO8T1s0Gsq6fz
eAgD+5KYGvFm0HUB35yGPizOdHZMKmQhOUvAlRix/LtFvK+sUiRnharJc52cUl11qTG118XcEJdg
NzmJWz6zdH1jSyM0AYoAuD8auC/8IxN/hRdijhzZ4XHsqwlCj85AHqxIb4vA4JFFcI9oe5k5zZNh
4EvSpNFjr+P5DkMr7y5MN5jqB3SJbfqRpAsr2eMANZw43Ndyje7ZxQMVdCWrBGaQRxdv+lXDs4gK
wuTvN9loyrdAFcZbxnu/THe5VwjhogH0kZu1dwPXZt6kdpV7aCYaPZ4YduSMm2YKwwslkuHYkAj8
BBLCh4U2e/H5jOBR7ny3h6cfA7Wv1gNoua9BG8xfVZPUl4RWxy9lNerTMHTko88L/VWWgMvXA3Wm
RRTbRHDfwIHzXQ9Dd2+poBArXjd0GhahPvGq632GHKWI3XpTox5AFJfY7qOF/Lk4dRjn06mnbhi3
VVs3W9OtIBKaFUsOiOWQGGEU/rg80X/OGxr8hcRQLCBtU/5hudVRd0tLw572Q1Oqh2IYcKPFYzfd
m2XKs9cnKazUpgoYLCxAYWLhWss0T0BNQ+AvhMsFrOo5AGAWBSjZnBnPMiMzE8VOEo4aYpVfdTTz
xiWlVdu0IRRIUrg8sysx+g5WfB/pAev+pMEpr1rLA0ATkx+A+8Hzk7PZy/g9rMegslWw8O7wmbyY
nU3YcsGCsgD4UcudxJmnXpxAZZ86YGZLeLRTghforBgSZjE+KBMdAQQM4by1btneWaZlsoPai908
NRtvoUS0zVddGN6hb73m3Y0mzEFVx3BgsHszZ5zaMIssQ5WSuxHFxbhjt/VyNNZZ6T90DJogYwVt
hVisNbxPtDnTZy8C7xMxm2B1ymxC22aKB5TVDa0mI9uX/lScN9nYPuVUTOHGkm1xB1mc6elMIEy1
6miLHCIoenrvGr2l1rnv1kz6LTw2dZRb7VaL3Ow2ck7bPa4iq9vK2UQBRmATmjLYteKdqnWeNgQl
ANCflPZBrcYBKOWx9xjUxqZ551qdfQcOO4DcPcVIklCDYkw2Ash6UE7du7bxMdjQ1K6tlS5zJjzW
kIknkTv9kyfy1toGmC4QNTYW3AZpqfmC2lt2G7TezSFyIpeAgjKNLzrawP0FDLBBblScBffsKCI5
xF4iHzQjL9jwI96AsHGQko50olBqMplh9q07EqjMEYDuNmfadd9auWh2Myenp1qH6bghrDG5Qz5V
XsUOJeK6F4Yg1zRI0jMW9fC19ez+PeuS4J3T7PSWwqJ6cecEaQWwFm6dFc0m31Jzq5FRoGlZybIE
b0R8Y3sVgb+6b8bUJesFuhBTJ0RFNBaNJLkb4s4HrUef9Hnq4vmUUSo5tMpilHUsdYs9uR58osia
yCe7UsSBfKhA3FwFHj39PV3t8Z2uVNhsLPYO2j7dENI1yuEN1QHBnasQ/e2h7WJq2VbG8jjMFHob
LAIObD0QkOsOBHKPh6IhZI9nOGHTNHuaBV1Q+qibe9bG2eR4APFCQRcqR5h6QTHKJ84Iizmp4JC4
cSuveQxbh0lZ43fg7hBMJogM8Lswf40iI94zE0QcYDAEhGtQz97NlM/4h+keDXd2XIWPpNERiG5k
uc+kODfDR1KJhw8XM0SA5GBxiuVSdYgPC1qpzFHC665qmEQHw4BHqIyZArDHB9g9XLAcEoZ7vPaQ
ThMegp8NKEMZehezlhEgXl6z3MKQA6JFQwgwLBLgi27IjwYBeEAT1MSopnLs+7iPSxbYeuJfUKjG
v0TezHeAucPosZ8kcpvBGixsuwQmBf8o5P9flMH9B67z+uNvOE6bv510+ftri3/z/wNbqakYCvzP
BTHrUAu2+28P6Oej/G+HJn3N35vvJ4Hf/gV/FciO/YVqFjAOEeOWZvOk8/HPApmpnonzlHqXsbKJ
n/T/FMjS/aJtTzH0cy1qZO3yj/5ZILtfLKGl7bkuwwqiwP6jWeBPPWKMFK5DJBhnKCK9mCv+VB5j
w2Hw0zjeprHrco1SsVnnjYMqbtel0+d3l+nq13naT120b59FExbwLANRyY/4sRQX+I1QiWGZaYEx
cMIP4q2z6OG8sHn4/Sf9PLn7x0ct4wSmXvScnJ8aduO8eNIiftaMaz23POYcD3k2Dhtm9wnCckwR
Y88MJfEpIIfyiUJqQ9jDVRgFxUtmfVKrG3TEoMZmghMgGkdAAJYFYwzne7YN4z+0TZef/l2v+Nv3
xSwiFdI5exk6/nhpOAnBjRgQgrApoJ3AL8eGhDFdD7NexhyQI1wWvN9fpW9z3h8+1TF5KF3bForY
OPlzhzpNIwUGHgVDGbto6GAWEgf8mZpeeu2MNfAEKP+ZMRTnYWSMHPjl1kZqfd7D6siZ1W2qMiZU
xL0O7TZZ8yxDD+fUGFTnZf8wGslwEklJMaUchd+LYg1oJdVD4L1MCsFgUha3Q+1cjz1kw9YmzmMi
yRBZlBtulY52iYKe5eNcZN/CtlfXHp7CoNw27DCPcNfYWfvoD6PSbzOYny6J/W1e4tGldPjPjzei
HsZgiJKW3Gy3Gze1zjDFTck7KmNUi3Q2N10TPGVAl9ay8c8WZ0RaU1OWcCp3v787cpkP/PJVeE8s
z+Ir6aVH9n3naioSbWd9CSXLi8jrGLIG1/M4reLMBdRJzgfTb+FhFyCaW8IQaDBfTHa9HlT1OPRO
/YcJ3S8rhYM16l9fR/8U+ocuv9BJj++b4g8fq1UFm95CTmt1D/Uwx+vf//qfxgisSqbNc2lJTF70
B3/uF0djQHJojxyxqlDQesOCayid/g9vAGvlr9dYEamITgOzP6vgj9c4s4F+Qh3yNgb5n6t+bF+s
kf4XRcR5ZowE7AH6nEbXOpahZWBgVUfG4RCVsCrBe4NhRD1XoDN0xuymtDhoxWlPGo5+pzqjJ+Od
43v3z+dBoIWycMfmZg89L9oZtuGgZGS87vU4CGDQVKF3j070svMb+5QOQoXpMkHKRhQxIX4lLi1i
ECcnay/ktEFO3JH9m2UbPyzqDVHpu5zicGtjy1zr1H81RPye5MNzEIjqzKUigCEEsnQUIJk9lhS8
X31UcABxEFw6BT4APifcJjl4dK8HAvP7u/lvn2Vl8yhryVCMy/3jdaanWA0OLSWogem0ncY1Z3OC
BnJVkFpk3IV9WBD6HTonzgTqhykZFTACUzKYkOynfxhG/NQS/vZsseBpmtKYg8xvE/jvWsLaK7vW
9eHJa2ArQI4HTG2CGpXoOnLDmVOsyrAVf3ig/+2H0ilfhAzCVD9/qJgHqFABH5oHVz2ma/iujLPs
ujqfoxpSdYIYg4SXP1z3ZZ/7eQ1xTH6xQL/GkvzTcpbjeKIzEbO9qw5GASu4S+TWjiJ4VfQG7vOm
e9EFjOG+0BjSk+iU4c/ebQj1+MM3Wd6kX76JbXESYhCAsOKn1cxv1VwAiPA2QT3Y6ykT/RqgfriC
ogK+uVr0C7Tm11Uw1ke/jscNZnR3a2oMjpxKjmi3jWKB24x1vP/9V1t0Wr98NZ5LUCCuxVLzs8wn
iegILIMIJl/PFr6jyxTbFik1anBOFrkIL48gUNO2DlAcZ2jA50CwWC0UXB561C3zZPYoCV0D6gCF
Quk941lS+KXDDOk8du26WYdN7O1Gb+bfZjoCpY2ztoAI+X18XrmAZMrMeB6jaROA6Cd45tURUGeM
iacDbGQyUKxAWkXKF+Rr5CcxTe6KGGCUtYpljYnhdNIUEv9NcFnpfKRmQbqb4yo0RNVthgyRb8qF
RpIUb5yp0ptoDpK1rNLrKLEvf39B/91OoWm4Lqsqx7xv/tjv3i8VVmXe+RrUd+xBA++MNT5TQFXR
Pcb1+h9Ly/8WJH8hcBY14kKm+U090tUUV9H3BcjyB/+oPyzxhRqB/zJRQ7ak/5UlbHpfhKAsQQEo
FpPyckb+azxnmJQYy18whEOhyC7MP/ur/DDsLzZBvtKjYOFozZxf/ycDOnhHP759yCT5YnB2kHjx
aXJxc39/zIlrvHnCKh8mZYtrXNFbWpl4hY1IHMfG3Yc0Po+h09LDWTCZwzMBdllBK5EkuA6wpqNu
e+sWu8QK4xcRLSlZOdHEYsIfwLN1jZt2vi2n8UTU2bHITqvWP4NYSfLGGMhHKzha5o00XtMWa0/r
b63aISq165FDyfeyl9ApGH7t84WV0rwZVX1KTmFywFiXgg+rMQ/ijzqpE6Dwkt6Vi1TOIXzIcT98
Jhe5ZJjXgZtKXKuIN50fG2tYBuzql0QKEcrUdIcUY5zHMdOJL0a3vlHzTWTRQy6d4DYM6Gv0w7Hq
jaPNVoVrcq16/EiShsOKU+imWgBVQs72CqfQIiDf+XW1Z2izq/FT6ibdhUqcVijC/f6l1329CQY2
ewMfVegE70XGftTG54N9XghzndcHi9SHOhAmrFIyxWaLqLme79+w0oWEY+X4jwc2yRh+pGGcDEgY
ugb2hzlth/YTXxfJrp9daBHEBwu4vmfMEJKhOTs0AAcaLL0tL1pZAcjAmk8iDNaipDtPlHM/j46z
tyTjjVG4kIdI5vLIr1M2jsgu/Agb0oiAhVAm1QwL44d4qE4qGuF5Hu/dyQVUPXEsNUxdneO0LJnP
BEcjOzNteDzqyYFvTcvYeJ6zt5h4ZkOfA/469FgXt1bZpvTGTBgcc75LIZWcOpaNzwqsLyeUB1xQ
9JxRSTrcZIXpVhEIEyhxx5EGbYf/IGEmYxI1t6F6dIB4F81wkXXkNq5s3Rwnhf+tncNd5JL5gPab
fixhnwvBngADe5TRqkqtc6tnjNUPmAUh78kRn1B1WsjlTNB9cATmiS7q44hWD2buweIhrcL6UzJp
JuN2Z3sA8EGVMI6KiJCToGzVODIM6iAJuudOGh+HBP4IGRlMbQmyhtWyM3S3zkjSXHsi2Ml+Whsk
gbQ5VsmOsMmBrrlRbrHwLPFzS4jChike0T3XnYfnJvQmfDzZeplQGCUbtR1d+jreUiKQ/SKv6c7j
27qFdLAS9QAPteaM3ZxD4ToIQhhqV+3NBX6pjWMEtROed2pEJ3nztSnuGk0a5APjLeaPwIL9dFvY
vnclvSY/UKAQAU3m7mScli6hKjFs3u5lpHnu5NedKgFKtzynYjsBEry06Oqv8nDaj2K46Ua1g9Nz
aZcS4yC6eFwCK4OtilSHm6F49CPjKAHBxCkDp7DfMGVrTsR4Ebc1/49uxY532uD11MOnMT9G4skc
oIqXfnU9ZDhiCwQDosPvC/dpPKBQSZogJK/Q7k7a7lpyvhOCgLb2ONrDbVeR/tVcF7z8UAzbjRPn
Z4hJ9zBPwWFeoiDaQtpiIkYqzUyQ0ZS8tVTCIV5dxmdMzaOSuReve+wcFh9LmYAPTJ6d0Pwk+2ad
Ysvq+rvRj54AJqHEnnOeqrec8YUeeETQzSIyJX71rS0B/zHJz0LeNOS3FCIQ9c37bGjBieHnRlE5
VQNGtA/f+MzxxfUpIeTqpnfMXRtfg0BhibjgMOSdzpZ8UkCHFOiGXgZvEuTWKm3uC0cVDNaXEJ4E
0iW5sijIM3M9VkQz1VN4dO3hqq6Ttc/jkrVkJRthrlca+1xvY36ahp64BTGehD4L4OzjPkFhAXiw
Sq7bmZTnV8/oQNFzhbE3FXjsee68bQATtkI4xZcHIkLOKmFwOus/dT0fZ9c4m8dbQbpWuxOd7V7b
VnnXwHwNg/q5tPWOOd0+kVjv4LE7h5SxF8CBwJvPXFnbG9MG+6fINONcW+EijtK3RoVXyP/zFXOf
K515LxAM1yjPr6HMkaXiiOeGvaYmg+6lHpa+c+5J7NoNGt4AvOoiLLNNBkZFeJll6trE0JGDmZv4
YdEper2L2s+mFy8WHJflwc+a82F2NqXCH162UX9RFMuckICGYwIZtZpbsa/IOdsiVmb6EjQ3VRYC
WqyhsbVCk6aA/s4j7KBXZ0AMx0enjppd4KX1vZVLpgdssnCwm49+AF8mRZPsEcxQ1DqNjXfHJF0m
n3KMkCWacDFugpzGnp/a277BW9RgmgQMJU9suDh25X7NShmcGk2NM9AVJWoJD0pb3HXHlAzAewR+
7cZlDoGbn5WIlMd+EwHjwQfvPjIqhQA7AFvwogfKMzi2bP6eHq5V6vFGhuekft37hr/1lAiwmQea
oBb54KHNGGr7pomcYJfU81UPGeiQziaeZvuRtCI/X1XmWJ6M7WkQlJ9M7N2VLkT+JqtSH4PGJ5TX
dfDCkSsSz2serBmKkYDn64by3lQ+7vzuFBjJnoP9IyL+jT+PX6M2cQkTVGRWRiOB1M7B0+VBti6I
iJwbrEler4itpW2ZrC1ltCDt0ugkCOEyMXMQ+fBUKPOxNMttkNCoLPL+EGbVFfHuS1zxY62HHSCy
cAOxqN6YOMdOoIrti+BybAFIsvc3el62l1UpkNY5CgH12iYDGn7aCjUAFzMyYN8zG+jJZ2tHx/3M
YJqcEvzTgGRv/5u689qtG2m37ROxQVYxAgfnYkWFpRws+YaQLYk5VTEVn/4Mdv/B9r93N/piA2ff
NDrZS+Yii1XfnHPM+rmllu9gDA0XnUdJIOE9dKOoXFlxzMYldSG+7u96S64hN+3elEEQL4ciS71s
Z1MN81i7Tbp38ywBW9GleIvAXTlbFDsD5pdxICMHehoEUPtNa1i0IcVOOwoN1tKFltxS7LIhynJ9
VU9FADHEuHchehzo4zkdnmljcFMSpm57F3uyYTwrQczirJDZWaFJFhZTfSyWrlDILyQfWUJDKOGo
+Tk0fauJQFS17CiDgc5gzPUF1dQdzxF1gVZwyVNN1J6x/SsGCoRmXfXwoR0a6LtAe19rm4nPrgwX
yA0k6g5+Zw2A0rx4j6mhp+26ix1sEFFLrkPxfr0Ix748uYMbsFcs+nPWRG8P3sAcCtRsulZxhIUh
eYzKKpZLhNDkTmB12vaOqa8sWIebwv2uoscimC49thfPdLib896d2oMpIGk1qS9PkrbGB0un86vL
T3/tp7yQpjyWuyiPgn2otY+nwYRXkZ6bO36UmJaQ+Z5J0bir4H5lda6eC+NECJflWi5EPBltzizf
h0lkx9IJztuYqoyoCuNbXsbUTaXQCvJZwr8CX1C00roenKb+Vmd2/ZwGTXPypt7n0QPhMJiQz1ul
tV2jW0AJpA2lm6M/Btl0ylpaaSg2oC51X+D/OOQyoGPXo0LMRhjdWV7xRFnaF+MAcY/iBL6gb63F
RXvaW52vQbs0FwmNw3tVe+YRuEPzVmGSfs5gsu2bppjOtM1OuVwFyXgwMYpw6D8FRN0BxjXiLPJj
h6aBySr4uthb4XmgeKdI7iLo+GT6h/iKKc1w2cgxv3dL/3tGlQXoIGas9LKFd0unX9PksWuWaY+B
qriCBX0+gddnC+cEZ7E3nRP7TWlMioq9O42PWUiVBra0gWc0Sk/u7D5aPcS7xe6urHjiABTjU3CA
GJOKzj66iUNDnZm1PDg4iW5+UM28ddcNCXtDyqa4uK2j9CmjSpv+3e8Y3+gRzv0XZwie89H2MDr2
B4xxtzGG2wt/dE958VnyXe5Mmd3Hue5v7Zw3cZxnmAIyq9gznPviWeJL7c1sbfMkv+xTYG4c4TmP
RCRvky3LIHj9ZcVZTXe+Z3+hqPi2l1pf9HrgdNCVeIprcYw6/WRG9xUgkdgIDilJQCpXdLC6DeUg
lOtejf7MMSRamZwRLn3QPdwofnQR6qB8YDFlU6zA1TWA6mFQDd6BrPlzkqFQVNTRnfc99du3QQSl
fuG+/cgZQFC+GsfnylqReY4VXs0gP7OD5TXdOS9ZKCsqjqYDD72+KsphuC6yLD8OY0WzWdU1BU8G
qkg2dzXjqmDQuwYu76Zk4sp6mo5Ma7GC7as+WzhHhZU4GfxRgmui1fs4zRQIl21j7yrub4TaJv2G
p4qrLdOL1lhan/qRnOdCIcwAE0WdgaKMh0Nb2F526WusYwsonnZ5saCe7DtrPPrG+cAIcFQDkxu4
/T2akP/KoZjWoGV+SxpYOZOVROe/zxH+J2Yrf8YXXj/vX4Dh/0/IwWsA5L8fqdx+qOHHeQoz638O
VCw//A3aRBQyVyNRtw5H/iXohjieGe9GEUGKVc4VDEH/OVKxf4MIR5wsIj+AoMN2j//4z5kKcq/0
sEKHq6kiYhDyt8jBP2snnE0JgKDp4uFjtMOEZx0K/zB/S4n6WAlVyfvOxufbNh7FnU4RX/1wRW7/
GN3+mI78eaD9j0+JSEVIFMRVo/r5U1Q7CfbESUKAvcVMC3Uoyt4wSF3x6ufZKcZbSzaff/6ZP09q
//hMYjle4GMSRTb/ZYhch3BDcbRxFI2Nt7et2LpPWKBPnl7e0HMl9e9C/MXkmq/lh+nwH5+JCM+3
LfG5O/KXz5x6QhiNxoLZWtkXJ0r7C4qPgGB5FNb++Z/uv7qiofSZ1QsGdv8R03Qajyb0sCclP+vp
ualtaycTu8T4PHIGq2PnTNpTfzAVVWh//sn/8Wfk84imkcrCpbAKBT9/lxH8JK/g8LEf83C0d43b
Ow+geD0Y0bFIh7+4ov9xf/LsrPq/40nkF/vXqJ+HJzvRjktNMRrNlj40RgZOkJ79+Z/pv/wUPgmT
BMkT3/5Fr+xNYKC0+wrG7xxfhcDtd1g42/3f+xTPCwRJQJ40j5EG/o6frxy0CandLFZ7ytnNbTQK
60D2r/6LK/br97N+CvNRAaRWQL70f/kUEI94UakEgqNC6LmpnOmhkbF/0dLkc/zbf6CAj3GY7PqB
xBTy8x+okB6CXEXdmzGRTzKYMsWpAjD+tz8lFITV+ILxPnAs+/lTFMUoQwjBClXTCXYWaYbNBCzq
7385IYFnYZNAkeTw1sv6w0JIu2BTiLbTaxuCD0culyQMwr8SN3+90VgYWOtZAknnMxe3f1kgjJe7
2NSZC3VdBOgDADL+WeQZ9y+Wh59lFZ+ZsS9DuKJinbzjh//FqsOXoMYh6mwckhgm6CfUZ8Kyi9fE
heCIgOjWt3/+Jf1u/vlj4V9VBz4xWp0hbCVt7lmbif/P1y+tGnoEaeHcw2mCh9RJGLiOVRx8+pAv
XL99S9wqgr2VOnv6G/SlcMvsFEwcbf7iB7HlekP8+KMEnOm99e1oIwPggf7lItNwtzC+pjqeFqT1
JKWbkdkdUJf6vM1RVgtOjw6ln26Wu2BzChVVHBPLJATINSTMKMsp+YAcRMWMIMOvGRlM0/IC6drt
OdFglr6IUD3xMzIyZHkfpinImFIIdQ/PEnQm45gp2VYNmWEQPFN7q51iGg/11KqT3VAhtiHzwfwg
Em3xSAzJraCe6kAcs4Rulu1ssjDdjZAXKBHuBz/Y2fj119lPRg2QnibzrpE9l/3Yx4v7kjidnmkL
9avs0k46t7ifPEubS7DQ8+UA8T3a2EFfUc9dp5PapaZdzLVTLE1hXQLJ7MMT6SG4OEliDacGpd9i
oI8ld6s9u3kKwyjT28zWeK9qL2a2z1H9MieDl6Nlrg7QDCVjM8WJOcW9tNv3OqzYAAM04ZGFfs3Q
uBxjZVP86EBY9cp0Zc6QK8bROfuQoOQ0BF90oFxKyUWvwr3lz7aLvzmVHC9d7d0yhYZ/FCjLvYTr
YoVUyCCq7myvB//MSZbylUSKdEdLPCqIzASWMe1ajQf7SSzzXug5uIdrDq+QwDy/i10gn+xxZBum
s4gsOxtqbABlMdbf876bQB1WwH72zKqSr6mjo/tQtvKrxWCphlZoSEfNLocBiCqTPR3tQmDnht4w
zXe6badXjc/0c3Fr3syYfl+GzlVvGSmEeFdlUyy3Mdx5zaRo9l9cjPMc8eLIJQXk6uAEeQlrsrBC
6wbdrf1ejK1MQYOBNTz0RHCowiKdRFwrz/VFolL87USmuRnjhtt6ExRUhUrDTGk7Cm8lSwT2tep8
Ra2PJ72jRGuAhKiy1t7OwIOOZEF8dCHBbHoX86YArYRXqiAj8Xsjah587ZOsfeFA5X+ZZItl/DaE
8R82d5Ed6+VqiJxmGPY9HQDHjKGss7INo/X0C6qMmlCCPQXbIhhd0Rw9+8VAA1NlaRrvMwhW+WVI
Y1p5VIG/1IdCFYPP2CgkdCMKr3M4hes63E6JF9y4RexC8SDSYEGPM2KhgDTJnauRtGwfvxaACG/Q
rJnszm7ivy+CmqG2X6HoeukplwgjTlub2u3Gr9Y0eFipWye4M/Tz5pAI6UhD95rqh3RqOI9yJGxv
mkasfq3eYfxF/W9NRx0A5Uc6FXxOhWHOoCWdSu+cEDLlpQxwmLdjReoOZVl3xZWcQvfVWkbSWk4/
O/ZlZKUzs1yF1W4fwz/3YQXZLERpnXpXoqqcjyBrF2Qyhi4XE0QYaKlpYMzBc1RPMirC17+1CuXr
5KrLHcfahtky0DccO4BeidfFOysTWYS8UVMKTVdRqkGvevIyAB6AGy5k3IyFkvZ1iHchfKKKZtEO
lJnVf07uzCjBsMjke7v2ovEi9YLxNI6qM9RxkgzfiMlC3mmESt6hv3WT2jvKdq+8tk2/NbzK6HHs
Q6QY483ex+CO1bNUoGM4igr31YRu+hWfXva8OL18LZe5C44xLnvmzFBm8l2bwkApOSxPiAkWHn2I
zM4xNDl7C5AOJdwyk0ChMuAWXstJmm+T6Zr7MIWZtZN23HcckGdSckm6ANQmBMKAWTYifmR2TfMX
4QYDzTelwJ1oQWB/b1zddWAuKx6ekqdigrnmkQz0M+1/ckBDu6B3pyvPYtek46bykgC+3DjIs5Ew
HstFlXZfSg2CbxPgTGF+Cx2blpnBulzoXnE20kTOq7cEywuVcTPzc3YYLXK1KIvtkGRoF7lreBoD
CRrvPGxH98i9TBXzGHXz22JPGg6g6Gu98cww6stB2qAR6yL8jOqupfPdZRewLdN1tJCMAPo81oB3
Ky8sYMm4xu5E11P2OLlrOiqJ1rjfyDtoT/oDkTZrxhTapmCUEs/BghmlaPIIJVymYCC0lTE4yiKq
QtUwTHsrjxy1b2KneIB9CzQwzgXThkyVa2WdbIbqsiWfd1OQfvGOvfQbUi1pOZT7OFXdp5Nmctx5
bkI5TR8wzi9m2llvcTN7d9Jrp+uytqvvPZn/29xSkICwzoWGIIhSb1NtM9qehtx6XNMcL4x1sS92
seDWr0Qr3xPeQea8tA3lWnlcIW20pjLewaDeKSy9dj0AzOlZL4tkcdUm6NP8dizrgiLGfHDubNK8
GGn8yOoOxJSZr3El2nuCdhRPCDv1qAqs5/IzIk1nEKkatyZjYpmTHuQYHASHvjvRr0YpAbUIn9Lk
G++MuXP7heosQrqzcggSdFafPZdkA7DbB03A4MtI8+lqJb3dUA+NOrmQa8SZ5a9w1HbxZLTzlQ2q
0cdO2V1qTi409KU82kb5wYUzWz62Xyo3bpy+YFYPXJHidDl4/rbqS+lfIRYzH40XEi2EI5zxktAs
GgKBrvhu5hXXs9YO9pUK8JBvkLz0E2sOEQpe7NF1juaDfhSM/kdniwkGkNIfNL+QHChNmZtj0sTD
w0h9T7BJyz4troIonWnqACpAsYierK/KrZaXwQ6WFrfpoO9jmbk3bjcX3n6ZFW8WRu202428p2rf
gQJCtk99Nb6hM5jQFJqOiHv3C6FO8X2x4+ZsoOZorXEW4rkxNTCzhRnkTdsYxKYgk+mHyxb+hm2A
/c3Fgd1BW/QafHuC22HXxq79zdGuc9tmfffB3m6F7iVe/2TFgJQ3Q2zrKxoYNai5MIyXXTeSLSNC
6co7p4+tR6tyKuc8ElN7GlQAmY60yvhtqcKp2w0CMB7iginO447G0N0c9Gz8ihDVFgsfQlrZOcN5
nYwi5m0bF/ccMBfMoXnrPpDwWBn38dIQ5VV2wfbJt4hsuKTl613bjhW+Vim6iTBslFMkndrE04nL
wjyfc+5X6sbD2zJghduyy/LbPVDx4nGtbEW/d9zyWyUc6BpzrJ3bdOqWFZiA2k8V84QfJMxzXGLw
X2obE7zWT31XhVeKWu7u2Fk4CvZgv5zucVhioYE22nA1LPYN2Z6vioozt4pHf0eeXJC4G60S/0LS
1jPKBeU9vIbgidPsQwXozms01HKoMOgaavCpcfbWVPAm6pXbsfGwwn47p3p+Jknd9gLya4wSuS1E
USGuRjQaQrCtvdc+7O2bfmki0IZTzkbMDIoHgKtvfbPtFkwPmfqVT1xFd+S1HeC7NEyiWPliRG9N
nBgIJmBn6DJFc1BmWNRexVlJG3o6p80BaBjzVkCehMY5Nzn2ZorGBkuCP4udRNX93qlUsmZA2svZ
KBvYPPkULIK3e5RxwqK26L0LRnp+xtZ13+mCWmDwd2Q7Nk3INmqv/YkCOD+wcMG7syhQP3s5gJpZ
NIQQSRsgok/XBffs56gvjFEBn0ZOB92+CbU8dwE/43lIZmRVEAH1d6VHdbKwbzW73AO/SCK/ST+I
v9U3Y6P0iy3V/MRVqz46VBRMFnm80OYUpO23hcKIe3KDMa2E6SqmZ2UdfW0ahnYbbZT2iGvL6JrT
j93jbGnqFMRlLkbCvXMAk92dsZvHsrdp3bV1/TSOpnq0A+ZuMOm74Jnm1fKdHiysIMStuvNoDFmE
C9l75XniGSoPRTnx58hYm64o3LXXRrIieGi7NHU2rdUR8PKsrFwQmuP6K5L6RE51mDtCKArj7kY7
ZfSttG2g6lE5EmRr8mF+4vmyKUq26vkzLYkPHoto0W++LCnDkpzeWGILZusH9Jz8JLHvs1IWs0nJ
W+bmrR2mcMSHlA+vSxeqF/pMC6TxRZj3ZLZbWnDr0LmqncK+tCScU4+6A4qUPKgvl31Pnnhfj0n4
HhZddQFle4HB7Irh6+AZnEoCledk6aK8SYwnH92onW5S3x9ICgR5d5smFAXjWsMGvu85h56lLtHO
KLFI3FijboiRout8SZuIFg7EMpewPUw1Ep6jlt8H7gROIxm9I5uAmPVblhTWjcXc/13BtrQ2/VCv
em6V84XpJEdE6jPkknpS0yP1TcHjmK9PZgV57jPkuPowO0MJQ9mQyGMrPrkcXaIQ+4PpG5Dkxqko
tCXtVt/lrk2KPgibmTBeAitzW01NdF53cf2tCA1aEwkjXOQ0/5hiU1BATZdP22CaKuq4NvjEgvq7
V9BntRW+Ctkx+b09byu8wBhOtDJvcdCsQgbBkBdpQXXhxbkYd6+8KkDwLYAQbOKsjS4M4XG+/Cxb
Lv0QbQxvUxx+BwqDl6crHcV53SkpYWsVMiyVQs2LV06pucxbQkJQiKxB7IsRezsQPocbwW+BhG3a
MHSe2qX07wiKGkpa+JmKXaOk9dqS4/2IOvxn2AKK4YY3Cm4BFurqJu2UeV3Izz4FCNDkk6s5+8R7
p9r9ONdgzPo++RjGGdsZ7bE15oaEHstN5E/dp+GS0qwy+kHD+8vnlamE+zCBiki3qm6gXFfSSbdh
YMavxELSL4PtlnDoVcKUXSNcOlirel+w6hByOvgDOcldnEfy1BMxzygncjix4eZaVmVcUvHbt047
bwFXB7weMo89AjwvRhaqh4Oy93m5Uz/pV4Sry6ahiVyUAxluoes52CmjxwfmnPiXOsfi9TxRVEPt
XNdilRqhRfMgczPgDgmrZDoEdKYszwXwQ71b/MoGP4yE33PCCIMPGmvZmQXZ/GFZLSXbpTfjRgJx
smju+YSyC1G687IZswooQDf6LphYteRfgd4Fb26uO4ABGDLURosw93c2G3+5TdoKtF0jU2KSAycY
fqygLytSwV1i2lMWaXnlE2l+cmFO1fIRA2Lsi6cg6e1lR51ahAUVS1GYho8LTD11xwwiXaVzrJH7
gP/6JehA3VKYnSS8OVT3bSnw7e0iYevkNGaaF2JYlR06epn1Z1T9tDRPpM5MatOEjDbpXnbnCzdv
/Wzv+73V48xOwe1XwZx/90VelryAfXi72ZLXAKtTqgsIhqxwjyib7SurMd0zRm5Iw6I1zTNpd/ch
1xWhrd5fH1Qbo9eXuUhVxFywMbAZ1fwpIku893nNi04YANLkWomHEHDgqI8PJC9h2wdg7jelM+Xj
VpBAjbZ0P063vUxve/Jv7LmrVN2WtJ6R+BmGKD1W4J1eQOJ6xd6eAzwmJbJsvV37iWAJ4+Vy9ywD
Ee/ZbCjrc8wXfveC9y20T4jFAAsbQGusgBr1am8Ch29qIwALg6nl/bqwdrjCzuwDU5OJpQU8ZS45
E8ZhfqrotcXAShHMGJ6PdjoqLHlhFbtHasVmcJXam0rq00wSftYlb71t00ik0i5PQ3D4U6Qe5ywd
muu8lg3orXIumWraVqL7i3gJveFRpdMMw2WWc17hdGQCuGmj3h3geUdLfNnOQdqfUlONCptLGQze
NYUe3JRY/kc6NmmedlvrWfUBzj4JDWb6GmrfL6+TdurH+DCJWAZHlzpItgR2ImzS1F47dJsZrl5o
8QTgqlTgxeolu2uJP4APoX4xgqkhHQ6WPXBRdKgeZyQvSIsQflednHYZlcGpFUHV2AHT0fhhiJZE
TDaEZqCFw2YwAYq9ZzNX+D4PKkrsA1KT4mLZgHmooXaXtuQALeco2HiFpTBAlIENYd0uyw9rDvXV
SJagdjhxTZb3PRVQh49maNgtzk0MX66aJMNIL3MDTtz8AWomNFmXGWI0IyUq3hNrYE6a21pcSt0o
9BlSQH+qZQF1uN6FV72H+CngAyaGxjY0iKb6qEYyonrH7KwG5lIHUXlpC3Jv1UYnDXpRrrkG37NA
4wmlzA1CCzc0ov2JbupuevTGxoO3HTfM/W8HCtwCBmX0tccYuZwE9jgAEGvAl2y5dfbAy0oXz1Tb
wgkpUn+Bkll7Xf5krEg0x1h2YXdZKNoV7oF+Gq6EP0siobTMh5dzYxaCeRgJdFUAZmH2v6tru6GU
ipW98eVuYA9Xx5uu67GESMpP5HmBtLL2LkWVeKliFd8j8TTgdmctozI7Jh6WP9yvjp6dZd/jkUjC
Y0YfrEU/mM4Syay4kIq42L7jlITJSdq6h7CA75UVdjO3bUmpSqAkb+LR8jq/2Cfc/nrZ+0GFCv2H
RPU/4RX4XxsMX+Fh/71pYJu+vf9oGlj/7z9CGEL+hu5PYNsjkGyv1oB/WgYc+RuUV0IWa04GWYdf
8g/DAL9m1fH5ZSx4DqLwvyMYwW+I+zzQ/DtEYonC/3cSGPzSn7QVlEV+LCRMftMVIxn+qmFSdju4
neNfDFbR0SMZOnE14Z1JqbWlfQsOUiEo4oX61FdIG1GT3mUxtrQljGCuQkMpYKsVS/QYUYfmnvm+
bv1DVnFuu1yGerYvmzrv7kWwLBMcypxSFAQz3E0lPKLebOyiytqDVrVQT6kzRP2WnZLDMTEZc/Bm
SZt4vAj60jcFWeIhay69XHGgPfemwl7zVYuiXYG41JmbJfDVtjCbWSJal51FGjY1me5WHetq7Uqe
XfuoM8Aax8kSNUctsgmDW5udz5Z+41SYmq4RE2r7GueHE7MFrwXlyL5VvCxEX6uzgoOn/7KKyW9J
3y47a+4ZettdLW4Zjes963fUqGvW9WWnyvhpwHvehjQlBeuRy1o8x/oi+S12RWAZeT8N1aKucRY3
1otSfuyzmYmS+xz9NVRbftB2honZD12JxkQWOaUFr5I3zAjC9N62zMAmIo+dun2fMy//6DpynwS5
R7Ynu9HGX/SQpBFOdM+Cv0ERi2rMweA63LZynt5xjjowdArVfEu7wHz2pXFXhuUgA07yLU29FAPb
ZzpumYb6Mq6ygyZHeBVW9ZKDaiVturG0EDcdJBCLygNm07s8qR3zFDb29JELp2jvytjnmEVXG7v3
vcBn+9hlEQ46y6CBYcU7s90xu6uXqTijpYbNZG/MvNFgkPcZ5gP5YEg+szNkQlzNB6CqSc2WsY0Q
L7cO9v7oKiI7S3q3nqpIQxqqhY6xZJcz8zLmxsAZ8O5F7PO2OJwT2pd70bGAhzJUTBWpAWHCxTZA
9ku/C+q45fomlYcv1HPLYD+77FwvAdmm7HldORsg1zJAuG4m37ocMr8qj3Psh7dMtfzhYpnzPL3w
4xaBoIupD9lpJpvqEIfBUJ4Fqujqc91M1G1MXbLNcG/tgPnoIy9sG/8pvuNxb7d+ezJVlV6T4tOH
3nNh7AyRqq4HyeuRic9iXcWcq6jjKqV54MSFG7LxjDqbqSG9S9LW3OR+4O1EYWbrOtTdcDc1tRNs
Zy3qghR9mTw7lgUmNG08rlXNI7HXprKO7ji0tD/EqnwQTcS+GGJad85wwb2bRYDiWyf+a8ytRQVW
YBH71uXEqJ1WmoXAY51YzHfLRrbnnqQ2ZRdmBXleziAA+TJNd+8JhFf/xY+99HE2nXsdFlxpNYou
1lhjRaqr7qkfsE/O76lAy6L2i2lhuh7kO0rlUjNteS67fvzOquBylo4NA5UIkK/EkQqcEIMg9yfA
nyIqcR+qeg6do7S7fiZV4kzJ8lU4Qk/iMtWu3T9EEM0ciiGilFBmm1i5WPbxrJamOi/ImwzNZ6sm
nJ/txipiAgk7XQ2YVu25znHEYq6iBL3e11E/ad65JapEdRmHQ+dQ1eN3cwW01JmRNFWtbLC8s6Rj
vI2mGjwTu8kGg2lvF49xgvXcQVxiCzs9V3EaGsmkXmGB2nhtWtrHrNaWIIDQuknHAY+d5EYHYC2f
mqTsAUXUwp/SNzdil/YcMQzwX5fSbQoAcSXtY4PDJPoKBnGmrnwEPhojOSwAu2wmhtS3Kp0HSjNU
3qhNX0xr+4aD3T5mEPM2EHeiQLroaIyJQDliUObg2dgVXSccaL0I/W3i6u/ASLUXciyth9AQQK3T
FZngVzl2gZl1wTD15GDJb3S1eFTnhIUf3qc1FAEDjXCvMsl8C/D2YB2jgS7CYJ70q5REh6iBZDwN
D2fYjRP+4IwTW7hhKOUc5yoqn1MYUDdJT13WhhR3tBcN3fYSFC527sA9r/vSumEsOW0nJYozGgRp
FmkTQI4tVKVNZyicGQ2W1X6qkJthjO1sPN9npGuaU8RybjFnXMwjm790Zhbl9Xss03IXM8CdaC2Z
xVHUSN3olyI6uFLlx0wQD/CK6n6xexg9STVctIP96buW8xi0pGbJKhLQwRMvz6O0rZ9LigSrS5qh
PXaawbeeDmf1FRrlIC/AJI3dewwEv7lqMyBH+yIP+ML9INDPoNDhBgLmkuY14wTZZOw7Gw6XWLjd
+GpWpQsdCvfGm+f7gprLGVzUiQhKHR7iPLfiHQ8Iw8+JW4ZNtQhGHD+UNmxdBtF3DAJbxCC7XCmU
fn3tw5ay2Ra7Di2iYVCbQ+bGKBlIqeFVmS263jkg0jb0efbHXGiz7VTP9j6JcDB3UWVuCcu4yx42
gh3tZl3k0bnflSU7U7zp8mBVlKhReg9tMBq7Yynb8KuHmrrrJlfkYBat/K7SXXCK88K/79WCewz4
Z7Imuer5W2lJ3OSyaN/QhBcbilRfHGJrMkzOPVOQEQ1t1Nk47d9G3+a7P6sJZWtaebNi+a5TDyRe
XCRTgMMOu+4xzjJzKZG8T1WLQWuTs31GqGSAZhYXS4leasVDn/YDFRO/bxz/JzbT/8uMt+xx/2wP
fT/BUnr7cRf9+y/4d5YZejtZZo/UPVbMf22jRfgbNlfcUeB+8d9CtPnXPtpyMN7yL9hIE0aXHn/3
b9+t+I3/e839r6gX/IhYZf/v/8GtnHw0/3DAYlf+6Z9/dMSyZ/5pJ81YGt+tFzqhR3DaBvWwWsV+
MJwhvsamjwJM69ihmH2TpbCTODrv2kk9CwHoVEfMA1KeVHY85DEmx5u/wZvD2LGmNWBnFrtkkPpa
9eP8KtZUhxG2ePR4pR6GSZtzD1Pj82KcR8tJaIJbkyKIKwnt6MNyyTTf26dmJZeAGzYHv+Of6zV1
AhAv2AZrEkVmjEOqPl5rR8pMJge0WTSKdk2wwDweX4qwg96bp2kLJaAOvK8U6hF+SdxF+FTYSX0j
VBNe5r8nZuJYVxf+sOZoMKT0EPVb3A6Hyl9PpHYJYG9D6ABLK5t6dno2MZ3o98gOMzYqXWXtp+e9
PQzPmlokdLk16VMxMDzyo+grhjtUCSJQ3wJqYYV2nWlHBVN77s8ZroGi7hkFdms3dZ0nO6acF3po
atbQ7Nr1U/syd51dZbfz7RS8oKHe9khihl7Ajd91n5386lG0fcdM+2LU4TdVmJPE+BhXlws1JtPY
PwWVvWV0rehlC0hvKvKC8bsV46Po1PTSNnF1PrSjuFGU/Lq4dBjZ62Ancv+b4IV+wvV/waW6CVP3
YY66FvFsOKTdZPbAW5NveU6kJm3D7x5w/C3OjPnNrvp3DlDFtq2wGczeWlcVnU/CusCVVmzSJC7v
J8fkR6+bm3f6sB78Wn26i/PEXO6BHN6ZIZhQKHWAq8nRweLvOsZAO5B6jPNY1ovtEjfqwEy8PaO3
T+zxTt37bfWoKqc75WJ68yTdPzQ4n3Wj4ZoO4CNUsRxHXDDiUg5Ejmc6MnQ+4f9ByySQ40y2oNhT
2Z/sbLcdmq/rB3mxxRpDqxU0XHJ2RUMZX7WjA/u8k33+PLmxuZgDn2EL2vP4MvIeGN6tbHhQNL8m
9Wvn9QPzzVG7ODdRcBoTarGnwiYEgewSf8ODAEjV8xSap2dJSjTgJQ8XNWNP7EISJOHJ6XINCyeo
b/WY+PtQDsm5l3Is2aiWcCpmNc4SWV7vMjaez1ZCIFlw2PRSdNUuGa5N5vFPQXSLgoOLwugzhJIv
AhKXktW9nKhwTMQDJGD0B+PuetHeDQnykzdzEPGiYrV3zNSvudmrbXJ8k5jYwoaoDaf7C01v0n5o
h1Ot6Xlvh+yE5ajahD29wZUbnmg0QgYbybljkIMg6elrQJv2xSILKqVF0kCIFN7KceHQEyz8xUW1
d4s2OFZC33QO2i1bl5jWHKp9dFWeSJPBAq4VNbcWVsqABOourQbQCU3yUNFHcF6bWSCJe8md7UXx
KsozyWUyvaYtS+i0/fBeZsmXKlPnVvnZE0B7JAnXAWr2refad/W500Vnadt9aWt8mJDCWZ4khQUV
5Cw/hLdNb/zWzkk56RxJYvRpio11uGwwX0K16m2mqTpENFsk7dhzHB6cemIDjwH0mxMnAa2IExzJ
9v+xdya9cSNpGv4rjbmzQEYEt2vuWi3JltLyhbBkm/u+Bfnr52G6BmVJHgt170ajga7FzEySEV+8
6yweJ+3fhWlxCAwkIjT0HCKGgDBPb8sI1s4xHcKPNwlmmY8tZcpEzqQEtJAtwGwUYPZR4dprk+dF
JsNQ77ZQMSCbQ3o21Sm9gtEDooFnNfXpU1q0h2Thshcju677RRAWbxRHc37/D7HqrwvLvjOMtlqb
ZJquheoP2iNNtOF1BPg7xNigS8E9QB23SZfauqLJiIkK7OvEzaobvk6zJo47vs5tjjSJlQQHQyHQ
KT15zmQbbumuPrgh2KGKYrJnCarthHhEAcWYDt8bfOqKOaQR1Yp2eSw4DjlLZBgh6fdZkB2Tmrnd
hNKQzqPreTlnEk8Vh0rEMtiy2KpjxP55A9wg76sRtR4tP08WYS04kiN+uIm0tjoB5p7dYQ/KYq/z
bFDP41BvWHoIphBoxs8qEiNWUkfGhTQHs6cso8svMCB3T6WGs15pYdvPhTAKBTmnqIIkM0HaCJfN
epPPCMdikriuy7hJvSsBDXXfp26NdTsxjH1u2teZn/TX+bAIJGCs5I1urG6N6dbasHKTp2RMzdnY
2MkFyA2Z7rVkDEZMkF1TPBLtRggvdHYjLes254PECDmvDb69suw4PsypPe01jUzHCkeLyvNrFXSH
pg/3FYmmesgOlkiKgyTAsF8NLIHI9YazoRwPDIg/DL+sL6Q2zU2oM4fkUu31u7hWxsHrxmRXmmmw
IwwWhnWYL5q8tm5a8vRChzjCmO8waOehQ47MB4qruxmJLm1sX4c5iXfBULn3xuJa1C6EPGR9tynD
djwki7sx8GrnITRxPBoymz+Fngsez7nkCpFD8mDEY4TbtOBQL+PwfEzozE0hha4NeJpbI/aqx3hy
QoPj/2LN7BaXJhmmZFkvzs0OGOwyX9yc3eLrjCxn/hgvfk/T0e2mWDyg3uIGJVUy2ziFGZy1i1/0
v3Pwz4LBP/vP9l+fyuLXKfgf/xlVgGRRMVxKzhyu9AU2gZ95okSGmmw9hGs5Pr6KU3/g/4HJfy3G
BIXVBm+PZAr+ZwQGmgapw8DiuUzBNjqXfzMCvzSquMR7OQjWSNFy8RLZ/GkvB2CVeW7NYooGqU5u
VVmyqsYol4Cd5PUv54Lf2M9eXskz3SUXFbga9YuwaDNc3BK/jNpdRU8AhYCg1VW8dmvIFT3MS1kh
Xpw/X2kZ2v+xHvx9JY4JDl9Nkcr6ynrgxVGda1uiFq4DZjv0ZY2e9ObPF/nN1+H0wD2jmdEh3HXB
6H/5OqHtoR0Ax4KXqw+hj5kflU638wDokne8N7bHOenlNyJaAOmdZyvsMdRULja7Xy4WEPfQhzC4
MsDNiH6nqwNA1DzGbEoidLUJ7ISQonBunW0WDpJWHSwmVJ7EM6qdPoByXs9kJYpNBStI2S8Z4dBP
Y6ObFRhTOX8EODSRQ08LKZggjhTXIQ6BD+koRcNOJMNnjEs+Wny7x+VglG559O1gIp8MbZN1bdQj
f5N8GOcHShgaPVpagoadLAf7RzzHhrvmj6CvaMprLmzRVv1NGTpm4ZbUs6+MkbaMdVplvnceJOjo
iVGRzXhtpoVz33cDf7bEWVutfCtHLtZA2D5TcMaBBVyNrBUNdEimM3UCj8xxw2eQwiUlJwnYeZps
SID2ikJ3SPRlfj5Edj3uAjw53wugs2CbmXp6GoJAH1Gr5T9yQlavsBSzuhsy6u+09mh5T0OBRtgo
VWSs/Ta2P3s4S4jAK4jyb/vavQ9Unt4TmkeeHCCL5a2oZA4Z3nzErZ/R9mXUjluMqZ8RKvYfZq/k
ly68tPpCrGlxh5qbvRjRK6y5YXEQGPHPoNpr/e4zLcLpU9HG8RNvTf81mpaopWSGpcTCIEDETZTE
X12rRWaIgb08wpDT+5yRNhmSwjKlgF4dOVyC99JGDzBN7Xp2pfcYykJeC9n6t00Dd8OPCQi3EvWQ
HrXwKFqXqf4wV2NUYhvp0o9F34ia6vdcPViDNgzI5al+in2/O+ogGx/qlLbBVexM8bMt0/ZjCwSQ
4d7vxqsmHeFbtSZ/c4WqT196vnbCjUUZSLuKKm1+NxEqPQ8Yo2HB8RTZK3NowlsRCtLwYHwI3mxs
eBKaTwggr8mtlgy3sXGZkddtrtMYH8Fa+11Qkp1nF7ed6ff9mmIKNsC+mYRL0EpIbY03z/l8q+cx
vClya/iCZiB6ChsdunceZMPn3old4r46FB3rhjoHpimjX5J1epPsoLoTiEOHOkUCOXRN0ABjW9Vz
W7cUnaJ/7j9bVV5SAOyO8jklmGNc1w6FlCgoic7h+StdYLHESK/BuwYkcp2DJicjl+mukF50SdRT
JNbUMBHYK70WWJyMtOkLvBpnQaSrvPwa4ycKgSDjLcu4Yra1gqb6RlgCij2DaQqYsjfIpEKxWN7T
kzLfpyz7/qYxnehbr7LRX0Vt5D7mskabDtusaCpwoWP4MCn56I3f3Jp9YIuLCdCfVIkUUmibaZPn
H6LDV5tqhozC+Z/bjy0K9Wc0E/kNxY1JuZnKiufGp6hEr+PEdBe8WRIcJB0Of1SX6OHzjBoN8yDv
37PmAboj//8zGjruVgqPcN1aevruDTFPUo9IaUQNWVAu56eBt03ph+03XmUWGbEuCQlXNbWSDw1L
5peGBJRxZfcSGTALTpOfkRNRfEVTx8DUQobxRNHdkezCEjHCWgaSkySQSUKMQjU1nFlhZq7KHKZi
ZSpj/MC/l99LSjrgGc1Eo2GgaSnHoBXJHzNVE5+1ryWZZ6XT1hsNnyZXBaxEu40RZt+KGdxni5Zg
vAv5AuluSCko8UjERU2eiXSjgrB2d62jxmAVImzQO2lzeF3Tupt6+4GoDA5biZCoM+LBuZCONVIP
SD0hHBrtHwhpvJFElqoTLGZZmd7YgWWog6BlZUv8rOltVKZD5DI2MXodwcMlnXNWU5H/jEZRI//u
1plkfXaDYDPI+mzqvUZuB8sFlm9HbfoEtNX2TTPkRJQFSLyfFU9rvHJF78ectwip3ZAFJ4d1GUKL
EjjmR49ZFcagBIUdfo8tAgK3oZ0MNyrLk2ETJllFvp/Z6Y+9o7KSr6DqCWwed+shJf+blH9d0koZ
y6lDbmwN7XNAeyBNYGYvUYdlFYtva3TWAXaKM1M8FnG9qTCtHQtVhBkEiztsiL42v/dBifx4wjSb
oy0jp86bIkqMXJGbhDV08kC1Xs3wTHfYGiY9uhwaQm96itQB9e3sk0n0LeGBdvPF8jTV7cpoEbaM
TRde2bnXXi8eO0kKSlgOnPliWjUBo+N4Q7F7fG+4lfk0lrG+A/7i7O4q+Oh9SVbVDcUEcbmGeGie
q3S0jmE0wJ12oxGQQ0juK11ByUCuFn7D+slkbdtiu5UFwvagfCpoRrktGxPTZN5YN2wL7nVbNea4
NrTYCcN1n+kUiFFzthFJiqND2v+BNA7vAxKT5TkP8YlwAbsgiNQt2k9AgdEdUYZ62jUEWn9LKVZA
/QqRbBG1K7D3kq7qROT4Vc25EUvb5QzkEo08jSa7TyM6TxN7EzVnHQ/fU82vsWiTrTJbDdKdD66g
eGOVh6ivCr+1P2i6xUhZ6VvzQI8ib+QQ+fXHcHDdr5S8t+46mIfxqlKcFlFLcUbdAjzB64Wi3UOW
kNZs0uJ05Nm0vpY+x7XVrC02kKSf0m6PbobHySzyDElElXSP84SFYjNNMStA3Axo5AviSj64qlP5
JagkHsuGthF6nmq/frR5+NKdO5eUq1Az/SMi45JIwTHkOeLtC4lZDuMvolvejwQi09lAozRgtI4s
jvQBxF+cpIUBxkhhHBQiiF1Mm1W7MRooRNqrvCpbmejXyT3zfOeeWEdFXlfh9gonhwKIzRvdVzsX
jQCF9snE9xqZJv1VN4fN5dRINOq5QcoXKxHQOL9p1y15mtgjEJjSYGEOt0Vml+mtVatsuMArUKfy
rEbicUvIIiGQpmi5d5I1qmWQCwk7Y4Wvn4YUUaAxGzDsXoN9THNmLkE9IsKwwAm99KIY5OicNRHr
Fg9OacltN8bDTRIKlFY9SnjjQk9+BM44ujhbvDoEYLNct/lUxcydoFXW4iJNKwJnRoq0thxECVEp
hE63OnfaFrNaQtJT0yvuvLJS/VQYo3A2E9Kc88Soa7ytEbKTtUKHJj/IhDeOjcQQt6IVXbgrhwQd
HgbTRNx0wmEmauuJvcuchXfZVNhndujE0J8moemo68itsmkJbWCw67UFwA8cpr9CpxJ5Y7MvZpvU
kPQuJ6QrfEMRFjBBRh1mYdXJTqwilScWm/zymXvUi1Sp+QPAWTh3w7nSZfutnwdK41D/o/VMQ8PK
1wjm2XDCtmlHEkVNGlGMFuAYRxBrMBJQ82zMMoNo8NGFhDAiu6pvZ63b9qobZOJv/TaQ/g7r3nDI
8LyB4VA2NgB8obk1V5blyCd3tEhipLQtVdsg80U7MzO1ifwQd5kg4MoQ81k+DSkvRuSwA81xV5xL
P9FGs017s4OpDYLYYskRg4J3DekYRpvuF/3aleGcb0pmCuerRZwWRlesfgH7shkWzlNbuVLj16TW
cVgP+JYUGckKmNMKsuqzRQEihnOzTQiJHEtdfSW8h8i9FOufe1ORzMc2hdYF91NcOun3/0ISPyEJ
xTHx/1e33X2v+ifSo/5T/vhPF33/zxoaufwVolj+9Z88HWk2jmINM/nP0r9pI137CVFY1l90JJCC
Q62J4EitOLX/DVFI0AtvCRmwfEUOMHPiPxiFDYVHBAEYhQSkoKvx30AU7qmp4NcDvbdkGyN7E/yR
HIQXNOTX468wHMtJmmrnOBzjZVhO4ZUvJikv4fnrgr0bdxCTPVaO7ejPkT7XBO19jlSPaZ5Ak7Km
Wcfw1Hqexikhiqbvk03IgGYS2FU65aZPyM5Yp36Zf5xyFIErPSV1uU3bKX5AWT/6aw5TetqWYoyY
Q9Io+FHYqdnsJovaqhbhrbvqI7e/6iTiWnLB5CwPvefbcu+qchq2SuPMXiXuHBLO6of6oY5dHypq
AII7em6DudeaOt7+wShDZ1NTXHEQbKN0SNkgw+sqMRaR/9wEXxQZVtVmjHq28qTKMZnMc8OGizmX
AV3bOWRFhG77yjcmoi0d0RM2OoP0ERmPXvApBwj6YiJIwXkubfIBEyweD3OcxJ9rYqunXcgp6jr1
ioqUVT+zfpSkOpJm4zbluPbRxp6NeuSYSEZBdhOVFukcshL4TGUVkuk24/iftuFodSbzZhxo4j+9
6hPhdU3DV4ohXRxZkx5AA8lMU2uMigfxcbCbR7ss8d3xZTaWRXfzVuq49/Zm1TeIaWT3pY05LWLI
KNwbhHfNddE7IiZ1fqZYcxFJIz5vx7Rfw1kyGcRk6H7lLNPclQ4zKQrcjviCJhvhyFyOv5eFJExx
b85DSIWJFaOqsCKv11Te+Y21a0y3zveidpBO1J6TJHe6GUBZ57we40M8mEPLxMykd9b2SR3D/4g0
2oY0jtE/UWQkmuZ+Q2wc53OyOduKIj7UbIbdrIdB6GpPMKCatnbYzeT62rHZXTJx9t1l7CRGvsOG
hCPBchrGeE/Ioj5vU9QgNebC5Akztmi3sJIMv73hV3gMLPw8W/ijITqEiawTegZVSH1mLeeSoBvE
TesceK6/nJLIF9AaEnYM6AilRV2BAh0MDmXTjjLW1FoNFcpsD51THRqfMKA59i60qpR6OqLQknOO
8sYRu0dHumvs2gRZOwgtSAWUlnsX93Xb39uZSCL63rppfFwOK9Ua71cXf8rIbkiuFuH2OZPCkF/E
cUcRJhi8P35o8GeOZJySIb6jVRcLz9CnMvjcCT9VP/jcRrn3CeXALsUDZO/aabLijVuKsrq1x4Hz
emhOIoaunTSo+jTa/eJm7+IzK/EqYmvLiHuTk6WfXXMmcr0PGRViFDsW2pDncg5pSjEgZK09on6O
RXbRUcoLsIBxwl5sMWaaEK3ZxHlW7mq2e2hbGwXSQWO6S8iDzcBJvDnXzVUIV1+ss6Cv8muhQ1au
ILQ68a1MCtCzxbnZ4fmObSQvWhfRzsYoEm472mEdyHHMyZQPZGZ3VhqdE22rYvm7QpZpfJCK6Jor
JGJtchhN4nKuhcXKs8gIs+isbcesOhBsRO6E4DlCtBkRB7MvAHGsddLatVpT29sEVHJaOYnWEm8f
EY8KHDArs1h9VKj9CkrPlbY3rZ68BxysfBzuPv9S4bbgc7qARUKnmzymwm1+1MyQP6ZUEwhZtBPg
E4cy6KZW8hcMLB/Mkya9EbxieaPWngqItK6p9aw2gyNYbiJEP9wJVfvbOvCybAcw2H0QdoeyFKmn
ex0Ns/mtUiQBHvIpXYrUggQsocTs8Z1YQvc6JT0CT4zoy2PklM0PTEJmcGiVan4gprR/JMLCnZPW
JYhJgfOYlzXKyqNntR5yfoJpvgGj8fhkdsVLig0AlWwfVE1CwglHcjzg06M/moBHUemYEzCZ1sgt
NOfZTWzPFYpo2XvemQAiYpaP7SY+azwv6XdzEeiH0VRRfcmhPf1UdWWU7ke7GY0zLCm6XLNhGNWG
Y6f8TBpSKo1DKEpbulSaWTRA5OgZLzncEO/eFRofq0p42DgP58N9Dhr0PSZWwNw4PjjK4BLTRYiA
GY7rMOjNT1Fk22dOIKgCDEs0EAdFA9IVzkz5remzEf+65UxUkFpdS09jgEliE9AZVK5KmXWXggxo
Kt/p2C2gsr3yuh97YcHeT/ITEka8e4MUnY+OUSHhxjPfoLpaDrcc1afbhsA0KMzY7/2VC4zDWjRp
SWG8lrK4IGiFwwKQkvhUc3nIuRz/yW7uJ3ERhBpHSuEAshLPkBK7aBr5/Kmy4vbWw6F9TEjXwEzu
NwT+BjG8fyCH6HNaWPh5a4C8L4K1nPuNlg6v4Fg705rAjZlECdlln2azSS8dky7ondEkzWMnvZBk
+dEqdpI+5ut6qotj1eXjkZ5HQaCj9klmUCK/6Z26Ddd04J58zNRlbIcgHIiAiZv83urqRK6klUr2
GG8hpykqi86ahCMFdB7loYZaqyExsdmejtRDJaZwW8147TepQ8MxKgxO4CIoSnOnR2e4HZYTenU6
rDMAcUZzTmBVspznGQK65mCejvlECbO9VRRJRqvMtABDLdG7170Gq15hcmzuugU8SE84QkRyJxuz
hG/kPLvgDeCVYA8qcTU4BOzmUY1F85z9xCmIeblxTuhF2JVtjjUIUMOVOPiJW4jvM5IpONqf8I8K
KnTYev4s5B7WpLwuM8kv29akuFY4x8koX+AULzb9p3mBWNBDYBKKtHwo/aznOKKz8huxaiA0QPCc
e6sSTQgbKBkVO8fHtrbKGlsda9bheuOdEKDUsawDiAjdYr0n2nwjlo0DVynQUYzeMlqLE6JkFhXo
UnZCmtCeARN0JwTKXcAoTM3gUvKEURkKuKrm+KO2PE/hd/iOcDrPpiF6LE4olwGlR34JkxSD4DQR
EW2fULHe9KLn9oSVRQh0OOcuCJoLYAlSSpB5ugM0JaLJGlTCsT/M2mSLB4PGgnkB6MoKcTfH5yV4
xlogPIvof85gUOg35Qnjy2pe2bV5wv5IhgEHnB36oiiEc8iXWnDCxjc4sTfUtnr7ZqxhJwx8upqi
XJq/sd4ueKN9wh7J+siuKKYB77AWhFItXMp2StPgJj9BmD7iBBIJTtCmxaSCCGtBPA0jlD+aEwxq
niBRcYJH9YKUMviNH4oTfNqm3XTln0DVbpKIxBA/c/adolrmeETngib5Kgb+iU7gLHptcNqsr/Mz
dYJvh6wFyq0XVLda8F1svkC9ZpQA+yYnCJiCL48InQUYRhoPSNzClFBovWDHhHXR5pD0fYD2LZ7u
SjtrnyVhWt1qWvBnt8T6uFInWHryYyBqhmbm1Jh0bpx9JxjbXRDt5oRtLyi35SUA3tCkntqkJyBc
h2YCS3oCyHn8lbgoF9wcygUIfcxr4PQe9aoCYgVlx2zpPgoCqxi6FhTejOB3NyB96AEJp76fW/zc
G9TbgPfmCcg3F0yf2C7gfYYoNiGAI2B/TT4aWuQJ1HUVL8xAkrtkZkQe8d3sbbFDooJd5Hdhz7a2
Cs2FY+B4kl5rXzpgiyaOW+a1hZHwppyBPghD9VxpG1SKVurhc3diMqaF1BhP/MZ44jqaE++B6hAO
ZD7xIe1PbkRXUItBMwESerZpHIknCAiRttvoiUC34cu0EC0esqP51nZa4iOwjYyYWYOSO4qoGNRf
2V1xO52Ym+zE4kQm+AjmRxVcNieeR/SOed7+zf7oxuCnnRt4AFuEt0tsq70aT7yRtVBI8UImRfhn
qQ85cUzZQjd1Rs+60p5YKFjO8ao7cVPOQlMlC2EVF6QOr6iuGB+cqumP2krqJ3FiuRJ2ZyLEFu7L
XGiwtsyCmVZYtgrCKSDLEuzi4cpIeHTWPYPqrSp8cT0tFFueIr4AcluYN9DS4dE98XGadKtwM594
uqFmcKnrGXUSUvPoyT9xeujqbLxFJ65vsFX3NV8IQCOSyVO7kIIEzcMPZieusHft5NI6MYj85eIu
X2hFjjdkDBcL2Wg3qv3s/6QgixMf2Q+E3LENcHxbBXYOZ2ks9CXxSM69uVCaAJWSPvOF6ARCCw0O
wAv/SbMekFmooEWbE0NaLGQpfp/8x4xQ7KiHcH5aDOUk+y8Ea3/iWnmw8nP3xMDWP9nYEzMbnlja
cSFss9ovvxBqCMDsMvlRsWFFvbfzftK9MClMzZrtdkvIhnPfnchh/0QUJyfSuCc8gbLFkVF0NHQU
bs2FYoaBqKBET8xzdGKhxUJIs4DBTaOhYR7MY4e/UIxeyNFTZNa1jgpYbdfvyqM6cd3VifduFwq8
TQer2as2ghg/ceQ99Qmkjf3kzk88uvrJqZ/49czpGp4QMbViIzgFQSie+PjIqeDmq9K1yChvc2cb
LGn3q5i6xooS5IXVz8VcwvDPtFkjxOyUd4cLsF3+IR2Zj1p0CbMUEf8GFc0h5A5V7o1XBls5z6E4
xraOb8LKw8EBAJh2+c/Ozf+K3f/HRf7y/yNqO0CQXwG05Z/+CaAZluv9RTWrQhICOPU3duaqvxwk
7GD/vOrCs0DV/sbODEv8pRwyqcnrFOBdZAf/A54J6y9Xom5nwbRRB5lC/hv0bLnKL9oRmz0JQA+j
m7ugdHD8rxQ+tUfEgY2i+GGSwEyhMbafh0gZKAoa+0Mki/kDQRKM/q7XXxvxgM9ZY5sZa5HdwNxH
8TtillcZpafPg+AJmJEtluTk182SRkJgoDka7gMWEUktAmRwi6//Ai2sv8Io1NGaVRa7ORHeNqPp
DxkG41nQpfk7rXcvZUKnD+J5LCncHLy8hGu9RBUDJtWg8HvrIUDcuY0QvGzSaW4Pvzwiv5E9iZcR
2MtlLO4j8Ci38hRO/fIyE4kIAShH8GAE4HkKZQSVW3DBc8RpPw06b6+d7kIJf8b+P4/fdbVIpQPb
PXOSNFnLtMlIW657vFNhgXBvDs88mgUPxeDT59PS3hMw4F04mcGoR+jSjpGivc87dmZGFpgDVTT1
lmjO8J3gYfFSAvXzm3mWjZ0B7o2odLzQv8KyNr7MnEnZfTCK4oKReEMUxzWFWZc16TqNWxwsBQC5
ZH6VJS1F8VpOw0ahXsbyf4jCfqtMyh2WGb9wz/O83CUJSEY5fOzY0ivKIwyBgdh4Jwb97W1fbLJL
NK9jL17sV5+a1J9Sjl3nPUTCoXnNS4lJI6/snR/nt1cRvN8ODxgs1SvIOtdB6Xhx4T1MNqJ4eKmZ
MDZX7/78cFm/uQVCmAgEOegIePJXlwllXUYiE9GR6qL4trdIUNw3RIcO65Qjxm3TqtokTS+JH6am
6ksSUMbmKvJMeEsH9rvedo0Y521NUwLBRcS/lOCWE3v8nz/nb34NoWhSp0ZcCdKqX4nlQI+yVrp5
8JBUlbElYYoMkQl/9Z+v8rtXjecQvoLJmo7q12/0CBceRp0RPFBqaB04rFYXtaC7iPMSvXUWIZcV
/rFtklTtfsZnirO4Fh/9Oi0ebToIN0YBJDc2UbybSgoco9Y/IG+bbxKUMUuNBKF9vSMv/ao1djB8
84aAGGs39XmxKdPOvM1JlTgXiSjfK7n+7e9HGgH8B6sJ+qeXb1qBRJycRX4/kwH1vJn4Jk4zPVmu
SvceOaM0jGYDVGbF4YASnavCLWs8n5ki53/JCcCJR9ZH+t5avmwd//AyLAAubz8eLISJgE1Ee738
WLYOldcnXXgMhQovNEPbOqMa8sIL6vICxhqlg/CbqzanOuXPt5rt8e2VKV5whbKkYy9U1q9LT4e3
1ImjBGODl18WsEYfQca/N0VgnJHo2q7/fLU3SzjfkwRrCwmmYC93Xr1l9limUg68ZX4GQuiXGBD6
UYbI75B4V3VFBhyE9Dsbxytr2vLjOohLJTb5ZXaQy0/wi+YzLBk2/NL3HgLLsa/JRHAJ0STzUqii
JAiNlqBJFUfZz/PeHgi2/vNXfrOwcHXWE8F/F82yvfwkv1w9seYUvUrF+hUONKo72ZfIBAjOUBO+
8+Oq3/y6DlH52NuhCi30yC8vVSs0wxltdA8GAUHg8XXr7MkkGJ84GUWHGo+oO3ruwRrrJ+Cl6Tbo
rcPcAFD7oftjMPMaRskpb0ic/tLjtD8Q5vLIXOXu5sVXNIl0oDanMHaZSn+kyo+vpfJrGgdTe504
tqD5K2guEI4dZ3Myt5WPXJRgYwAg6J2LuC3j7UTwwMVsmQHkurNVbn9TZ35zVuaY59H55F+n0vbX
WPmA7Jsx3OmWxEK/IS/LUjMmQYsuoD/fnt/8ZgjGTU8hE/eEa716/lvX1nIg3uihsBt/J4YMR08e
0KhV51Tl4VYkWS5P37nob55Iyt09jxedPcf0xMsbldjkfUkUgA+SQJxLPRCTg1qMmjLW0rNymmwE
EHW1wW3pkrw29u+8EL95JGGAPYlhk3cDp87Ly3e2OYHgpjwnkSQdLhfdTSXDW0JAyncmw1cBK6eF
DVqNAQGMhv+1loXvl6e/idPE8afIf6C+q7jxepJQZSzNTbvINUVk00TkNvjTF9d/OpTtyunG6fzP
t/jtoOyyqEq1WGSR6Lv2q0GFPMeR7KbSIK02Vxs0zyUIu1Xv0ybXVE7K5lzMmbwUUzwdQk1BeR+V
0aGlmvsd5f5vFltuum0zzfgWWoBX952ITuigsnIfNBmPe8VouvKTkliuyaar17S2f/7iv3m2PR5s
yXaHMcHyXm12yTQq2DzpPcCQOKtKFsGOoHPz0pCTsyfyVlyPvvPtz9d8s8HytTAKMBEKk4Xo9RyF
sK6ZEet5D4g8ne0UF18bTSngny9yeitf7pdiqR8X7JmWyWP16q3tXKJYU6RTR0gfklTneth2qZzO
gMScuyVx5mBJX5+HqJE+8v/ifUQc73kVQ8jndU9RozFW7z3qy1P06jMpJh8fpwTnVA6JLx/1jMo2
wL2W0aIviq1jTcNlMhCpQP9QdujsydxHUk7bgHAweDtvPG9Ha9wjkJ7eue2/ed6FTac7937palKv
R2YMZFkelmV8dAtJ/EQWdQefnLYPHFuDL64thm2s3WJf2so/YPhMz4thQJJd0Af65/v0dqwRaEwI
vSYBiofidXUFJXkmRu46PtoGMhACNjFN1lbIUbjNIk12CgMfnpI8jI6d15fynQ3xVIr08pYoDqRK
MfApfgbO/y9WHwRkNaVtw3AM0poSy4qg+rEscT+qtl4znY4H9KLDkQpTbx2kVCDDp9UfPavwjmCV
+rLXQ/vFdvzqQ6pE+LGfTHTvVCaftzN74VC0+U3cenjCyP9Z9U5AiPqEBqDOxLxOIaT2iU/IIMHc
/ibJmmGjrdR5Zyt5u6TACrKiMKubyyvx6isubPVUWmZ+xCuuNxWsxN6DBNuU9LTtW+Q77/ymb99v
DtYMqlR8ocdUb46qTTajUYu4pTkxpE0xt3tpROqdHertcQyBFJACBi3iwXidXr1MZGMU2Uwz7HFy
Jm8V1va5yH3BjED/hUwmuQHm7bemKIwP9GKH+zpuv42xMJ8TiM4z4rqyXQHo+iBsGbzz2d7unpzQ
XdxDWH/YQ19PWWWeGV1OltBREEW3QSq2RKaW8tasjOqdH/vt+6PIN8RbZuIrgMl4tV80sq+0gFI/
zlNR3BDvWT31CKqI3KwoQm29+NYSHX5Lf3bfW2HfrmbK5c1V6CDMZdt8NUuOnu21s2izY4zW+yNB
ZNZKutrYmp0z4a0eyyfStySZKW75rSNreeN6RkMYpmX96wd8OawJvj5ryduCrnq0IzUouzga9O+s
rSGAf0ZpRotlhZGgeq9v6i0WwwKILZDJTC1Y4+vyLFvkWVKIvDjGctZHYluSfZubHfWkbYLQ3h1u
6yUhaMgbqsJFArayRB2ZSS0uXZ3NBzNAmuRHnI6LKKfiu8L1nSajXNnYx69QSvQQZI69R/0+bZI8
MFf+1GtsCVVzWyFFeucRejsDsIrz01GHh4jQe32Sh84xA5Td0bHVY0Z0AclZJoqmzVA3lKWIllRR
O/Hem7iWyeLlwgtqQLAOBDYALLft5cKblx7eQZw1RzbL9CagRfW8RMqzT+wvnvPUmEVDaUpCPvGc
D4SSuvU7D83bVYqQOkBCjw1wwX5fPb1tJ0yS5fPsyP7YbdRUIQGPquGd3/btSsBVyEDg4bQxS74+
O0+56c5O7aZHZdLpW0d6uEgTMggEuvt39vTfXorJlf4U7KXOEon4Yo6OHFKh+iw7klKMbN2l3UYm
8j6xHfedK/1mtnI4mytlL7VTTO3y5aX82HAMe0rz4xgSOmCBDewMxGgHnFgjlnXD2fdt/xnBHj3J
3dTd9KSML+mo0bZxFPFaBfWifx4j3t5NEm4WySqhfAxXzrJM/nKIiFN01SrJ+URB6+/R35GR4Bvv
HdTfvinkFFKvSACozdcXr35irPOwXNaYHwevii8Hd3DWlaeLXUtqxcFXvU3kIdHkf/5qb+4rul54
C1zDVEkCcL66aMNDlc1knh0NV37vbeJnBwSKWx223d2fr/T2KMal5BLPw8nPtkjQePkrmkRVEbhW
zsceVchWOz4xGIkA/g7r4jycQ4uQRmp5IqnJ5ejnEGRG5Wd//hBv7iRyAlZyXkoHpOLNZxDLXOoh
AjqOrkiQwWFpSAuKg/58lTd3EqaGKDtAYxOqBnrk5TcFBqrp1ZLVcRAoyIzWskmtm8YNTZfzjiTx
4NDVVfLOe/NyEGPChGjidzXReIMf4+Z4edHUgrHsPb+9D23n0uqT23ZMRnLYrIf4f9k7k924tSxd
v0oh5zTYbTZA5R0wyIiQZEuWLIVsTwi5Y9/3fPr7UT4HqaAiFeUc1aCQQAJ5Tto7SO5m7X/9TZ79
evsBn92U/rW//h7MkhWFnFM+KL/7eLAJK+FMKYPuIYP0kpIAg1mLZNTJzrA1zIIKe9rhWQr/2WJ/
gIWr3wRZk3tYb4oLDpn+asbFwSVHBRPQvJ025EA1uyRr602GtR1ZFlN/p5hIgbk7xTsLKd2uEg0G
N00znjkr9OOzgmfBiErnU5G+yXdjgzt+loglJ83+3B2mUsouiQKXvIA58sFPMSa1qkjFWhTjE02q
Mg/lqbSHX9/s+4iWiC5S8wAhPPJkHTf33IohThmcoUmWJwcZRsducUW/Zkpbl+koLK+F2PxJooD1
rIpA4Rm7R9jkkXRFD+PXGNvjDj299qjGeFaAjcffcXpdIk/GqgDoIr9Zh5dxZQU1yR2hUJAoyuV2
rAbTNRRwxbc/8/Fq+f1mSBpdptZSBeurzSFtB4SDuGceIKmGHuEBGjQ8hnp7lFWtvQxDlcek5T4t
08h5DiB8sb2qfphh9e3Lh6m3VJ5/gm41YlXS9fBYkH6RFTVHYltBut77kZVyBZoiyh4YhQu1/n2D
Fem27oyWmGca72//utfvAD0FXVfmBesWzOx4dli+VE+ZMfDjbEwUdWVUNjS87DOL93nBHC0o3gEt
Z9PAXQ2Mdo3I5XHYKBBF5IM1BJ07sYe5OFbVDgk96Q2tap5VwZvS07S2hLzXV19lMu2g8ExoowkW
hHyGc49fWjhLdiK5ps0wnHkTx6Dh8pmAz0DpBRGywNjGap1gf9PLkSUphyQWwuVmZm3wOcGzRBH4
j2M3vIcXGO46KfhhNSyTt7/D8UH1e3SKKRpjNL6X3tPxdyj9IpTg/6uHlIiey87EBCAKwCizcG7P
fIxXOyl4FTUrNkVgo4hmVtu3j7swFry5duAykW31TvFdytgcXYQakHuOb+/bj7Zq7D8/G1doijiM
RfCBNlYDYtWANcHIgBMuyl8m3L4u5Forb2ylQR4MiuAiIpyXxr52IeHjvlHrDJ1FlyQfk6Qez5QE
px4fTMHEC4OikoPy+E2HciJFi9PIIRrKyQUAF/h76AIPgRZv9Y7Ixrcf/8SXZcYDf5v0FLksLCvw
5fLPW/zVKlM7sMH7V9SFzCHMNq91U87OvelltR4vMwFfmX2GDUejmlvtaARuWhniGeXQNYV5g3rO
dvtBuiVf1EDwMsBRl0v5UTZjExJxquwru1Y33FIngJr6Xi34CvE3bdfgPetJAjFgOCrnDqSTv5E1
trgsCg3ayfH7MNIsLGdfVw4DDO87XctHyLcFrM6yC7ZL1uw2iwvTLXAp+vj2l1je9Ku3g6rXJAxd
0MdZfQmJG1MA401hr1OXJFcE6TUxkBd/PAoAhkwxuBieAw4fP58wZz2Bw6UfLNJrsUUAQG1CEjH+
fBRLXsga9JENGmzHo5hjiJFKkIpDA1bp6UV+X+v9ORz4xNTVqdcREWugX6Bgx4MoUg3vbpjEAeG5
cRFg17GHd59fGXEu3/4Hz6NDskEhB7C9znyfyGhTtZmh2jz0UZLQqsy17Fw++Im5B2bLd2H20axc
dyq4eoVGV8PUjSh0dnNgYmiH2uIWw8HkCkuI8X0h06nW4HWe+V746r+efYaBLQ63ID7Jq3tfXBht
3GuGflC60Q492Zcm34uzNnhKU2Y9Xhe5pG0kpYxRG/XxQ91K1h3IVXVJVK/1nZK4+oDg3X5UwqBe
bHIU/0nCbuQ2gCV905aphWd6bm5bXaanHhPd4G/yNJ6/YXGIdbss5ORpxstY8aCRZhaJqQa4AN3a
kvwUNdjCEI05BAZMNNDrWfWTIjQgSCkSFrpqS3jEgeYorxHhAyz7Zei2c4kex65b8d2PfPObXfU1
5tGzFhIpJGBUv8dqAMJ6DpTppqIrC0+BsFxd1SkQ+iayavlJJxLxh6S3pfDGeRz20A8RZicKvFM3
CCG9ojiPPhGGUer08Ar/o681H0KyJ1MkKSTQXdStbn63aREjBiqbAZMczJd38RwAGcdKk5QIHIr4
yhYJfiK+HfXzxsgVVGyVTyBLBViOQR7q9i9YD2CfDHvWgnIJI9OJJo1aGeIkwRZNOmqNWyE4ua6o
xHZQwSlhqgaLBgdWa/3YYl8ABZIOOIZw1cBxKkZcPZB++7uW9lhwkQ/qotDQJu0HDkeAXZR1bL5N
blxXtPCibVp2eb3psmEk8RgWrAaQVdSckHMoR3sVq5NPPa8/dYwk7w9BLxm/7C6V9pEWFzfLFeWC
XVXJLvogr3/gqY8foUZYaYKpJSJKtPh+96Cm8Zi73Evah7LCGH/XKm332RotsY/VUSCbIdrsRwLv
+r02NhVd5tJsqc2KuI+duc0TyvZoCq8rBSaO0xH+gbWH7s8Xej+XtKNJPPhYZ+3OnEZd3U8xl22H
IBMtgxZbT5/7SlKxWCJR7zIlpATnvkK0kBJitDROqvrVF5X5yB1ZQbAzZ4qoNiZGo1gzwIT5hSIb
PE2JCDl1ZHnWHq2yTu78cJ5tp8Z55n0LkZwo4ik2UWkgILlR29LfyIoZflayTCPR0OqNbUA2Vwfh
mMSBiwJhw6+3d7Lj2/FztcNJDxWA7pm8NA6ON01sFaQeGBMaHWfLw0iEF1lL1ShhI8bkdxJ4XV6X
69H27WFPlNiCTjtYPh0yrL7Wt/LUbMox9IV/MKwBX6jIrx7tXMIIoReI32rCaeCyx15AI88th65y
Cbz190Gm6reWiHJPtUpICBV3P5akdZkUWnTmZFy/GXqJ7OKEkkA/5fRd3zW62kcbmCftIRF9dJ0E
TepZfWxudGQFG7STyh3lyDnA+dSgZJA855zYOuje8efA6A0SVpf1VLtYbcWqKWMDgxW/HHpYO5p9
/uPt77De5peHBBWkR7l8BLGmGiGX6hDzVf3Bn6tdbXGzH+MpgPek1HuoQGeusOr6ds9wy8Vt6UUC
ewIsHj9epefGpPWiPwxzP2x1g6QJolzlm7CI+n3MyUB2VZN5RBrXbpvh/hlyx0MIoambuESe1NK6
3phhanv88MojydneSOQaeWEUNx9s35xc1G7TmdPwxEeBtLBUL89NtTVtQU+bxg5FNBwSdTK2+P9a
HxXMc1nsubJXq873wkE7x+078WXw8dYWU27ayHCgj18VyMuAwpiUdbuqq/1kSdK+h+HnwDod3Ljt
szOF/4nxFg4hHilcfhU8CI7HI+C3bbRwSScNjDsSMCt6oMHiHmdfBjouIG/Pu+XXvyxumQjo9C0A
qOUWzxXveLSsncMBhGo8NLXUeWFIzL1BsMeZD3fimXgewCSqd8C/Z7DpxWWm16BlJ3gyHfK2Gja9
mLBsGow7joP2iiv6ucV7cjiTb2XLfDJl3SWjXJPNIFLHwxxjTwTPZPQEJOiLSSp/ADwVZ1bTiXcI
SAafhioN4G/NXkR0NQz+nE+HgRCFLRTlYlvgjfvw9pc68VCcDvhi8iKVpYF+/KXI/LH8PBPTQW7F
k0i7j7ba/wym8ac59rn39ljP/afVtIDaq7Ed0VW2X9F7g9AyRyzi50OGX4+rJrgr9aSreH3c6LvJ
LMP9QMVFRGYfXfSYmTl+ro24xecB+SsRcT6yCF1ygj6//bvWNwsAN5vdCigRtwxOylUDy45wkMkx
pcAZu++3pRVrbivJFgmHHPlvD/UKfljGMtkl4WLhGqKv1yEtOXx4SU45dJTgDlRt6b4K/fj9UOIf
SvgFVAUclTY6tkkbDJtwBdObckfebXrRUonv/pOfw74AUk8biB7o8edPlQKCoh724AFSdTEjAvYg
aKAEDPXRmWawp6YvNKj3MPVUVIUEh8z4J5BHvI+6fDhDmXoFdT+/HfxUlxm/FA+rXarsiywwUZ0d
JvjVV3KPwoLoTDwLoSG4hop2Sw+zfCdPmP2UGTbKOMjZO2TJ1LK4a2GYXXvm3GY7mw7uxpIS9QZ/
R8sTpZCuuyZPL+dUzbapCp4G8W90uxBJdZsWwxmC0PputzwIGzuQArkLtHpWuEKHiq+XIIFihEJ4
UFHY2nWic8UKQxw+LHKcMEsf6is91g9vf9FnV5fjNaZB8OXdaViXA78sk/3Fpij3Ws0JXfQHtg4s
TonivoeUSnk8mvInrY9tt6l1sR1ERbQHVlK7KbO/RLGv3nZzWT4WgvhfiZJwowdytAMLljA7VQjK
QoC/sTRJQotgM3OFToBtHeqEL/REDRoic3DUKh4srNecjMVG1ymqHWzOuisFxqGDM9TslTj3bdp6
Sj9KKvZkFXYUZ+q619umDiELg2AAHSj+azJJEuJ8oQzRdBA4fmxnDbnmIrc7831fbxk6GwYA6SJU
oMZaUVammuAvVHDzAf1nR3B2bzqQj/KLClO6M1vGiQdSl642diTsmHRNVh+UZNxYtLJ86OBxksbS
V9uUONAzZ+mpBxJUwwtZm+1ZLOfEi2kT0JTlJp4oBwgvmI6henLm0v5oZUrnvT1DX5848KNh3+Iy
TB1CbXo8UqKZNf2PCvS9V/bkk5PzpGS35SQuDcC/My/v9Tqkta1ACIOGCcD3amsH2cW4o9EOiUEy
vRRM8gab9/qDrIDv+W2Mc30hF48p5hdnXuiJx4SOB4caeiSN9fULnUkb4Q4fagd7CMz7JtBxAJNl
kh/szsXXejizk5/4fhQlEI3ptALcW6vSu8GTsS2DSTvIGdHYch3hM48V6gYThO7h7Q/IjOATHe8x
OmUXGjudWQFKtvqEZIIGZLH55iG0gqumKnPLizB5fN8WgFXoQXTzfoxbMjj0RLI+4ZAK53lQevws
5sHIL23Vh1NeTBShXatT9HIHwnhaI2td3tgjIe3c6+X4C3Bt8FCbCDTwJVEwwNd07q+b2C5xTemy
DGl2bfWEJuZjiOo3wnQHlCIfYk+XKCs4RHVtciz88S5N7P/voD9ydqml7TR0Gg9tG0FTnIICtJdS
FUq6tC8bs7gz/YycKDUKBVKVqr8rh7Qw8GzmxTsquFTjkpuqfjbw5xsvTFJSMc2q7gYxkgIjUJni
45hJ6ZdYT+KO0N4ZWAbfLEJQimaCQ18Sh7cJxka6UG1Zq4nwI4/cLE2uw53c3gqc+/C4tade3esc
YfdkWYkftKOlj8OYzR2BdGQ8T1NiY9ehyn24qSBsXco4teBhFfY+pbCMN7moazj5NeR+exOCaSkc
OWmLW1xhl3QZIkHqnZIAuW4SYgtuJ9x0BLZTUblgOEFy1ZEBCZ2xSL7gNyt9Y3cAgEMGhtkqGSZ7
JZnZ99XSGBoH+0TysGw1zr7CDwKLWXBPsSEuVvqSQwG9rysdgxzDiEijTDk5YQTVc/MAfDvAfIc6
9UmWx+CqlYJ0V08BURayNX9VTGmod02YKyUvSa8B3fRhNnYWVM94k8JHGT2jQZZJ7G5U+TcCGzMf
r4MRP8m4R7n/9rw/sZegnYFPYcN2ol+wqpUUsOcSBc18yDFIa/Hb3udJYm3bUJO2E+vMoXGFAyiu
Rm+P+/oAEKD3C6sWFZPMTf54w6wiUaTETdiHaoRvOsmJQY14Vhvxer9a5K4Ar0tHFGrbak2X+uxL
fdFKB8qz9lK3jWanDoW0sUQVepnQz1XCrzcsxqP+Rea5XOAWi7yXB85Q+KEZWb10KC14yz4WKU7f
aNcNIsPt2+/vRM3NULS7EDzhAc2ZfTyU4iMOHWtTOkSNGV6FNkHDCoimK5strZ1KkzDZXeJIsYe5
afU2/0UYa+baguyO2Cilc7K0Y7blEt61/Bwib6HL0V9dd37o9HWUCSoJ2rNB8lBYRR+bmpQgNAEm
cR5+tWXphw7ha+KyNkpATmb3pp2xBHn7xZyaWBA/OYW5ZdK3WRUxSi4lEQYFweMgSQl24fPir9z5
Z0Y58aE5g7n0wABCCbGWgYFS19FgtsZBDUP0PRh+ec2kqjujbMf9Hz8Q6QU6boyL8uKV4M8XxiQV
fmcf4rTTL9SADNAyhHT+9igrctXzBzQWGMWAMUd3c9Guv5y6mT0keKqj6NHV0Hdk/BKvxiXBlC14
8lSbxoWRh6qHbaHiNMUsXIOssjPtwxXv//lHwKUh2gAyOBUbkW5HPyKu6iTRgjp89MMeLj8pmf57
bjlTRjKOXuBBrC3HpOpnEl2RrnyYEdKWl6wC64FwFCQib7+UZRM6LgkWoQuyEwT6WE6uy+4qqUiA
CwtEjWY9YxBG+nq1VedSFG4o+ZHmlWnX4kdSEfz7x0PTpOMst4ASufmspfGBamEHx755kBSjcyN6
Vhuo6jaZidmXpNF+YukkeW8/7YKKHD8tRgP2Yg8AgZijYHW9i6WOcKJFnV6Nk/YzhQq8KBua6hDq
KWmTgV/1Gi0E/DA2hojUBJdRWGJnatvXyxf5MtxFmK8QGCFMHs8Ao8BRPMKl6hDjlebqbdxcYh5r
n6ljT4A2x8OsEKLZgHgSZwxT2SWdKsMko5it48qsVOWjKWXpTTJa9UOWwoNVsVV2ZfgOTppE4XVZ
Gwj/iDu4marYOnMFW3FXlxXATsrRSNOZGE5EX8fP3zW+MmMiIh0k1SiwZNLTD7pM9yXDn/59asy2
lyBJwrk9w58u6FIA3Xn8KqnViBY5jl0lGIIzl89TLwvYe9nnYHnK9MSPf1Nd2f4c9OMicdGGXYIk
hXgQ6lyJ6NNNM/W0XHKl37XW8BMGsX1T6oOBXWLMnj/qSxZukzqtbQ1/vDFyf3vuAnHm2mxexz+r
8APVoMNEGwhPage4NFsM4Iczq+IZ318tC26OS7HCxQCSyepACXGbIbGwREcgZfG9VM3SLzVSy8mL
KiWV4cgr8SaklbxkP86kNPh5t9PkuAucEose21H1xv5o0+69lWCLmC5+VwRXxaMcYfM4mmfQplM/
F6MBXgz6FtBqsdrHldA3jTyx4kfchazreaY9J2F+jo1rv/gXQpDRTKm5a0I/uhQTBUM4YcmjL/kM
iaE326KSy51soGEWXU1yykzqnzNCVDiz0E/NKjBnXD/opskGXNDjzzeZQF2hOlqHcpoxHSJuDjxU
ra51JPXfAqKwfoRjrX9ZMpLdBmfAq04QK54AS+GjjY2GW4gCHAe86M+o6ssaZMOFSEXbCrjLfCW6
mvEY0+PRPrQJUkqRDzkBmhKJeoUdnpnDK7HG77Eo4p6RWkPnyx2/hUjSCEDvZv9Qyhb29mod0O3F
FxwdheFVXZuRwZP5Th1O864JRLbrUj+4gTcwoFg2rJ2GB/1mVHDCkntUgk0ehpcZaMRd1amTk1LB
PPSV1e4EtpUwIggIqAIrxpKpkzZBkKWHt8+Q19s3rTLNgt0F0Z3u7GpfLfuwkLFPSR7xR/L3BKpY
l0pRPL09yPJOjlfkQvSi1iT9CH3V+p3pZOqMEiHhj+GIu2NI4LsL7tm5tULY4dtDKa8PRcg/tEWY
BmwCkHCPv48aR/kkBX7yWCohjqydrLpSnNfv66xosZbqO8L+NON9Uda1KxEjd2n6Yw+k2ClOyPbl
4ZVuEDOgKBjdG41rBvi3Nprt7wTtsU+BPJ/V0C+F/+rtgPdDT7Mh3kLKX60roNs0KHG0eqRsNCA8
+1H6ORvHSnXsoR9IWIpEdQO3onwUHUcxQQRJetHXzQhBhshExD16uS3HInw/+JN/LwbTJ0dGxNkd
+8gIAirm5EBYrn07ZGXyQRrZh5x5ArTwcrUM79BVyEj3k0qCXUuMxvvY9itM74sWz5ugaaIn8M0M
/6ogYpq0gO44Lk+Ga2dYFpr8FcSL53h50i3IPhHOWqWO0k4Knsnt2KWg5iq6KRavIi1GYO1NrqTd
F/LZc6g2aYuZ/tsz4NTrpARj/4c0uhTixxOgEUJKORbjR2Iqwq2NQ5pbgkp9G5Ii9Bj7T1n4C3kO
UjxuUCAvC638eDzJV+mH6VKM8McwXK0qI9fCGWmj67XtqdM4nrmInyj8aWkuDUCUFexAa/Z6MUrm
XCpxi3NHowLcTJb9GHbmdN8PfVh5Jg3/Dwj6Ef5mpBJA+ZEjvHv6PPWlMzXvicVmA25jakJbnw6D
vdoM+RuF3VZS/wiwUl/kuqzfF9Zgb8uhvDQQD11Sf4iPyAZkp7DIIQvhbkc2/HW5q+uLWRG4vU0s
NXtUBmrmotkBi8ZePMxfufVkZ9yDXm1DEBw5HmAjcDdTxOLb9fLGZEEsH9O4xQMho3qMgLeeDR//
qoj/yGLt5q2kcDKuv5OlRCRV2P6/D9H3GkPHX+1/LwP8658f/0+Ssf8a331qn47+h5eDCEy33c96
uvvZgIf9HaK9/D//p//yv34+/y33U/nzn//4XnQwcPnbACvzl6ZpXDJerMXl7//rz10/Zfy5T9HP
un76r/c/i/znqz/2t9ma/A41GUcBxSk9ZSSPf1uuSYr2DnG2TLqgDD8AmIHv85fnmv2ORHF6w3AF
6Xg8+7Q1RdeG//yH8W7xX1xEd1y5bGQd4k8M145nCBosZpW8KBI44Zfft5oh9dTmmT9bF11KSg2s
7GJyEoJavinEXJwp0o8P3ueh2PCxL+Ogoop47qC9aHVANI+rqhovsMVtNqTKaA4WJNaZBXp6ENR7
qAxQQMmr51FLtQKxGS9KZEguNkmDhyp+OjPIiZemwB5eDNIW2e4aQxsxS52rbLjg5ZKnTTLDvlC1
4XbUK/9Mrbx+HMhj+DsgSViICJyXqwuEkctDSAjJRUwZXdBHSROKr4Tcyxez9uPvo/coWv7oQGaI
52HYZFUIJLBSV2+tNQa7NIPyIvJb7b4La/hypMafKSSXv+Rfp/4yCLEd6uIeKNgWaRYeb0axPXcI
xPS9yIZp1w2tRop8Y7Sk1/CrLiatrM6pnk4MCImbviN8bxxSV+eU2pCn0Jna3jD8bNPm9KCksra8
t1/dqadiaVPmAUkIlETHT2W2xRA2mbZopZKNKiqAqQEFI4gAp2KdnPtSbw9Hw+l4uBT8vp8lhQgE
W2zlWCXCvMzam3Du9C37SHX79tM9XyRWHw25gkqnaLF3eoVVImEzECrk+3Qa8q9cvKJvJbJFLLgT
zmOCDJXJdxIsXD+ORk9EourXtuFIBFw8IIUMSJfQRV87QZ6aX8pMoYaCvltJIPj2QOOa/s5Dk1XY
bZdN2Oy7IpH7J8wFhHRbj6rKsE1DVsTbz7RevQIVMfgFZIeFgAh17vgVtnbm61HV7UM83XamjcVc
BoK6nzQ/OgM5v/5YVOaC7d1GAggdcPn3L3Y834DcnJLqnget7ElaYG66eup/TkUhNiA20Nv//MkY
Bl0mMCld19WET6tJaUgm2ucRlu7z0E87y4JOTWRocv/2SK/3JZ4M+QwgrEoZtAY2xriJjaCr9sY8
z5sGD143zaNz0u8Tgyw7OIcfJwbnwepDke2A479f7LXRxJXelMgEHDJl+/aTnJgNdKppjCPKo4G7
3pVUDe/dzsz2fUuHLRlLi0ZWQGZaJaqr/2AkBqCIXdpJ6/6DCOhxSWOxj4nufB8rrbQtipysyoGM
sLdHOvXiloqP/zDRn+1aX867asIRRpGyPd0x3SGyvt8QE9qdOc5PvTgA8MXYC8IQvf7jyR0JoOfG
TPZDbuXOIOhbha3CEZJ3+hnM/eTjUJpwWVdNrhurZTRkwVT5U7qX7GjaFYMWubWendOBHgPpy+m0
PAl9dYsjA7bH6nQy5LnQye/bF6b9hOH89KE0u/LDkKnGXa720w+lHMuvb3+mk0Pi/EEBsXBm1iSw
UA6ESsTTPpkrUgAI3tzKg5Lt8UrM99PUlsiNpewcvZFSiw9zvKVTi+IYQT3KiYWy+fjDmWbXBnoN
pYWYQMvr0X1+xzYOT/SGxTa4ftIT/kSTl9t4V7ZfNLmOv9lEvOXOpBVN7VHJytclLWSCGpN5cnwE
CpfGaNSf4aTShLHYgmQn5PeTg0eO/LZPldny0HHY0yapISFvqpJO6G0Tqvq1wJus+xgj94y2Spon
zZ2BESlobCXLpkskbls4tq9mbUUkXx8+iVjJ5Ts10qUJ8QirbGNUqn+j1kr8KxJ21Vz6E6/bI2G1
uJdGqSy3OHCgsouSYS/PLSZ7GrbUH2S1k02vAb8KNlz2h0tNnZHCKFaXAX9kfu8pdjLCh8TeH5vY
2P9iaBNG+cTwqhf5mPi/Kl1AnySZdPpM28tssR8CweTnxMFPKY9z12+wsnQyMreTbRDAw3CjUJ7e
W0VbLHl8fp/SnxiJZiSuq6r2dlkhAy7xDMHjJSQOwmF5QRMIiAga9vjvo65PZuBUCAUmsDaO4ghr
CkvgCuEjOPvcyyGXyoRch19hMyXXEIFxFPe11v9U4UolQ9Xwyy3MCwQcUj6Sah30hE2mjdF/kQlN
oj2rq+OHBrZCTEZgPv2QprJWHD9riN7owozrtByn1RVYh5wQq1mQiuBXeWvsgwlOgVvYLYzAXBJh
6s5pPt11utGRRpO033wWWOMWkNuAqOa6v48nGB9h6Q8EDcOvENoeecRETKQ6IJQnW09Y+EPEUbyf
miy5nUl71z5Ab5Y8soyUAlb9mCqkSpjER5TVvSHhc7+3Js68smpLeVuJwRicsm+6XQiG3ZNYMkx3
lqIE9UZrc+2ytZIEv1v4DsSlKR9oZgWPVP2EPAJtJI1HhS8meBx5dh8YLXm5Yq7Mz9lkFR3GOCQ1
bbqp5SYDoE8GlhrTd2ZCts23yQ8Idh1DJY3wDzGipw4i2Q/8KSdlY/vBBEGmLMrsKs4Slngm6sZ3
lGFMaX8T2gDCnKomVPQsfJqJxFUu+lL40UMpNbztmVar5dCrTyISc+v4E5lOWruRuEu2XNw0k0Qb
tpSGNIUhlzdWGGD6WAl5/hCY6hKnmk3cjQCioGACUY6urdfSjnooIOCgD6WDZqLLcf3ONGiejZhs
OUHdTvPWkvzya9jbEQtJ7qZdyJ5GrBfQA1L1lISk25lQVZmoJaN+NJSqKPbGWBDDNMEZPeAyQJRU
DkKsb2197kLP6BP7MHXySJ4QpCDEToFMBoiQg6R1Q+JNHkpz8SZobQWVVEzu6OhVYZh9xwgl+pRG
s2g8xFqauC5NM0td08j0XylGuIkzN3nJf2claU4EKeOJRuIoz25klh+SA5SwlUQi97+TDxwYG4Rx
ESHKbUGaU2k06tJATKH0mIuFrqsX6vg9tjTyw8rIRDdGOvcUbQhLq0unCgUJDGNP3pPtlllfEIJA
dFjsvye1wURIE4Sq4dSKooQfDLVpf5/AfwS7/Fsw5QhaeROcOUJh/nfALktX/d8727tx9A0sJHqJ
uCx/4jfgomvvuFwqOLYjuOCEW1Skvy3udazqaZtwCuErttBtwJ3/gltwuF/kuktjH7Yndx0Oxb/w
FkV+tzD1WfpY7OGCT5fob7zpr5s174y3Hfwszt60Tbpz8P2Bg2AycWvEbOH48LULKcCD2FSdShmC
PYpFjg0zs3cv3sf/dBQ8jrneUF2gcD8epYqj2R4mRkFKPb0PSHQ5pEqtnrluKCveOAJdnof7NWxn
mL+0H5ca8cUFJ+3DSFMHA8wIQiGpX2E9KW5Z+hYupJ0FtpmYulsl3IOdEZnMJiiRv7Ln9JihwnRS
nLbv8vuczBjDy1B/FB+IzVC1yyqRddCBoB7NbZ6Y2uBFOVoml3BHm5jYvBsbdxRqd6HHih/tZ3zq
dgpHIOdO0CpTV5IsRmKFy/Zf5u6SD38XhalcXQV2qfnYnMRQ2ktdD279Ihf5Xu56zm8zyg2Esf6o
fdftubH2BGEqO9PX6s5JrZztROqS+MYv9FpzCsh7V4OpiTsBnyq6kYtRhj4PxdIhgDF56PvMlr1g
zItrXR3adNsGVZdvpTgb4V+3fpZ5QyfPvaPj85YQhyRIEUr8XlhuPBPRueEfyKVX16Gis1+NEED2
ox/6h3xoe2sjVF9YuzKxihJ/FNuPd11GVLtn+1HeX5HRmLB3gkrmRMRNwUUNr799P4hM15907H8z
12jaIj/ktV5e1fGsV/u6MKePfiRnkMfrAXAmtSdUnybbHf74HBlPcenbTw3ZVA85FsO/+kwzCCok
0eNr0KvpV84F8b0nk+EXEL7Iv0gm6rdNmY694lGzqdbeDqVaOBAtu2ivzATgeDTky3hfqqSb3dlG
S06UUAldwYzQaqorUpvqhdQ+ljCkIJmoX1vSqqgz1BGiVqu2euDpSjqqO9muygEtny2jUA06GyaM
PMZgjYZPXQlPSjY3WhDjzUTAsTJ8tjoLlmUokrzcV6UR3wjoA/8XPALsfvHjn/+AbvRiP3qFil8/
dXX3cnN+/v//Fd5rgF9jrQKNeRGpPgPbfwWQLP8GGjXWTjhLsbUAbf0dQCK/434Ef4WrLHwTkPJF
wfnX/izxL7nkqgtRk3YUaBVEw9WO/NYOrS7dx3/dj4Do7ecfAW4D85PdeoWiQKdLwwinz4/cRXVX
DWO8G6jqqnral5a618g2dVqRUApYAdmUP2upupdYyW6LTjJvM8NppNE8IHXxCSW/iIou2ci+ifyz
/y7N6rfnV/t/RcA/FvHyvy8CNjRgagCSl/Ns+RN/T7N3NDOwpKb7Du6mLaLB39PMegcqjzEaDTxN
hUexoEp/FwHaO7BvYDOVqyWffsHP/i4C3qEmWFolCsc2DRNOwj+YYsfQCVajGO0BQJp05GDzv9IK
FUmj+FqZuj0uxnvDb+YrfON7L5bmc+SA47v+3yMx0NJ6onRZFQKtMuDElqegc5YabsKKHrmjy1Gy
zUz5G1oDCu8XH+FE5bHgz/9aPL8HXNK5YWFBR3ild507LnS6Hbvou6Jd3Y5k+cbtOP2arIEAsCbC
SM3oyVB3RwIAD2+Pfeq10lfCY4dmMa93VY34gxIVoUHEoxzJKSQmvZ52utK0VAAFASPbPx8NDzom
EHQSiLYUoC9rH2T2bc5Fzi0VK1cfJb/OIzcYLADEhWjcn8HATr1XyLU8GrA1/ZMVaAPOHg5FWri1
GWc7XZ0lt03MzzDYxIVfmBmgS6x9TMgoOjPuMkFW3/OZUgDGu3BM1r5lvSGSpcgg/lYJNnNVbUjo
MuD1aN99UlI2kzSfo5WeeFIcIjEJYC+HS7zWMKt4MtQWmmVFy62ZaDXT3i82HR8SEwAhFYnyXpHn
2VUJuDzTLYfUtX5aTNpow6JI5b/JkF/NIKq5Qh8Tddu3Eimz2EzPxOpSvuE3xnbyYzBVH9+RJZ3W
fE6qVVosccIlvlZ6TrIdzIZU24pL+t0kqans5kvsrdLO/YN4zsIto5o7JAmDZOSmS1yu1jRBgtVJ
l38banqaDoF6+kfJNupxN6qNkj3oKTGtjpUPCyDUgAh4wqoIuzXgn5nuRAj6jT7E/V3YFu3oLgjc
LVWqIHOgToXvwbQpLyW1iDQ3iVOy0eWIetpJ9VlM3gj2oLpzYnYqPmdF2Wz6CjIU3ntRQqwObh0t
0EYrRIhSJrMTEIxiiuN+N5W6kXNPz+R+M45xnzhxlxu9Y/ZD9gPz7vFzXEuRsYuUKLkTs94Ytz3y
l+2g11UOOZw4HzccICynVW5js6pVeeSRUqs2sDuivqYkXNQ5QMvpwSKQlPzb1Jy/csOOws1Ch9Kc
IS61L0XfxMU29KVUIDgqkq+BgTWhU+tMMNeucuVhKBU939lNY1gOvqqkecZWWmleo/aCGS0H7bWY
RpXsy8bSL+TZaH+GTd+SuWrZ8Q8yB8lNrPwmnj1s44xLQ8S9v48L7JIPWhjk4GJjkOQXGVJZtAPk
lU1f4iKaCmeYeqF8thH/E0RMHu3/Z+9MluNG1qT7Km29xzVMgWH5AzkyxUEcJEobmCiWgMAcCMxP
/x/o3raWqDLJat+b0qKMTCbGCP/cj/sVWmeqkZQmw1qafT7jhPtA1WyDSMj7Ikl2M1Gy9v1aFaZx
wblbijnOBg2/OCpGt1DPRpFOsH0ykWU3Y2MjyQD7GVQx3dRz76rbwh4pC2WI7+aHrK+k2JUyWKnY
bWaPmatbD9iUFxPl694kDo0Nz5wW95rwUrNGmqxyU6GMFIZPWsnMq5QeaKztzxQQggyKzNmAnEAN
KoUdzDYXSyyf7FSWKJo+bYTvJrAh05EN3qheVSM3zHI2F2bKhs3rRwdsUMd5ubHcRKZfzcForAc3
mBPngH4kXUqBleGLnaiyeXpeTRqdozY0O7WzRecmn7i/KH4scLelu8Xv2VFWfeN/G0pApMjVRRHG
i0XM7ZyFwUCGu/cZe6TeND5WPpaAyEwd0rgOTZLZ5iJdnhGzpkfMSgKDcFuR3vJbILGRTGpMb8E0
PbeOVCiYvKlja9VgvLpwbDVqV5Fcl37nfXJSnRwrPD2s74ZmaaPFyN00mqvQvTFbxF9qykF0Re7a
EbarvMbL3qWEqLj78sV6yDxrfaqccvlqQFz8EnZFidieTl+VHc4DUl0y9fuGEua7tM7Ml04H4Wux
JO2Xib3fGJtlN/SHOVBkYMsBeTeqKw/MG7F2dqcMO75CthI2dba1+0DPcKtoaw05nmueTx+SeXvu
BDbZ7CjRRfHNoSikRVkOxBe/p4U0ToXR6NgdzaX6rKRDNDX2BTJufR7dOiecNq38RjoaXunKThHD
vHzN9kWTSPQ2F58CFjnxaQ3p/IrVUFCRXIk8MeJ1NluspMKiLa3nH5hXWVLvJtlWH4q0kVCkrdKA
TKPsNqXv3qth06drv7V+JqsZwZxN+iiwC05cWNkWOmDiNFcTlbmcHMuSj4aoKSZOXIbilFiO4rkN
CgsEeOan3o65QMLFrkL/vpdsz+MsUAnXu+tWnzVAhHBPNlaCRMybdIhIkhr9XjhbCAi4a9VckpzW
mmuqfZIqmoyM2E5npct1QjUm1eo44+51MeCyqvhaZyKDbXYrAw8fSgXtBIw9P1eGEYG8ZblruwF2
rmMNbXc1VwOta6s7+9OV21SWR0p8Cr3DzN2WAMJrQ0QCg31TZKtSXjt9kSSP4RQa6wG3RVnxdKdE
9YEQChjNWnmMYDpjKbnuJu2kOzefuiU2lDeXewKWbr+fSiPQtBkSYkj/CtsxDZ9STCDpO2YUxXRY
szUsj77fiOFCtHJtI7udy+zVcvWIt1TRyIujLHCXs6VUG+5mZ5nUXdH2rXvhmetLbsSmDXhPE8o/
FYWh268hgc93Bs81iFqsBycSMgZGk8vitpV7zfda12c9BLMZ9SlCOa8TV8j+vsiTwb4dfZHqfSA1
raasVLrxglhrLleZueblQTEcHDRhUUelLx4TO2vPgwCGQ6SHRUxnnIJOg8StK7lr5SQfmgB41Knl
0VdEYrSfUuJE37I2y+6nScpL75OeiobGMF6ZEWEADXBy0ivdZPkxnzPXjzEzbHeeK4kOjF3qL7Ht
8VGHAjsmLdpB2l2YzdDjC46rodh4LQQJ0UQh//RJ02wMK6BlY6BaFc9pqI+W7A0AaJXoP+mpBE/n
1ejVRDGDr3qpGRl1UquXCaiPsy9CrZzITa20OqVm0LsHqt+gPpVLMmq0dEgXhylP5mdyxFBELc8o
Lk6O6MH5ntby3JpZq2+XtaR/qfAlELTES4J55+Xd8C6kj3m9nvLash6YlVEzkwKri4LWD4CgZX6g
Y4qRR3vvrjn65QTDp3kY8dEH55UKNX+XyplJliosv7oafXesrsnhUKA3KNFXH2WXrt4zD+8BMcZo
tjgsimEXT3Pov6b0MT2rtWcI23vGDVEuWHVZ71k3Tu2WzwkFz8tJmLJt4rVzam+fCa9xENeaCbKX
N6Ptr/hRuh3lalLGDS+mFb2vz6qoMC3Rnlye8mUEACuZ8J9Q68FtEuCH1owR8zhtxvQzzs/lWrIb
48SOLH4iR2TGZyK3NrMxbC8s8DIwHT0AupoJg7e+umul3xHGrexrVQ9yigs3842DB9esio0qDTqy
fgMTfy21473MAaDdow/7r4Qny8k59qSVQ+jSWvVXOijm4mo2Ah6cLDBUcsiKRQOI78HTRjpZlLio
TnvNoxRZMLxjzDdmF1POPGYi10taZ18NZPCiPGMpEaduyo3RNwZbo8ie8oIrT0n3GT02TfAn93lI
baerS1YGfq33E33I4OtcnV5hcPeduA+z9sW31gX9FjWQBWm4XK9wjDuGrLyKWOlURXggp7tku4pA
go7yWUqrizDKLcau7ZPBe508yVQoKhBPAd75Tpp8y51m7I62N3NPmhLW1McqdNoiA3zhZsHXUHp5
uS+5xD5Ag2hejFDkfB17wVBkmz5MO1Qh8wuDo2W9qnXvy12eZfa3EWjyDVjn+ZNWtIuDkA6d6V5W
smt2thFWJNRqyf6pn3pxmBlKHVd4+MbJz3V2U1Om9Rk3VP0RUwq9k9J1GNAOcuStHYyp/LyMs02X
nltmWCtMp72ZATF989amfB/CbSwOYdN1n5S95G5M6bRpRJ7bu9W71c6X26wbWQDy/GXsSpI8LXZF
O3O7a5fOaNsaFZGdYSn649g1tWYGq1zms422v6wyXz+W2FhqsjK+fA2YB1P6VjP7jlDOp+tMKe3z
iSpg3kjBTugqoLacevPUQ+5r9j094HeyqhnAJrozT4jMiAEyTKc+JtJlvGSwSRg21uEczxPex9hg
f5/G/J3ll0EP4Z072cJwY6daQPgdeZdnZ0cXgd7ZFlsUllwqdyJLdtXTWstJ7UNWjP7eY3OBFu2p
je/m2tVdYs4wEHPoEM9NX00f20XVH90yKW5YkVl0AThBep10efdp8YcwPzjSKt4Rji4fvVCtVUQY
XSwx0nCZ805CGMQWZKSfeVw57T50xux5oo2Dzs6w86+kIZGKtZ14H6180O/1tK6PfYrHLMJIxRA3
TAE+wbJc7IuoasCNTLz7IsryzHlE7wZT07psty55NgN79FQCTUEDkwgjhY3EPSa8yN+XbSI3/ztv
RlB6rh0Pjg28sE7J4MYuS6fHfhrYBoQsqG/MEJrCwSL5gDjvlP07sB11w42dz/9BrP2fOPjfpMd+
kGt+kaAfv9Trl1p++VEd/P4j/5kRmv8ij+5sjlRcbBu543/kQTv8F7Igck5gMzpDcUbW+V8VGuWQ
+R3qEhRznINb8uF/VGiL4SIRXNRnQqG8Vekm+AcK4c+WJ1apPuZEn6QzZSSUa711lY6ysNPe4AIf
Ui6LfZ5U5kmqev5TK/LPktn2OcjtCC2ErMgnMuVEEPlhgLeEHqvZZKDCHhAgbwxnGr664DA/2r73
J7b6r99pCwlvzmxslwD43khYBMfCRjVTzkaSOd1QDQGL4aH8R57Lf38jHJCo95ufC9z+z98o005Y
MWXgG6HAvBe8AgYIGTK7LYI1a6NgswL9cGX9jeT5yzHENc2UYIuobOT4t7UxBenJQHVYDnJXZ33E
ZnZGGcldyUFN/xS1/9OHvTmIinfdtPDUZX4cLPOxtBvnqUgdzMZqJvn9+2/2yxn77p4mdkNKLkCL
43L/8erIoB/Vg0DcwZttvM9bn5ThJLo/fMrffCVSEUj1uLUAYQTb///hGrQAA/V2xmIwaJf8Ukin
P3aIfbEWqDL//Ash8GO+JCsMoPPtR8nSAcxJwgx3mnUWfBlgNeJPTKC/O2xbJH+bLvCE8TeV8Ycv
VFaDKBdem1HXutaxGIIythKR/8Hd/t3++r/SLFc6Z4eBF2+HjSLovUX424aPiG8WJRPNLGh3xOM8
8GwBO87+WIlx6COQbKO+bkehvqQdVVDviqFW1nFWLapEtVZd92jP3O1xrdHKDsk8JAgg5KauIUQH
Y2SxcrOikSBTGvdzT6GW5xXzELOn7xSlnmZjoGZZ6bdJSyfZ0XMMkVnAOvvilT6pi7V25BrXotL3
YW4qdZZyZWeO7ul/ShnKDn8YPmzX49sjsqU+OMEWz863pEieBjgdDLeg7asINpqWx67fZ2XWdH1x
z3aNxVQ/WAc9m2KIBEyof2S8/X5KCIcRjYe9D/jk7R/Q65Hqo0ngdjAprrAnegtM549ksr+5YZgd
MYvCeoH/4u0jLl1XY2T8UrCfGth1jra4OL057kw2R19/f8PwHnx7RF0S0EjiPFNJQb953NA43EvU
3zJyi65+9eexAJWKHNJGXufIh1ogg/+jyMv3Y+jSw8J8zHUZrrztcjbaWTYy4CPJC/EV3Xk8SBks
f3hNvL1H2SC4LMQY4TIwYqT3ZjAmnbqTjoVZo2sNCwiLkHqOOn/6Iz7/1w+iR4S3wvZCwln0tqu1
KyjhzXB9wCH3sitrRfDyXT0//P48/d2n/HvBwNSCS287jz88ckhoYI6jvCcKwhl++dDmOwea5z98
fAKVpawP/gbMDwqR3tb2VZMFpcceqgjnXXVpqCqJ1rH8E2Ll55HTdrQo0uV1s1WwbCzHNw/pHCFH
pZIKjlCv7XsJtHtnDDYO7OrVHnTEjs3e//7o4fN/c52TEtpsBbzqto/9pTOrnr0UvygC8VR1Bil/
embJmVY1FN2gJfx7DobQ++iOIyo9hHKY7TxpeoYwwlZHrIaDG+GEtMsThqh+2I+mpYOd8tKAMGqn
hmrPPnIK9tRV9WPcDdXyoqElIiJV1JzERdMV31aA8S5ztr6zdwG75PzgOWsO3svpAZ6ju6bllWBj
jGGyzdmyWM4aWNGc28YtGkcNHmz13T5eHGd6EOHsfk41J+gwLBkCeZkmQORnNsIn6NoeAnHfVRAa
jS7pSCAo/dditdOK2mR7S5xMU9NFS+s7ZRxaIwOVmZemGc+JpfDUJmX2XAbKwy+8AT2gZyjmoKWy
umGvA2gUKA8WQUJgoimb+c6xiqt1SKcwLmveY5/L2drcpVTAmQdqYYC9wnXLDgPN5uZ1sLr+i9su
hnoKzSHw0fYnN3UijFp+08SdVecuLq/aG9YrdlJNgxqDXeojlCMv4y+ceeb67D/bGL+taI9ZraYm
Sst5elx5EVWxS9ORjD3c1EkZadIL7F+HIDB2SduZOR7mcfZPKdDmOg7b2vnqcBGUO9i43gsqUjZ9
gIydfPGpJumj3uDWRh4Klvuw9IzXGclrjkDkqcdxyF3jpcX2/OiyJJFxr1VQnRrPmhgviDE9t/nE
vMXNs2rdd0aojCcV1DNzLENaz72ns8/Yr80mZovbfiI8LhOMKL1Pp1g+TVjKXbtokdZrmO8AbavJ
jZU1p8HBy7Myy2JbDcq5KsZlzA/uYIyf+3o0288+DWTu3hhdRJ6cJglxhD/qLAfDK90sUnqEqmbo
FGBcpdcEy1s+5fbRzRSpgNA0/M/MbfQQ1aj9YzRnKdd5WDjOfWlm0ovpmVP9qysB7F4w0TvGGY4Z
9lpllulmUzYxwhWqWO847lb+ESOGZX7tyqTsn2B7aiJgEEty8HYwwHdLsvjPSPQUn6Zjmz9QYC+d
M3hVDmwN7m48V0tSuFFejal5EOZUOLGiVDGLck2lxTevMsm+MNiiYkz75WwwNDNzH8IgWPurIFR9
/k4NQ2rFbuaN7Ys2dJWnoMBh7YbR6GXrSXDHQ5k2W1lHLBc7j4HrOjPz9izZvl/CKav3cJzhCOCC
tAWY/UwMu8IqccYRhME8n1GFTWnEUqkny05dtRNlW9WXcB6DhAHX6qeMF6QbRN2YsgZu3FZW1+Su
bBouJC6+ek9P1pS6R+1UkBB3mg2tMceNbBBB43AsZzQjWqbrHUe6KK5wnVb5LmWrhxrerw2CVWqf
q9yfhzseOZk+2GNnZQtu7FaglgY5XaqftO8Mff9XJwc2MoQTRC4af+svTIPilGFtAKiQM0VJkYZm
eTuOZd4g2+bu2piRbxGZCvfrWqhpikYbyyIgcK9KqXYo1/ILs5E8iHymHTNVEnb4GKa8aaJUwsZF
POzVByoZVMqzd06xuEMuqw/NVI5WNLnQzOOucmG7uGwTQnKVjrV10nWsVMOs8xnlYDuf4qBgu3Ay
+lB0Oyo8veF1WsHdxs6Ien/BLo8KVLNKNY/LPKbJNZC3Md+3hVxE3Cozw9a+VgqRe4TqdJo94pt7
k+HyDYktXtmCVP+0z/uUgg34nn4dqyZowXxOTnhXuuna7lRv8dfnrFpm0ox59dDPWDrvTfq8uDNJ
Pc5HTyRKb1aCnud0W6g59trWfG+AQU2u2npinsullt7l9CPdsiM3KBAZE/nA7/DmaBpmc90VTAGK
S1MGPJutRTdJRJx3CmKMPpl1XrVJm6bVNsEDRwrdzTGm6rlZUj9hCuyVf/WKTpiIGhLBTnWlCiXm
oVPLK4fKyBcj2PjgLTsJqKDES4y4HY32xbAHn3q+PCseHeTv4TDLUZnn3toE3UQY47UxJbV97PHT
j+xGcBxxs1RhefB5qnzo/d5s6UHs7EeAYewhW2sk4dGplK0EYzPX2q/L6n1peXWShzBtacYZjoXP
8EssSt8cS51DJemzIdHr05tnDDytcYCvHww0PAeDQpZNEEj76cLNIRgHm3V77VI5iBNgMAdzv9oJ
xYoZCA4vYijlUIfSVZov2Yv0acghaMRVPXUqNoGWZX/JhnvkiT9TNOeuGv2SC8jIxfOaLV576amk
HS5S91UbV5avyj12yLqOhxos3WeXHxt2llZ+e7Y0Ju+4o19q2oXe4JL6zJjex7liiv0wzNSA7R2m
A3XMAH1qYpGUhXmtGcDrnRzhj5HuMUYiJqqwm6ugrLEFmy3D1H1jK2M4higqJpM6SffKQgBlfAc3
1MkvAQ8e2kdtd8n3TRIu4jNJ+MI1sRHQgHOuSBg5Bz9Ui/wwmITW96q3+e9E4iW5aRkJ1Gjr8C3M
d6H21cw7vJ518F7QRde9QJvzum8Ml4b+WDuFYADF22GOGh7MWLG1tQVUita2I4Nni3UKQ5U9dQVs
Ns4qNoQYZ3XS7EsGLG4kktCgBChdJI/UKVt6MC09XCrlelUJB6YT+iovW95GPnzpCTuEZGghGArz
QmXt5DxK0xmc2IZExw1esvc/1diPJa/mcXXiyhaDfc4nM+DoGsU07lQ2TcegIYkZS8VucF97Be8w
NskNaxjZpOOVCBse93JmUbZkhljjjLpdESn0v5tOiiTfjyxbGG+svLeOQ9HkEjnab74tPGYDGLpZ
+gT7peOa3PCAl8DBLXDg3i/yyDBBNAGk1eF1OnpMEhRCkYrJ/SVgVhcvf8pMCwDm6mihIaQXldy3
y7Ad31IZH6pq5R4JqG3jJSdKhr+8G9YuLqUhjm7Xq3eUMyTVPgSZ5eybaXaGeBTOQhfcaNxqpQJv
hy7ufQs4aWYkFBHsfU9A3tyPzHI29D+iwfwN7qH4lBimNz7O2TwbRzNh/RkbWbAs0ZiKrttj3Ibg
VSTiqxRUhL8r2oGn/GrWAY81x5mXK2eq8RW54C6PuOWbYYvC1RpjuxUUsSgz5qFDq8OnvCsz+LRh
Jo1Iz9J8zgffCCkkEcDjwrmDHI/NxUdxSBrnwaXEpzunMAKHSHdWRUgQVrF1IAUE7VyPEH+jXhNZ
jRpj4E4XTSYeSy9vXlw/mfKjSpMVhYknKiUwxQqZNxAGDa7YgefgvV+j6xy8dNT+jahhss8WCJW9
M8giA8BrqyvoEtkQNTiDHj0yw1gU1qL+MvZ+zfHpGW1sL+LOiAtbkbjQ9AiwyewY0kXsCWrJEkE5
r4PqSGfUsqTzCw4vdiY9NO1zNxXzGnnlWiEekpHfIo4dkzxgFoIxqZnxKmL7X/j7mins+8HhIt/Z
4wDaINgob7tSW6GKRq5JOyKS635oiSCGMau18oI1qwsOQrdEtnp3xPrgYVR6//ut1HdUxI8aDBsp
IqVsDj3PI1K7OcV/3ImagsWpRRVAhFmIYhCXmyNjNJQky7sm7RLvILPeCDGQJe668xkTyQi7xHK3
Wv3MWr7AxHVYoLQsu6wuVwF0uMJT40Itbe5K7CL1vTtqAhAZOzZiaamR2+d0zO1PTDjrcb/OPA3f
s9VOJcTxWvaR03jeJ7CSmf9orb5zFn3t+btgaFM4ovn8IV+dJLxdSmlRnV5wXRyNJDGAdhmuh8mo
m4bx0++P0VtRBdkO5zElOuBbfNSVN6JKpog9psROMPVZ1pPhrckpCXOsuKLKzacSwtXj7z/wrWD0
/QMDuCvg4iB6bdOOH8/J1oVlFotXsxwzy68g0qsdmw7Wyc3aW3/QCP7ms1wM/ExI6FtiSvJGfy88
Z+wxRTSR6Ex3r1QdHLB1pOeVwrI/bNt/3bRDzgs2EZQEP0jYNxpOWCdSiwrrURK0z6EsluslkN0f
jt2vH4JV0P0+J9qmPm/hWrkKK+WNpBerbMi/Vbmd0W3WTuffn6G/+5QtFWZu94znv9VvMCywtWGT
E2VhOUIbK2RsmXV1/P2nvG0hRjDcfj+Sir8F4EDX/HwhCM8sQqFJLm4nqSHm7JszS0TLg5eqOwF1
ejC1IgVkrfYTjfDG+JCzlVv3bNnJYdvL4tpYVoXyzstgLf45s9LCjxO/mv/EP/27IwJelyaNLZQH
qu/nPxWKrkHMbzvufn9Pm4Bx1kbjn35/QP72Q2zfAinGXA9N8OcPscZwtPsW556n2YawroUPs1va
NvhnxCA0LQc9mquUIRsDt/CX4nJa2BWkfoXFA862MWWMmKUKcMO5E63Xv/9Wv9yCCHQbHAqtDoM6
fKmfvxW2N4QrAbESAanbr6WhY8pBPnR286eyhV+kOp5fUGCJT+GBNxG8f/4k2+18yUhqiLh4h8hd
munM2yy/lRCJrxNPhlE/kIL7/df75aRtD80Nb4EyzQjnbSEpZprB1gHDA1m1yc6VVXOwXa7m75/y
f6Pz/94E1d/kauCidV/K//p/3zr59Uv9X/d/tcNLKb/+OEnffsO/B+m2/y+XSTUjaqblNvopJ+s/
cS6XGC4BKa51ixyuueG+/idnY/1ri9AAEGTyzmtiu+3+M0a3/7XxmkhgMT2hz47r959M0Rm//nyF
cgtwa6PyA+ozSfCQuv35CsU9jfsX2IVsqorNaT8J7RinvsXoZBiee3I787OnHXiybTh8dlcTrWby
+tsWM/RHyx/n2y5tUe/Zk9WHNLHCD4UrXxy1RdvXdqSSYsTmDvzHAvA5yTqWnSn+8p18uRKYOHff
f+OsGAmjIr4soK52iyYny6whaKCDVr08U5jZns2hpSROgHpWwinu3akT7zxrYctAxJOfzo2c/EWX
3zbt6j0lWbYQPKc3sR/0q7tQ9xMhgGRnTY/QqcVufT15lHNIi581lxkVKSnr65IODc2m5TaTVXEr
xfCa571/45cV1j82T+e8Nc2TU+rXKk2MjxLI5S0eHT/OqV39CNaJ8miR1schMzbxTfo3Q08nJyab
F6o3sAPxk8bEbzQLRzwaw/SqIOxfMK+WOJ/5kyfa927ZT4hvsDf9EwKXfwrW/MVPOYCszopbNsvs
275/jaz2PRyaHKfvf2UAbuTWtJV/My3t6yT5qYJISNo61k7qAbrELLxTzRRwlxq9+ObmNMyEiHBs
4Ejg3g4WJgqhs+JWhEl2tq1sJrLHb5h98Y2zOkP/6PgSpmFsvlhlWcdycYsnSMkcgCozD15PvSJG
Mv+GfIR/6m3+3iXpkv2A7HiLWFXbUcMVd7N6Nt/E4M8XfmteBlxY8DK8siBJSw75NGblDJmTH4gs
5U87J8ns12rgd6JhYt/2BHID2RdOnlp6nLyNTyExBzeHr3Ba5wocRbsk4lvuly8KuNbN6kyvVZfj
EjdspF+Ei+2w1k7vn0KXr1wvHGBHVS9ratbxaPChfpuyDwyW7ptwU2zIDSekXDKfxkj96syJd+OK
YrlZjM79bDc2RzEYb4peTHeg1LCyYlLFMKI/gOy9s8qkGQmPNPbZD6SRRsOkyodO9f4+zyb/1pCq
uDBOlkcSIpuXdIAbj9G6o5i3M2/pCQ72Lcavd4SmSU17YTMy+JjAi6NC7Qxu2xtVmcPebOfk4rGk
vi5qQsy+PXSfZDFPsefCagkdNmmERcdd5vcU6BraT18Zc4sTstOcwANskpM/BM6rs7WvRT1tzzYS
Ud/sq6QTO6dZ9XWftm0cNEH/Vz4J4OVjmJJHnkOwHZ1RRrgY9O3EBR80iGILHE+WKKsDScwtvPfK
nJyP7YDul7t+s+9SO2P44izZl3TkRlhXr7sEpbAw7S7TPbJcfsNVP3zsMsPa17OrxrggPEY7hpne
AOhpr/x1Mg9WhRmZQSKSVWp5Cvlnsm8MqEj3YeNnXFp9eDcQ69upvBCxZyr7uljC9SZtkSkmGldh
nY89ZnjTjNE/8wxRamzQh8PxlJnmxNa6ToOjZOC096fcu+m9wbk162R6MCkMOSjWhfEq/PQK8RpX
Eo5Z73oaCuel4mNhqJfiPFTNV7Ah+t7iUYmjjsHOVVkJsQ/r8MaTtH3UKQwaS+lHq+bc7icUpr1j
Js7eSVrFX1h3B2fklthAsDsA5u7ZQFFDV4POM9Kl3qiwucsGy7rJ2bk+FWbSXdm14b5osn7pVspD
P5oHBCeqVF9cVdqm2w8F2zlbrfWkTU9+DEtffBxa78pZhUuX8ZQ9kvpv9t7WvhU6xA5W/CgnickG
eFGd0chS6+SDsI0slpB+Tgkpq7vBy4ZTVwXkspJKrNEEUwQBti0uvZUb117nJ/dmQRWCmbQjzYIm
40HhTZYCsYRkA0EPa3IbyPIVVsJfEI4adpvzycksAl3eKh8GHIanwWi3fT33PmgXI08O5oy11s46
76POa/tsge6MsRgUp27OQBkNZnfD8R+YmeuSWRvrMLJU9SFQgXpKJ4WwMFviCvx1epemsxGTYAx2
0DjnT7Pjy0u2JgiUGD33ugBfK2ZlRoThyj0DRKzwHT4gs7E7Gtf89MuKis0WD1u1tFW/M1fjuViT
1YnmrtkqoOaGmV+wVtcrrOed3dn2eWDKuusk0kBX14giE8vvPWCYcC+GDBGx5fZO+vHr6A7XXR6g
ePVbosMQl3KmATHU5Xg2vSU8MYCce25R0VxKxKB9NyzddaGQZHCfpqQH2tGxLtkcdpfFzjYHfmdz
QVlC3WcmZZcsSqa4MuclXsJkOnfm6H3sRrPaG1MwfaU+kNHt1D7qsZbnDlLPk2ZO82EbWl+WOTW3
W8K58TNAFXhDF/uqx4YrIjR6cAneZIj3UmpM6qshzjOzY2AwzXrC6DDuwUOUO6Af9W4wEiSn1Spv
GB+lVBNqdSRM5+0NWggokmq4IRjCn7vRv9IrgzxvRKWwgQ/vZ4V7uN3eVLzv8rOdufl7I03vy2FY
bhhjhxfZr8XrMCGeQ2gCsd7Uj6ROeD5b9hS3jAX+Sq2lvvaqcI700nIV57ScMvZq7qpSP8BbY+Xe
eIl/qLDJ/+V0iPlRMMMVinng61OYVPYloMP0vVl5eRJxpfpXHh8YpXpUt2FbmK85HqyLdoPsAwbv
T8ai3YtJIq6IEhcMRihk9R7wVPNuYdQaeY3aUnbI5NR0Nvdw2lx0cwuJxG5lcts3CriqaR2Bd1/j
uFLvpY/1XiUGV3vX2yf6V/RBGNXdYNBsjoNpfCAvuWVijOmYZNVtm4kPxeLPd4aZjLuuH0k9qXSM
MyozSHgR0XIqjFJqgbbFRUwU8GryOx1XbVvd+p26w1a4xrKyHzPAXl61vrCCXXbJLLNDE4rPYWJx
mVI+sWeIzDYamTiyyiWEDlU+ONK3Dh3NLPtGgF+vFozZLNOM2Ax7/YHAtH/hSVPv0X2tQzNgHARg
NL6s49x8LhgSU/+FrnGLdWQ+G+jEt7o2CGO5c3gv2zA86mbC4xhm6zeE/atuMscHS+jkVtnSQMSE
eu4qOz2MqbPsKsV7jnmRc8xVQJRUqu5kN0a3H43S2WcTk+AcftqhnQb3qyODel9m/qL2i8Nkmi7j
J4+X23WV4yGj+pNduUvVNWinxrAn7hp4pEDkFdSn2nxCuvO+LtZcHmoWvrHwNRVEodcy2B30EXqW
OkiaaQ90wPeHYAwYbgxNtRuL+SoLRU/ollv6yhH9dbZOTjwOpbfXnimu8hxppGmq69IlFaWIFx7D
Udc3hsFzgoSQ9+SQM2HgNO1Xy1b73neNs1f17VGI2cZ/v1T7oAQd9//ZO48luZG0y77L7DEGLbYB
ILRKnckNjMlkQsOhHOrp5wRr2qyY9U/Rej9tteoqEhEICPfv3ntuVhitXw5WtLIV+L1Uua0Nyl3A
bJmTr8U0yCsNj7hYWMtWVMq8XsxS8we4X8xbW260ZEgPQ2MgnJuj3LpaD5NlztKNYjbqx5zk9oZE
GbmwDjY534mKmlQuBxgny3ViUVDlTfMjtsvSV9P2W+cZBDgQbe4W1isbAxPHUczUkzDvPNdWclGY
rvvalICn7Cr1YVa1S28n6B563PhCUjPOi4Gg3OzoQ0itdffDmxbzDWdC/yNKZm9X1QNXl1AXbVdV
o6ut1Qg1HbCeYpxIxCBjMzty9cAY5HjwXNHuHLMwrtyxiFmLaZ3cuiU83Gh9+qo6HbZ8NRHnaIj6
iJyANT0SnG6+pzXx9FoXydbDXHiVnaYhPg7ZqSxol3Xdkra4tk5tgljdIlZy0Jp7y2yru9JTlDfN
SFrVZ+sfbUaDFtyQt4pDpSGJuesQN8q95BalcU8Y0TsFeNGWNWH3bEVqjoTULfNOSTvziQmydUk9
u19HmdVsGCRQD0iOrcecUrvuFeCxunUUtRh5G/XN3ZB4lbMygP9kq64a5G4pnfodwI3zwYti2Vnp
MOhBb8fJFX7BsukFV14CLXBTNKPzPE7ZGBLLxWqiDkI7xV5R7iqmulecZnW50geEWYb5RnZKcuuE
OJQEttMte6oR8Wp0lmOsHGaLwcRW6V7R+kDrWVihGbqrpC6/51kdB2XXDQd3IintJH3ro86PtJ+i
2cyx9Tp16eyTLH4qb7oh86aPlv8rjEuVNaOA0it5Tx8lfolwUtidlEvdhY3jfu9rss1NS01E3CbD
EUJfcRzi/nsuS41fWirrCTjjKlZYrEdctB9DD+k4Lod7Z6k3bk4kmM/6PM9Oixye72Npj+Egidm4
SaOsvVKK1TRYJ5ix6QlywfieI+qfi2Q2P/EPaXdjHKdHHNtpICuSxwtaYDgZarll+YMeM3+btawl
uTvEp4n7lfyqBPUzRvbeAae/r5peCXNS+gG+seNUkjNT2ZQGbWyKTa0kC3VIMt/OzqA9I1YzFXNm
CAZKhUit98chnz94dgKMqxJ3WzrmWrRJHqoedcV0/2GbegQ591D2VrnGlJP7WTo/VsAO1bYjcjuM
T1OJ6NelmflWj8lyEIiAV1CR1ZMyQYPWHeN5QUKIyqW6SstJ2AdqFDhyK5wgZPI2lx8pdV1hXmrv
UykKUlPeEEgX2UdtbemPJfHGjEnek4rz6Jjx3XaC9e66WbDEaPYOtGuOP3PMX9FU/SGblgsTBCOY
0vZ9TtX36raWosXlsZ14S3oRoSNWtvusBAM5Wfk3Ja8yv9esh2hUPnHXBdMiLkKd3sQohrU9jdfS
Ih+Oz2g+RpGt7O3ejdYL3aKFodV4+BO+foVVSGrKyy+3GCvA4yjdDL2Z9lehNrS5dLl+MrJ6CJvF
FPs8ZjWJLcDaK7nLwMKsi40bZ2eWpRryPapYlk1RqJJFDWsbMvmiF8TJe3k0rEH8AO6FvZow+IAK
qi2Bx0su6L1pelRixz24y+B9I8bRBYNL4cJQxHsUd3b7nvFD5c21HzFKMx8neS5OKNjWBfvzsMlY
C+O2kp9z78gdNvsGFTkDcCoWfR1FHtexJAhke9+I/z8srdmvGCqf0tQ7gL36HC35w4jtddXke0b9
2KdZU6S95R0FInBKTcSJSc6ZEmps+1qgINRnzcSTTYUFhr4u1uCXnqtCOShe9oSDaTzdfHD3dZS5
vqaLTxsMgmz1D0tZdsCEE3xG7ORAEZ0xfI5BQozYn7tkCHFmvDSq95KyvvWR9rdDZR3qnNccNsaY
YopuX0Sop6jLt+yU/TDwkqQVnndprLzlLlP3lgzeJiaJP6pVUCqauxrYFsY2mV2FllJIaAJspHMR
igW9wE0ISWalDIqeJLKrjxO2krRnS798coEv/JmZFL1QN1E5PdeUBN1RbCA3ilftXdWoGQAUT6oW
b8pCyUIyzAGv7WfcPMdaFtNeV+VP5nP4fur5rajMTiE0bjwCQHgpDWW5qzP1DTItj6uxe9WU5g7L
zs/SLF8az3sf5/gzM4GJ0s0aG5DcDO8zLrQd9h0+eYFPIS77wp/M5H6R/fdENOOBkBhXW23ItV10
u7i329daIcOP6SS/9KphsFZUo6NTiiy0FAMJmkIhFpqEKPPCxvnQNt6WN16Nh7UEvFAkgWe4K7WR
g0/6eTPU5X7qjE0rzH1ZxezqFHvbxMtHtUyTz8fpVnmzHLKoeeNkPvRVshWlOFduMoVJMaylUfBa
lbs0bm2/xPgbirwttsWSUFJdCftS0Z1UsE9bZaP2QIQgZs40rHGMVSj0tJGI1CPMWd/nrM1jon7M
PNk2Fc6VlOBGeOUeu+OuRcWz2VXQyoNW6NmE1JP0+RYFpyasWxEy/W5nBi8R1WDVN24YNkVPTj8W
RN6sdTRiPxoGp96yjr9TFuXE/bDhb7m3l+yipy2I1cU6m1G26ye8ErNbvGRxdz8AgUsjcQANrpA0
kIHIlqd6ifGTYhAI4pxpRmcmdyXvrRWi37M+JXu1iC6mTPyIKMymyJPB93Jvl8R5hB1Dbm27jh+N
yut91ZZvEJcO7IfRyasSfLDQkm3NowzeCt4Smoi5epOEkbCo1Wi1LIXzvW119uA5SdmeIsfOp+C+
vu/q4YkhobbpCkXbJzElyj09jZu86vAERVXWPS9KBSpQJoIBhocPgoU8dWu1w1MRrsByEvitd1Ko
/XpIJV64qnECnSkyohyjoRANT9vbee/9LPTB3UUk4AO4AtM76D6kFZQPCmO74cRKtfqYc7N4Wby4
3XXaku5xXcmOGQGhkFU7ldWD0ybJD6x42hsjNnMLfUa/ki3pntouk7iUF2WlU8zNtryP9oWTz/tY
mIHEAXT7SOKZlYnjO4Ltj9aw3etYqAaz6H8umlIcuG2t9eBUnOA5nteRa09XV+Lh5jlBk5uS3IZG
vc1WLtHaNdF78MoUVl5yyt9OM5HJUMf/cU0adso4qLzXXEpKpfGfYMRMmmdnSKrHLiny7/GcN5vJ
Ff06KXgrGWOv79V2VO6GVOHTJ7AFN7omtXSFTbp7y9okCqhlcjFh6JiAOkiFIGjZhqmyHzdYR4Yj
u3UGDjdZtOGGI3TL1KEeJP1PFQwaC8fPg0PQNPDGRvOROpstCmixHhLHAstcmnfuvPyc4yw68ZWi
XSa6YR0JOIo2hG/MG7Ga7gjE9nveKN2hwjq9IfyO3u9gjX61s3E4semowoSX73o2GRGMis6YxIjz
+8Sb54dEiHjn4DT7kLJ37hOrezUsS6erSyontD4jwO9sUhLdLNgI9Tu7BRxQyVkEUJu4uelTC1o+
0PeIIMVDbXXquu5LkrTQgDcsY+TbwtzgYAt39iu9bLfmzcAie5eFKz7SQxsrxRP5YvbDGk/sugJk
QrGRepS8/46drZgBDRnGPs7nXebhfxTS6nZuVctdjvvNtzxTuSRq9g38D6tVO31YDLYtZd1c+kKN
j7VaI2S41WNq9vr9gBeCWXMlkpXsSxzkBRuGtapafRDhKF9ZZlbtitID5JAv+bG1IThkY19snbLR
ApIlGqyOpBqAHNTix5IP8gBvYWbHIJVQxrcftq2ydh+3ckBX4TxwZYZxZGunsasXQso4tKEqh5LM
Em/ziW7rubR2lYOxNvWIUsfdTIAxbmMwD9qIDimrgJxKvE+zQvs+aewRe51Wp/j2VNF7uz5NE0dl
Uzn6mhvj3uFkrGlh7Depp7d0RvG6iSfLuhTz8Cjreb7vjRR7RqxOOzFXA6tlkflOEd31s4WHZ8YV
W875sm+geAYZ3J4wSyFpN1BoNjQpYFVl2ubX+NX9JUvSe67c/qMqNH1l2zhtiwzNBMHGCVK9xTpV
yIdI1sNDL+w8XBBv/CIZq5fcy2Ro25Ozlxm/BiNrEYBrJ2vmkOAcDLIPzFqQTWzFOmsNE6Y2ypo7
Bc7SKZqsaM3nOQnoMswRbeMEoKQ86m7+zWzHZN3PZrGT0dBsatVhgMKeq7QK4tbohnvuX/06aKO8
DHnl4AfHqYxfLCfLnhRrK5Zv0oZWNea2e4RvU21ToCubdJ7eh1YFlzIXLQ4+fYkPPWSucz/kw0ec
dXDNcdBp+3kYKxDWarsXEIZOSFHZmgXqmhlXOAxNj6AsNdbbFe6qAic6cXJ3rcTgOShOxysRRepm
YgpxYGiphlpipuvMyn8OaWkAS0mmnTGBI43VTHvHj+uGrWWQCY07kzAcNXGtzXwWBIe7pkdo2pO5
z317JBnX82xYTzUdnUAlea4n0j0xg3GeBsMsTnFU6wEO7i6s0YKAG3X3bV3kflO23WNOtCS8VZNh
9rq5BWmZ2M+z4WXcPrKgQKj4jthYbJpCHU8D/7VvqIUCc9DRt12uWo/pArquL4poTTL9mJQmS/vF
kosPLj7H8wfxIgKyHZiOgqE6G2yTaAceOt5P9p2OCbldFXUXs4LuIXQPedFtRGnBOnK8dJPYpdZh
7a6rOyc3UaLwSzxpA6qZ1nnLVlm8/ofay/rcWMv4k7hPstMIuXk4lhDFIhTD01wvzaabCrZhzFSu
S4qXDgOSwuQ35R7QKmNni8V41ZbbeLUrymdSFiVzV7N4ttn5BNSg0FZnt951TlG5JmMo9qWDWrh4
w/A0NMMHlbXxuexYyzDXt8dn3M/TuYa84AOv/8CfeFNx+UukXSmERhxSt8IezNeFW/yqzk7E405r
XyHweFdDMUkJRaoFISjiKcPS3MjVl2aM9WDCUfRWjvMIHleMmI+liU+4VjNBF6vksxHo/JxYFDFv
TfnkbllNQafV/X6oKhxrbd8FdG6Kb9CllJd66Ptt5cb9Xtru8AZdobzTesdCtQJyeTZq93Os6E5Y
KWjxb6WrdSfHG8yLU2vqXstlDAoZhz+8BOIvMM71ABuicQLsK14G0ELPiHOfXovi285zxHYTgdOc
OAOgtODjzQqqzjLe6gTIpSHNTBmPujh7b1xvvGuMaiSyMTP+Ukx10+gzirKhdvihVe+at2O0i0F/
sJpMW/lJfVyXBfAlbOLMHssrR4dPVVRKRRMEE42ES0d3Ud0th5JRv9bYWLcz/4c/D5yiKZmzQC07
/nRWxds86ZtrYnmwgzwz2uEmEt8kz+Sdobbma6O3ecidx5ldDKp4mtv39QZ07kWT7WsVIYquJChY
eDpFpwQTDQHkwxgInxa9ZJs8Wwse5aEt3od+zAI0oWhlOkkJ8nj4sAQXi1cWfPx8EPUOmb3ei1FR
/cyU8TZ2SuPCQ9W7VtDNmKVF5eDrbSveZ6s2+g9pl02t3HGY/gD/jGd5nKrus2Zw9QlEa0osjMXp
N7ezQtVEfI06nl0B3m2b8bfBZLcv5gVih4smZ7w3S45BQLieJ2Fyq3jhYWWaW2Z9xqo0iAMHy+Rq
IakzLnWjeCeeQbwsaIxp/IgY7fpeRZ0DsxxPq96Q2Vt42gQVplNbVA5Jq8jE+zxIj/hNnzTHvO9T
ikRIIbWrSJvH9uxNdfZzAY47ra2sq4tLYbVKMLpAug/ZnC5muLCTTO71wtEvdaQanYtVWtMCjApi
CKGUWR1vk6Vgv8xzwVzWC21izxFTlOihBX8oSWjF91lKRTrvzUa1RVCOCm8kfW4/QD3UKLLcQSRS
ZLm0Z0mYgZhL17Wvahmz+2XyXTwv7Hp4m3aL8lLGy+i8VLaZlWsA5PnIWnfID4XQWW3MZW1zIXq9
nfG6yrxXIr96e0KmeZI6/2YZQfN9L+OuWs7mQMxxMwlX7t1UYPsCh6Nqz+kkFM2f80ptdoBb4zkY
i6z1LX6WpwXm1rLS5GKFDqbqV9XqrO+DNfRnZRwUY1umsV4jx+YNMLAoLhwy2yJhDtFUd0S1VR+t
SQNvNMc8SLcOVxTcc90NNPanMYRIZM/gNtNbe0W/7RrlsKh2tBpJobTrRLIvQoKk8CMBxraZi9K9
MtzmGWHNXcleZuzRm1lnuHvThAj2MnbRlG9M8oGl73VJloUj8kchN4w+KgRRgSldb2g1YWptF03q
09DatSh3Gjm+ZMgAU7q4FsaVKBNsz8DdB4iEssG5G5tVdGRW4va+ldj2TxpTOsb3Iz0jbKNhuvqq
4xXvhVWZsy90vflILMc2LnouYtzNelJ/wvXWLkqjmtHK4WD33myzRzachVbbGrjSPQjeSaWLgy7q
A+ppbTPpqdPLDQ5vhnJUvGFf8anZbuHf9yuVrAnsGvDxpieSO3OgqyMxudzxGTux65exoRTAJXkw
q9jT6QQZnMXB3hOPBckL3KQKakm+wISuamo7yKIjdXxOwsv8qkWvdqwxDbj/qAqJ5kCBZLMzyESs
IaXZFyYi3UYRfXXUhMxuJEiC+VWygWzRP7JKNjhpffaT7Qn0oKmLJC3Kc8jSzk5YWxTPrNFOC3OD
1sgZG6f2vDO1iVZg2Me+WOzBF81U3XE2U5S8+VURsxs40XxH2pFyk4IROksQcnzS+IEeyfJX9C8N
b+KjiSCezIm5zmzlmxQLMa5eu6MJo/loJQ+Lmkdn75nlRhs7jAsZOxOm14eJIUgwjHZ0rG3jAR5B
CXDJ3ZkxVNLcujmiq4q5BGb2HL5asjD1SEQwCYf0mMqKqiFHxSitzdlkE8hdsVRZL7X0IAcRiC00
1cNgye6a388g/slLFnjl4xKbDV4VJuoihneg8BhDnwpJt9OXHFfuC5Bo8jzkWWtIVqrmZ7emdDHr
Ydfm88KFyhOxSpkCtWKpzmnapi8wCTkfet0Vx7qpmkdrsMpTMsdPZcPi0JnrZ48J7RiRfhgVh/o8
zu+qzmarPLuRA3GceaRdMyGKtOymV9cr6pLgk+bCCk2hTVeGBsN+gbtwZfmTbvreCpM4mlaWVhwc
Od5ZxKTrzLqaS71lYrwDrCfCxoRC1anKleEYgDXB+qIs27soggjo5o5arjxc9z7MqdEvWu++KlBz
O3dcg3IAkzk7R9UlIqYk2kWqzHO9yq7XuQkdslrAGTVm/r5kHR0NBLse1CFvVnU96T6tzPoGuY+A
hbIciK3lmyrDRAdZm9Co3bN0hAZlIxAsrMjZAqlBTEyZ3zDOro3HyDNp+02s1tldWdiHuNEgoenz
LtaKUGE6uBOwwkyzDMa+ibeMAZloRXVR7D2aWiRPTvGMVjp+J+jJEK2vWyaU6YtSJ/mBxNI3mriS
+6nQ3yZRteRywRF6vwLPo9pt7DYODW9Y182i72bXsle64O2kRvctJT0hjIVx25nDsgG4LH96TvSh
5QkTqaqcg4ZorV8Y9TOJInM3dpZ7xpXIEA7k3JFuK+UmOJLf7uJdQRP3DdyogzdFYYRjs3zwZCK1
hWfpu90I7UgzkLouGL+0DHloRKAjw06m14gXlZwScTSVgklH/J191GvU9ZkvNWwoljk+WZZG2Ioy
a8SUgUyN6rgXM0Vw7s35uzuxaTZIhPhGZv409FKPeXZVF1dbEK7dRKz5We0w6jCWDNOkrRY3++6U
FCsgx6J56RKHjkVSS2d958NZeUA2+iiUlkXFNLkMGTOqNObllIBy3tWz86SYzsQLHxshHhykCMID
byLXnY1poGLM1pbph0LbkPktG7pkk7YK24fPvNKPbeX9cCVWFVtfSHrylF6VcdU+ZhJRCdTn1tOU
UGtJuas9U29lP5f2Vff41TvdLXazMPTznER3pT68Z9mDoOghh6sXNp4JcLQ6qGp2No1+COZMuepx
rWzLHjezNMp3pwWIV8enjojlaz0IesDLcE5JlzcjcntDOVnXRtGPIZPrdCjmx9bS0SPn+9Z1GWu5
zl5r23OiLyKsiDEpTv6NjXDg1smn2megwBzGNoDMw7Fl/ObmyjqNxv1cGBaLLcPbQJJghW6LSwah
do07Zd5rZSwYZ8ZR2GXu62TWQJbhq6fQ++hIz8xypZrTcWrx9DeDt7ZHXDKdo8e3JhDrZLEpKeU0
XnQ7vVBa++TG7i4hfRYodblbGEixDRnYaw3vXgbL2CsTLxRKdraKjAG10z6JPtkD3qUhrv5usPjL
G4WIWlf96CxtM8SwRgtgaug9VXKJetjOevYcO80GOiwuwv7OU8Wh06oLqZ/t4noB05KtkfbnTNT2
oVM7otxYTFj5DJVkQ3dL+ad7s8SoJyrkf8yygdMywqiEeErcfgMRMrpri7EMxaysl87c9zL/mQ36
ORfNgS2OtsrdKgsyBTK1WnHVFyS3ClfFF5NN79qUs2pgnB3Cj7W+GTnOoSFJUuB+lMThQCr8LCNx
2dABeNPr9HWrTHAXYme892RswBTFhO5pPXZHrSkxDQ2OVQWNbh5t2Wvnju4o7Fr6EsHSjSTJR63/
RdKGxApW2/mLsU3gHeC2XnKjeYmJF0adPRPMaYWTPrq0mGwuY0GNLLGl0Mv5YMWIrlXzilkG6x4e
+rPLct9P8OpuXXYgSgV3EP7ByubpaS4NqFbTx1LFZ4SFqfhakmFqrCJmqIncoV8OF7M1oPqxlb5K
2uuNrhpR9vLad6TVHKvSdY9F1nR+ko93qRltFqRw9hJwJNVcmhtGOO5edlW+Gbvp0BvtOdWsZ15t
B7WyCNu3rJXSQjUxsWr2Nhc9F8Folne9MRrXZigtGurwjrp5dMxiLWzohmFzgjTJZCiPADg07bia
6neG02gNGYElVbi+uZABTq121zvjUelbpkDxCaLrTvTFM28i/GpTYJTiqS5GHL6SdK0tWGev5ihy
PyBWAN+Tdq/LEKuM9XM0jfSUeVV2RJ0kmokcuk/SxsjAAHR1QC2P+WEbrOPSpvwklzfCjcrLoKyI
rgYO2Vhg2Iyj5jwK8OV61LfV7nlEMjuWrij/ynf8/2jC/7Kw5/9LNIGCg/L9d6jf7U/8FUVQ6I9x
iQ1o5JosamIYKv8ni6C4wPl0CjAIhepsan/9q/+EEaz/feOOwW67wfZYgfCn/sP0M0kjeLf+VJeV
okZx2H+VRrilJP4GU7L4n+e4jqE6GrAuohJfopFQhtsZBnS57kKzP5bP4r4/Wq/xvbZe1tyPAdHo
dX5GuZiO7Q4j0W4J6rU8N9/a+7ZbDZ/5Y6OvSn8/hGMwhHPwNAYPx9oHdL9hkbwCc7lL/TSIVlCn
BKbk9bKa1/nH30759a8k59+rwrXf+xn+8y3osf31LehX+T1RQeWV7eAMwB7xKkNGwTuKX12AVyvk
JOlPz/aawXeQ7MqDef+HQ/8enPy/hyYURr8IGEHwb78fGlPsHNOGRSXBZllPbxlj6lf3xKAPytqB
ifhucf3CCViTV3+Arf0PR3ZNh+PeuFuWpxq/HzmlRrlwZVeuwTWuKzc/jpOzIUBwhlLxh2/5j0PZ
NMLSXaPSSOxwVX45v2BRDanmFpsGNKs6UVZecZskb8Ufq8tvp+uvH/hW4sTp/HKkL+ktil9T0PQc
aTDuR/OhmJ7+8Hv9Hr65HUBj3GHcAFsGkDrtywFcmeH2Jfq8JgWcNC9zR+J93VdcPS8seMrmjHwi
LIybS9R8ljWm8ge7s7x6l3dFh08AMJHtQPMRc3eoS6UftoIICrsnDHjDc8k6yQhhrkby+u8f/B83
qg0DCvSUzdPAU23ndgv8jaYFBEJh2lFmLOye5vJqk2uv6v8KQPbr3NiOQbiROafFhfWFrVhMRloO
gFHWcuCusfaW6Fb//i202/Pk99+XC4lbRdNuJFrzax24dPoMvF+UriOr/6i1KoTeQUlotB+jAbiS
yQbvtoeLAqX6wzX8O4jvry8H1cD7dWS2U19uVHxLToxBAgPbKb4Hjn/t9+l12owvf/iG/7xXbt8Q
Lh2PdZcE4pfb0uq6KhO6l66N1Tf2nkdWTz7u6UD44Gg28aO3af3qr7fv/7PB8Rde7x+nlQgijwId
DOqvkO3fro6KPV8Hfgiq0qbYibO17bfYofbZ2d4qO+0PwWD9FlD7ejTP4quZOGJuWLzfr0VFya3K
cIx0TcZlY+6Vizi3O9OfVj9B+K+xeYaLP4XRyvABloXFH77sF8jkX78keFjuAhx0Frfy74d3opym
m1RP18nO3jd82ekQ7ewdUtV22OK7Ozn31j1bXCn8YQU/zPWzn9lP5cO4umf77Oy8XRx4gXpwdtYf
zsyXMPM/PtrX1+lYx+q4dJyZKQ6TJIy5vjv0wQ3r9vo2l1+VGNupLSGf80BUp8v+dG7+p/sLcK6u
kWMk8f6Vw+hUYsoMQn9rHMJbY+0FytrdM/3YumF+Vl6VV2oELjB9+Me84k9Z6wdlpwbjUTyKa7s3
t1jm/nDP//OR7jCS4LFFepKava8/l6RY2EG0RV3tRIVX3nLbe7J72fSHLvt/Hod3oMZii5oknizq
l5eUUGDE6zc/Gu12ExvlQseDyPMuncJ/v8X/+SjmQWRZBmkBjUGv9+X6Gzu9Kcex4UCx+cOGGewP
3Cs+uPw/FcD/41mCTcm9QRJI+wMntm4vs7/d1qAGlAoCrRLiMd54pQ0QZA8N3jeqP73h9X9cOLdD
eQbFrCAFDLrKfj9UopVd1He4EaxVfj+f+4vy3j9Yh/YCvitkenCtwuayPE3Tqvqmvrt/uG4prP3y
SCG0rSOwkpb1HJ01ze+Hp1XHw62P+Nuv6127i/Y0wwUeyyd9XZ+ZIvof//4bfj0e+WCdf0xgIDd6
9ldspGZDfZ1v90mVtiFA9MVSgn8/wtffjiNACoXnjSNKNyj9/f0bJZJZkyTstGZD77vXYiv+K1AA
CxmTv5TVyK39j1Tz11MW4+JtnFnJKXRFbkmsBRJZP9Z/uNi/niiHTgFWSqxtCVPb5Ht+/xoKxmia
fEoiwtSqrY2mSQ45Nsr/8rs4bH8Qxg2VV6fJvuZLJDpTIFGSlCxCvVHqU4ZUdB+Xhdj8+0/yj+9i
s1LmraXqBhFsCIe/fxePbfdAvhIUUbdoWIMjiSWU0PR/fxRy4oBCNb6V8/XSYkgLiIkcXDhFjkI7
Xsf97etwq//0dPj6HOI9r1L/aJkuc3idn+n3r9OPnoco0ZZhNQhnhTu1QlmAoJmW6p8g1RpbUv62
v7/0iarTN31bGGo6D/OvuAhG/bTKQDQJIuS9sxFXjp5c7K5CiQf0TbM55jDHovaP4CPXI71itxgz
ASgFL1M2PtLflC9BUbaqSh+NutBTEycd9hzPiGcySaP92c+1cWGLBwa7Knp1A/FIezcS4qQhFj4V
Bp0B1JPKJAZbs5vUmPYgQ8E4B125MhHPb7kyU6A/Sey/ZGoMgNNQp6xHG/7fzVDoknItl7E4NIvi
9YHXS2sKbTnf0vR4E8ncZKm6HFDC6Wqrkiy+mW3UBn9DQ6mKX+YEYB4MO140YDxYYWiSNOCqQ7/q
E8dH75hATjT5cNcRnqXFLmuya5HbctoQVfEuCz0sj24+80EJ8yN1JJPJR5wQ7L83mLeQ59wC3yk9
St29LWPr1ERq34WFU9LuM9SONgS2BKi04WQyok9tPKZSlmmx4teramZkA/Z3OGNMjC21Hj6YcxrO
ylNH52zXcqjCYTTRUZ0qpf0Ot6qJF2tRy7WVaOTPkmXA0cuHguLIPvAlaowWKEgSI+JFeOaZmrV9
Td78hqrjv4acehsgkhxdGKBWwZCN+VFg0bm6tTvSYzX3C+U33ItU05g6UWWzbKqakXLN0cYljumC
kmpt+HZtVxrW9bH+1hhzmepbUC5qi6RWOJ/IER2jv4Xw/Eo6skfAzDrRr2IvQzJFtFVmP6fcL+Zp
rkRXAFpRHyZOG6XprvgVlt60Y01ZtD7jrKtwThFXUby5Qakzam+lLfN08jo86MHYkH9bSXfI4kD+
Ak5i0PKUwGuH6S3Jlwp47kTNGZK8wRLOzZDecXALPNB0Uk4rXVWQkOEm9tSBpBUZFx11ixarIaVN
xZTGchxmk+H1KJF0tw6NiW5ojfTDhEnFFbhqmrxe0zqub2jkGGGnd8weqHSqZO3TJ3bDtfSL8eJo
VfWsmWXxobsl9WhCdWpcGLKkG8cS7KkYnYrtSE/JA/f0Ym1b28i0MOO//l7aJbI+nEKMGCkscnRV
Z/jk2lqIGuMxQV4RHnJrmfcjqFKdMfjKm6zE2dEu6hbr2DAUK8imwkN753LCc+t0GudrVJs3zxIT
l7dXe0qJY7Jznxrd4vZqCKtAliOGWW31pk4JJyPfqYyWI+EGiT54h7qI5pjh5qBKf67qdjkZQ1Vf
MotPulJxU06bWJlaMqYxW+Ub81v9gf5CNEdtCuVBNXqLeVOSqhihKJub8Axk8HS9JXExnNo3L2Dv
ZQXgDeP/sHcmu3Uja7Z+lYOaM0FGBBkkUPcOdidpq+9syxNCtiX2fc+nvx+dTpS05SuVCyigBjU5
QJ5MiWIT3f+v9a2YUrJf0GFFNt7DJYxj13wAaCjInNSjvkdd3D+U9uJwCtAIweWA2ro00tOj3Ei7
C1dPps1gzewzrBpxty7str3vpOhvXJi2yC1yx1vy8swlWV3F7WljlOm8Qu1kPomxq4b1oMG5xSWH
/Y00vKZbB0Y1jrfh2BlEwll+YIcnVUiTcI0YJX5O2PaaW5Gowd/wvbFqVcLrp43VW1mNW9meBLCJ
AH9UHfnQd0HXqnjjmV1FqThD2t+K8dbOLeNaNFDXNj3JXmLbo3B5CqjPeyclHOf62EVAgjkraKKW
KGBiKrdpK1JIHDkOthXOI0FZr5qtC4EZJKQt5OUgd/MGoWciqzwkxWAsm5VFbJMN9BQJ88rwXb/e
BbSJ5y3ckCw4omKG4qyNa8zdjYGMGgKFz9YTkHTcIeby/aMmgPm6aQVRjmsZetFXSvZeskW0O2cX
mCCz25QRRetvqKZ57Q51N6xjVJJMpgWyrbXbg8hezzPhpOs4KJrHoOvUkmSmUnkKf7oQCIqxLeKo
CN2nQRAUBna2qWnyxBV9SBAU+CJsWdHIg6YyfyZL07PWxgQ5cq2TsjxL61JY6y5zU64M/RATitX7
w/kAHTXZVjAYwosucK0eunPXG7inCAlcTYkXNdy6UF8C1O72Wg5d9FzFJGFtGekQZGnTBMmJynsX
qPKiWmGe7ABSYgGnEzP1ZvNEOhFIvspAn0SgwCivUqQdJVAFxYiEShY5tHcn/0fnZvCPOcv09TpU
g+0iCAtcGkCjy9SaRx1tuETl9sxg1h3z02QaNLaatFSgvkhUWDeZVzzgU2zlKpTWkjbnB3GEgt5G
DdCnQp8yofR8GCVtZv5/cLwVnseIWMqHoJMjkaKZO7EQ2HELxdWvgGw3RR19QXXExOMPQfHD7+YA
/3KXlTgWRsed16KKTX0MZoP0Mw4F6rqgIHWHJBKnJI5P6wddkQ4vKAmbuHh+emYcif4hs7LhssdE
E65LMcgfM2Ls8mjgcFqtY3/CwkYSlB+uyDWM7qoeDxiuGJj/G1c2BHBIkMaPmZ3rp0l7/silw47+
MJoyufL6mg2EDsfpqKiW/3vo7OKbp2eXSFDcQgVaSLyvSF2GidnLKSc+rQyX6TYtGLrHYz7zjtfS
6Y2HVlu4TcuGhKpdCM8bfLXuIMli5S7XfHHxlxY1Mu1Bkp0csAV1/BXbNfNPBRpTo/SZyqfeQdWw
gsPRzsew7QrMTT0uti3Qf/MZNyjYeI2yXawbiqDBWplz+1BnEjsUJBla1hygu0+pABy5hhkxq40d
W/VtzEJrbR0z7m8J3oCS5Ss1zqDQmec0u8VHFfnL4NBNpBgMaTT9iM2RrNgGhiiGHg8ebAmPtB/d
I1bfogGgLqJHvB4WiXcMqZOOzrK9ZmK1P6fwbbp12rbhedVm+NJ17c03kw6AVurBcn7kbTgA8hwE
GrSkrfN1G9v+TZGCgeEhDPoucuxpQ4iqG+3I47LbnWqiXBzPft2T8BpG1HrPKi/svvYVD+SaqFn9
PFMRwPItnUxs0qHNuqOm7y0LKgHO3qOZuWJhlEp15mEuYPWuTRv1ZGhH89akrHDvtW45H0kDe2vS
tRyHzaIBFF/UDqlzHWGHqK6CGVibarD2p72CpJtkCkv11MztpjRGQtbtUYrnCikO32JdePnWGSBe
0y+P+7POshc/Dur+vT3QS4XWLb32NOXCp3zsfbSxnJhE534uPbkbAqw4WzuV8TPEQZCuYZf72yKC
ILdLFZshsyeLeztZU/YJE25nXUXoCpLg2EcCWT23VWRM91Sx5YTWCxjRvvOwWm0zo3KbXSRLO7mZ
ESMMm5nN/3BkCGfujqtibJwHzjmlcxH6FabAPjfd8kJCaEqu+5Ym5nETtmI4ShwyLldN5Q9fwoiS
PCx+g/ZBW9T5dFTVrmw3MaT2xfVeodULhxgxZQLIKLp2jZq945TmJoEpqTV5K0KH6W8KGYTfKeW6
T+OI9nITjEVoHRlVlqhPLU1kAMhamQ8kAg7BSW7ls3mOxQWBPeX7SKHK9QJazoloUJlsOhR041nk
Jyje1rhhHTLxGEEZboQMEojGwKOQXxKnS3Sg5fqut02caPrWi9GT25mIxK8tpt5PKLoxZyUcdLBY
RogQzgm0td1jrx18RE5zZ9PmLSxW+3GjXaQPqyRaXEGqX4zGZTlZw4kB8ovdJOzc+JYVFmcW0NU0
OBLlnAWXfd/L4dhA58QUn5c6AzFiO/POBnw97DWJsQvmOq/yvWqqmiRHeJ5MQcr3oHt0vnfXuiBe
vuRBjoZOUlg48odcz3tE0yYhqHFUrSB9DsOx4/eALhrEsKR2LvZx+ygG0BSdVLRuSETAqwClsR0n
65qqV68vBMQAb9sLg7nEbGvSATWphOkG+KylbuLMBObRN36mkRRlqnkSQZJj8anZ7exzAL/pPrZm
i2DtnCX6UiVjJo6q2Bb2bWXr+mK0Uxi4xBh2C2/FABa9KpMksU9c9onOQ2TyblC3SocMQbak7Tne
ISbiCgSziWp87IgJHw3kXl6FL2tLdQCXfOIQR7tLRa6CqxrAFAogPuyBZEczAbqDwRO79ZD71Sae
hREglylksHYsZ2JEyYZIIcuxakhr3ZjgYE3L3F/X8TThc+VRBV+l2Ul080leNjezq+b8zHbbyMUV
NmPEcTIDGxuBjvo25//BXdS5V2PXyOIoc8z6O7KkudvbPQWR6yKWw+cq6DzjiEkCwWrr1Riy0b22
1nlnIoLE7Ih8amXYbTA8iGFSqMx7UQzbPCO0BMG9b1k30OZz4OUiwvzj+t6zhbUi3auZY9NFY/Lu
Npr3a+51IjJnN9Q1EtVe18l80md1wWbbdJsE5YRjjxPZJ2XIw0Lvl2M3zju32Azs1EYc20H6bAF+
LvZV6YcAkLp5KIfTYjawSbaRQsMTmj2rbzBRI7lwZA1SQxoNX19bhEEAbwTf7mUB+TY4bQgLHcku
owa7Vl0UYfj1qW+z8zGRoPYr6Pidv5cideEwKZMVk8zD/pvyES32kXQ/+Us4wybC2XBvNrbub424
gE8kpsF4Kn0O0juioJvvwnANjuI5kZ0poDCoZkE33xZlX1ZrFZNE3JpqqDfKgOb8I2uK3v+EvDv7
MoFJiDCkRCVeuRluNvJfivoYCDjAKKoKP9ypHeOTzMyjZwExBx8MAQfFF1EACN/YuK5yrPm18QDr
OfZOYH3k5cqey6zniBJ1zmlOkDtD3OqSe5W3nrtOBjHUVxSEwvsUiFGBV0KnyQlMvNgAU9+7n6t8
rj73SD/7HSdXzP6tjYAThbWKcMzYhjA4U2P6Wjn9wH7UcUrkisuUlV22gK5SFP/lYK2zuudwQQj9
eJbCZyFinYhketssOtxbk/SavX9h3YcZU8Ta4JffEqvOFgCURNOeI+F18tuxafPoyvTqXOzjeW6b
s97gjAI4wak8LHaGKr7ZJsLnjWhLOENYSoABBlkJgaMVJKbsCuHgquUYQcSTLia5U9Ecw3NheQQr
gF7f2FbVgEHJNfuJhaaolADDFk7WaRRwhv3Oti3xjqfKdYH39NhSzkhgAXqQAo5bl0HicMCbQVog
zplqVGOwlq+AS2b+UYxBs2JPIqxnyjFTtWJFbOsj5RLoimpcMbvMHdk9W8nq2zITSHwVZStJXs8w
KYTnBc7qchtKv1rgjgni1RRfEiWNCRHOxtW+iSCKA+nVJIp6Pku70KxJ6zAyJ3yA5FTeTaE04uM+
MDhzTQxVewXPxGz2OmgXJb1RBjiZBBEUazbx6J/cMmAMjmIhl+k4gPuxdK6/Nq2L9gg2E4frMenk
pyGM5wcHl/mXoU+rgETw2AK4Yk4MMCOIjeE4DhZWddkmqJsBNSpGgGy6TW+jRKIWETozcIcYiDcP
Hduhb6CFXKWUMcyTgMMVxK22cr8XnmT8BlUWnIsI7Dlxork1bbsK2dTx1Cf2lQ+P8Ks/h/4NyCbf
P1WhgffFp7eCfNwY6FF1CSMvkUt0GkecJj+qOdITKCJGQomTNrwi9gFQht3ncEsCrzQ2oZPzgjh7
cIouedZqBT+KKt/YzfVd1Ce4LlW1kPlNp2m+Bnlj3yr08Ld+liyoMGvESy28xho5Dw79IxiI8ZtM
EL5uYMAAd+izCA9zlap0PVsMoq3lF9V9CbflQeLQYm8pbEhiZT+yIvfa4BdFU986u1rygM7cOm0W
7VgFP0S4k3UldV65eD4rlslmqspb4LvudR2E2eWYU9pf1a2ZfPEmiYSyWUK1qCjjt1uZoa+vShlj
zAaVFtzUldZEBYXGhKnSIQA8HwLnHB7Fkm1sz1T6NElHF1Hqt/ZR72Qhyc9xh1qywXyCwNOp66vB
7lncgazRmpxH4zkKMo5YbgjAf4sRVwgAMYADVlZCvvcqdmlwnPi16dpwZlrk/bg5oJvz8VKwaUqs
LWuOV96wZ/jMEy/JYmZpcqXhoGPbO7M7hMWbxATgB1dkQhNNXDQMeiS2IceLKojdI8E2Imaa8kL0
GeHw1cokyusqL4Jjgl6IV2pqoW4LnwynrkcFtBljxct1naF61oHBpBfnmHw2mfCpRYi2DVBjKihE
dVWX26wLo2dHFgTHS2vI7tvSGx+q0Mygb6RjuTMGu70cRd4DZizC5gnrvPEAiKgCWFLEEz6wwLGv
C1oB92BSc86TwP8RaopuLlmp8bpspTPY5kqlJEmcOmDXiFEqO3MTWam5jxIf80mf+hzHBSLA79Wg
eoqsZBKeOlWF2MaLSm+fSvTgq4ptAbLZfJ5wphND0Wxm2XlfKOBR0HVB0QGNVdFypM0tSFFOjYFC
YUG1oC7UBXntST4R1VFYzBSjTxRihDQYwzfuW/gm7gTpG7tB/i3Fy3LiKdXHa8dlul7LdEx98lDy
/Bp2Cx7ysS3YO9ccwKNNHwxsqtnuQDpAe5qGe6/os1uhKWt0scOCX5lg7uNADXddJ7JpVQexve3Y
bFqbcZYcHgFjeQb1ZSxqYegi/Vjwozlv+DGM4EnDqzDiW8IoxDaVldqjhkeiLXN0sxHWI3hDhQcu
LfWd4bNmS4erZojjSzSi3kNLYeK59IfmWAhDdlsKzuTcCHPRnXPk3IpwFzgOtn7Y3sNlwUHtbg77
9JLym3/W2lNOxAZwi6+CANpmp1kl93Mw6h+kvad6i1ZJFqcqLplkZpAQd7Xbmqe4NSzSZ8wSU4qR
zj8IqGAQUbltvgTz2D0U3UCO5Qh+5NED44PLotY0SSJlx+S19ykqKwrPeMplSoZO7M3No0XDm0Gr
5fjsUc3gt8XdeD/2IIaIkGczgRnU9L6ptmfgMe7qEnYIOpsNQKXiqzIiAuetwZdoZNmzWEyAg76V
HWdbVrWyO8d2jb9X4WtNV2avnZTNtatqalFFdZKOTc7euq+zH65Z6U8mLXFUAv2UEXTS5Peipcyx
sRSYIzT2oyaMI4pFT+5Zk4WbXLUmXRK8PRftVANCIkwKKGKY5t5XLwwBXBkuBJ+1nK3qRuqw/Baw
fwJ7UMdL9cKI86dZ1uO9nrz6iz2MOSOTOBzKl0xxPt3XYoOTsj6LzTn/ntHWBaFEGNq4UmRvn8RW
HxP6XeXRfRxCo0SnK/SNCmKOx9Hsw4+XLdK2TWC6qbWztdEXq9oZtF7l7kB0d1nhlKNSxh6BXBCl
fkyBaOe1Lr3sx0wVhLE66FmskzLGmem4IdiiugbUsUKl0nwHqj8K/r6+ONcQVtEjUt03NnMyB90K
t0qEscHHw7Qz4HjW21h5OTuchLXccGLBmHNEf4VPnl1RAkCH0V9nHs4njzhzQneIGTMt/9vY0W4k
ckmkHd0ujTEDmaJ5OcncflBi2ZSxnHUOahOLyJiB9msjiG4C2vGpGA0XbCWnNpCw4GdJucHEHq6k
osS3tazOn7eDIJR9kStH5qqgvMA9+5GdbVIeYguPoosnyCaNILoo8zErjs6Ej8jvyzDa0or0u+N2
9kWzdhXHkXNmf2A073dcxWFvctF3kp5CBdz2HAs/5etOaEDTC8IChJNSu1ucf3Fsn8zVpbJimCD3
jhUf4fGF/hJhJ3U3geetDbvZdtYpdboLSyCQVxeSaiDt6Q1G/p3dn/SUPGs1nmTu+WwkH8gdfteI
Br2P1s6imkBM8+u/t09TKiCQs8CY2tW9QQfsIs2D+Y+vIk0a3sqSwtML9vz1VSq37S2va1N8rJX/
BTEJHmltGLv3H/6hzkFTMHPoQVOOtQWVleXdvNCoYLVSwpptoENtOt+ZQ92fU53QJy4bzK2bwPB4
/3pvnx3X46TtolI0lTxE7ZO5xFKeOQSlyZqiwRQvHFvL/uCT+u1dobfkJ5HEILd+fVcd/V4UQCre
5q2JpEwY5bGy2bYqqjTHJXrYD0QDyxf6srtOHx8sj+Mi6+bDUD/DQF88RUACqa0T6W6yZV4blbow
B4cNPAcHDt3GZR7inHr/QR4OGi5J3At3RyyKo5R5cItxJLCe0NfbFEXkHxdGRn0b49lGEjT6wd29
vRTfIbpbk2XKdZSziI9e3J3RzJPjjJ29MYSXr1VV0vYPqHWNffrRizv8PMhc8cQiVRFCCqItDi7F
5OVMmPkUNtWQYlxYuwB+K4tD0vtP73fXIROY5PhlAGhxoCVJJ1kEng8VLBmkBKnOtqIY4Va8f5W3
n4VU6HuIlJHIlVCvvn5w5YT5N0dntKHxIG+Y1jWbN4I1d0kYJl+7NKdbIjEzfvBpvL056So6PPgT
LPwBP9VaL95XnLp4tSdqVLlTlDtqNNZJZZfh7v2b+91VgPGgZTaRGHnOwSOMYpYaPSdqE7p1v7cj
CHtMH386X/wUtC1ToPSQyDDlvn6E9piEcJxiYmzR7HCeN8GdxfX4gbTocL7gKqgPHRh6fOGIcA9k
UlHL0YncAblx6pmssdm3djgDYAXLwN5kZlRd/fGz83hq+DaUowEeHcy69lDZA5VPubFSq8ME5vU3
uhjHp/ev8vbzw3yyqAE95GassMsbfPEdzAVicCqcklquI8hm0PII/1Vz5+cYs+aEDlTowlz+4Ot7
O1ssylWmCo2Emgn+4Fl63ewFfYqBlRLnvPICqrM+dnbAluWvDJz/DttS/1S3Xf30r/PHsvnXrst/
PLYAW/99udT3opzqCBDI/339j83f/xw8FZvH9vHVP7BuQE687p7q6eap6VJ+9G+19/Jf/mf/5b+e
fv6WO/p9/+ffvhcdHF1+W8Cf9TIZhdnwxVtffv+vn7t4zPi52yJ7TF8bmH7+xN8OJtsiMoWlDuUu
iyA52/gO/g5TUeZfnsuQ0otw1GaRZ/j+41+y+FfswpCTUhAm9p7v6h//kvUX5TMTySU6LlBxtqv/
JE3l9RSiyXRjABC7w9h2KWEeTiHY5wZid2hp63Cqv0W08FZxZ0IGfPFErv5eh18ajF6P7l+XQZ2K
HwtzEfrB1+NARHHj+7OCVIXv9AzaXnBSD62FQiKgwqcnffv+9diO8xv/Yz+AqFMva7O0iceiGYMA
8/UV/aSd6RzRjSdfIDahjDXTzDRP/hY85hBcd0ubxUQztsSDk3qITqgMq33kaN8F39l6HPTWeea0
17XCLrmnIKu8HYf6qXCPEjf0ULq0HtCHeg0f2Tf6dRQBLLM3kesFHOsNFRKDsOE05+NzTQJUad5q
KI2ur4/ayCLvejXNnULdUEvsL9FKl3akh1OI/NPw3bJKQooxYFH8acHaK+A+AOTlCMgn9YpJz2v0
nlCBH2o86nBZqshUgV6P8BXxi9r0Gh0a2Bi+aotiXORmHh10nLwQQJJcspmdhnb+pAlmruV6bPDJ
Hbd1xH+3rtvGDI5MVaF3WrX9rJFE5IksfFIOh3waTTg9xuiW5CDEDmzFghgTWgpAuNmKuOjkkpMU
XZuCpSvJTgGAl+qBeTzK7NFe8bd4Yu0aSvrxCr0MPakkqRDprBBGGfU1eg0z3C96D28FyXRBfGRR
UWenGUyEz8i1SCkLYi9BcVTSRys3GZaO4GsTQAg6YYc+CZRbiGzI7Yzb+g6lGqEKRuxw0ETyIerN
BNjbQvpkDSQoYvAVd8pqmIcDGnvdlnzcKP5RBLFTk7hhaPOIZw69dkQ/XO9Kv/TC70MCGOspLyjl
RogeZ2pFYqGgnbaVtDibLiupWuFj7t1vYLFEsisjCDo7Re0mgaclZic01gSZWtlFpAZNfIymQH46
QpvLbsBs0/xxNCnuBBWaYMRoxaFeT8/kSH/vtgxq0zlPyy6vbqZ44oKJQcDsRTqYgzwtEDsjELHh
X0TrNKF/BuvSKOU2Q/tC0XkSQ6/w21N+gUzbeL5z6pBg5lyOQVh21BazvCzokheeSClvock6sWAL
Ud7s0wxkwjiw5ai3UJR6drtpLMoQFlmV6mIXgKaeHzwAcihp6kR15k2WNMhV2tpVyTlF7BiAVoHo
6gIKVYmoFbtxdmssjZoLNr3SulN142TJWri5cWL4c3Y8OabL4aT01qHVJnQRexUFbOpJeQfR0aPO
Oe+jiTr1LAHinFSjzoLqHKwZMSawL1Dg1CghIhMOsTuX00mV2dLZx047TxfTrLA4dtjxrc3QoI+h
c0QMJwy8mY5IbIEsaAjPoRjk1A90uZrhOsD+lBLjSj+mvyX8c6nkmgaAecoGXZp8LdDptadGnyTu
fRyw9WX2mS0gIhtaqRX+FaJgRdIReIuKc75BtGg3CwKBJlXRk4FKInZ5O3lgAr0L5iw0aut6EEHa
XZNdmY/daVXqqXa/zS1iwPlkiSauIQsWyDdvkRSon107oHROUZcOZJ5eB/G2cmYzRNpIvbbZ6hgy
5arRMb0rChhO6JAfUQ4yI/vUtrxLtmZRL2iN1GACV0bm6WYNSI7Qb9KJymA315VfH+mm1ealp4mv
2kNDpYck6ZH4m9q1feN4bIOUGntsRDDyDSKwTijy59Y9BMHKPsrTiBpZR/dG7ZO2rE/zwCwoBite
BynQVuyvU7Q1MGomIl1R/MxzmXvqmAjkAG6orBGkaYqFgarjhwCdLsT+HmVSkF4DjAY9RgRv5ofY
94dUh90fHVpYVTDACRZxjYybw6Y8PBzRhmmlS3lcdnZQbzM46EimQSt9fn/9er0s/7oO8vfFgyQE
W+LXqxfrvokoiTzgIqG9CMS3JLSxqL0/WpZ/LZJasUwCzmYfcrBIatBalfa5jFEZngMefzytYFeR
GllD/1G9+ODAsvy+V4vyckoX7LgXKw5mpoPrIaQJRkpyPD7quCsYQ122mpeM5lxbS9+ShJpCTeYj
iIDhgzf3ek+8PFHqA5pZBNcCr+7wWFuQU+LAyacNQSD3Fpl1umsrgrZNOLObP3153KTEvqjc5VRz
eJRhsbaJn+BSVlv7lzBwkjO/o336/lXePsvlRgQGQowlGMQOPpFumsDILEQfNcyI1aqx5GZILvqi
VJsTpFOzyk1xeNxL6Io/L/3fsekvn/Lbtn56atn1v97b/4/c6mPbePEW3mz192Qnnj9OT6+OBz9/
5heuQP/FkR/tz3Lko54K6fmf3b7h/WUu9npsOpCmlroKpYhf231t/YUtmR+kUKFNjgMcsX9t97X5
F+cAZ/Gou9r+k52+lq8GH5tujDtUxxgFNlVNiAWv55RIBSVcOGPeZA46LVSkU3AS95baNY5OjsMU
YtWSPAGZrzZqCAWB3UWntEU2EL+DOEiPDSNiSg98qa1VS6AhWoV2yOYVW10IwJx+o8/oI5x0Tejc
8JU080jvwtZnczjGtHvYRJnU4GIRdOZK2n2Lv3RGDC1KeeWYEfnkmEpW02gBSkfIhYio0dERRX52
srkq88d4bjEIsu3sbuksbVq8W4Dnosa8H5QdZEd95GWn0BjneiPp4u4QjAjU/jkFpm1Gz3c/OHb8
XQzzCWXLJltjpA725bLtWvSm3SeHsxIhykEFkjQagBoK00Ku7rV3Xh5l6c4V0BPHKjxGIJPscsMq
2IVaGp8wXpVHUVt0dTAzghKsGvEIHLH9SoRBeVwMNAds2MzH/zsM22nBGCzn3f8/MmQbTGX78oC+
/Od/D0AJLoQRiK1LWBibqfj9M/6E+svh5ImzdfFm0jVgoP8afpIjNQUg6iSsEZxQbX7o1/ATHMQZ
sTg6l+r8z4P4P3WGX6deShR/1x1+cwp+PWWzHvA7cAAqZmzKkVRnXo9A15gKq1ZOwNmNgPoR6GOR
7ssKNUyFUiMFhhndvXgwv7ni633Eryt6dEm4Kkufc1C7Q8jthvWMfjkhQUOayOP86IN1yFpKqP+x
qP9zDce2TSgeeE8PSqwoV1pizFjfyk18MiNIRuTw7O+j42h1iaOdO0XW+71e7fFEnbx/ewc0hJ/X
XjLJeWe2S+fEWua8F/W1KbVKoNB+sPbr72FzmdLGDp3ytETAFgTGRpkXHAWhaj//6XVxYfOV2eSS
Ub1W7sE9Rx0iHaIKQea1krTL4siorQvAg6eO3DIxbse4vBYpQffO1/evvHwirx42NRqqNZqpnC6O
dfiwW9cogmkSyRqbHvWBHmEZBKNt2vd3hZTkf1pYQt6/5JuvlksuSxmPGKEgcbyvn3HU224WQLZH
yD99a8ax3+sY8UrYGVe9qe9rFrUbypzJB3vT31wW4y8bU7Y2CubEwWVNUFEaJGAI+CqILRIMxLeE
iLEtYNIToIsb6e05PBvf37/ZNwOGLh+Be0pitqdce/hiK8s1qgTs/zo14HZB32vTz1Pqgrh9/zrO
2/fIB0SThR0plWF5MBU4QerUTUWz26dbBRhwNwLGBLJ2SrLJBw/y9c6XMeKy3ktUDQtFgDnx4Ft1
gh5baYUTJCdzMpovRpwnav7gIm+f23IRbP2SQ9EyDbz+SOi+pYVlEGcMN3MXtdpfN8PYb99/aL+9
E5y62Ns9ThCHDy0bsd11vUQhEBb+zujHcjXOYOtiM9z8+ZUUKlA6NzQkaM2+vh1KFbFgjPMZhKR1
4o5sUSwz+D64od89NUAILFV491mBDqYvhEeuEiUpAETK3mm7vq3Sj+znB2CAv18/yEHGrsmrkYcP
zUBTVJqIZUgBBRea+FJcpX5VHPd1cYtxFR7f4CWbCer2YqMjd9SbyPzC6nEj6t4S67G1iadEd/Xn
984g4/Fi9CaS5PARjxE5QibkzTWeUDJtWpK2d1nh+jd//CaXQ7SSQrPvRmH/+k2SciSDJnDJ2bah
oeMXaRYTbV1/8P2/XQVdmwWW3iynWs9BRPH6Oq1ZWi3aPdAS4/Ct9khADNr4zvRSG6KebWyFWQAW
LZwHXJzEHhROVCNm6Zp9ZJvJGRW+6FhBhTypsA5j0ZXPbSeJ+U0lGG+zM3+8/1TeLiO2FEAJqFIT
vMus8PqvheSDvUNpnsoEIuqH9i/QLV9P8v79y/xcf18vV1wHQ9mCpaCEdwhEsjxCu5JRJmu7d/aE
UQy7gXDYC7fwY7TcdbME6Ta0SChMjoOzkmN93MFD5AQS4HI0ksLZmmn1wdz7dmVhawjHaNn0cbg6
XFmyshHm1JH6VhgBqZ5TcAWW/jFpjzv7pAUwfpxXlvHBIvqbqQuhJq1guVRAvDeTsJHlrCoWuQ5K
Y49ysYpH+d4v2g+YZoczCkmZrNFMkayc9J8PN0SxZQiry3ixJaDwSw/x9KYbRPPBVQ5Xr8OrLH/F
i20XAGNfgrFn7FLP3aBu1Wtye5xT0ctqC6Gg++CNHT69w+st//7F9ULTi4K+567sGmX86Vx9gm/x
/qf620tIBoOGS6OdQ62PU5iIwChprkm1d/J5ldGSKKCvvn+VnxyOlwOCO1mUIowHJNbwfA6mCZGg
J41zguNtOxjOGmk4R6lfjg89IPMLalHNY9OQ5BPh3Bqz8aqxmLXmops/4ogdTgA//w40JZzKLcbl
4e2O6YQmzp3IfATOS5IcymEfC2Vo2ttWmP2W+JkPvpmfE/qbW2cjwizpmRydD9ZU1x5gveQ9zTUN
zkGVGQjfbswJIJEptcA+vvUbMsLBbapNRdz74kjdIT64SqyAbhOh6nl1LPU1KqDqrq38i/dfzW8+
AJIzXOZvjmfQAA++MZT5nI0g3q8VatfvhiuTXeE1LIW+P/5Zg16j4+EreHGtZXy9+J4rQsZtETMt
TqiXJ1P+cCZvN0bFB7e07OzePPEXlzl44qaTDeEws3MfSBY8C+BGoCJdD466nLzohhhtgSi7e9T4
oTbvP8zfTEOKTceinFtOKYfveiZW3TZAX6xtx+iwaDrJaS3cjya7t6OJZYUEk0XCsdymPniOLI5m
G5B2hEF0caBRYZk49qFfNdc20P86Du6LISDaOt+TEHVEGtkHE9ObAyhbd94mxTv62lAU3IOZMDCy
esSfRnBrEPzQrbpIZXprFjhTuiy8tOr2zuzEpokkImX/g9Pvmy/24NoHX2xb9J6ZNFjTa/kdIwp5
g1BG8Xm8/yotcfgVHVzm4CHTHiI9kTICeYLTVuuOhN3osaXEsnJEuXeyYJv0tNbS7kRqQ5G/R4yK
1fRH7/8Zbyas5a9ASUV1FYYS0NXXQybRVWNGDa+6TeKrKuz3EW0n2kW3Emk9wWx/PEFyvWUeQLvI
aHUOOzD0p6ZEEoqyDh1MBEofjYSQO3xTjr1k5/5XHjIauKV2TO2Kg9Tr2wuNvm+agHdZDd5xWEb7
0O6vGy/a56q6tmLvnC5kCWdFn5GdLnA3I9mAUPHBHH24M1q+ZjRRJv+rF0HKweqUULftkGVU6znM
VXfXoklO1rPR6EuDXJL6Uy67obxNEe2TaJX2pX3z/kt+M21wEIaSyoRBOYeHerAtzZvRmNuWTWEy
D2c85QVmEn59/xq/+ZA0C5BtawoalAMP7rGICZ8Ro1mvyTl5sG2wIWV45bbejWNiLfGnDzZ+v72l
F5dbRteLqX4gR2AOA3Ax9ENpeSXVfuy72/dvaRmBr+b55bG9uMbBYxtdFVJsQInCymrTHa83OJO3
vc9oZE744IaAVS2P6NX1OBgjqmG+pQ7FUnYw8RC47IYp/ieU/pWJemQirsMmKLh+7mYHT4+VYgjd
ECGY+KSX+cVtwdHTXrVOZ8tVOfsleRtpE9uERbhxeekGfhd+BqxhpxcRmV96X049lPZVSxrTrZg1
RN7BMr4QP69P5WzOydcGRzxh260qLoeC08QqKn3C7KY4Js7EatzuOMGedOVqUn2ecjcSl77Z18m9
ZxEdw7TRkWU8ejcabM220Ya+R2KZXQ8iHNyzSDSDezwNHrHlsEaKo2ZoiuvaLOTashpCdRz4ZJ/M
QfRsSQAVXCqyfk9GR9pgdIT/HLGwfgnSoDwXhQWhRttkq9LqPlZJ8mzT8Vcnzf/j7kyWIzeyLv0q
9QKQYR6WHYiZwTHJJJkbWE7E4A64Yx6e/v+QVWWlpFRKU/emu820kcRMMAKA+/V7z/kOdnlc2GAT
5jjNlrQm/gQnFi4CU+xmmab+AU+jn0MUMMjjQ0HECYn03s9SIEPJCZY4V3SbieQmq53mJ/nAL6aO
7G51CF4SomGRTYBZaM5Dlzt3oiuwanfZ1eglybm2xLCHHYGZq278Z9NAw3T0Zsu8mFbl3kdT6RCd
sHzwwbrf1MRlnsYla8luacJ9C4UyIYeL4K2W5NCEPPjdSPB0dzRUosYvrSfnEnqYgmLau5jGnDy4
bYbOvusIGOh3pVc6+547urXA4fUf0qSyn7xuwtHnYgP2thNDsvI0hNVyZQltkphrl3xx5a5T2P2x
ZhGD57RmdjeSnQA6qYuXCkxQaNaHUovgxSfW660xO2c3D8211aZ49/Syzcy5visnbHI8mUyi5PQW
+gQTqUwQkGxmlZHAGjoACD7b5mhsFun633Q5Z1i4qnQjikVujXz0d2vuD/ZGN3VuiBAQdxa2xXvu
Fya3PDet66hevsBmWzYmNw2OSyr5nl1UwBtBRe1E1ZszTLjIivBOrX0lZXRxWkAiG5VL/kxtus+i
Xb4A3fRfyRUhE6iFSJhU6y+YC30alA+vXgULJvjUONnaftOOiz5HjBkAAnRR0FZQtUQbVEFPxZTK
ja8VbiSDrMzefUiy79HchgiF09l4mTx1OyvuMQsTMqOZPB2nUeAWZn0OcFHH/BDxGcE8npt1w4fp
HJI5bW28RPfoWSN8KgsxnPFChM+OzCVrj2HoFuEiziN/to5jydlejldyqneLNB/xnwFF4K3D652u
bS+cOrUz5Z+qluKl9UqwyUn91TEJ2qxziS/cspYzpZO4lbxh36ARmAi2/cw9J82nRRZXNOasMY66
Ko1egmmG4VPeym55YhCuk93YW+OT4vGo7gHaQdMJx77ao0Eh2aiNbKJsRSU+jAYDm41p1faH3nxz
iSXfmmEP6yfaEuLzutj2ZxBP1LEWNkOSEhmJ2qJ7FLS28Ni38qlNSNyw6gIEEdwace5Y2uqBsM/e
qPc95t6vbW74+7xuoxN5H1YAchLHprCuG+2SKNoRgzxKcGzed4gZV7AjzlWW7sdZg8hoeYGEu8tC
fyqJPYdSsDHtZYgdixCCsFMf0frqLXxDe2PhJ7LGosE2xHwzkiF/flwObsbMMmx31UJ8culuIDh8
8np7PxcS1B1CsQVcuFsBheufp0BszSLncsVWWpLUOiLPFIeUI3SlXefqHT6Eo+6PBUg6y1PYoRAU
DcmWjWAzKDXCENa+81yP1oQHscWr75MLKM3hDIKQiHIN0thc3nxsU26u9RpQ/bHT00DIIMtCyogW
0ZTAOmrRZPtiQdSgCLBvDZ6Ls9u4yzVJpn69zwtntDfhwsFpSPsWjln9NUy9+8WU8hiiTMTrlZQ1
mV9dshsM4Dw7vwo/OCl3ukWccVv0i6E2Iang5K8n9cOElI/77SDTIhXKvLMtSeb1vKYhLYRADuCg
whYuXJkO/kezYh6+ONn1GmbWZcbHynNfChIvdEi2fBqGd8Appl2A1yWdl/qOpMb6oTYCOEjRxPJa
GSPhsAyTeZ5AU8BrrK2mPDfz5N6XEQ1Ca0oaUA9Y9TYAfcDKyeQZyDrhk2FfSIz+9TidEw42B6RP
h2Ti9U4Wo39zS7yxO4Bnc/ZYddV855hiOkBfMy4prEP/sLRlcNVVIjMgQILWz9vSvZbumrdcpJcw
VMYWdkVM5lXcZQUutzUweLGsr6jUns1h8vWZgQIpasOYfI2wK9ZQQ8zlsHjenXRKzYm9FNtR6Btc
ivOBsnZrTNOW8wLhVPM5dL0N4K9dRxYXklBSTOA89bqdjviWzY700cSj/QcRIwZebT4XJJ+7Z1NW
jfvQpo7zvbFqShw99jtq2J3Z+NeOmV3TIjm0CeHjwRgv6SapUQfe5C0tPR35sHEydZISeWE80nex
oQ/UDw00pbPMGhx9Jth23puweAnTbJbnFrMIHk8P5VVWIpkl4WGSvNC8ol5S282p8U5F6jQfo0kA
GULQsenNyq7jsKpkdAVdb4lrOhQbHmazIIxqNZzOdHLok/qbLFuOGZCax3DoFR9Q193T0owDPaeG
qwGc8kmFSYPlmKQ9KfSj9TU1HdAKaiETEwbOCyvVZ5rQGKSBhpG6OUXzfWqDHVhImLyRxlCQY5SY
SEDbZHZuDBRAJCul0ww7gcQyuV2j0RBlAJPbzFYiODYa6noCybdVnlOg1GvUuCmHYjrKCFSXopGA
18j0mvxo10HfYj6K0ptiqcNPmMDHA/Af4LkEY0/p1iZqDDqjVVnwDvKo9tZUv2fkiwTv+C8tesut
I41g3NjDdOls4+Tp+gNBlepTHniEX7pLvde+YQV8eyOMlHwcbzC7z3dYXQF2mtGzU3Q1FjmUhqQO
ZASEeuUh0MIGCzOnt9aEHSte0ZcG9IcNSDkkKrZa9B7t91MLG0ps61GbKIGj4rpDXbwp0jR9SW1F
gbKGaYPUrI+Y0ZG22t7y6s7zTTW1YXH0U+eYoXw2nBQ5S8gB5a4bw+4C/aj4WmIX3ZpVhOXYTqb7
hFCdYFBXltfVD5BZ8u3MYX3bZa44YprPLvhjT12GFohWY7pblvIVstdprGST7WpxXybhY6Wr9jZK
gufSyOHQVM5+8dDwbKaJfJ2G5qThiqHEFM23ciXbQRygggL3ID/zphVugMF/uCXy6QMuQqIzZ0ip
/NCA5qbyywfHGrDKC96ljaIEXjMpoA3VCH8N3zDP7qyaKzgp7Yucp4dUQitKpmdjdg5jILv0KCVL
jux2nlOhg9ZV6n8W4+IMuwRkAVg80yrunJzNpktOzeIOd3mn4IEVnpFEa4RT82XMqvq5S6CZawrf
27olaX5sF/2I9/9qNuDmbNWoH/Ic7hzcgYMjugCvnRZvS2YSUdRMLxqnpNwEOc1agBIfoeRNW8+0
P2Oe/04o9HTJ0PjoXUTc+7kJ+mt81ePBwgp2UJVt7jORf3Qc9IeN6Amem0BGEUcJdGeUV6mnvNsU
ifPB8wRQ2oFyvJ3zm9Q0L11j7yLgFVv0sSOsqQzMUT5NMIR0QIhv/hlcbuwPOnhrAp9mQafTW5RB
Zx+woQ79PYfT2GeW7fbKOBAcFuxk7ajLaDnVcVAE1WGEbo8YdcmPD8NmGxngSABbmQ7koGV9H2OV
+ZBFos0g7BpvNKqrZRY4cD0CoQ8Rku141JKNG3+sPVwht1JZPDXJwZ98Qrws0ikLRcPXnJEFb9Rk
lgfhdHMaBxxKvvZpQHaoN9qxW4OMAPkXbb08/eLbEAz7JAXFlbUPUaQ+VfWc7XBxLOWlbsh0Yg2Z
4QMkmTg1vdVf15oiK+u66RbRNPmEnp7UvohIjPN7cxDbHHExAzL6hZsoyYadtnyi6hgDuTnraTA1
DaFRS1K92Ui6Ts2kAWXBBHbZNoOs2xUOq2oZNTSmCIyG7lmajIS7Ymfl7ZdqZuDZJTmR58lAmjwV
1ZzXLOIiG/ReNr17tINUgCkWOcZ+MX0E4yk2rjJu0km8Kbtv7tGKV3LvjJG8zXO2yWPHMpoRrjhS
h1qgmxG7wBuBNFnb1ecFonSNeN9J0qthsXV1mSp7XhSFvUOUFwEw0UOUrBINjpjptO2tcJAk7Xal
OEYj6VaxExA0CW+YPbO7FmUXMKZKppW0rAW/24y8339o6N44eyYucFLz2QR8NDnSPmuNdvbOtXxY
WkYGUvQ4uGWIvaDooLoEvrXrcV3Oz3nj2i7xZSO/QAE5Fd4eA1jdhQF2hgq7R+qbTvJsq3LIMYJA
CCUVxyqgDqGW/1z7SYOKTwhQR65nyicSYAK5G6d5fqK/L5xDrefoe2qLAQKqG+jLUDjZXdDK7kPk
ryHvtpdUu3QBGnbRCNHP/KRlfBrTEA1fgd/0Y1Yuw0weLXkqX3L4HXccO6AVY9NxnFsKkmD8mPV2
tUtSzCSbBAJf+HEw0iq5zfRAyHCqpyC/FH3rpzfKmU0PnnBK+KZZrgr5qLtoiHfHqRkfRmwcJ6Oq
PT5Lg39NTJA2q67d6JKDFpwOr3HOpajq6FlVQ99f0Y6WVYyjIjqAUIsOOfVYd5wWaK80eLC5aC8F
KB8sCVkDIrqZ3W6EZWF9Hq3iCskgRqQKluLGMvCikZI5iK9jkzZPuTVmF93MkiOXVbEM9uiHPdW5
01M+rNybg04ejehDnjd4lBQHccw5LAXaT2J2kj0bnx6yG7WildzveVp/aIq9k5z90LYvHM3TM7vp
sE1dTrHmwTLvPcGxeIIOPaGNdILymC1bQstTcAwbabTWliyIhi0YtkNr5+ElmRcoUVVn7QZwl9WW
L/pG5smVk3s7bc5XTvPsBp/mJYqXxiKdxpnVTZo3jrxvGttPjkUZjz1ifp67GyJu1b2Gbxssd1xQ
vYy2pfdAnT6JgnIfODhHresleW7g+vgagufV3PbJNis8OnRFU++JOPxCw8OIR2DQGBub6qLb/JLV
ZncNysGAbqwNviV/7IgOTcgnMKZuhBloHoZpMb+3TA2gn3hLEsSOEzaPkrOAB59ttZxC6rgy8eY9
OLZVfxxt4ERXRPI0l6BXkt1S87c3RVxw3jY692I7nZakov4gb5lY3a0bvy7SiuXcjwxMQ2Nm7aUp
ktvc92eMUH225cRO9CbFXmZ8gdAFA24CBAcYw2SRrRZI60TdwpvZAK3YjQNy3WWWZHIPeQxVb917
NoEjLQJs3RLb0wK5IW+g4jFWyyMWuDTH+VKB/prN0jH2bqOy7rr0jHNm258iaN0AIKXYKtvAHp+O
TgiCrOo43OBT/UymKU2XStGUaejHV5dQ5F2zNyaZ7YimBlkT2aQtmnJubwjnTWjoOAmCn8zkF6Zw
kxCqAvexm6crgugx2ZDb+zoJ8wRQfKSEcwms3KmUJ57UYGve1H32WCMy07sxcL+3rnMog/a5qzmF
HcsSLjwtq8wH+zgTpFZVDigYT+3IOaoeqUnThy4C+C19N90lWeKdbFCdZNebzm04t22zl0Zahxun
Lofp0fUVwBe3rWNgeMm4bYN2Z6bdI7A17X/pLZO8QhECp11yyMLszLG9eGj9N2XLelftM/iYxqn3
jGshWmuvsuY8quFmANhN5y0694bWN73p7ioFnWfuYf5tvQ7OJ3BvA4QlGq/RgbtTgmG8YJsEaNql
xGTrpfKudd3gDaJs+Ix5vJjimUr7HFSlTT9BoLijmUBqKnSd6XaoBKtiCFO1J9z+TcpMFvd42c0P
EUyWIbbapc03pjSelSiyy4STrboll3ymyuum5NSHdWMnGzBLNTbIpOmX8+C1Jh6zko5okqi2olrA
KBdICP5ioMDdC7oXqLIXUT1mIhpPC/ahZwW8v7q0ma3ImRWytnepb4vxdk7QjCPengMiTnX6SPlE
CktkjMQNuNPkvpliLscdHLx2Oxh2Aeo61aeosruvieuPjy2b/jdpNsI4DMAF7+H2Ajo0hsTaCi1q
Tg+tO61LTYloloxb2iXyEHlz+lWMIIQiq4DQugxBF+MEVY6P7c52Tlhgrd2MRt4L93A3prra07vW
pfegO6jZ00oajdjvNqrXnEZfx5wEp+qr4U4tgnQL3xRdKrNPUQFZ+yxZ+CuY2wrD6A+LnzDVzjQI
uaNX5dkdNZT7RE/8zmmX6ihKx7mazda7BeXbb63eMQC3irE4p2R4PxYDTxZ9CUu1uD2H0OV8VkJ5
suuZLvxxkqYeE6ibjQ0E8fM4op4x8EZKpPnT6EmxYQWYj39vqsDj90PR5HsmwAnQMD9PLiyQTVmm
xiZuu2aLVYfuehn70WMy/WLq837qtF6IoR5IEiLQEV2+GzDaU02K+MD4gqlCFweYCuPSKp5F5j9z
aIWcC9gfAZGrfjHJeD+a+XFdD704Y2r8EO9BKBmC8NSQqN2GspQHs0nFTTkr/YuZ2vt503oVaPrg
TIMAGsr7rzHtjC7LJF9j5gJpqqw4LW0CzYNwj7t4OHWDWf1imPh+LvzjiuvsMggYoiGe/fnGdRlQ
QTUyS6zKW2O+ilo39rNfYULez5zWizAYjTCuM0WzfyRK/m6uRWVZoahbpYL5ibYzp65dNDgA0H6V
yPVnF4ICSXIKvSEHu9PPn0ZL2y3BCTLcooecGnAlK9HciNX/mifFL0bqf3IxHKBgLjCLIb18r1cr
JoPcFtlxsYHTIaUHdTa49Zi39xc36Q/aBb5AmBDIQDACYN/+Qx5hUACkp6EcDy/RbZXs/eYpKXdw
Yalm6Jfn+9A7+davnvk/+YAscnxEpE64At5/QLjyaQr8tYllm1XbrK3N5ymxx7gSUm0TVRi/+EL/
5B1DEInZAcLR+p6t7/7vHpOMJi14YB6TSKR47BeSMDC97/56pfrzi/igUFAa2vCgfr6IZ1IvjDmv
WIAlB2uSgMGTuf9CXfxX98affHUQQ5B6IOKDnPTevdEzYW1Hh6+uCm/L4aEav7nZQyM//vVneRfF
CoqEZ5zq0gUmDtgKiMfPH8b04WjqYqpJp2ZUVoiPeJE+s/uh25FnpyjuEPXsHVPCEcXpHzThUZBI
bAd9TOvpya74mo3WhSimortgbH+xZv7plxAiGGV8HiA1fLe2ZF3Z1j1VA/0nqzzqipb9MOvq1KDS
ieH/R7/YhNZb9/tR8zpgxuGFc84C4sO9/fnbsMbAUbbmLQnb4hCRcyTD8KbACOv083GESTZnzZdO
yJe/vgt//JigiVDzrnYH3njv3ROVs/vXImh48XV5YOfYTl0We63/kHThLx7eP72U62Fy4K2MsB78
/AnhkQp7WDsVJW1hwVQIvYnVcMz+xT70x12WDQFlKBvdSk57H4VXMe4igoN1FE7bljHttiMQp7LA
0zXZdu5IXqh/qXZchQc/3T0KB/hLq2YH5/gf/L7hCJ/aCNjZewvqwDxZhy6z4HHlPaNy84kAh9dW
tceUuQbI1L0j6No53UNBsOwvlts/fHry/8CBYAjDAEEy9LtveTCsdiYLniCEnE/r3KuRUNEEaGnD
MU0eq1+ZZv7w3K7X81glsJGATHpvFPeYc5mNspka7ORddwVye4va77k7/PVz+ofigsusq+sqPAcy
FLx7HcnIGWjgctajHV5tsHkEMcKlB+0ZjxSheRzaw/b/7Ir2z48r8bwh+DgNHkN+aySuAmkwP2EI
YXT7glyMv77ae30d8kHivdmwcHmF6/q+3tff7R9Ileouxcwca9WfiXe5cVrCDDmj0h6BYGsv0T7V
xj7T7j+v/Lc8zo+q5J/3tmU2jP/wig7f1UoBat//0E9Uo/87MEYhK89/N1U+Zt//cfj8Pol9/TP/
sjZbzm8gdXBPAuZG1ElB+29rpWHhukR1y38nbGm9Y9ylf3kr+VOsoTiQfqja4OTxhP7LW8n/+rGd
UqbyloAK/Fv2Zo4fPy02Hhoo0yVmCAs1ZQYV97snkxmiNU9S3ttTPqK4mYvwU1U23r1TBpLxgFck
ZGG5Vt5Fj0SatQnCpTp6NBtvJOeGXgZY9xCehQ5LBtoylM90DsOJhjtkeTrpzjO5RLZ5cNBobKMs
Xx6Uv4gyNrU7Zueadc641EFJqDcBNvlT35lkvDNUHDgFT2O395qkra9zIzPNDdGMKc4HEhDBspvD
vY+zzd5OAIs/wepRFV3KdKRHEWin24S9GuALDwz3mJiPZcucy5nX+dnYIk3JEnfnR8h0sDIQxhPP
PfTYzRxG6CJpKzTdnr+Smaiu4RJumnq1nioz+dpypGa8awu0IksBuZSwXUsl2wImMm2wkLyNaHJp
h/kzrRNaaV0i4yQlbYlG2WrcIG400HE3DEW1gzo+PGoT/WvXB4u7IWjHCzhFDy79QDfKuk1DJxWg
jVVPRG51tVGcHDebd4a5ztucLiqfRdFRTYxEvTyPWkjUVlFt5MgNpoq5elPk1m7Rtqy2jjMwmQ3C
JrjJjQXxOOtRqEHfMfI8zkHBJHAeGQXFaQik5WhIlc1xQtMqHtB2fPMschX2kYv+b0uHcp5QoCiR
gRoHFBXPejRa8mCEPW7C0sQ6W4s+l9sQaSItrWI2rY+tnSHo7bWAaj0sROscsfUCcG/8ocCpGPTy
ImngdPuAWi6NSc3RJbaIenoYcjM9Q9+x5FZCVRk2ZRYtSNBUZ2ck8BGIiCke5Mv/xmJ2nX9tVKve
uvdL1U/r2e3/Y8CG9QDz3xe1Xd1/BpOTf5b/OPR59f3zT65x/ug/1zZrZbThTOAQhtOVEFVq7n8y
2rzfVhoubkMKBxdZ3XqK+7dr/LcfP83/oucPnGFVSf6H0Ya6/wejDYsF7mswEO9s4n9lG3fWkv93
ZRTNCYzGa+nGAsxv+IdqdOJhbWGPG7oS4Y62z+AfaMJrtARlXr0YvVF8wrChalw/nIU2xOMREFNW
8EcgRaXAwCGFwZmyvRHgwhSQRLgDNCxeKvqfeeyNJpT8Htj611yZxmevZqxz5ZpZqzfwxRWcdNsz
VlOWGz6aRDL6MXmYLvt9njW3iSsYwqAWhX6a0LreGZiyUQm62XRytWNXlz4wHDgM2iW+6nd38+6f
X8HvsXLvqjqHxhS3DUM/HFEslPa700HqLpOn4UuTNjaeQVr1Lxbup9Mkl+wiC8M64OMk0jApVfr8
11f+ebPhEeHKK68y9DmbcIfXqv53dQlhqC7TMGOD3wCwta+7G6pbff3XFwnf33jLXB86EI4r0yDE
bv7zVWay+Zp+TXzrCwuMfFAzHcnJsbg3DbBczskr2mq4CjoPwYAxsJEURpXl1iYz+l7s2nHxIfxO
LFSqRD+KkJ9UghS0D3kxzOCLGdW8IVOm9b20GYmWTKvIwa2C3iUXsHVRaFFRPlngt3vI2V2NT4fB
pEsrxhsk2U/w7vZdShRLwBjmg2Aa8W3WslZbMyONe3wQSyAfepRgr00dZDcwV+23Rk1+TrCESVoM
XmzzM6QSJeLMRrC5oXdPLqNCR0NUR62/wG6X3zXcSiYjYJnqc+mkpDIaM4bWXSMXs7hGFhgtW1eV
oyLKYKjSXe2a9SuTJBfNYRs230N/YCY9iSW0d2JJ8nqjaP4iG0iJcojV3Pvm0a1lO98nPO13xFux
X0hbDcXO1bb1YiNvS+LE6AEl4UNT38veXqbjMNbTB5IRTBfpacS0usWtbqw5cHkED10n4kokPplO
4yIHxfiiYdahSde1NwvQ/inx6i9wS8hntCPyKH5xrPzh9PvPogERlmhrVrWVqApUBsvZz88O2Ya5
kO03FWbq7FGe3A9MMzW8UXR5oxzoGOualA9TvY6ZICUodG7KSpJkXwu9Ad6SHn88zH+roP7/cw8C
CPa79/oP0KAPqu+yf/yvtyb/+tP+8+OP/QtbEv7GPoEpNaTRDpV2RYH+cwOitGalobUV0WIFAPTv
3cew7d8sdh7E+Rz+CAhZT7T/3n5cH3wonE1uO/BZe/3r/sb2YyGQ+WkDoksJ/4Fe5Np/AWfFm/bz
s+TmLVLXwbYJ+bIIrkhNRiSeDX8KkkDQ9a/25DLZHAz2k0vmINCv6TJM4O8IYW2JtbMW3734pGmV
20Y3k4od152xpDsyW25ct+jD+7F2ojQivKlLkwfhus1wqQpT1juHOW9zXACWH4TnpunZHjVUBpap
HlVK7rvj8AHEHUjzDQEbThsHhr3025T5YftZQkNCJipLG93ndkqMlBBDklm2HpoR/5NJAg5wwYhP
nR5Egfjc471I5umWPWdi5LNUbjLQISHJ94lql7TmmjMQGUHhvMjbUpGsdEAdEBYfTJuR3oNNKlj5
pcUxc++llc+YvWdWdPZV3U5b0jyDamtbE+V0OWg8+HJohvCxnwPltVt4hoDwIlh58kuZdro4dmE0
kixpY6EoTzAsh+h6UGiPtg5YzmC+5tTsFcu2K9eSBlH7MqY3Vlj3RN7y8dT86pGgspxHBiz6OzNe
Ilk23aBa6qVMiXobLSXaFZT3VpRAP5yr1j6KDH/AvbayovmUeUHe3uQ+mvmNg07MOJXk5YRvYd92
/dEC39R+nwVNV1Yzejcu6dvD6BggSs3QkulWIp5x6jhrpjxDAuovaiEZiVvyRgK0Dyq1IqVvnyhL
cdvqEk4dKdeWjtLbauSQ6cezU/g+HxAry0QkDb9szhdBAg8SxLokCOhW9oNybgZidBfqoAi3QzxN
ec+Ic5C+1X5yJ6tNXhY7m+qPdTcqdYfAZjfKqEYJmz/CbXav4EOJj6kW3SkdsWV02AhcgFDfLCUI
McWZ9WKGKSHAqUv+KA/ufSaEikmmSLfMx0Z0m3VqNAiD04kvYprkHSGYgfPMVpX0r7UtEMB7dtNt
iOpCfYEb0ESYGPba7cNtQKa4NxEXGJWPclIk4BRugURqWBaoj53ec1MN4iwyYkLRntOShXySSWaF
wOziieCxNI7ygjTJxLGKU+TR4q/iMoJ6eSMm0Zh3oxERxsJhyDearQkJdW0wIhXqL/mMZ+GQG/a0
fMGxDKhyB+3bs28E1eRyK21Elc/wcPtXIWebfRULU6y6uUQ+F8lhzxuWvPKj9qHQvYMc1SWeI4Zl
AIQzQlrrn00SOiK2biwgDyjXBFKHrAMnTlKEEry4nQBe+ZIPaIi+zGUUjd9Ct43CE9ZVwzuS+Dzm
1/WsFWWDaQq1tzCBIGoh36rY4enocVRNDnDo24YBbXfEqlY+wHYpoI7OdWLx6NXCQTvRFgTgtY25
M4eAubEbDHBG+9lQr8aQ1dmaoalB4/YsHTc64Z0BB4V2cSEXhwNdaNAHiKB6HgOGXgFnx4CsZVXW
FMJBp6IdHSqPXbyXHOopxi9iNrEvWaIVzhUUSzq7nUU4COw0RcKzqckQ3tmjKl+gqCKWXa09V9hl
hztylAy5pcvvEz+vQUJtpONVL71dLt8T5fpXlp8vMfl/4zdlh8MuVaP/AOTpZUm8+SFB2O6cKMpr
a+0LGPvRbsWhFIa/S8xlgOVRs37yixjhZglMdUI0Zx0WRQZX7uf8ZqXRtq9TNPkeZloj/5omo/EM
yDa97fg7t8Jv890qIXvwqlAetOkj9kr6+VLZsnxMi3K8bxGA2eckaN9wzaJwSvLK3dfGol/1Eqmn
IhhD3C+dZb8NCOwBxYKsoVeD9Ix8agxNZdhZj6mDr2rjVUP6ZnZO8EIoEfrGCUNRnM+Tv2u6spDn
3m9wIOWh9xHBwIQCPbEwsJcSwTY55OLSDWWQbQc7qW8zBJRrRGwodkzciDSvWmf63jfDU8eZHe4o
EpsXtzLrR1YAZE8Wwa8r3dMQKCVC91sohwg5ubsKGFExOoj6rmXTJp9GxNzWRaoOKxZh3WQL2GNx
G9RFcM/XPJ38MsKsptfK0VJhv8fYNKToV0y3AbwCbS8G8bz6fixLH7XtN88jm3261ZPt14dgcN0H
vHQ+q2KQvWB/G6CbhsaBCZ776Gdt89qYY7+3OKXsRzRvD9p12h3BW+aR4LTzHGawrh39iAegvhnd
aARH2RowXgAHx44uxyEeG2++6jjn8O/dMbc7+h5m0tTHfq7MswMj/wk91xe31tXZmtKLyJguYOnx
uo8WgkOeetO9Dtz+VsyhfNTLssCSYfbcNwvSbKW6eMixSJBDGHt919z3sldX0bKWAo62y1ey1oOz
TULHw0iHfovHQd2aici2tjDS1ygHl12XwbCrTc94k4ttTnFUFz1JgYZy7ydT1eKkZzUR8Me3ELfT
kO4NDCwXufRvaV6Aqc1PVV0nr4llMxAT7Qe3ro1dgQrymf5SFTu5vkHRfI2zoD8VeG9XNHFpviVo
qzdkEV3hGzBji9Ckj4ZhYplP2+1Ule4JyD7lQtue68gwV1YzCwvjLBXXUwPjNAJA/jhFiiOSv3yz
nSQfYvLVOAOQmRyJQl3pES9S1RT1dsDyo0/abgQ0KE1IXp93t1WL8I0iJzyyoEaXkgDsQ1mm3kfK
IMP/VCtSmr9N2KyQ3kvG4UKaToafpl62UW5whEqKpHsucsBg56ZT06MXkkeA3Cbptd4GaRPRXPQo
1o5lSlHyYC3mGLzKyBq+ZGHp6207Z/ORlIlqO3a+SSfUetNpn897FrnyO6GC+U3Y+89SGcVrCZNp
b6l6oWtJEHGftGl95ZC2fEy6aAW9c27dTMRjv059YRNGadbXEsE1hIBc74OoI3h+nsSlxNpMyC5+
tV1hON6BX763kRvLdK8oNT9iO86Nk4TVniGfTQNO3xZQ3n3QzPPXiYMvIblALLtb103qQ9ro+quH
CJdE5wabmjXKT0NSlJhbTH/YJv6A3LUx7GiVA7X4ZvA3JVrf2qtFbYfyIYndDHWvgbyG4DXLLS9J
l/P7pDgP1bhcPLIW032pq+oyJ960iaq5Oih7UDr2cZXtDWtEEY9CCHNWacuaVGvW040/puMeHnm/
awdnvDiI4GOdT0wxUKGM36JCVB8qEmdfUe6LF7Tw7suUZN0DRgtlbZCX1vvBnMPnsMHjMgyi2k+9
+raUgXkkF5G+ZmGG19qqymvlj+SuhYv8Vo426RPCNRkzwtqpo57ztnJK7GXwszy/6Ldt2uYPw4gV
rAVpSd5TWT4xk1n+h7rzWo4b2db0Cw0m4DKRuEV5eoqkSPEGIcrAe4+nPx96z5kRSzWsYd9NRF90
7N5SFoDMlcv85gIzYeM5dMqnFDFtUmSl77Br63+BLscpLXV+FeyGXe+mzYr2leaVIYhiqAZfSBMa
LtPIzjBfxyJaNpW6w2IuPMTIEl4jlMSWVWPAXav710nR/IpSAbqJ/Q/k3Lbh6fA1rYsGZfB103XZ
s21l2rrI0fTuizR8G8gk9yE4bJSdTCOB4JGnOxsd85ti6OzXocjTxybO7NGjEqHNpYGF27VjSXrq
5FN4izEtQuZGnBSeTyMlQdEvgU1J8ZaTm439gNe6+TuPRIesPfmF14y6A1AxW1QnIocuOf1fLn9o
NVCSykEecColaQCSSs6gmfahtjLYjHgIGA1K7rWvXSBGHpfAuhWkpdY3n7IYQB2bs2zXhQqY6gPJ
sF80sxa/BXzqN7Pqhmtwy2SLs12/TmZurues8Qssk3UJELjJUUEzVXaBqAsuajNQtBX65vomsPxy
XcGa7TGBdcJwPcg5IKVr7lJzsG/6bKwBAyfuJkuz9gvEfMC5EDfaFe1G4QVp0eNq50eDt8z8IW1j
XnaB4CPkGrB57ESrdnKH4XjcofCOZBpULuYTxogLwKrWeg3ryww0hm2mmJw64Xy1eJbo1wV7O8V6
ygTg60yIHHt6ZVEJsmOHGxhHyeMIgBMjwyn0y8tRxM4+RDQFBp0+YZ6e2PFFX0eOv26F3TwNpU7p
QcPdWE0gH8Sqc4zQ9JowMcbnrpmuazOHIo4heIrbZaqH+ynMrQ0pjLiz/F7bVYEtfwgTyCieA0V3
x9ggPdhTEl+N2Ry8OQ3q+YdAD0xnkxRFvUFuFtfBBOPYFkgxw+vIxXadrlJaz5fQRugwWU3Ub12n
S75psSIJRO7vMRgbjmJB3uiFzI5/26rNNtIHxKQR5Z6DTkRvDBDwWMMF/YVmfn7b2cQnQ9aVx0gu
I1TBNbzt5i4ABo8Y/ao0i/Srb4HN77lgplUNHeOGhmy3CeGdb2h+Yj3dMp6GjZc4N25hD98NUsrN
VEn7B3TNCG5CLHQfLX+/vk0JigfIkPaVsmX+mCs3/+aogHQaGiUcsrFsyy9l6erbKk9T8Iyt/iqT
AGZp7MuD3tZI/3P9+D/tsq3WOE4OD8qqh3s42m5ER6+BSlCEsVrrojV2GMH/cPUx+Jr0SOBNGnTK
lk4EBoKZHy9GDc0Xw87nfR/VoN2n3Imvqkipi7Yphl2pTTbc01xcVBIWKPgz+zk0DLhGbT89TL4W
/5JtnOJWb6GbX7AVO731f4hANkiAN+GNzMbki0FQ5OKBzuGhU5bch8D72WBj871wS/c+8nV/i1N9
s2FMcBBS765SBE8uchfPdMwuWn0F4696UGgHvbZtlV2bZU3BzZDsitY897gWJtONYBdrptinfu4T
QCILcC92GNYrdPzsUmpNeRVDTN0wh3qgQcv4bjSMYutacSS3xO9JeRWUzt2Q+tGFEXSYp3eRgNA6
AD+yF1TSKpi5oHF6pc+YURMSvzPj3g3M5hk6SSNXspgGEvguSOwV3pwzf2KQ7sJcL0ou2nJ2cKwI
Ka7pnpBUY5GDlIwu9y1ZEyh0JOrdtVOP/feqLuyXbmyGp9KYM7G0grFwDipDfTVyaF5sp9E9tJ0o
3ctprqL4bS4Ya+zjihx/cDO61radVOOWlmXW7EiVf8Jcc9a+3gx3fW4L6L6V+s0otv/WRKneXKKv
08W3hSHoJykSfd1rU0Qm4jp5a0Q9joBnEw7uaEK/ABkcPLv+JPfNaDcPND78XRWNEqKAGejiYNEp
R0K6DgAPjbWwPT3DKwPIreVmazOY5Ab+bp1faMJmCjtU7nCVd7keb2Y6cMmuni1r6/qNWkdFJX7K
QEecAR9bfO9DsvEVNsGILTn+P6Yc+i85TzRBCt3cjK6TDavGwBpiS3k6Dxv2uGEfsGmAJTMqc7qi
sdMytg4qMAlcl+kqF3BaPOaNaOroZfU01naElSYMnXXk4oLhZFH2o2sNAV91EdN25EPko+JYd4P2
Q8c6lLrXohUwW+NDGEf2FQkq5hVlhk1MZuo3WhzF90Y65ztzAN6o6ty57oA6PzjQg294UgoxLUsw
utaxysUJGqGhJkMuAZhfcjMpLYQ5Mpcb7lXIaZjFwmIU03RdoasPkYI2o79CbSXaiqKOv8jChzbV
wI/dhBNzfJgbeXon8RduoPwXQr9GSZvOYGJApCQZGC3nopvDWQdi52KWXlXtlF7S7QjUOolMhBmi
sROdRwKhWQ912RTBnYYqAXUbO2tA28FMQNz+srO5y9+6ADT1NhF11UJ5V3UZMayt5uIrBghSoTmY
hHGHBFoy+i+t6FStswulr+3MrMfjb11Stwe7NHbw3G4oxu2Dz5wZW1aGANm6dQfXvwyBcc0bhaet
/BW2wrkSY6l+D3Ebu694YvsCa9iW4LQpmoVMAi/VuaNysOMn0PQSWPwUR83BLlSstmFX+OoaQ97R
vxe+5RdbLJ47MPcDoXI7t/jorvGWFj9zamXY4QoDo4JZwOxFEM1iCAAOle3olbEduOtJmL6x8R2H
/w6ZSLfuwywu0z1aDYz1WLvdSmd2jU3Q9e0lcIY22g4Z18yXanD6eRsli5+7zmkS1/Cr2vmyTpLJ
3gvURMM9/SEo5ZifGt3OGmc6kt7cYXvyRVOCxRtN19Ra8aDBjk7h1B8Ct8nau0lr8TK2VBJOu5jx
qoYlHwzdPaJDmnYXRzjE7mbyFwsAQmMWe9cepX+V6ripezVllP5EL10SdrHyhRJSxzb8Hocq8c6d
R9ZFLJ5G7f9onElV+gifETux6QoCQk52bH/HILu8aHTfnVdT6EJyUH5TXCGfPM6rDAS12kJ2lMxc
B0OXXiAyedeM2YCTg6TF7Jv0/iqOJ9UJQgBwfeWg1SRIrYR908zZjnEyBlEwD8n7M/kGFz3Y9LXu
P9HGyDxTr50DmhkD2GkTF9Vprg9+5ydr36SKT5DRx9m0/iFbEwxX170EhYspdmRW1/RfnUeRqfq2
T0kvvN53elzsKd1uxzb/Wfnj06iylrXUSz1loxfP7gVaqxcwaH2UFBI698zzNmRdqdeHuetVOmSD
OUEgOGzpaIVp+FzPZBx9XDpeXGmQ5lut3rb2nG2qMAh34dhoe6evKYVtUrC8ZZaYDLvGchCIUFW2
KsU8bP1MnzzDbRkIc1neCRR7Vr3JsHET4WzrHwQYEgRSTD2hqUIAn0D2bFRuRN8bK1RbAeMaa6jG
mNwV2oiWfj3Xc4xNgYPBThMgP4H7q62F0xbG8pdGie+RTOFQZIT4+0D5xg5WanKQg90cwqk0H9tE
lr8nJcObhqKs9giE6V0K+AK9f0H8AmB2bXRd9Q1seLvSGzM9kONj5A7TLXgdUM3ahyLHU48zdQm/
CgWZHD5MLtC88SD29jsf8uobnplX/TymX9O+DZ77UpNrqg3nB35XzpueoRy+vNgXpyHv6Jswepgm
jI+N0ehvDCOdNtht6iv6Zfkms3paTX3vIkAc1Fu9UPZWL8NnWbhTvEOlC5G5uhrInEw3+KIxhN43
MvplJ7k8RNV0a9FQ9JKe+W2O/4+RaITqKtJphCK64o7+b7sf4oMRZuqtECpeZTTHUdthgmtB0Qdy
sJ5n8dwtNmAA5o11OCx0PGQNLnunLu+cbPxOSg/1hukm8E2heYVIgjsI9GotDdqxa8fp7snB3jIO
rVf6LrfPGN+ljG8AAkXD1oDZ8TIXSZ1vMLtpN2WEFEDSRtiFRfGYfpmL6R6pJp+iDVGLWRvKQ9Yt
su5pPnqFvzCs0shY5VbygIQODuiVW9drnyO7SwAvfO8T/cvcWl+mdnqakmQvATjBRy9eNCQPL+NM
7iNDD/ZVwr6KreEbtu/zddRNF/7YzxsQBz4WZaW98428vezHurjOcjVeGIJ2z0Bee6hMjbqnRHvQ
iISxc+c8uInAekE4M35Vbks6B3diaQEruJSV7A6OVf+I8APl1PnJhVM5iEaMxb5AGGdltm661eER
MwJwd5SN9rpJgmndy2BYmY18IYb237pyuLDT3j9ESY0IDBbx/aZDVZbpQNzs8a27mFKTMXRYpnQX
MyunCWuIYdWaPYw4x1nsQq1WZFRQdn5B5bbI9XFeBoRIZXQJk0/eWJJtW87RuHetbFrPffpc6jF3
au0bT3qKjzb9mQxmm5tfOGFGlgLQDohd/lQH8gWHMnQFonZcI2BE+HaM58yc7RUfa6nY4rHxonSi
GxY1CgcNHZpPavxAAAuMbIYMVmPLDEkTzncf5eLKzjvtp4vEiWeYKDuUg1OgT1c8lQmfFKhLp1bG
Qr1lgm9egMBS9Fiq4HlOUnK/sWu2ERhyAlwMoC6U2bee+SFYlgmxmT5TqzJm2EbhGIMUbJoBc74l
kFtBuVwEU/CTQpRcw4RsiRZpGhIHMSnFf6q8GOj9er4C4JL41VejLo2VE9C4jn1IMNw6+d4xIrjy
Fn55sAyF3HdBh0tJHVEWt+1iDqtPwyYfoqsuk90FzUFiOJ5VOPU192iZiUu+Yf7LnjHFwsqNIkWP
wie765qrIU6TxxCdSRsEBxjyVRRj2rg0h39rLel00XTFkznp0bqzE0XThNHROktD5FF0q+N5DW2w
UR9iyx4cW7yO9JAPmguCA4XisEHx23Fizw1RwlV1Zz6ghVStM2N8C00NuEWn1X4MhgiC3LpLNL30
zBxuJdIQpnUxxnX77NNJvSwmLstIhZghoGWwSrQIivnSSlvpEXaIVhhp32lgkERryY6Sx7g2rTZ9
mv142kIyZtNW0U81iWBNU+reyN37VksU4cgf5crGBR7a/RyscbikkZ3YrmfHYdt79bD43nVIE+ul
+hFBf/cyxhH+polkFZAt1UAcKjuNrZVZlmATp4CGsBRA/JmkkdVm5m3P7JUGkN1s+wgzuXy0esRS
pfwPkGY7zSYxKAY2sy2nadqGeqrvc1sxyXON9Fc35xexM6Z03uFGR42h3RKvUXWbuJpJVhHZUb7+
KG3wnahr9WeAQ+9xQ0ICOgcOjioqWsMQGJwFl/8HOgmvvUGz8kl6UAv2VGjbZOoQ7Zom5z/Awv8r
J+Y9DApMkrUAew0DoBLORhgVvV/IH8SQAHJEkR+/Q9A5MjLhaovZ0Nd/QCbOIr0UjwHSyzFggBm6
cKQ8woH7ahriMsujjcU0FQXt3oGtzHTF/9YX5I5rl5c6k6a54aOBhtQ59dFjNM2yPhQ04OjAadBv
OLYXHyrl+gUw202Ua1h3+rRhsU2PAC7YoWPlW6U5bvkCfiLur/UuNe504Hkov1UCPBN3b3gVuKXu
Xhtt1/wvrsGnkDXg1PnnQ2jn/xv45v8jQPvCdvgA+1lDSn+P+Fz+wH8AN7YFegaGBrg6/FQcBPv/
G3CDg5C9UBsX7g+UVLqm/xtzY4DSQXQMDzvTMjARWnCY/41lN/8newLK5WJD8w/l8hOAm/eHCsAO
YPpFLt82AbIviqzvD1UktEVcE5w2hhPmdgjQXUtG7Rx1ZDma/wcfxl+LXzj/sA6wUkhWR9jCsEkK
E9Nt0ODQtl9IPUam20V/EaJO1HtOO2RnjvD7oPTPgmSNOD7YaFOBYl0e+4+gNM4OgzzAi95YASx1
R6c8kOq1F+Sr8Zml/nqDC8UHABygWV7gX6rM00TWmWuF8LoqyV/pZZerQCvDxz/204mYdKyMvLxC
oisOQIQmcFEm2+vPJzLkFIQGXQjPStzyLnd82IcmdeADFSywl7QofiHtwnzZ7kxrOxpOt02NJn+h
/ne2tjGnZ6RtT7xh9i5UZrzg2T320cZpQJdQJ/J7Ytxtes+kEbUqmrb5jn3POVruybWAEyBVBAEJ
rNn7Zw/yJMvyeBBegxnMbVkN3WNJd2SNuyd+uWde9Im9ipq4XPz0oAET/98vNjC7m5CCAu/cxNaF
Ubv+oxSB2tQFumWiR4crmUV1gRo4aMva8PFdXYq4CE02MtVYLpx6v/MKM+4vY7qHW7v028uPf+SJ
PYfSOZsNgBxEpWOm68SHng3yV3RENaRprKDy6M53n9/ZUvIWHC4kkH36ERJPz6POCVUiPacCf+Qx
D3pMHIno7ccPcwysZmezg4hm0tJh1Kqj4ICRXj1AXZDe4u61lQwcDjF2Rj+KKa4PlAQASEIImxuI
2+bDx0ufOlVKtxU8WwK0soxl5/0RJ0y7pGcWhPRmGSmXXtxKZ+8G4Nq3PV6ltwIEGTd9bzLnQSYL
tUW3bvY5VQbUYjkUvxCyKD7/1tl1DjxU3r1D+H//kwKVV7JIEmJlJvx7BCjGddmo7Ew8ObHLFZLU
WOLgpWYSWN6vokGWRoAqJu4bWoZ06oyipw5MwSF7FTP+0Y7/4+N3vfyNR3cA+xV+AtoEXDnHrEi/
SnUgdQGTvhpBG95jAEVGiH/x9lzclDDMxfkERPv75xrMyHDmwLUZsUgdTlJae1Ohqe3nnwWULIjx
JVWTx85dcwagaMwQh4yasr8zijTaqGqubj9e5UTYU0QiFB2g6zooH7x/FvBhoJYybhYSCxtZrAEl
PmBk60HTnM8/EGw6x+Qk6LAcjoOek+M8TY9UIMoDKF6Nib/O/fmc8vwSMI62ADwGUhc2nAsI+eiB
9LFGYkdvWaWRHXFycJDGSTaWL9dFbT6EQARXqaXu+tA9EzBPvMrFosbhDoHl/Q8a+s9zrkSdVloZ
Cc8eYmAroskQEurlyqzzc+47y2V0/JDk3gzpBIjohY7zLqQ4WeK0I1c5rTc66R3ID5fJSKgHHfag
5kXVdOfEAk6cLJe7gFqFjIdb4SiACrdQbZu2+MADl/OmJmvWjYWc0Kd342Ijs1hPEa4RyHj/XCZy
n7M5OFQieW/tCzg3267N6puh66wzh/jUPoGXZiNIwBUMqen9UoENWIwet40MqAyAPinzkOndsFtI
U0wvM21FLyx9rOegp0tpn6v/Tm0WOERLBYYnG3nX++XBkSGi3ZrEkExy7VGDXUu3bq/TxRvm45d6
arPgngSFFH0MkvmjZCNH2Q+efs+nq+mp+/mXKfJr1M/RLPbjK/AZyZkF/94rDlwxbhcLiJpOwf7+
2bqcCKl6hKkgpFvbOPHNyyiqxObjxzq1ioL4v+QnIOGOewIjqled7zM8iYwyW2Phbm4LPH+vPl7l
7+/k8Lcz8kXLh5a4st4/C4P1fA6CBcdUVPIBYz73B4TG9mfqz/PuzFLL3/X+VGPDvhD6DTyMTFoe
79divlfzqFQw5Ia0P4GClt3aiqzZWkdGL27doQcHEypmZl4mepCRgn9NEeoe9HZNLzV6nX3+Fk+6
BQ2joeltbSXcsf3N5D6dt+PA6HwVwygzmfNk2Tc01unV6zJt+23h1tH1hEpcsjZbUO90rLXqJw0z
iKtRqPelRxcD1BHIR/HoT62NelPegTLKl+Huto0i8eZLdDgtLsVbIfL4uUAvwfbKkl/N7zUlqHEj
tx/DXJDSt6mbN9uAH/wtRDk/25hgkq5cRwt4RLpaYG5VCH2APCZlzt5oMypw0ItWnSXGaK2nGTyE
jz/AiR2FKodDnoYCBlnishf+SNQA2jpRGACa6RthXmdd+apQEz58vMiJDQWJiagDBw4Dy+OENynD
okHryIIAnUyXMXzCvSrdEPh/2pzbUH/vJ2Rx6AWgkLEcxaP9FDMcqQHvAEUb0YNKZILxtL80H7N+
Ss/pJ51Ic2lnWchPUYH/w6p5//by1GT8B44WKCTjoaETBk3ztHTv6rFEJY/cDLVnx838lVHrLvql
gAR+WmET7RAnje8r4bZnXvU/mfXRgeJNYhSJr/xi8LFExj8+aFdaDEdIcdECNdOLlgZWs/IReNxr
sZs7np6n6roS7Dbsu2NHreCfjzdNL13LK8q5Nb0gEnDKRyunDgNu5t9XgEjOOar8HZ/53kxPcYhx
MWuzjuJzoUyQUSMZi19l5ltTwWdLSk38pug3fw2TIW8Chvm/Pr8NSf6pRiDK2oCa378aJwT4GBZg
4koUsq+yuLPXmR4Ze0bx2hnXrlPPp2go6PSlkLw5tgpMjDimvsqFB2wIsoCaJSCH8b6Oil+TiG+c
oZjPXECnzhh8MbpNKDUousbvH87yM5FBWaFd0g3VvimF+TXlf8TVAS7Nmcry1Fq0m+Axk0wAFT96
kXnewassGtJ0o+wOxqCBCx+s8kqr5u7fLMVWRhiF5hxn7f1jKW67uS9IWebWGPZIM7A7Uiq39qw0
1MmHYi+CXuT8oJDxfqVhzhAG6KmjEOC1tgX3Kj4Mhoq3BcXpOWPkU2HXpRfN5od0zoO9X4x2syty
n4AEIS25xjFg3lIwy7ePN/yJVUwuVpreiuYOzMT3qxhBZvR4jwgPPlh2m9RJsUe8C/TPv1iG53AB
z8FYdI9CDjzyuNEGtgNsQXXIQ9O6gjKr7z+/ClkJSQliI4Z+LFZHIKMDBsveE23T34+uOa1B1Jtn
Du4SeI7Cp0k5bSMYRQlKT/D9K4NGX4g21QSgP/BUKOT99o3uzoicq0KjlfLxI53YckShRbWQUhdl
gKNzFM/d5I8Wi3HBWC9GgZ6gq4fDrg7Nz3e2aKVSvOtUGjY6Tktp8Me1MNowUOIBTpCjB+oK9qTa
qrDpz5S7J96eBY6AAo1cbjlJ71cRjREAKaeWUanu7JWGWAAOmPZDhQHFKkBH7kyz9G9pIV6MSfd/
2Xk8n350j4DqdCbeFn2mMvdxDMghuwnDbi80GtL3M/DGn1EyGw8w7QvpYTLS7wd+3+7j73jqsa3l
fLEv4RMcl6azJUffJ8XzqqicAe+b5QaVUfNri/vGavLb4cxROLUekWPh8i7e49bRvsk4Iz40GpuW
j45sG+IXWxcW01M7+7NHwNbuP36+E/uUiYhuycUjESW3oyBc9yPN8H/6xFrTbRVeJ2ujD+SGVtvL
v1iJ7hl6itJZVLHeb6AotnXfSUdSZT00VwOu2ys37vNLKKLDp1sXcLQdpqtcz//E4fdLBW6hGYHN
ma50+66xcucruM35Wqrx3JRmCbNHMYWLy8XmSLik2cfBXgBIjtFcll5t9skdt8KDcrRpjZcJQ5rQ
gRTR67XcA6b83Gh3GdfQmaFOJBEEHUBP+/0z1u04oIRMzOzDUT1xF/meCV37zPY4sR1h8nJl0S2h
JlVHp56Whqs0i9iimJZ7SptfELlAgd4IfzX+8PkATf+CYEkDQZHqHxXaUAwozOBpezKI4Tu3Ljah
IfzZKdaHDey77Mw2OXGHUrgwg+JaoGVxPB9a+CJLSSfQ7UX7Jw2cdDd04bkTfWoVh8tLJ9LzzY4v
N5KtFJMF9j2qJ08oToDojM/WBicXMXVGMOSIBMujDCdbJKGhegoPzs10LctO3NQ62uSfP8J0/emu
8jSYfR7tubywcN6ulPAmqtmdDbn/YqzQ+yiMWDtzf558IIKgxfiTia48ihah3UpyMxL6ufRjSuXR
xTBAE2faxcsPPj6+ZPH0dpjG0WM9irZ1rRLyWnYA5r7RPqhFsFGNU2x7GK4H6OxI4GvlFSRONiFy
YmfullOxl+yN9IB7i/hx9IxBZExBp0NShO2sf03LJvgeda55m7uW/+kSArncBQ2yhHpkKY6+nB53
QTQ1gnSxh+CLmVv/EBZdugM2E5x5qr9DIksxfjfowi3x9+hGGSozRJ19pmOt9VW4GiBIr7qqAgCq
jQ6gyqVZjsHdMjLcfrw9T6y86C9xzrgIeadH8aOu5hkthAasvBI+fikifkiATj5RgyqI7YUVbcj2
ovU8mUxxPl77729JQUgCxpiGKTozovfh2M1T5HqoLjzoh9FqKcz2OOEGhwkvwDNL/X00EKAlGbGo
CB35l4e8DxlRQBRCzFnrnLskH9qDD6bs86twxQAIoKHLmT8OWzRZUbmFsUrNFLgrMQltxW85Bzo4
8Szo4DAqJSlYlJ2PjoBC+o3ATDpuplq7lxVeUFab6ZtPfxy2PlGEsSll+/EQRcgis4xSWShNzfrG
avtFQQ8Xtaax58PHSy0X4vuIgtqVadNVt52lIXEUUabQHLKBPrlnZuhXBF2nvkxh230Phka/J0bj
xhOCKP940RNvkUoDChVCrlwCxzpUfuC4aVCPNDkDP3gdpxnLDcgpb/9ilQWSgtAnajPO0bfCEdTG
BG5mR1BGb5t5stcMhab1v1mFkEz5RM13vEpZyESLW1apIa1t+GxAGLJ0PrPKieO6qIJRmi2TVWYz
748rslwwv1qIjYxNZmyKTFwrXYVlkLKGM6H3RNuOaEghiO4lzTukgt6vNTA1myYaZV7lFBXQ6UJH
kNFJusajjWAcRm6Ab9FgY06JHcF6GMB4U6q6IP9Hu96lWphuZC2GL4iJmetBTPan+8RLtMatETAA
kfNYM7qGe4YMCxRfa+gwcwWvxy+JzkWtvzNJVuE80PBhXMrLfP8WINb6kZtwBjEzks+W4+QXEDFw
M4Xwma24IKMzn/jEoYCSQKd0WZRr4egTT6p1g7LiE5f4JV0PqTVvEZ2czgxUTq1CMrQ0FKjarOOB
iqm1bTdHiGQkTmY98TNeOr87d/JONKOXQIyIFLNteljGURo+smUm0S5TjKK0r/EAkQc55+VDU8MF
w18tyJ+zJClXdZYX11h2pT/nJOzweezj5hpiXnYmyp04PnQaFqQYvSdavEc37VRDCbG5Cb2A4vKL
nTnRrpBV+2C3s3nmUj+xFJcPvbslHLik0e/3jZ06gV6bYDvirA1vM+xcr+BcN1tM9OozB+HUUrSh
gKKAEqSkOlrKQv7pPyM4FO6qN2wem90U+6g/9Cmcz4/D3InjIJY8nWYgSRltjvePBQcQPYKGoaKO
/dG+gnhxE4JRRWVKalt87M4NaE/sU2amNFqJeUtZePTFXJsKRBmZTVfeh3hcRNFeYi53JtYdv0He
GXKPjEstmhf0WY+eCr3BqnVqVpnw/9pXLbZAyKVEj3GqfRZDiD+CvqATaPfzqczjLSgnxn5NkjLw
Zmq30hJIoGMDQ/Pjz2Qcv7dlGVrBOmmWwcTZOQreeI3N6CSwjEqQEsjELoHrbMGOR9gIERVnM8Mj
G3EE8BAWRHnIf1rEA1FxXGfmOXOIv98uv2XRamcCxLk67qCY6dTPusPwFg0FNNoCG52OvlWIPVnt
+uPn/vuxaQaxMU2+JU0hdfwhJTILWQQiQ8GnunDRsrmEcXVulH9qFWYNDFr/mbDbRxmFlaZVFnH0
vaqR46shpua5svOXTz8KW1Ki+EpCJtiZ70/ahH1V2TU6HlEu8m5hYjYrG2eUz76wZX+wPQyqbxpP
xwB4WQ5tPg68sMRS1UaS116KHCvTM89iH8cNWoIGIASLyorgy3z3/dOYTZ8NDLWh7QB2/lGAaHxF
Ryl9nWXhYARsOuVvJPPGpwQ+13drwInWioqYudgQowwdAl/r4RtlsI6qwpnuCHii2utD6lykPcoZ
j0k2lQmm6qVTY56XaYdgLspg70Rle9cZvQMzHj57eSAHzq/yfGG1yLG3fkxpos2bCEPyfY7km7HW
5snq4H5FiGTVpm42mzGrnW5dm0N1FYqhguIhw/abBVPFR99i7IJ9OfQo13OHqD3yTdr3pnPxTur7
LLZXoykjsUVXJAlC1DCh5e2Vr+lyVZCUBrej2yU36eRMX3vbKLpVu9iD4sUFQSRN8tjcpgsZ2jOQ
Na0Pup3i/guDKXsu2i58UFNU4sgh5+g6qyvrUUfl6ns5mHaDwVY1LnrjsER3I6mLv1EC60cSguQV
b1mI8kE42sa2dkfDRWPDJ+6FkVnEhxg6krmqyewwgFaxXW4tNaK9kiBFPePDVuYwkzE2U+sSHYh+
h/qMFjyF1TC2q1pCAwc52aeX2cggf523EfoOftUVEB41rUa+RlbD91Ivja+IjVf9CkExt0IQMXcf
bTFKWJUYEv8I8eImgXbHzlwR3up7EabJnd3X2Gg3/pi9kLZECeIcdeGvJhj3aFklJaw3dOoGhNBV
Wl2bmmV/NfHPQ3NAyOSrzr+zz9seFr+WIMfljogawnqO+3rduz7hPwbVDJE7mxMSA1j2oYcV8ACv
DKK85kWVKd/8ODe/ItleF/ugy/l/9E6BP3zliArWdB361yCroOvjj2c9BvB0xo2Zxf6zU029D3Or
DL84fafu0HG1DvHUuQir2TUm5ohbWcDmvAEs9uuk+fIrLfxGekBQse/QrBYjGn+2YkZAuI2ihBn3
mAsCS8vGXUNn4ydsZAyTUN8a2exKoTelslp7W1R8XxIYyeUq7qq0WykgH6hdYUj2pRb9jJAL0oil
1zhVlV3QPQsmTyJLFa+pfhPdm4Le+do3BRLkM3/+R9+PKRRqX41XuYtQkIfNVrzHSSzF29VEZBB9
qBrtqFxV488WEZ83VJ4Ed/eI/tcWPbzweaTZkK/9QRZ36PfbCmHHooaqa4zKz700L20UkNH+CzeM
K+arWkXZeAuOQn4P60ik68HNRbWFedu2iJpIEA52lSt5FZsqHm5FU1vWo0ihga6kmgIOQ4Wz8Cq3
MZJAPNKFpavJxMnvwUk038JlRLWDOhGZ4HFEj/Sg1ejZdTSH6Jj1Wp281LZCCD4YKwy48yqanhH1
rQrk3tBoUK/VrM1bw43G4gr/42TYlyAPcSxklvWtDqEUsjmmlPjQ5r2xSkQZLmo/ff3S6WP/JcDs
Hn0n3sUhh4SNnEkDffGiFIgBr9tFiQqD0tSGo2eTPoPXSUeSL8gew1rVAcoNJlr8gCjm3u+vRKhn
xj6OuvyqqOoM+ZY25uPNqf0KW1x/IP43r2WbMS1RViX24PvKBb5UoqOHWKK7tTRZuRsrNHWsDYc6
qVeBO7S38RRj4jnqTR54QEf5jwJix9cQ3YS7fpJR602tOXdewIgabZR4Ed/XBnSGUrfYBraTfjci
O7iDzygQe810HNx9PBX42/UYqvhEeZCuSj+0x3U1qyJAaHKs/E0bRNZtm1WmuW5RIS1W7qJR5M3R
BImuBewb7LFoSqdgM7ZlZx7oi6ZBvJrdfHicar+/D4wugXSC+av9tbJ7BE9i0RqvSGQYr3VHKLjo
DDFa36XMKYUPPboDSMDAybpGjFIbVkNem980o+9z4n9kOisQn4nYNJNI7uinsTcrq24iFCA0ycs2
VOYjgAXLMnLCuAFkkXRqZ6IaxR5IXTfZYNc63dTu3OOK2pOO4ruuV+OmQn3gRov88jFCQDHxAMI5
4kKGXf8LCNdcwWu0hodkGkFrPHdIw/wXe2eyHDeSpet3uXuUYR62QCCCEZxHidrAKFLCPMMBB56+
PzCru8SgWnG1vGbXKhe1SCYCDvfjZ/iHZN8OnflYYlrSdPZBqEb5c467Bu/sxFoOeT6iH1p5EXSN
ddCkhxyNHhkl6nko05pCPetFKoKuo6HlBwNZbRm0lY4YzaDAf0ayUP02LUQB7Gdn97uSgNzn/SSq
2WYExRxLdl1ue5rdEDlLE2RvWo/zi+LVySO+7EMJkdktTISiLPrES1GkXbAsTcYGLovUDoEeO3dL
ytTcEZoRb4DkRwdDUXN0PlWMxn0zzmYvtGy7+Z5OohY7FyxOtbHNltpjKUW6Twd3daxqy57mrJmg
KMW6IogoFQ95AhQu8l075entACUc/QzpIcg1QPo8G73Wu3fVvIz5kDb8X5X5k7XRYkJGaBLybhuZ
4pCW5AIhQpIC1Idiz1nGAAq/cp7LBtWfZmlRaLCyxLtdohHtcjVv2ytRyO5KDA4SqmayRKEKDt4L
2rq3b9joi0TWhwv+VTOSBAU4uvgj+u6g/C57mdfRNVKTCNH4g4icn2ZhKcpWoPWhXmvAYrOwh2Ji
fpOo3xborcFUvFaFmRI7NHbpJXavmQ4K3k7su9TsiX2pbQsYpCnGl197PZdzaApFtDuc08BUpT2S
GpdKoc/aHQKplr5Tcrx595Q8tdgnKKw3Wy1JJ2sbZT1EccUrppeuGSZxPaOMcdcsURTNviwT04Vn
LsdVCSRiq1IRW9WzwF7455+TyE9lhLaWaGAFGOJTrh2PvQxUGwjnMzyGearRsUAlKDfj/NpB9e7m
z49aq6Nfu6Fkq+twZS1aAP4zefiYrSqGBm7EwHAEa96Je8m2N3ZnsNfNwZPbDk/OQxr3+r5vkGbp
e1GFf37+b18V0AINvhUIeYwhmHI1yZOyp4xJcSJqB8t4RIdXbtyia0+MPT7VMrwq03hKepubloT2
46smeVXrswssuY4YACuaOe/aZpB/2aJgQREYNVXIP4xXALt9fIpiq1XkTNxcel/nYeaQfQlhDoCm
1FOWXL/5duA5134BMCamDUfdkEV1CzRagO8WaBLSzjYAx1ppOkOOt40rAlm6zZYmuRSZA9feitzX
P3+73y3o+zAHyAMWb8fPbzPFqUjhgJS7KEXOc4T/sMUY9c9P+d0OgfZC1wLqEBCko/q+EeVCJTVB
0+9Q2jIl5jKmQ2IxT5H31zuE5jzDDCYQQKk+lYjdYAqkNFygHejRhQtTgUu7t9wff36hz8u2PgVe
Azcb3aVj5wvN0chg6Djh4gauWh+RRp5kNpxYts99EW2lhACG5x8osCt191fQUZq6oA9iHqP0xYSI
q+2gZleOCJ2hpbbp+sa9kr3E9HAeJVpumhLWSHwovgXYZO/2I7z3GqtqR/GqE8OQ9Qh8jDlM8mG7
MzcGlUEj+eMvK+e2N/HoMdFNt9WXGK2ercoFvBURKboLRw0nb5GcAoL8btk14EErVIhOrXnU3o68
WdRcqWukwx++LxE0nGRinIhnv30KnDtGcsz6saD8+G4yF9NA5DR9gV7lti+nL6oqTw0sPrcY4Kau
rrt0W+lqv7ue/IIn40JL3djmfgC/7/nJoImvmI2rvtbnyCYjMvHPS/0VP/7/jvz+/5r7Edn9L4f3
s/PEj/k1+VEUP/pffY/e/+gfGrxl/4tJugvdEqa0aZsrgegf3wksJLhPaQHB9OHaeXek+LfxkYIR
HGg5yGI6HSla9Dof+L+tJzSVvwPqQPxZMXwrT+gvmPAfgyfMRC4ImqOr/ydcVy76j9uxmgUu5R5G
5aIwle1co6KDJLlBSSG9E53ljzv/34+ifweRm3+g/hw9ykTrFoRDhAjcnKxho/Ebp/i7off6FHrJ
FBxgdYhpDDk/PqWtaS6kLZaJiIKWpCo9TvFK7P7VRfD+FKzj4NZxg9PNPe4pC5V3iArmz6zTclai
YR/QL0m3v+ylm38i3q/mS0dOte+PgcMCeoa5ETOj4wsUTQH8pIoqCVxnfmvFRUvTb1VnE5kIshVh
uDiHBnGgei4uLBFtRKlurLje1GqH3isONPWN3qiXzpLc//mXfYzQ6w/zCC6ovjAmB1V2jHsZkh6B
NFWPg6zUoqAdyvs6tgbu+WTCZ96cN1GfnsK1H11Y/zx0BTQQ1cAz6MfyBkipTQOdRtwYqszdS5jp
+4GuZDBLp99ZtLk3Ex210MWYaD96oxp0MBWqxJY7G+XNfYIMDtUapPY/r4X++Qy947ffUUAW5/Vo
y3WTPnsIBMPirJR53iAetjU7DYUoJxPgWum5Til4O6qLpZD3ttTRSkq9+otLQRkwJJguXKRhd4uT
xIgdOfEPBU0jB2mnGB1s0dTxN7FYyjmYneVu1EdZbZQI9lOmpGYY9Ypeog2T6qesZT8fV94KY1DC
AhkPk4SPB2myEahAiTkJZodqzaALvKr4Tps/L97Hm+r9m0JBR31eBWjPTOsoeVtyY7at1EgCxVKX
sKhtuVniEmksgGooMmXOiSD0u2/FxnSBr/I/b7UB+jXpMc20bRxE0gMXnbuAris1bznbm3nG0fLP
r/a7BSTnBv5G2CdYGB8fhSl3Tq9USwKHQa9PwYzmfKafqo/e09v/JEvvK8jwhfSM4ohPZR6toCYa
cMzI0q8ukBXaaKq8dtyhC/PUNXdD46jkTik+12g+B0XhOtdRpunbxZ4Sf7ocozAZnQlF7fsh6fCu
QmThJqHlxIwAe5BWz74BYko3dawI9DSiJWRY3zMXkWqIuNMIaBt5cr1gmk2rqDgR/9Zc6PjVgPUR
zsH8rDPWjyuojnktRSKTYCiMHNV7tw90RMc2YGX0QAB3hWIoLimG0xO75DefzgblAXJ9JT9+GoLq
nQGfAT+1IJmR3/RaujCKyE5pHvwmiHLtIuwOQBWBk+NKEDuJoqt0RFtHABDcV7PcMZKEgz56duBO
MxZ/BLQTB+53a+qQdDCAYvakHuMQGmtQR67HBAlOFOMZWucXiufm98Wot2ddqqVfhDEXW9ep0v1f
nwfuZVIMSg2Ow7HRcM4ZWaaV7D6LWQRKpci10S5OROPfHHBgBiuHgkuCJOrogLuDWXhwOQjGluqg
Mq8jutOqMxMaJT6xPd+To1/3J/kbk1VG2HgSoWd0rB+gzwkJyMA0N++0bw0T5UTIjQ0YfzchiO7b
dX8fO0O/VdwmvUH0+AHvlAnWqqvvqnS1d2kNKBh64QX48WV/udz//DgHPsmKMiQ6fDw8XmSi567x
4xZhJbfTspSXUT+rJ07KkScwkft9Df7zmKN6Br02114GZrNV4s2hhgpakIyNhcDmvHxn1pLseyvq
L1R6og9twZCoFhbKuiIRt6mcrc3QRa8S7LqfpjjrdJ4mtggfPq/D09Bxp/h29DKceJ2sDA16mNsy
K8tQE96PP2/ONaP+EGvIqcmD0XhfTUxgqB4tF4GZwURLn2tw3dD10vZN2oX3xMEFyJE64vsQVSn5
jp6rtV87mQU3U5tVX8zkWU2fFM/NoMRaYHJ48Y/QnDjMc3QlGNIa2n1RIdILi9rS2gAPLQyS8nSa
RKBBkY6RWkkLTMjMPvItEY8Y4qKleOI2OtZX40Mx+aLgf1dYWTvdH/cDmvHl5NCu91uB6gmy9NMz
r1WEOId5B7KOGsUGd2QYpnYhBc50l1qpn3oVzkZID5QYH52IRL9ZcZgkcFaAztDp8I7ux15vYy83
EcyL3Fo+FZbxU2mROJ3RGwxtszg13n/HDn88raswFpgW1XUB0RwjW8oBfn7FYfanCXu5UbvI6QqD
883xwhAlLnMklP7S473auW0e1jlTUMOTJ46lvuZNH38GR4KgT/5K9EV+5ON3mN28WysKhkp6ST9M
zeOHQdhDQLotLgTk/o3UFusS77/6XFmGIpg83OfxBnDDRvYQN5qMybYOf7ppyvyQdu3gF4rpPQBy
aTfYNfyAeHICInccVClDAW7RU1jdLtG+OjrkzOUMmtyIPNp4+m29SnktYg0x6Ao7vT+fw98+id4L
ha1qUfYcZTND2zbd2E4YBCnVz7Is211joVLpJSgQ/vlJx7cv7wSOGAws1wUb4z2r/6VHMjfmrFmd
Fwdpq1ln3/YS3N4Wj9Npw8ijOnH6Pu115H9gxLD91kwaLubHj878VaB0X5PJ9Iu+Y0STBF5h7uhX
usVwqlD6/GYuNRkMbup6OvfHWkpeAyc8nwhWET4lQOlHDDXwHW+Z7ljdbU5T+FxL8lNyZUdsPwIy
EYbGBPWwQ48bfMvHd4Qlqw6DUuWIq/YbVxUPeJ9c1rTTs847z9LpkEPty5IJlfz8xKH6tGs4TkDM
QXAimAkO/ahWKWZLMAdl0GOgY42yThMFWe/mZN4IHf/ltllZfSSGFkhtYLDHDIUsaobW0VfJnhgs
74ivnJ+gPh1Wq+RonmFQNDXtcCrTWLOWD0EDWC9HkAVmLAE1f91fv2zWUe+QxRIDSTBF2Y55W7bJ
tCo+YFcc72rs2JcKEe/MaK6beDAv2i4aGJWBqMDs6PHPC/A5jq6/Ze3or0I/sNiO9rKbjmAd+YaB
HKSy0Z1eAoNuhUpPdmoCBE+aXRON6nVjb8uKRFNFxnVQxQkB1s/3GbQ5euPEJFRLGTsd/Qx1Qpm1
L8omUMiubwglzaWtN/W2o9xCXDt+w4sg2iXdlG70TGrXdtT0u2HSZjzTFOsV3ebd+8L8/ybo/1lV
y/53GdDdj658qeZfG6DrH/zb+N36FwwA+mQueDfL5uL97/6n9a8VqIuOGEGY3Avqw//IgFr8EQWR
TXNzhX/TZvuf9qfp/ItcAS4vpuTwS+kC/U3382OkZCgG6hSxIx6y8lmBKX48VgvCuo0xLCkKYzAw
Yr+3qwlYhxmp2SZF1bdDAsmSrxoR7UTE+liGvT+ZVUF5zLKY3HO1fnyyM/U5BUmSQmApQUo4iap+
b+0hcsAJNLPYgIKBYSjcIf/RlwLg2C9f6OafyPGhs/gxC1mfD76X0sCgS0qj+bizOJh90zd2Bo7E
cWrVX7LCNALX7utd3UvvcZiRWDb1mRCnwNAm7DRavRvAYP5zaP5XeeOPkfv9dzhE7VXLyKKEOr40
RrUu2nY1Ks6yxTpXjTz5ahpiOlD2K6fuxY+X8Puz1inymnDSOyeAfVzzZmqmZVQwKs3LyBwfaOG6
Gww2MuVyMHTWfKwtefPndf68waC/rAGbLsaqMHe0wXoJFFCoq1nqgtEqdYK08j3iRnhOoYIud/j2
qngjLr36/c8P/t26klfznS0aGSjpfnzXHqjcrDdaTp0ddfaVLbMoOxhSQRlQiftTGhOfdzNKVKsu
B4kHl9SnrzinJXl0VwR5UVjnSLG9ZaYYABTiSmCMWk5Jt3RoeU9VdeIc/WaBiSCcXCC7vOhxU6ER
g+HOuVEGubSt8zGTeRiPaGMDfnorwd7t83Vf/Xlt14/2n8v4fR/RhWZCuaapEAWPsg38kYSNmwAu
HKSw3y2tZqdmRKoTj/n8CdfOF/gORgCEzuP5LEbb9Now1INoT3jwFQwX/KgSy9uCjVR3KiCsm//j
S7F8PIbEhtj7CSvgKBou2zqA9xF35Cfce22gZ5oqgAOmAuRvY5t4h2LClPuZMJTZZ4w5uDSHpRK2
dWVhz0l//hSC4fMaUCGt+oy0qrhAjmdGuavG9RDNdSCS1pjP1aicsQ/0csz6KFv/Ohat0zQi4tpF
dRAr/HhmllnFUBZHvsBrJut8wP1jZ8Xgk/zenJrnv91D6+XGrOC9v04m8/FZNhEo44zUwQRfeGdk
E3uobJqTUnufTyaFAJkx8gZ8VUgHH5+DuZis0yrGx3Cqxktkj4rdMk3WpgC0Va8I9PhVVWT5UEbK
eKoi+BxvyQ95JHQVYjv6YkfPrvoYYxbeMXF0bjeRLrOvLzaFia3TR7kUqPeqJ/bx57O5DjJBThAV
0Bc8PjTQhGO7iuwySPRF3ijA7Z6IvO7mz1/vU9RBtRA5J24Swp7O//34ZsLJlmzhjTFF0pQb18yi
y6h1zUOeiiiQptvcaxzeE0z3o4yXuENsZSIDLYeDylOPioB6tXs0RhAZwJbRCkUAGZB9KRvskJLF
PVMKYNq7kfoOx4tasKHmwo7f0qqsznp1XLx9pjq5cQb9RTulb3U0m+O38aFpmoFnWBVfPuUzRp17
wzwyz1qspt4BrsrGXYaCNK7MAFh8PCyz80FWyU1UwkWeM0wx+myMOcZL/iN1PODvIIPaOnQNkZ46
158OAYqJKBAYjJlYOsbwHz/XKFPsu4xyCQYtc790w1h+WyBRIpGCYcrtklWKepkWTN2CtXkd+9rS
ST3EgMLxKxLEL5YzVWe6cHD9wJFYPzhONE2h2Qkn3vRFJ+kuLw0hOadskmGXibH1BYgkGEUsltzM
TZW/1R2bKRj1HLuvWbrDtJ2qUm+CRsHa0DcbwM6+Gkt4jrZ0f4ylVskzmlFZtpV1W0zbRl8htTpW
RA79ubw4xLMn0m28ni1MlGJYBQn8DN8Tw53EUPpGNaJqq8MNQOJsksWrg/lRoE4TxncuWMU4MFkT
TLuUUd7U+aIIClnDPddjEOT+CAhabIaldPPnzM7kVaoacgj/fIyOvwtRnTweeT4X1X9mAscXaZHL
pBzrKlCu8LovMYouQnNT26dkytbbgk/8y/VGf57/PlK/YOFg+QCc/LgFMim6wesSMOJoXiQvCh4r
mJDLuWakpK4wq6XrITBgjhUuaoZNbDYYN1AbmMiq0QhKfejQzZKxdWVXcYPBme0lN0u/QE1JLgwU
eHyTtgE0jAmiC3dadLfkJb5xBgcvCZNyGSjR6dnBLdd9J4qWbjsNqGPqo4J1CoiroJ8AA9fNVIS4
FKsvUz+f1bLNvqpdHnercd50n5ojqHMSHhd9BFftg6QB1dzP2pJt7La9XUNium1RqT2LKMNvkK51
x4s0pdfTuLXd7bJBjSjGXczvfFxwjQPxwNkkldlJvHmdagmKNJ/UMJpc53ZqOutyNXTFJ1y1tyJR
VKyfPKVtwMc29i5JZrmlH9TVvia05Qvj6n2Ddc/ywkenEd6D1du0iURFUgEEaPo9N0+3xXphfCCe
eH60iD7om9zxxTBjlDg2OBUP/ArmCC3+SGfe4ioHtVzqTWaBJI/UubnDhym/1/Wk/IHaKu1QL2l7
x9cKq9cCWqNyB3f3WtADM3Zd4TLSVPve+4lzEDxlaDfW12is5AzYfHHxRjOkEwxGb2D95khxo6ZR
e6tZY7Gn75BeVBAtD8pgbO3Oc7edIY1zFl+9qmYTM2mTOU/qit4IFM1i4BpXrTmcQf/7kUTzNyVL
ZkpJMXlfO3bUXaJYDbMP7BLovU+1X0ya8QzkUzubYK37VRE90ejUbzpV6/1x0d+0LK7wUHfdyXcX
/NSCeh7nrYdXI6QeoLLg8u3svCwt667x3u3WRGyD/84MOlKK1f2Us1O7Ac7htr4bXaFBroqaVyfB
xJLmmA/wZ5p3I/67yAEsxYI2kKE9NRj7QHaKdX3bZI16i8xG7GeqJTdK3EAWTpfXDonXQCASH/Qj
HPMmN8QdEOkhLHIPnyEPytCG8q3emVBCApuNOGyIWpiy5IIVzBQFnryiDAdgUdjzVlEeRUGadg6+
MtlDokcD9q9RV+zzjrH2Bkuafqd7jQXgEoPKL70cYIHVuVUQMeKYawSpYhyya3FTLoq6K+Sk4ltu
LpexsOWBMtvmcKfPo5FUGAh395FRDJBHJgYhBq5Cy1OXWU8ZlaO/Kl/hVV7tZxlJPIhhukwELl9P
poa5XplvC4YnVriMnvWmZx4Q77IetALh6UpeN3U/Rv6SQBqSuZEGMdidMC0klK5cduFoxubtKPEp
0rvkpi4G/Kkx6wtGK3msgJXsHS++p3XY3jJSSt+S0S73VV1cZEP/4KVopNqlzja1XrDNesmdrsj8
vsrHb2Q7bx4enIFUxu8dYj5fsxmv2Y7KZY//eR5AvruTXnytzHV1rram8iWLlmtLOlOQx+kzImxd
lT66sfeWTJoMFnc+zGp8SZBCBlqMIRPMXQsBYuPZbQVD13yOobUxX9WvNYXR+2A1WxD9j4aDJilG
dOexLS+rGPaLZtePsaIZO2vOf0K42DSu/uxZzXc1SR89C+lD266xjhCtGyB0+sJwBmpu3syv5Hd3
0lge4CaoWwUspq9jLu1bTVMFdYW9M0D8i4Y9ViRYLnbaXRvFbgBJpL1AKMTvtGYAOIuFVVdn+Eja
2jWgJL7QMqLlm8XQo3IshoqaNk9jI8lQz8pVOUAtEuVU+CuWmieo1kHaibqBYITKRAnbIkE3vY2N
+qrSvAwuVTT5g4GH4zQYZ3S+FR/e0kM82TtSnYUEwWpDyTkRuOz6RRPf6wZnyK3q65xBrIcBDJlw
+sNNEnNP9ma5m65dGYuZZr3lJB5gfEoF5lhhDV+tQatQIC6aC7NemsCs8q3WpPx0SB5nSjNe52hP
wNHS5b2pdIyTyuoRJt354nRd2HlrkRGnIsBO3pfNsiebuFz6MadzC1wRpZhNMXlmWOjlOaKUX6s8
OvQd9m6prOBvmSIcoLMFtPoQkoEmtIm7NAmb0e2vCqd4dHAzLgOQxnyY0nlAxUfZVL14zAZtq1jx
LSaQWJ0ZhvQLa7rNM/cVdOoYEGNjZEktfAmV5LXXQRODQtDOqoq5qdPFZVApvbXx9Dy+zJrmVU+6
Q5vk7sEb8JuTRfXTVUSCokKZ/qQ8hGlSRGroznXyNkRLdd4VVrlF/6y4N5GNxPSs5aPoiUd2A9MV
UcKGAK0lmzzOt0uu7siad3BGZ5898UMvvYVdR1NDQOa/TDEm3MMquks080ybxvuyai4G0dxVvcy+
StneYunM2Dtx5kDHE02bizisk8LYL/h40s+as9BOo9zX2i6MIMcAy02vFqLzXdeOd6pVJ1DfgKrh
iGrW8tJo24T9bj7WOcWF6+Gf2cY3MFIPrWJdLHK81ZOWQCfGK93Mr3KneYiWkYyTrsVZPo0/62Vg
UN3MF0msETeq6mLUURebYlh4pqL+tHsPjtQqB3+Ooy3EAH06z6Hn+HWp60B6QKX18a4tcWkmy3D2
US9vjYrdj6kks6Ri/eDl8OzEY79xpLlTCDgtYv9JfqXGCMwBovd1r6oevaF8pbLBo6frGezlOpYt
HY0/9uJiQpRz5qu2nw8DnKXQEN4zAdwKmnT5Fo1p2vsaXC7fsDPyFCW+gJqoXpqywA6vsIBNLOJ2
KtmUtC7wjcuL2YflgwQ4FEC/WwZlg6RwFFRRth2xFsOIdZe4jInMmX9nSO9y3eMmR1c06JryZVI8
ICNL9aamyuDTDfCQUxx816wSvzSTzu8xeKzIo4Npwh+nai/sAm5bpNvIn3sNCkHa+Rh78jqPcnFm
xVh6QqBsN8qsfBkbO70sytkJRBNdYVEfhRoNhqLM92rxEDnxWTTNm3mEwdBq50ghX8KbC1WIjbsI
Sd9ggintt3lbb4bICMeifUvH5NV2Usx+WdvEXh4stav8eTGd/WR1GJSXeCy3JW24Dm/FTZ40mJwv
9q5J0p0yFdnW6vQbF5qYpd63lhltZduDlFSeIqq2CYSppps3ZBpbFZKeb+bNho7Gm16Mhz6tzxdV
2XWqngCMyj2/B6If5zP+Me4NXeVHtYzessrcWoMV0jmCbpWGde3cT1Z5vax2rgu21063bFpjeqwh
3yWCG7avYZ2Nprkd9A4Xb7e4oX9abKXATRf2yhS0RmHTA0ux/BV8Dtj1m7rK+qssm0jY7R4QCvHd
iKYz3FdrP62MXWKNGNhM3X3b9nhSKs3WpZ/mw/ZdxRDrJ3WASupI9aJQ1Ds9dq7MknYTXLhzrR6y
sFDz4WDPBgxXmHVo88XnaChVu9paWCDGnfCRbe9bSrcnjPIZzvJgWBvpzTfznJ0vWFfmkOuvxqp+
dVYBLmfKsosaiGpANv3FLdsbQC7VtYCsdmbpKafG5epGQ6vTlfTMmCPlMaUqeYhd77stGtpFzn5U
2zvXVh4szKeGngahtM2foONGylA4jaPjfFO9rPNTKOhIGLeaLwxcV129CnQuAVLs8Zn2+osYMIyP
OqcJobA/2BOwkARoYF0Vy06CDDu4pfGQx+59gq4JbY32Fvz6rRPL+oohJSzGevlmTsqhGxodhXyR
AFl17mQxkjf0EYoAcXOj5GkRQFPHTd529iRp6LFY/daTuJk6CQRmmubXaYT9eI/8zJZxy23dZt/z
Ttj+rCTXsGHJt+BOS9/t25+mVtyWPR6zkj6Sr9rNU6+Cf23n5q02plut8XB8d2fjUdEgXuqomTCQ
jOdAaL08QAS9HhwLYwIdCw0rztBabmdY+m7SvmSluEAe4xKXT+cAjznaGFQ9G+6rVPXpBeaX7Lvl
XKbj81AVdlCVM3GOdGQhhF44XlpHuHfa1VmU1K/KkMsDNI8BY+X0uh2i66pPD9MohN+UmbfDupdb
Z3aUUDGnPNC6ZvIRuNODGm1yX9WXDkErO9pkXa75XlY+tUt/5riMWxMiC9BuJ5zxwLooVitw+h4b
HNgf61L5gUeXe6PGfXKpuu18qJ1W35Ypn1nW8HcK6IGXxthu1TzaJ5O+YzCkPI9oQgd2oew8GMRw
1adoVxX4g7t4LvbzUzwOT7WX4lE9x3sHTQmi2UYdvBTmtnFRD/1tLTC61pv2woDn6VnzEOTzKq7e
kOTkZXInPOehziCGWkt306rW17nyrj1hnAFX1xDIZZkUF5JTIaYwi/tHc1EetbRVz1u3vp3c+K7V
6rtSzKj3L+kz8MWdUXHuILZdjEUtMWDTD53lHZZFYkjUXEq1oyyhguGq3iaDJEbVuMGJboceQEgf
Yw8tTuNi6asr16p1LbDdar7QO2sM2xEVgjK61cwKpyZH5nRMor3XlFujnJ7KonQ3MdxYqVHUytyl
UtZQ65Dr2W00P1Ex6IbT0Hh+ASKkxs1XV6lZ69HAU7XQ83rTZtNkb2GEdwIC/OQ9UjAO9x5AuSJo
VSUvN4psEqJKBtSg8IGTLFdWQQJ9Z6cd1/Q8QKrGF35MLlu0G25lXLc/+3ok+CldT8rY4s9xpRcd
1HEtHUwFq2V6PgHi8/obnRzrSQGXcaagZH01GHY87CB4yickOsEOpK4aBcCFlWKbWkK/gQgWcVlr
Y2Tva7RewsHSczQKSLbbjdpPImyE9lCPidAuhDU4DzZg5BudrvJGxPP1okcPnovDNB3+71JKc9O6
L8Q75Bfm70a3XE8OWgdoSWQHO55RGdGSLMOgWVWHZ8kCscP6lZ0NiD4GM3Nr6aXYOvSzlJ5iIUsu
IyV+QLoDzQx+t5TFXUTxXCziRo+9WxrBFYIYoOxKz7qWSUHrY66zS11C7w3iqI++W0mWXydZE9YZ
6OisVpGVyNzN3Jrf2851wlKPpn3BkJjYXk8mf7RYgaqwdwPABdNZN8UHdCjisLJlfV1X3fkoxi95
is5G34KA6Rz9uXKbJwcbD9A3Fa3wJnG+Z9JSqDkizWdMtZynHqJHmZN8SXILw3bMKMazkljiF731
VMxucV828Ve95MCyNzARyHknU6mNjVMMhk/W1y5+VFeDS+NAo/CM28TYJGM3bcoYi+R+3CtGe5cK
FASWOt0kUo/OGa9/r/Os3qEqKu+TRinHCyFF9UJdFn+HaOJiI563WwlQ9S5udDq7KajweVAsZgnT
HQ3KzRy7h2Sylxs59gg4dfG8q4VNPMsAh4ksyS7UKrbuOeAvfSdvMHbtryuvQxfDxQ8mzCqpPFII
03GNGOzcz0O37LkWO7/jYn1oSmo8FH6zG1zO54OzeF8WtVIOMOtuYiP7YvIdzmuzggDteMuTAkXR
X0jaemjIrvpY1FT0AvJwOCVD+ejB8SYBL617LY55BVtL4DAb8EiG1tugijLdNIuXvLrAfF9h6o9P
Akiij8HUU6up7nmSlsV1Fivk4ZbMLgsXCgbxsUERJVP9rJWwz2f93O1G3KUbZFrdqQ/VRGOI38vX
zOkv+SxM0Kbuhcl2sems5hZ5WgRgErpPnJhtKb2V8mAm54xHqrBrm3I/VoPYu3VRnqVj1JzVjTU+
GnKOsAP27K+6NughmFURkEppW9ODjOM7ughzr8xDVHPDlNaQb7azfmZUthuMcrZHpA/cjTov9/aY
JkGtG/kB34FxywHM/dTCCMWxSGQ6t/86zdPPDO/d2TWisCBXDAqh62GK+v6mqHH03s0jvn33caeW
CnJZdnc5NAsdK8MY1UfTirgXdDznEQ3InmmSzDRUbFUGDOi1cx0Xgh3MOPpnCoDwZBA3s0EmXVh2
sR/zqALMqHr4uHdy3I5q05/NjeVsZDlpHeG9UPaYX2dXXWk3UNBNZfKRbKq3tW0g9evG8T3yEdZl
lYkLpdShghlW8QzYLnmucCLHT76fZkZujvqiJ3m3XZXXfoCb1xgSGBKqRpx2L56XJeZF1kdmyBy9
SICy9dprs3aaqZdaZJMjQaLC2YlXeSNMUTDkRsQNdeV8Jl2Uc2Mb22YRIw0k1xkQSukR+4eDqabI
/PiIFpTW2dx1dCoUutac78kSQTxk3suiIidCcbIkHhm3GzfRARGCrkaaY0gqutT0dg8akg7mj2GY
Rk7vILrIt8ul6r5l/DenrwYOSsaVlg9G/N3DzUheqMtgp/upFH0cqowVnnqs6dapBOj2UPQcLx95
jEYNuCSYRc5k/fhsCFXbtbDurT13hV1TAtlxeq+Wpv09LmP7pqXgR2DqfZzQtXmf7UlP5/+i7sx6
40a2Lf1XGvedBZLBEejbD0nmnBotybJfCEuWOU8RnH/9/ehTfa8tV5dPPTZwcIAql0VlkozYsfda
37IoKCp16PW08e6KgSLvZPmDK3ZRp0DDQMboPtZOwUNVkQQ0HqZhEricMR5+b4S4WnZKzAnAXTL3
An+LMidrOo1yLspr0VrTbTH3GRgdiB+HZBgcP5DkuXC+ou9IP1vC8n0p21IPylL36rfO1JR1Mw+O
Va4+Z8tmVGbrcdiS5A3IYKr79kBbHgP0lDi6tmV4Wfobdi6NTs/Q+LBB0qjzcOzX9Gk0M+S4vTcW
7Q70Jh1Zr30pXXcvTALbxuYetPv4XGe0n33jVRszGoXqhlD03SAV8Wpdw3LjG+1hoMV8t9BuDT2V
GGfu9qeEqjYZ+jevwxGVu+PySRVpiMWoAYjj1RRB9O44cdFv2JLZDf5lGjEwZTRc1kN8srPqxuWo
+VkmIw5F3dEYG8XK2HGKj8oNYOw8iOXX1PcOgzZ+NuLOua6dQd/kAB1Qn7c3/BXrAy3z/EH4vf2k
wxE+9Pb0grmCrRsgxgFR+7jlCJX0m6I13VPN77rJctfjFtOm3CrSyunX5YPvF3tL72oHwhDmozDz
ca7Fk3RmSE0DTOeqmSdeEbjB4tK7evWCxyxugzxLB+vUqrEU9BrWcevOGM1sPGQq5UAPm0R6YZV0
nAtqV3A84dzY93R3Cn9f195sXdI2m+tt2+ACCxLZpBX+gdZxz1WK331TV2ZV7nhgPLUTcJz0s1vi
eLqJ+sF1Dmadau7WgvXC4Xux8ysCFXTnPDa6qI/c3nQ5GIMJlSiaOn5v122RjaEZYQqLmiMed3Xb
mfkdFfOEuruYC3HJSfVjkDBo/P/MKuRtdAixXSgatdIGq+giLT/qdlPlqwTMqdXorC5e7G1qkmEI
RDKgsX3IIREZZ7+zVXHQU0BAB8Kk8oYg3O/LxOBlPTQ5wGLprUUaYnmVt4x1Qn3sFXxD0cREuPtO
qWtXvtOY6YGfHNHAkElxNjqPYAch25vYkpywTDefT3ZdsiVaubrhGSanVg6i07YCocL41PsVfCSy
tNKND+HpUGocA4uC9sYtxjd5QEcGdm0Zn9pOGd4G+aUfypHpZUzdeb3EGIyYxX0DJ/ORLZVDFgX4
uZVivmHx7s6p5ZyrwSsOZeI7e+QKq/JjpJcj7G4PmXHZrkApQOjSCgyiZvZaZY0g07RkI9fh+zwx
14KY1ouvPU7LHTPz6DmqTGWsbbXkGbhzMu4U4KuKUz7prAda0NSWg+zmSyWbhKIu5VmwlWjPhSto
BCUQs67LaZ4OxAkqDl0+WL6FqKBtVOcziLdmpnIvVaUe1rHKrsdi9jzJ3OcxF1712mr5vO2lfYmj
PH+ZsITeaQQE3Q0qHdP9iDMgcLUlPi66/gH6JpofW093yDMcGjmFS/R1oWC8tT6Worg3TylLRHua
OJDtzb54K2IQnbkftR9MaXKqoSFn8UnmZeT4Jz/73LQPCeOTz3lajeTV+SrsKqsiRwzcz0bH/rBs
wehRzYLOeFikbh0WEq9PlRFNtwRCjrcuz10ADP+jVS0w0pnUmi8FXQQGZ25nhkw45secQetTkov6
LjfcZ4DE2HKN0tuW0xDdRVHfTNvcm29LGemsDHURuGbVXHlSujTrO+8m9/sxopXHfdJBEjKdVPmA
MQjUj+fk/svYF92+Gcb6YoyVuhaR3m9cOpScviFqOcm62rXJk6FH4uw2/YvMzWKL1O/optF0mafW
Cdkxumu/c8UJeVHDhEk2X9w0TyOCC815C+Jj7ZFib6x3TBPFtrDbKA3h6FovvZbEmNf8qjW2Ki95
wvLRmb+0LqbjTRZpJsf+LL31Gdw9J9bcPY+FxzYh9DuNn3QljMW56QWTIQqMajnpTI79cGZkdj2u
Vk2lVcNXy27VXbUk6paInlNmuPSNDGd0DzQU6FrZUtAoMjIbtFJeL+JTAigMEhDQSlHP1bWyYv0g
XXQAG9h/LUTsPsv3ZaYDoUaoE7PwLMnnJHK8nZbUerTp1pzrvmtQzVseOu6ygdEyknKE5sw8Lwk9
Q9jTJm2S0gQE1th4MdDJGrwqnheawnM/CL3iOICics9A0meol0TmHngiZ3ZXK/QgHqtlt1h6exVr
g3xx50xcZ/nw1usVyEPVLkfONHHg1lGXhkSd6seqrKdj61CI2rlvn42UXla06Pbeakd4foTpWHeT
6Y6fGtWYfhgN7XyF1cO+r+KRygM64nZZKu+aBo63gSh1GOzlwPkt3Sm9zzeNPt2jCdEeZjipd5Kp
GOVrWu94/pFH+Hq2a4tUfFSGvZ7cIlscY5sncTNNtXsfpSgAvDorjr4c/EOT9dEBhg4dutQPM0+v
T7yyx7xKlk+o6ehqx/Qe9cyRd5oVqTCh7OdEq7L8Qw/f83m0zfjazlPctMJM6OM45o05+U+5s/ZX
wVZm+57swlCv0RYgx8M7QoHP2U6ZhzxdxD6Cz3W7NLgCgrKIeP4T/02Mkfpa5tVbkeGfkW3ffxky
072GcNKqTdOjQHVVz3WY6THsngKdkTiuUzOhsMmK0+yqnVfgWWa4vbNa7UBO63C0V8oZ/umTCQM0
EDBFA7+ePykzy7YISaCw5a92h8yk1sqNgccG0K1+qW2/tSgX0AtGJggxvXXwtxlm2e20cq1vNK0I
q7lqAvoq0wWUII2oZUruaYVX50kv7gkV3QxemRKZrDhOaD3jSBAu/qmedB5We+bIHJfanJyVbNOd
PwzxGZ1Hx41gTfThrV6A4aqgGJYPiz7WYc4iuh14iAPAh0ipdH8b99aDq2cveDS9HQbTOGQguKX2
Mh47Iz/Qas9OpT9/bpShth7fzZtWsx+Bo0utwBHz4+I1o7FpUsKe2ASWudykk5ectKX0P0ZlVNKw
dEm6Jf05Y60cSpWFXsTBoB/ZyTatXWnnQuNYXQ+j9jCppjuZ/TifY7bnjYQFfvDpptGEn9SNaj0a
SviHA8bEydkD4RgkCDWvvaKhh07bebZWlCOjRYARcxNUnkD55wNFyNoStp6uIVdiUd1WRYntiV1w
Zy2Q1WatdMOG3stVbDj0gvWSlmBqqMBQrn/uACxuEju27wmCmi/L3LePdsQhtqRT+aw52nGetVM9
9zrWmKyuL3SxA72Tn1NMn7d9b/tnJyvT04o9ObRSU4+RZxln2erepY5bPJfFoJ9TrY3PhlGBuRUp
+dFxpt+g8NIAtwJY3UvGZAx94iqwu6w8NDMiQt9ba8aa1IRpEvl2Lip/Z5JD1DG3sLvb3qm0ay9l
bBFz8H9otMa7jVCcboHCspnHy7QEw1zU97rZfPGEqi6qYDuE4j3UB5dAg21qzVnQTXP34ndM+QtE
1RsOdyzPpXl2Jo5eVzNt7vt4BNDLdCNujQDorX/SBlqNa8nIBKgetlFr5GGku9OenolxckdIJUnE
J6gkAqxspLO5ywulTs40+c2GiBXvVOdYxBhy15/BzUXTgbfa/yDrvMCO2pRTmLhKzUwytfowTwZr
QFp02xm5GkjIuduiTeBtS20pP0aSEpPeh+eDecXCozZ07vTzJDXrFNNTMQPRt+6jFZv6t8Sb/UMn
qcmGObH0x8Z21N1oWdpjlfbmlaxceYIu9jFrvfJq4oh1JzJbnsrIqe+1coYq3MSlODpu20va6OZS
BiPDsVBUICQ7fZqvaO0XW5uDob4ZaOPXxwJocblxBrKprvRYDlaodbEMHAf7UFDbTfU6A/Lot765
RGB2u5xo3wjf06ixF4B5LQCL6jw2yh8yHnliGnzSRNPswWxmKGio4kwvTOvWpgY21LlTKt+zoFGz
FTY5lqs6ZETy6xrgHBeXfsKCkNOhw5yDhrrVEk4LDzBlbQZCKOOCSBPeTUtDL0NAY0jjyUJTQfGU
OfHJq6oo4ETuiINZ0WjQmxI06JTUjDysabBrYnwaY8YA3MdvOtxd5qIuMq0myU+mqIwXocb21PkL
64MtyHqNxHJpfGaAcTFUV/WoRR+BEL8kU+UxkWf2ndusY2OaXvLcna7FpOc7t9GgWsA94ZRs1V8t
bzx2erNyObOr2u0/pTzkdBOn1AzSmrSzOrW9LZEVOQebpinJdChUdWOjmMLMHEtWPartgxFp7YaI
HDpLvcjaIDajek+aZZtunLms+UyO5iJB8giDd9xX2njpTrbVnuyicZv0lboqwAwHssh1xldYFJBk
OxvdQN2SSdvfJbMsjyaHhkBM3qvvxogcEFPuy9boPmbEwh39OopVWHStPNCOanmBEEJw2F3Nw1N8
y/eNjgg9HoDKbEJ7OtbDbsGIs8uTmebxwk3Skq4JF6YY2tnXl/JhIDMDpmY5egZ/WF0tlrHcen4j
6MrPsbacWFeZ0RKhmVBB0fRiPmoxDNqUPHweJuouO6q4okbnz0jfYJFmgFy2Oh0zJCocSOLD4Agh
Q1sfh22MsGRH+0+Drz1a9yNjxh0WCuZDroUIa7I/D8LGDG1QBQExsN0DJ6zueanS8WCIpqBw8Kpx
g6u8eRa9zUC1qS33WdoaWkFXzuVVF9nZGRgIvwdFX8TMi/PymlUVaoO6SwQtTXCx9ED7ql6OKQ3Y
3yixv0Mof5ZcotJxSCh3BQBCNOA/Sy7ruu+gVNd/yukXT85TMJaOk21ozCPqsSgRWLPWU2fnRscZ
FvcXhvUug+BOSQwyPqfgwxhF0JShwiJwZTWcbn0mklRj2URsxtKJ3gyboku0t7KbGc7kPRbef+mH
/5Gx76Eu+d//Xv/OK6IJmcZJ9x279T//9O8B0PZv9fWX8k29/1E//WT1f77/cfxWr8Sxn/5hiyyh
m+/6NznfvynOOv8X/rX+l//uH/6vt+8/5WFu3v7zP17rvurWn4ZIp/rRxbcaW/7ftr+t6uoq/fL+
L/zL9md6f5gYnU1dJxOKodeKGfkX9sw0/iDWEcACf+zbODoQBf+JPbP9PziAOOTXuJAY+Dt4VP6k
ntnuH/R6cQNiM8ZLiM34n9j+flGr4/oGwsn1EWQL4DnvhMeL2ZidTDPovlQqZ+xXzyTMMNHDeH/p
ltk/pcinzgQE+3vPKOjq8UYR0gJJnuV0IePDpvF7qngmH3/4ChH1zXFd/ejLe2+Z4BdDmwzMcrW2
rvbAn98ZFzNaNhaWHrZT055p/gP3MtXIL5rLKLA1r/jNW/reL4HDaLXxEtBqGzZupncvqaWPMkVC
YIZuE/WBLj15kkLrnv7+Y70XehPfY66GfphLMFx9ixv7o33Z6lH9ew0du5Ru7WWC3Q6zgDD4FJi7
+ViZZvwY961528xj8htAyS+uCXRGWBxxn2BMWD/pu08YQfdmcZ/irVgA/sdlXZxU1TD7sewBjVAh
qn3ZOePOpzLdaMqrOjScvbkvLd1B3Kacm05U3m/sP+8TpTBcYn1lxiYw5WAke+/RJwIkJiIwjugg
Cm3H3kRP1ajhN7P5oD/zl+Q+m8abtO3VuZldJL2zkRwc2rQf8yrnATR8OgpllIRSuP/cDfb913Mw
c/i8KThw390wb3E9AlCqKJxilM9d7otQzyxGV3UPT2fOjY9WqdVs+NRYOMSyLvDppUIyd+ozIYi/
y0d+/1rw69iYRAHOgV3FBvYOFeIszjQnSiZbO/N4EbOkZPKMmn/rNrr2nNj+/E+9NusVXYNFaLX5
kAD+7qkx4eRnadKmWx+6PT7G3jXpIkj9g5TzGCQVh/C4GsdvLbdgk2Squ2Y4BTTENJqTFiXaI5aL
3+Vvra6iHzbU9ZnhUWYUY9qsDL8Y7yel7NYsnBS6tOPeyQ6NstRpfFkxh4IqHRRjwNL/jQvx/QKB
wIAGDhZWAJWWzoL586tr9g2avCjNtrUbxXvORsN+sYv6N9/3X1xlzY31sWYQ1OPa7xw6laNJP0U1
t51yxRfqdJlD4STK+79fh375Bg1KJeBv2CoJZuMO//xhqpRlIs8yJ8ydubiqTXS3lRMV/Sbvu2i/
9Kmzz7TSuf37qzqrme+nG8dl2e/4aMAKsDq8+3SdVfk2bkKsLSjUI0o5W0PJRH96V89tsmOgqRhZ
isLWw1GTM/rQqi5VIJeRfptHUHcdauyNw8bwZfch19ok2TOAcQOkroCI1Dr12UgLd4TEaNVSQy7T
fZbZ8YVHSdxkY2bctbZQaPE6DtKIniJ1iRfQ3uRg2DPFY6lHV4kX1dO+ZznYKz0z62u+RubYA+nE
264Sza7VkFRvJPzCjIGu6jmqMd9+SprJudZp5FQ7ghHrE89JFpM2748KKnkCxy9PUU9szN4tPhDo
gBbaM1qq+ore8HAszMGp7ibOGIfGqQtvL4zZTpFhDsXnzrZXSRFAsqfJN2mdeLmmDaGR0evgFN3h
+yWbwH3RzEzKUCt1asu+hUXuRx9GvBxPhQVBMC0lRJK/v6d/9SSxHAmDRRKH5ftszUJliFuw7Yau
yeS7TpFK27qHo6zty1AsxXCdFN7vWH/rovPLc4RjDCIdP8sT75ZBSuG4F3Fjh6WQznZBobxtq6YJ
TfLUN//481ETYFvHEAsd2nj3yCoV55ROPpfirTgbs9R3Ed7fAFG6deI5n3eOoxW/2av/4kt1DLgP
jK5BcHkrevfHMqGI4yGaltwJDSZjV2Q83ESJy3mZfLVQd6lPnE7+w2BRDL8s8qzvuLPw48JL/vma
tSWQFc8WHxQA2Q7zmIP2GOmbaGP38Pff6S+7mMHqDayEK3FFCqGfL6Uyq6yNnkRi5UxlyK5FjFGV
ptsMge0Vbd7pN9f7zvJ797wghgGuwPWoq+13zwtznbbu88QNSwe7oV96/jcQfMVLSrzvQ5+X5jOd
wn7cEzljLCG5Scva15uaPcIJ4QZL49V7Z8yHGoKK1G/bmMie0KrUfFSV5v0usOwvnm6PtZGDIhZX
9t51j/iBcROhRx+1rnbDqq38S9+n6DqbSA8cqAm/eXv/6lLUowR9kWjDVvru6R6GQfltBWPVSMpq
M3paesSW5AUFq/JvbsJfPNPARtc3luwy1v53Ff2cmMrLBtTrhExEl35h3Lqw0zfIWVMHtXCRnYUl
ht9c9S8+IKmEBC5CY8DEvbJVfvwuiR5Np0Rb3BDqZ7XNEysNpEmTsI8nc/9Pn2pOEMKFbE3UqSCG
/edLJRP5GLManJARJxkpVtQhSUJraWWFHqI9KX4D/ll/9Z8faqFTB1pEVkK4gjP18/WiROQlI2wm
AeRiMTCbuwtAveo3T8iv7yo/GdM6V2J1J1jg56u0aaehJcZ8kjqzj8Ev7feiTPprnPaow/P2d45y
fuSvn4uVYcXecL9Mqt2fr4h5zuccVulhh0hAhBnOmy6oDHiCO6Ob/Ir8LZFEoZqT5qQmIHkbSPIO
wj9lzAN+0Ca7d/GJyK3yHL0IJ8eho5EOWRXOmojyYGSKiVR2oozAUhkd8jgbnqjaMftGc1O8YpuY
9wnTjG+qTOubuO8Kc9d+T/0oyALqGRKwt26UZ8fx1s3b9HpaSvl5whyoh5g/ytu6Aae2qZgRf2qz
aXI2lh73q3tQ9m9JXafE5jRxkW5GRDIvUU35FaDtdJkoLFl7Xjtwr5ZsiOzi1pePCq/kY87d/gb4
IrqOmIjRXBsWLDSeZO6NbhT1fYDAgVazp4zVba1P9QvB2l108l3Ue3yJ0XxraynTEcspimin8nTO
NzSn5TUuqVWVTgC3QWDaUnD461L3LMiixBU1xdObCemL837slF/QtbbldoJY8MBhYfhY5KTXQTsZ
jfjSF4L5qU9v6iUapIPEq/EsUo6chcjTYay6jyB2q2bXLYJz3FSD7tvlaasYzCbzkmOxcm1Kp0mg
5eSXYkGaZFG+LrPS7pvcz1CZtXTFNiMjQrJCIPBZu6iI+TeUhPYrg/Tkm2MOI58rT2PcHukY36M5
wVNstmNzIx2teaJ065jnRsS6b9KBwehGESa14A/RVLwZc42uZlqb2RTgWhn4XhYF7m/oJgwF0LN1
FyXmFPXH3vE6pJWlAxuXqQqZSu1cnToT4xvCJM+/9/EI+ft2csazbhSYx0rDSuag8X3UhcjIFVDJ
rIrO3MHJCKg+8cLOuEFwrsQaPXfuLf+h2xBfHGSR6K97j4C/wNfwh2bo0xoa+KBkr0avrI/kICVf
zdr0832GkuW4dAzjt3nWVkc8TVUbDEKP7wZnMR+4kI5TQsn6acScd0+aTUo+W9IMb22NPw7842p1
M0s2uY1NXsmNI1O32P79YvnrSYACAhGh59E98CBj/PySp5NtFDDlVl80o+y2cuqQLdi86h1t3FJ2
rLYpCITwBRBgFtbx76/+ay+EYm6128O9QndG4frz5SvTaFuzrGmZ0gCv6C7jUJcFOiZvNpqgXJ2c
vdUANXC0KmyURKZv1e6NyQ0PPbsfL+Rlzb+pNH/dqnidHY61VClUYr8QSrTSG5l6OmjDOV1YBGjd
al5LdHbiF3e/+fx/sXesGUJ8eB/5PaCQnz+/j9ypt9xOhLQfRwjyA46rrK4usIWsMwFY6ktiI5ca
MqiFhkw19O52jZjUpQPtAGp2seaeB/xgu7//xX4tEiyyPr8ff/FQ/UKmSjFmKCOr3FBHAnPRMY0j
oXUabVd76C+j3KmetG4Yf/Mwvs+kpva12G84c7NmEUTxfpNbMHinNgLusIyG+BqAscnIKGqOVc/A
0YkcAE6CvcXRcvfWTTv8Ozj2kWHoqfqsNUv5/PffAhQAvv+f9nYaxqQduDa/Gj3g9+dzQ06TJgYR
U0EM/clK8MTucodjIa6GqEkDpoapuZdu31/HccZxxES3jrSMiuoU8wx/HWZ6poG/VO5xyg2dZ7pI
iIwUeEX0bSupL4MI6WBz5MjMWkcs3HSKG89fTQ4t4bhNLOynvNf1g4kk1WT/xRDCMN+QBzNL4mbD
LlnUaNsNttHIZJHEFmM7H5mJV06gz7OhQIqZIuJl6tPrwjSBNg2mUccbSBoQG2ibOa9NNbHIkOY3
TkfhFIySXVuOj54na6IfrW6uoAuM8dHgPjxjGS66QIxxrbAHlx7OWDtV5Wsb11axLZm1e6dinqDN
g/Lw0E8E7mQgft8JUlVvbPSFj84yot0zFtHe9Ky7IohIiox3VjbrS5hOjnxQLq2EbW9OZCaOnqmR
t2jrV2Utnep2YE1hdDlB/QzqRC+eWpRMAZGp3nefMw2vpFGqClsmfoIZYtfGwTTPZJIxTO5up7qz
v2YArrU9+2JRvpXDrHff0/3EI4p72zy0OHYB284y05lWNy5T9TRSx2WMWiKIGme4tG7mI7USEWyB
uZhq65iNjP/2c9LBhHZtpuN3OFNgRyeWaMNeYmTZYF2QaWD3DYj6ulDJDeRKJo1Nl40PkFZsj/4F
AwfuZgxmnSQUTJ81Np42NPVIN3dS6Oo1iSJ8ZbAcXl0eohQvf2ozdV3Ii/f9aoakbDGDswGdUKEl
uvrEebKneZURihskddpGR28emf06CpF2aJU5nQK/I408zZVmbcc26R4U4EGe0mku9mQ5emoLGgbP
VDsyDMOGPe0atAtZgNKVCaGuUA9uO23q9d1S8ZgSYJfjK0+swSWeEp8fs+CsnDEfdQkzQrNTT1QN
Cjlh5n/Xk6blHC68fWTeFmn5iJlaK3EyjTblnTY0b+NMeOEBlkc/BmXFYJYAPchum6KXhdy3RWJf
skUizdfT2DMvfrVex501dagmC0mwXc+YqC0IIJBA0bqi1sL7FvIQTs1lUpH+mBgVDyAdcu3FGTMX
zo5fKjeUeEPzQ21BAYztaTxoJcKObRr5kx5iuxUMQGfnE2P1GQVYHzkWfgmGCeGsJGVhN6Wpvp5a
tTaYZ30m7WOups+jRiMxFFgInxdtMRlY+zxpGxBP9b6V01rZxN6zVmtTuulV7iOX9a22p1hV+mOv
ulgFoMnRWS5W9ma7SruLwSnRpC/S4cVwEqkHo1von5AUaQ+whpgBU1Vqd2Un4AaktGk+8KpHXTg6
Q/EJ87vzPJh+/2AbWf5tHJzhSgIuMZk9IIXGZ6yWR3AXMcJK19U2vQ6cOsjylRluy8SMN7xnfbmd
mWoX2wLgFfVzM7WEH3tQSDYewpE6II/QRcPnToW/WQdNW5N4wDw0owJ/kOgL46agqGa2nbZ1ua8o
+8mgTnI3KHJsgx52BV4LHJLmUdPaodr2XUV4uuml3isIw3jcjjkWxzNWN4vROifL22hqx+eprBxi
y7CTPuZ9bJ9U2xoixDI8ZeznS4yOOsrExshdpA9AjbwibEZlomrLS7dlLjML+8DGIpNgJACsOsbF
pEOV6d1W2+ZDmV6j1WyRs3WcAAMMwkzrJQqOMqwMJ7prmrp+MpIE53nqWylhFeagvgpNYz3z4ky7
GVglY1r6VT8EaEr6PmhlljGFmnL9aewIQtgI3kq59xcanEFqWsmTHpmIAPxFQtitpwaLU4pzIgTc
zfgq9uqc2EWrq5wQm9M0o7Hy429ibnPnMALh+sidli1zAVFizUtGymw7LjDhJIOREoxNjsFzzxlh
07RxhiXKy2gNFGXmJFs/753HIarYs+K+Lr6mBvYn+p1u/rHT4/YOtyDjH6PH2d/OyABJjV1Akqne
mqKgs6wExaDVaXKLqKhk0gVl/SV2zHrYIIyqniOjXV4kctnhkIDUQEE6iLwKuZn9Ba9vzYwJXTCy
7Fqb3S3xqeHq1ks3XrdWZ+SQGs8lzl95SCpshKFulgOG1SjFJqcVGuyQCSPAn3Hz/2gU/+/N2f9/
CxqjFPuhWlqH+X8O6Ve1wH/+x+VN4Qmuf5y2f/8bf47b/T+YXDg6eN01Hul7rM2f43b3D52Ieej6
9jp+BeH/3+N2FB9/rDMuukT62iaEovzf83ZN6H+suVN0eG0qMuYX/2jebn4f4PxPZbdSuZlX0Wa1
aao4ghr858pbuciT9Yk6uuvZBdsst4O+krxAsPkACOnX8NPuDUturXkoLoVudtuu7k+6aD+35XCM
nOHQ0pTmiJ/0e9yvO1NCPahNxNitS0JMgfIWuf1dyik3R27Zfqk5/8ZTueG9OtHfYPNyPg4dhITG
6q4HPX2YKWlvNNXuOBBkcHC/eq14HUpT38ix2EVldytTjGhd9jm2/CXMIxNvqdVPT1WHdcsTOOCF
kE9ktKDAQ6K5blNQAsYbNGrnthNWmFjkYBfp3tHULSnbY8C8ZCA2ezlWLr/8YFphw14XRjWu76RX
b7ZYPpO2yAkWZwymAEYuw7f1LL0rKE7LeHnJ8uLGyflYWlMUJ6vteEuzz45DBesIuXOT6pu2QGpB
ffMsJZrLGayar+PxsP1XO71YdkzK+tPEqv6Zzk0buLzOLPUL+Lgxxr8x82sO3ZwV2Egb7aHKVvLB
tMElOQJDcu+93EmDRqH7ahYEu3a7PDtFBxl0svY6Z6dCfN9sk7NAJrsRPY7PdLyzBvNGWF6wmF2A
ff8q9xHNgRb5tEij2PjNdELWA4pLr66QVlQ44mW6nbSVj5+bEIDGKCMfq7xbvbpFXuwHD4dXvNxZ
UXElZHmt+QJeDaWHqzUfZJ/dU0ySKRWj4XSgpo947l61KbrVXOc0kSOExZf/2CuE3IhubvdaYZXh
gOCjQruptDPvCrldHmBkpz6osrguOC0gvOpvKyk+aCTKf0A9S7MriklVJIQdAwYWVCs+W3n9oZUL
mK+2fYH+pMM1FMY3LVp31NkZDwNZToGC7PCUrhrjSiTxrk5TcTRnsMdgkLfFRCRyiT4C9zLULMyK
LYgaCzSMupUy+saeegUL4mOVVzKUNdQiqMI3KT7qi7CS1ebl7vxZzTstspnwtf5VKufDnKIZtzv3
lJSwF7q5vzZsBY5NLyScP8O69b3xi5V2C8p36g4DcBI2puSZqfdGIF+bN3lqTWS525e8l89wyB51
rbhyi4Rk5VaXvILmdG1VJadEu6eczj6NQMfCCLzNVhcNxypOYi1zxbFhdIkSvtzSDXwRWX9l1HiA
M9dBRC70A+rEwhraTZRi6Onw3AYQosCjWiOECmsiFgMNc0DNPJOkQGciNVYxO9LhTeIVr6ORlkiW
odIVeJXDDk8mR/lHB3Ij7tvyULYFL3hCAiGNvY2bTa9+lV+GrkcMG9n6rlFaYMry5ALu0rSpxUVv
vlSDuTdVSiR3X1SMikTJtewDXXaJ5AzxbVxsk+ImNYsW3gk4k+6uirSd73/OjHbiUche4/Ey9AL9
aypvE4tTapEB77MsWV36YSZrBAdB/EGYQ3MQuQFaRnNUANW+3DIHVjtTj5OjkRRHwtyHz4XTjLvZ
iDAP+PKD3c+XOV5tcRMdWsgF9nXT+TbBeHaF+gvkR1/1ToiXLjtaGlrnGe0c7qxh65WUu5Vb34hl
usqX+EQ9OR0s1eanwcAXxet0O/raeW4G5IL+18UdHoCtPCEaD2SZ1GE5aW+pM+A0ZoS81ePoJnag
Uy3mf7F3JluSIlkS/Zfek4dRgWUbNg8+j7HhhEd4KKDMoExf35euqkXnOb2ofS1qlZWeHhYG+lSe
yJWzO8yXrmLGER7pXmx/AOwCh/9QZRy7XtGG443joauc4mbPDsGngGuGTAlKkg01hock0HdZpXgX
mDI/6pFrhJTjRXvBuVPEL2uqaY5LaF51YXw0gh5vuxnM7ywAtRAEvL9qOwAkUtrF2SwZeqyJ0uil
JQOLKnnAWNVvOqyh24yBlm2fv5+H8tnzmdDbp2p2juVo2BtJgx8vfcAHgxy5++XzS5yflqrl/a0t
yBizsLubIe1zCewNCsc5mUduWlgi4TF4WEBGzx33OgUsl8YFjXPWUv8yUSijmdDrTYnk3qgnUBN5
j2FUJ0C18n7am768H4uftmIf4FU6iwjj3eWzK34Ouv6dSpBsrZU4kdt7RzqTmOCM/divicEK9EUH
liwR51EukW+ld0aavi0edMlkKM7KUKfU4+XrtfV2MNBaEbY2wdx/zwBGSMPmFxEH8YkhHlKYXLKo
HOpIcQcoTc6YRt/SPnhtBaeBji/cPn+bdBoxLnPpxFoeB8mtluZ32+WvFiXouwoK2j5p+TJhfS72
IpmsTZqUekugXZGEjKmTIUHYdY6Fy7PRxyQJ073TrhO6Hp/cwfwE37qvfFoww6r9qUzmYWQZ3OSO
Eux/cnUjZNpvh2X8TH18y+RaLPLK63oNuA9f9CBu93OLlMS1bN6VnUDdKY3lY1pIHgoNZGPsmSww
Km8cw54wWXr1cfIqhvQSCk5eJdlXmoGMAUwCfxMaN2v/iQm3gQoB+CbVAO2c4rTMo8Lc4er3FHT+
mzfP1ecclsUj69QdLcrcb717T+5nj4u2R8dePZjPjuG+F6XqELeHMVr895KKthNtLSu6xB0YkHKQ
dyTb96hw/c7LexYMY/wjRLJBJidhI82x2Lr4SLqQ4BGp0k3ZfI+dcK6xFYzbxfCa7TB7PzPAM0Pp
eyeqnM3nRvbv9iw4y8gz+fpAhJxYn6wQTFrj5kj6y6TdlOfR6rl0NBZwoY7TMicQfsJbuZ8JkBCX
jOJK3vclUe3QPOkJOaRAJbItWH1lc+x5x9tYjtfMkvKra7GG5FK5cXPvzU+baxwL9Ik8KrhRxGMX
7mcAHnuy4k7UBfURn9lLgQK9UvkIyLDyqoGZ4McjW9avzyP3jhp+j5qbiEzRLst8zswKAdXYTZJc
OesxrCD38E6fpe38mCuiGLiQi7w9gfXZp6772uXsmyxgTktmbMMZXYDY8IacOgRf7teJRX5ec86P
mOGNLRmuiBLbb7vLD5V9LU0sjeG8mfVATE0eXe+BWOuv3K4vS0eJpeDqjiKArMiD4BeU3spDEesj
AbJz1diHnEZDxq69FgLOaB+Qs2v5Kyc6vU9n1tOxuzypUtw5FekEVYzNQU7La4Wdk98ESpqTaH1s
9PgGzJhI0cyB1s8EDEv+3KDppS8ulsl51s3Ln2EYb9z2wX4RPowJ5uc46ekNvedLzciXVhHUvo1o
wv1I3iUv3OPQxbdUt19t92SY43Pt4pvq4m3tPFdV/sku772srEPdB/sBK8Ni5NdCGie/Me8aKt4m
I2u3ZOTsLRAvchgkWaeuAaTYzn/Y4Hx4OUcV7wYlms/Kb79dEyjJqDc6rq4dZaOjrQ80nB4SZVNa
Xx+A5fwexmKXivE8uMPn0hxDk/KbRjLNE3Aowquj7ghM/Bhm+wo6xHSfpFgeqym8gPKIkKP2QYKJ
PGmvgvVhE0M/TMhVbqqpvbQus80s9U2r9CctsqQiFL2qYcDMVJdfdmMfBQU/tbpBH4WRIxu4hAHk
s7rkx8ym+FOyfNswTbvXWfhMVOGtaWDCOO3jYHh73h83QfDfV8GDNxW7pX1yOhoQTWKxwPbuc8gq
G6Oxb2Y6b/vWdnCCcZg0YPIoC0tO4fw5DXhwRP6epvmNqs8NxNsL24631E1e63KVJmUqd7PVRznx
7TzVD5VlfqaSxMnA3oMjQR8hKdz78y9YqNsgI6c0dfO2DAxMXeFJl+FbLxheml6fV8PPZDvtQTvG
Iwrwa1N/+JO4TiL8xTcp3VKnBi4NOOAgyDdwGZG7MRm/yDyGu6BWezt33RvJM+dApue4TDaQNvMB
WMyuYIVNRFvEm1iztCz8b7FWzbV6fksN8JINPU4Bxxj+ymgYwk/CVVHGUcby75qX2FImUKMoixQi
8BYl1Cfc4Qn743Y2u/t1qShtfVGcgYkxBRsgA2qjJ+8UL1DjhPgchvswr+9m2d4cI3gOqU1WrfOB
b2Fj8drjzGjbSNv1q6a/UPzMPKhaIBIN78Fc7V0S9phKHufZO3aLvlVAZB+BjP4Gs3+rTO+NFLIX
eS5bSJfdAL9dEht3QMQIPZPnc4c1Yf0ntCrATQO45w87878Th/R8Vl5kak530vI2yRjf12SKV+Dg
mUOb2xosSpRUGqb43xTvU0ufrNRHXhS/y6ZSUdKxDq0cmz2/b0fGSMqmNg6pveygAR3btv2hAuO9
rQVhpmzae2avdkFLiNvgaMiL8WSMhFBbRtLF4GXjcE1HVx4teA+K2GY57iDzsPIeobl7Sf3HANVR
2zF14aX5pOB37XyLt3nqD/3W70fnZI0BCDq/AuodvMR18klbHcPWoK/Ssu/qpnmDH1FELJjHc12I
mA4e7w2OLbA2EOlbx8m++tp9rgynOpS9+pnYzJJOUDUHJtPXYZj9jR03J6JmHTGS9mOIm0/WyJgZ
OwM0cTIVK2zvF+ZKguXLZJ5xHPj7RQd6kwaAS0bSfl3pIaAFD4iADT9NQdgA02Gb+rZIcadcs9xk
GSCmpW14onDw7OLYEaBhw26jGvlpYEHZkmQpgLMl4yHDhUVAdVoOZkCHKljxbjPW0GqTcKLDTmTl
OcdayUeexu+WJV+SxmdrkI7T+tP0veJNjBGUAdluE6iNKaqd4cUb047xC2kUWMfVFzhWywpbesyx
XU+j/QRhipBXuIvTDu2QkFVYNd84rB7ydsEpUFm0dMSrfC/hj7RjXN781OYy0WQQpILG2E7D3O8T
UYWRqFL/GfJGsuMjnXg/nGa74A4J1DKaqumhjxWajRjiK9BVVoFObdgXFwlyXxdQKLJwLKOU5f2J
6mYmpabJf8TBVJyEAcnTn35J+sACwtUAtNl/+B+VEVxHg4sSCDfhFX8CzlpnLkinm8GxmivFezob
/c1kDz+KdHyLs/JkuADiA+mcl46jbQndTW46V3vgaz6V9oXRNN8I3lXbtsBGWtPOabhX4fGG863q
RVs1Wd85J4HnjEZy4mgpwIekEnQSf5uk3FnA7H1A8D+tfIL0pob8EHK3PsgeDWZK2IkQ3UviU5rl
frEz8alSGLnAC+Xp4+0RXzIZEwZ1wBCD24xkboBK9O03HSdfOlRba4IS6pd3ZO3xrSQ/JV+10jde
QEpgSKvVDhRbRDPwPinBz4+LtfOSnmXOzEar51jOVhIxXuk2ohJuV4JQtbU8Cmsk3IrdpqV+nDX9
tNU4bqLKK4nSrmF7Gn/t8kwd2rcbKvKswzlMnSOq/8VtvnIRv05d8DCMQ+Ta3l4HtBwAYBs09EaN
tQZ3+Y84pK4qLyAqjHcsgS75/Cl9gpnl/Oi48n6aiQADxYUadvQY2kTlQV5Lz15gPhKWj5x03nSt
kWxLYwRinD04BX7STj/I4b2ZsqcMuyFBymXnBfUHqoJ78hmJGRirlVNsuEgEoJ32uQQqnLPnumJh
OK8rQh3bIPTz+RZPw31uE4xgnZeI7gVjPKRR49tl7lsc/T4mrHXWXs20BP062eEdiwnBPhNXqa4W
LHrsadPc2TpG+0nMcmPGBu/dyroaVGdsYs4p+FXhJeuy16EDOL2wwT13SfoYO/BCPBN6Gy06d/2w
Aho0UfMcNO2oFe1ExntfWvdyAlCEYYXpcoG8wTLjA2zqzGrFejLCrmUiyt/sqmFj1iBB5GQUDR3u
1UD6QFosh2Xyp1NtdYrNMbyVEHyRcjJH7zMV0N6sHvAOcywGXHb1vquCN1eu26R106CK+RIv/smR
yQ1hCFNbkQgOBhwy3BKz9GCbDDl2nSm9w+J1IpPOBdH1n2U5PWdp/jE0jNT/q2H/R87/Lxwe/390
7r/b4vvv0bl/Fea54i9sovi7oWWvuRMHUf4fUr7r/IVrmGSY4wkS2v9r5/1ncs61/sIUSXoZM7pL
rbePufCfyTkn+AuvEWF/TNmuSxFY+G8p+ab5d5+ioB7KpTIVH5Hv4dL+m4emFV0/G3DamR5K6ke6
1RIsrGEHgQgKk0ttlNc43Kchwrw6YxEc7EL8cFHDs1TdEkOJaPLfiiU7ybl+d2bB8yMvfjUzhVnk
zR0gd81xhKmwmZ3J3U9uvGllWbwpo0suKqtPijVAV4Rx5LQtVvEwzX8w/PfQWLu9ny+PsajjLYY0
+4wF5GZO8qelUnu39lQY1kTLiVdmxBNYhsUVHjqDciQGb87WpHjGg3RMsyBEyuneOKYpSanH8dR4
mf2AiLHCJZenvvcOcLKyW+qWwROxMf0IHCnjCtpTp0ys/zi1lPIaAi9mbFT3unru4urVdClDg7yN
UQHtqWwyzQAMaW6KV05SWpx6cIx7PG+MBK0IXzuzvpdx7WHcVne1dvrjPMiaLJKTf3XcBfCSZqfB
18smgecWWRQpRAVO5jGbP8Fhe+jVeRctxQT4G8qz5madWSrc5+nYHxBFMt5BUl/AE3GtDl7J4+5G
v2B9wtttmu32WFDd9sg6UJDAkEDTmymyZ+Opiz8xTjGaTAitA9tTQaJna/bzidD8e210346NelMa
oR2xXgL6CS1l9Llnmf3BG50PtpFQLhMA335NyVgOV2+q6xbnqH62QROR2O7WMbtqX33T46JjsMUO
/N6EMEFw0GItHwb3ZpDczf2wFQpcfR0+tdyhQ2uFcgp5JUGMCtkxZUjwGZusBN4wo1G7Y0odgzH2
b0MehHcdxLu9udQ/Cqsfv9zKxsFg5K9D6z8ZxI+XCL7uQ5HN0w7SOFcVAU7DWjPlhWFf7Y7iH8e3
+RzZtQOkwUlQoIqwKq0oAzEerDj7LuGfEWTgoCvE2WFm2gRZj+2yVXcxfkR7LKctb9yvzHyr2uyt
DTBC2pkevihTw/mVKpw3LbQYt+FKYK+lCgWoxb1iwD+y9xrehnl2gK6ZM+hame1bpZ5qDO1RE+Ty
gcVvss0G34sAGLNxE2P8neZ8Y0AhvWITdnZp1jp3joMI4gvwk0tusMgG7nQEmY0W6cbzU+ARsZdc
VPcyV6VFq7Bkxx+k2SVEsPsFt0DdBsveuUvqbDQtYkOMCDCHt7zjMum0gPfXVAXvrwia5iHxZf9I
oK7+KKcAsIFr0h8wcGgllcWX08qyaCYFRDsE+H9Hcv829NNAJfeNUwkzs98Uj549f4WuGm8YbYvz
MOE+MjnCdgY2XXZSaGSgysQCLHzWY741CUXdUq+B98gS71VzY45YdiVnH+ftO61N4UNnJhA75qQV
yB9w8bPO078wDhTHmXrfMmppoLlhGFweeWPSGmH1qY5cf8leLSO27jn1fQhUcww0icQMImKFEeNJ
JdmEOoYXNh/98sl3JZUD6yqUAS5s1p3hiOKNkQWY+ZTp5UDxi4clyB9fQ1DmAHD92P1hTEl6xsUE
Bx8dlgdJy4XtfNkWNk9m6/zEhSPfW7/OYfPPboUDvF921pwVFG2p5GgD4UZrWedwkicY10rAGDtr
6pK3QvOHWVgNbwbTNMDZz7PYODEffZql3i0LmvGB2Xv51Tk+9Nd80ieU5P4rawh/qrKP2UKgG5ys
iodYG436crUPQhMe6Z01reUMQq6u5XoR8a3FQQ+HQSOYGbYY3vBsyGvntXySElv3ltiav6Gmy6XZ
ooI8hKS+3gMB3rXYDulaLuyTSaHQI8sK8TSxc7q4iTd+Y+oCIxz6Y7KbueBuTHxZr6CJjNM42+s1
sGeNwHOn/QjL+O+5S5qj6ev+yuwT7wsLn59rBCHeMWzopWWQl+FVfGcTt/6QcJlhf/bjIR1pm2FJ
itMPI1VBfUFexD+bRuIBK9ycdeoognuizP2xUVb3KHN7hOPH7SHmFYcVW0p8HFbNRSvJX01++k4v
3OKFxwy51CreK87VQ+u5U4l/zhrob8OR+12EGXDlRJU/et41C37qFPUFM/+rASoQZd6m1ApPFT88
3CQJ6WGKLcS1D6buFkPDyzdAi9BXRGkHJzqDFmR0yjgTW3cHLhbLIaG+IFJUzIB4Z4uzgRCVbDU7
DYj9S3etFJCIekjExYQZ8h4k6fIoPVM9prH82ceJtZczTEeLsqWonKpyP+nM3Xa1wd2JNM9Hg33/
azagsEjKk84AG2yQG4Kf7o5sSedpxHQsvPqUWFry7JMVPDYmTuSurvMHOHfBntqW8c5rxldPpP2R
cjz6IfzY2+CELx4ZiZDbMnZJEz4cIpa87fKaIhj2cnS8AKEDDQKy0iwXXJ5FYByDxLdpK6gQhJeK
755cmr3hIGM6QFUaNp1/3MIqrtqG++y0XCemYnj1DCB8XdftJ8iXVAN8xgbHdj2HNBThFqBUCjCr
eWqd4Vmmzm52EORjNP2NCL7ast8tYY6FwN8qq/yqJh8wVYZh0yXd1ndsNWNrW9eIJWGRdQR6U3zz
ZH1BetvBXkjvkAziQw4UqEDqjG/88hF+7I9urtCIJ+qCqTo6BkBxv4duUU+lHWdvuJFQzru0+4iF
zwdmlPfFLIxDn7E/Vtjh97i30vdgGsKnOes9uHCht6vEGEYuaERcfJl5ZoZ44r6I7sO8lXrOQUzl
zvIJYU6Zf1+wbi5a7kE8jFs1psj/idjnwngSxBI2U+M+JYb7ObOz+cBN9kmbjXVF+E2PKYNWrY9O
DPiUPgC3l/oEUxlxOVgi+IP5vsfBGHAHOXHv+GM0BOYSDuSmRBUzMaBitsRSB2sR+S87uv1Q7Dsx
mtgxmybiIp+y22xeQInXR99AZaHodweWHgJJvQZgm++A57Yfm6epeNY+HE1XfIZAQhPHuTMHeIiT
IOayzPui8Q46RN+bn9pWFbtmxEMa8tKHoMSSvx3vkqC+0wxdOg2K3WgOD4TLAJgO+V5CjONsPfQs
J4hzTjuAiT7N0oF/SVmGKXPm8t6Fr8ZCx7Ltz39MXEC7QSDWNIM74ZyTWOKNLN16rv9JmPcQDAK4
nqHO3iBZqxR/1iAtK8bnesjBmvpg+O9ch/Iub/oziflVm96ydW1rYTbCgCblwTO8DjmkiNnA1VCS
hk5jdhYt6ocdHjyUIdiy2vgwQQsfXMkFHFjwAaPpAbTxdglnUipSLRDkF+8pIDHDFX6MOjd+rOyc
G3xPXIxtkjdDNx4e49QiS+QF5dnr+LhY9VHLMbtwPvs+KhJe6NSxkPvY2nNgVTtM2C+LQRVOTxrp
ebZ7oESC9WefyCsshmg0soXWgvRPPylvK+1BnFg+wf3JqTqjpdEVm4lyng2bn3c0qyAKHV/fajPD
N7twD3FEcAmNLAClKP2LNxREPtBFq3fgQT1cWnRQrw3yM7/6chx97Zyqtm0PbUvxE9/d+NWMLSpy
89C/Z1fbR1mgqnNrzwklRZOxCdLBwMnnGBEtmO5B5lTwNFVy75uVecQmYz9YoTHcSKcP3y35pqe4
9Ci85njb2xB0LzkWHwDjIiiulWFyplFV9xJDPat39kAdUh024K5Uu0S18AEVOzE5hWRK71xk2XM3
KzdyW4ZRImE5i10/G77HMtCHTJcU/DULjYCNMreOXVp3RGxXfkKdnccgti7EZ+KoxhkZ9aNpv2t7
UfRhiOyhZMbaWmXf39W1V+M7Bndee3P26IPp2+CNNPABBsEPrZR3AXgtsVKhUgY9H89oOxorrvoZ
O4zAgsqKo4uV8ygbhH+v/73i6QNBsFfX1ltQl4csSXe+fZiX9L1KxTlY/sQrZzCw/9DSyFa7bvDl
2PXO18UVAAKmfHmLbV7ECoE1q+JDACATNfqlL4Zvpu3uVFmJRSB+/GzdGA5V1t8n6oHGxKMlmKcG
Mm9Fs4IdnVllWzzbw4F+uzKKgyU4xSF12V3LuUq6arhnm8f4v7Cv6ZsHSrx7ZyfDBapmK8ejV0/y
o8rT/jwWi9xBvwsw8nh4yDAu+K7iWDYxnWRs6l+GOM9QGwPaWc1U1TtMxvjLxAAryReq5gZT+Dsn
XfLHVCfiHrDii0cVHIKiQaSDahin+dS2S6a+wFEdxVA+vzRWq11YmkVUpV3z0RmhOW0cvFQH4rP0
DHW63fVWMX6TV+f+XJKs3Tp4Fa4uUFo617z4ZlCfiJAkqzc6GfOr3VSvysz6Z1s1GAPoX6PfTE7d
lTORw0JWwVl3I/c/SzgZGnkccjGfXR8Ts2xgGufSNX+mnTYt3tVOf2isOtgW0DH37NeCP1PgGvtA
u6vfzhCgiAEwE+0Yw51Xq+zQxnl7LWmjxNxU60MCXuDk45B8A0Q8Qz+t/OcJczmA4WE4qqEfDtBR
KaKDZHVsyhwmwNzLC8uJ9onCqX4z2oAGqU2iQmzwKOIUvDdOVpfRhzvXzakZxYeDyScwUz4200GK
9UZapjADg0QLs/FjqADb9QJGri5cHMFO23XQUC1NpVU3LD8xkXfYsZTv3CVZwXzu+DNvZjW8d7wp
9pRz1IwpQ7zHmw2FuRjKYZ+KHr5hzzCZEzq/Vsxf3NjHGg5wkr9rEdK+V9fWpxEwx24qSecNEb4Z
NASBYy5l8Zi9Fhxx59nN9TkJCvM3MXl6EMxeh2ebI/pSLB4ej7iVBmvSuNrFbcxyqs1EfC6m/CZm
v/62m/zbrfHEL63n7BX/kKWNX7IuFqDn2zLbTY5NL9mSt8M2xd2/L+3WeAndPPuTZtjZsKsshzIO
vE+SYhwGRp8/llQFXGyzS3damlTBsfsSGA0FXVpJNvCYFx14xphQzIH23xGI9KLFJ5hrRFQqkbJH
ETNWELKwacFcBdBiDNCb1JifVeyNl2rC++IMzvijNpEoURdmpSI+qP5HYtffytT2Q4Pf+kDZd4NF
ZAYuQmjoM1ucnL7N2k35IiTjDSTVzOJ//gkG8nPw4geZ0uWAbnPpc3yChfb/EXj7j+j5Xz5Z7P9f
9dz1SVrVfyOG8W/8w8Ls+n+RtVm5LCsiZY2B/Uv3dOy/QH7haiYYF6w3AxKE/9Q9LfcvahmARbgM
cjbZQMTIf+mef8Eu4q82JO6HVErO7d/RPeFU/d9oGuZUKIQ++CGQZSsU42+x84yIldmLCROawq3I
Urb1HuzaawyXq5SEmpUxwuIoLStMGIriUtPfDmoxPjsGiG7TZq7dfvD2oTm2DAXiQ+QP2m4vZEyz
T2cMh+ScTA6efX9qwdziygzUzkpqEZz6JsvTc6uhHiL1ZZZ7yBY//vQ9SOtdRc8wKRhFg6PhzQ3r
W9sqfvc0Tv9QBZefqFMdHXJZbi3PbLGaeZu2DPoRFKka8SyoffwC05g+Oqi2D7HME2PjceOYDqbX
Io3yQ7xkw6KjZnvb1+3FDnuSHWvH6LpRNNs1xurV1muXZmN9ajKDNU8+hzmmI6pk5amt+jBmkdBK
uQcTKulRMJvQvC9dLESHwvMbuafsI2HbKG38MMInaQEdmCQ0D/04OU54n1WEp+ky4+0saBNr5rHG
pyNwE419D5eyFovJtqL01848r0IEWEVEiwmaxRK9u3pmebo8+1klu5dBmZYH8rDyki74Yq5gV3Kh
ioZAyOPgd/QERc2AFhDe6dEktfVkG0W5UPXaJZUuTtMwed2ChKbdAmDGIjJb6YigcYPJXHVlO+Ba
cFJuUZ2uJK/isg39vWIY0TthVcpHRmyc+lKT0YJyr3P1wzLw5Wg06YT2rnFOsERDP+ZuYIZtyX0y
53nZuRlZ/I032Vb5VDWNo25OR1T64OcsyXhfZ62xJXizEAlpNDJUAOtVUHK1ABzB5uPbpKOJUouI
Junaj6qxCdPj7NkamIeeui0EJAovsxJmwBa1y6bgXJKO2otZYkNb5EDGkkHXrG4VeTYB8jItX3C3
wWmfwDywxRv4Ny28qz5GSR8JwGBiP/RyCR6SrpusbTdyM9kIftSVv6HsPvVUWR9DHUDIpTB3+vD9
jFjNpgrWnT0GkSHdCxO59US9UAyjVGh88kHQNeSPMlw+h8nrPcknk1IcPeWBh87swSf6YRs9XTtB
WtJzXDmDbi4hKla2mYPCxoRjxbJuH/Fa+U/cisb0iLWm8zCYxZzNkHbN1no1CCMWBztJR8w7fNdr
sLxGpUkkxdxamAwHsFEZloDs5sHKHlmRprErPkwLU4wEYZBkHFy9GyQfgxr8/n7OBQj7Putz90e/
SBPTo5d77L7TPjTwrXGjqeJ7ij1H58YdREEQagoZs17tveoX6eBlitjAiQeTQFaI9Qsykh4ALEU2
l21cak1zZzQW8RtrsIJHJn2dH/Op5kbiVljaE4oWBmJVjkGKVenajZqJy1kEEYuVBC4ha2caCVe8
QLKt3PimKtYLcBw86wCzSziF7IO1leJzZXuePMrJUQf+q8W06cJlXTC4CStTtyk6wo5coJK9Wej0
5JMlQu5UgSi32UhuCB+7qL+QA2Zcw/GKSVuoK1SRkRnhOdCYcLYl35FHAQv0KYHCJna8TXFzDlaX
IOFXavBoDfWUuys8WmQ2FLLI14ydxM8Osgq2loJr1AbvjTXtG3eVZFtaCMFfhgXQa2MOvqbFaqBx
mY35Q/SGaTHdxsEJMRGbw+hY6hzjP8AIZRkUAeOdZCXT0xygo7hLApSrEI0fKySFgoTdEvMMKw/N
mCek+IPMkl/avnVfh5Jp8wRclkbAd+Te8Vl463tkJjv8TTe6751TQhIKk3Fcv6QsvO9qCyrCDsif
cEj8skHewnOe7wRwY7WztUkPchCILkBEhznHUl60j1TWFDFs/p4rfMtQmu45yZLlCrNYPZTKx3vq
LCUPFLdlyMtuHlqfwqAVbwt7eH5svVoaO1bQsZtRoG5rmjMMnmRaV6h5wxVjmmRGF9GFPQXqXCqo
Aqc1nr+CtuhEvTNxCnLSBchG73Ump3oT97y8UCKMCcIAXfPVJptbic0N5aTIN/SoYmeYDSEemR1T
2tVBcyD/K5SKgO18Zr63BMjW1s0MsUDYvR1EYxhgng5L1/ptmzR07/DEdeW5zqcMPD9kAfqLWabn
O7f3wxxPrmP9LjtzaQ92GzLBqakG0b0CMqhYIQra0jpNo9Olpu212bCl1CmITeXcGpsCW3wKtQus
22hE7GyatHX0K+3I+pn6N19sujzn/uexF4AjbeLbC1tjOBXsVKjwdazqfbH5bqAmJNgJrK7Q5Pps
SVmZ0IvCV+uljaf+ELr0uWImFSxKTGMOnQREGNZfcm4VhOowob7O8kX+5qsOj9OgEy1fVnZcfWdS
7Nd80VDNdRJ/QlUAtIf3a7q7fmmxa2U6QKBHmFwyAg14ZW12AjVSeJfVhrntUADZFS4W1zYWE+gn
UKHbnrrinlzmYubzg+LDY+FVGZgajbi3gI8OYaJ22Mfzn/z/5jeMXqtuaCx8R3JkCoQv/27sckIz
4dg0RKJH+CLlmhs/A7JDGVraMfxjQE6TW6V0eReaY/ocknd/sMMYVa7kNv0e9mw8+FWHz8xoaS3l
OkohWZvWjzlbkhdnqFFIJHKC3hcux+NGp0Dx1q8Y2JYSyxS/dVIh0U1BOhKKDru1qRK0IqOMU42E
aEOS9Jt8QrvcjcW0XONunHrWp4U8cqL2mLDFoPYibWRxSITbn0v+KLAVFcEALP0jMQXHrK6hsluq
5yiQfOuCsb0b5BoQ0wscniCru99j13lPSsWFuwVEYOHMDDJ6k0XcMPsBLI4PObG9PhrKsTwsxTj6
J3ihHgaVscZylk5ewW7SyatXSmCASrYSxB0s2Pp3vyQ00+GkJ4UjKd9koEycX7xgsdZPrpegSk6q
R3DA+H6f+PXqnF/W7S3fEzA3VhgbdcS3aTz2ZQxlC/ygus5ObTNwBrX5S9CxDfslHdtw03rhWnlH
nJrIQCPKl8WUDp0MhUT8yYqAmacsK8g1WuAMOIRQ4wHat4P4NC1FDeLsVKK8JjygeOvClv0FhhYW
X0VvuTUlZsjhW1CNMth2fk/tbe52w6ptZB+ZY+EWRnJBxQ5At9LEyQDTbXiQCr0d4ID3kfYX43er
AypagavhckEmBcDTUhGFNswW2d0IilFe1/8+VQ4Ty5x0kztND5bbL+PeZ/Ptse1HKtYO1dgUPvGO
cxrrWMlxQqBlb3U/xU5ib3t7crDZZZNid1IVxk37UNMOBtMgAb9wYTavcT90W5loEyNavHRYAem9
qfL/Ye9MduNIsm37K4U7d8HNzNvBm0TLYERQDPbixEGKlPd9719/l0uZVSRTKSEHb/DwCpUoZEKk
PMI7O3bO3mtjitikqdZf9Z5BK3U0KRbpFQYGZ2zRSPajS1LqzNecr6Rf90PdgrSGeH2XAyFn9O0Z
Roh0n4wFNHSunPQrIXVh31S14YYrK4/rA1SKDptU0xQnrcEOxdfrq3u3TLJEbUn6QhoxTlrFGxlF
pma6C4tEguFY9rIAZ9FnHgXgGPPIM75sw5m6gcn3VE3M2cHAco+EQTtceVZdQMlXhcDoCMxFR/PW
lwK2eJ6SkIwMhaa/16RUC6WRzrCD2m2JFCvGOwerV7HPYk0E6zTokWmC8AJIFuWF/xRmDcmAI01c
ShPHS7aS+DTE5hnJNQj8K+QS/9Udoa94+T//M4Mo/34Lvniqnp9e8vqdjZjf+LEF57p/ot3GzSMV
Q7TZ9vvnHnz+I8vUHcn6BewS1Qb74z834eoTsiIoAtx7ZBHxI//ehAv1SYdE7CDz4N3lkJ35Tzbh
8r30COWTJDsRTrVUpg3K2f1AT8oit85kYWhYIsWBYZXfwJsjBW+KZyWk5ab4hzUSZsg4wxCPWLHW
yB8JDJMFglCd6px1q/5G1APvTAm867XTKImnKjf8dcBGFBCYEv0LtSDVDdyRW9ST0RGkFxk7/9du
QCYBlCav/zo+FfW/Nm328tTAaf9/AB8PAP5X9+L1a/bqPyVvb8Xvv/HHvSiQtBmkB3DNZ9s4krd/
34sCGLx0Z1Wb5QILVTOT+M97EfWci9DNsREdgZGckUZ/NISE/ERz3JVwf6UAIg048E90/uUPpzrU
ffD+QPf/+O+3oPb37SCiviy4irqNnNKwwYHMT8o7wCJh4MNITrQVauIB+UFyqyhnKCOGFvOSwfR9
nvJ6P26bvz3qe37Vj6NSugLc4QSwCZg/1RtEps1sOgSOeepYaViU0/CacIrwHxGf/zgIz7mFuMqB
6Pjhq5Wo6h2/cU5Yjo2H0a5qMuDL4XfYrxln+B8gwI+jgODUOS0cBjjm+6/SQlirWsM5pS0xYQtH
+sbJYHzGRKXXmdXbj2/urZ9cr/eUsT8OJ2a4littRYjA+8PFkejtqbVPIhblXh/Utd8L81C3Tr/4
9YF+dons/xxIfQAdWJnLPq23ibusBFwABzlKpcXLXx/kZ3cfaXOKpASanrbx4RJZfo1uO7BOKcDH
K34IPd2AWOY8mWCGjW6E3gQhZrD69VG/Q3//cs1sKVyeSLjH36Whb24/YjjDMUicUw1/eNUbVUDP
BNDIyqMe3Uy5S54ZTad1Bhbm3nRqa2Oq1H8OfQvug0LriMapSPd25ZbnfZAIjz1bmoW/uQA/PTff
SRcsSrbSP95YVdUyryFity2J9ozjyVg6kWGjm3PCb1JN7mWhDP3s16fmJ1fdoQPNraU7rmt+PDMj
w2Aj6OVpiBpxLtnnrEj0DP75gwmRg4efkQSvHXemp705/ZVWdTQF9ZObdpDPcNouQmrf30DhWM3/
8mTaVMkOeRsSia/6+GorAh+YdhEehgnh4LoitefBjZyEObeTOvkqdIghI96eduQKYSlCYJHN4UlG
qQQGM10vvwEi8fzVlALDQMFmsLXraemibZpqTJBRFXgHi8xClwx0XILLcHKtq7gfk3FBceFdTlEG
exIu1sDW2g2LW9tKi9vKSOnqdkNZfQu6mrmZ6TvIa0yNHgooCLS+C6kV6n7oKtpQg2yim6bQufip
IXa6i3J0zRyKuCE9DGu5siRWtLopMyyhsh0OvtarU4EsFi45rvUn6EwhQdUo/PCzEnCydUqlbr0e
yS/NC1ddVTTMhw2DVHbulajSU6TxCG5padLkHPuKTU7dm/2jJQpcpUmZ6TqGGKrZZQkglDHtGPIj
ZeM1r0aQldoyFo321Uc7+A07krEjiMKOGEKaZrd0sE1ccx7dnRyyFLkdkXJkmzq1v7dKtv8kYUMR
01UsIzQnjbcD2NlrmCtkRhK9GZT+9wD7YIthE5qzb9XxNxw0KGx8TUgIWyXB8AfZ049ahLzCABpA
tMPpg1/jtcIeFK8wSFLWk9tnn3utQULegC70McMTgRrWHSZAlqWGN6pyAkw7JoiUa/RC5SUB0eVF
nnIEIFZ2cpNFFuap3NGcWxYVf8vfDsjFoWP/xdH69kCwnqNWtLery6mrzX2pu/4Tvcs0wooVZGJr
VUP8kIV1Fm3C2OyYByCAOmCe6WiRdUVF92cqem9L3yom29N2ezJECWBj9K7TyC4si56r7VTsW5hz
ZE+h6ApoixiUgF5MffGc1p5Nhtho5hckdzQYV+KB6WvLJhvLcWRnXN4p9r+aOHtDaAuFTZ4yMatf
9b5EKgDHLFzTn5D3pI9a6Wpiz0iCtOF40xKiG3S6KhfeRR63MmEDhi4ULz60q5UTO/11g+L3UKpc
fWMQZtGHofewl0w9L/KIfekia+VosDOC3MmUJZiQALSCTX02uXGzzRITM7/be0LbROaEBsQ1egM+
GZ7GcNGlI2lSU9PqVyX5NjxiekU3Q3S9ZEDj5l2Lv2RwcF7qgf2tdzD8I0NyrI1Ws5lf1iWNCNaV
kNDPpNRJfPRUO3wNB2HcUk3XjxD5wmsbDXm87CJrtJYS8tpTX47JrWGn5ilWU/jsDqnDENnA7EIY
dB7v8oG7eeemwXDBnjcPt2Fm5LuW1tMsNzeK51D2XCB4demzrnv+Fz5BfZ/RUreWVjYxipPp3OwX
ufvoJmhXFyMUXlCObpNWK2Nqxy9eRstkjX8SB13ju4DQbE3XjwSQkUxoTJgcM+R4rwApSDbwCB68
ETLKv1qx5n1xMqcsFsDI/MeiFsbdoAw692B5s89RxlCEGQ1i7KWZ53G4hBdmYl3nil86mim1hUYi
GErBIDjKWgYzvcszoT32EzI5UA1Vv+nTkoZ3Tr5CttLoat/mRtfd6Ml8Dw56ezfUEXZG6H0uoJlw
bn41wN5Qe05GfycGqGcldKN4W4Y10E4EpXG4TV1X1cus74jRUyFNBuAaDLnxURnJklkbziVEdSLa
xGYovvVVy4Qv4LU8rADO+O6KBQxgYUDG52UDsfnU5yMBc6GpCYRjJvM0E+0LlimE4eNi0FzMAXWS
IdXI+y45xdz3Du23IsnWVYMlvu5TTS19JkG3wjcy47yL+njX0Ut1jgNvcuT3bZXj+jVkOENTMkKR
R3RTGcNdHIlmGh6cqvLrheR1PKPSkIajYW/tqlfXJuIjbG56LS9ouuM7gXYdpIScwTs911xmfMc6
ifH2Q23iyTULWSCh4t+99fxUEA/nYldekd1dzoudX/HalP24cvopTNadZsu9gKT5Lctb10DRg/5s
Uj0qJwMz/QyEQnDed16XnJkh2ZVaFklc3cq3vlRmMh6MQncAbtNSzJatsrSXDh/LXdJ5LuzyYZxo
ukZ6+NgSnHqpZ0n3SoNXvFJ/G9NiIKrcX5JzE/S71vODaKXl4ApoSzvGqZBofQn8lYaOdCqs9RtE
jRE8vbH2w7PSGXw0p2ZIxl6hkPDC7SF/DVJgOiarZkjAUDB4Vi/mEIkRfHcVD2eWaZgR7pwolohQ
PH04U0kRa2vLqeyLpB4IRGicJBKzuBU4hu6WWrjuijhRRF0a5X0UNTaaxcZN7xmf0Bfv7Kht9h4J
sRzCdVgoiejmzjLQZ7pLckgte0H+godpdmDWC7HZesLtALHek6Avl+SOd+XS9fsWe7jVYH5gwp12
eILSkSW+qQWuHQRT2lqPjIBBYItkZlHrgzXQXku8rxiIDESeCT7ewKt4diABlc2G0iPx1qP0wAFQ
zVTQZ5B+NksjMvGy2ym6KJr0PVocnMiABt0276CWsK1ARxT6KNKIIHZnCrpH/Bwb1BgRQJoQQRpp
Acu8VXl1edTpYjWbGh90t/XqnJXKSpwxOgs94m6g0OSM/AeWAhcySsyQM4WFc29Tme2soKZ71mAg
etApFdC96cxnlmaMy3jV+SEh4JnmVe5NqgzWn89Ms+hrpkgSTlMq7EdZ9iiyPbccqU+mRls6Ar8o
i5BKgSSZPUM7kEQ132zWwiByEqP2WVoJzX+nJtKRi2JROKi+SzmdXmfoG3DwAti6Sb0HAynDT1DZ
hIDTWe+Bn9uRL/pVpTzxbUCIhqDUqxP2JDjWtnL0tOEyHBXiMrbsiMk1MIraWS+i9NrSVItxcext
HCuhY/NLUExkd16ZyOVu8bzG7sIwJzfdgrkBAtCyiGSbpKmQdBFu20NQ0xtWtboKnfBrh3mXuQf2
eTSCvXBrfYsrpsSM6pZITxZyaooh3rRCt+PPeCMO+RBn550Pb2gH3rMCHewyPJzNIQpkfOQXrzUn
OuYjBECzCNIDBx1qAwItRCeJAKU5Is5nmI3Om0qlBSXStvgfUrJP6XSXbMSahh5yJFhfcZ9MyW08
uRFC/WHSeC8jNgm2g0adPTgBob+02ap9anVdsysiN+5WUxJGD23Y2ckPFvh/VUj/M7cF/74Fum2f
mtf0KXl623iaf+WPvpMzJxeSM+jYWDAZ37ls9X74L/GrfcI2B2URoTXpO+b8R3/2nexPDtQVUp5A
JRr8wJu+k/pk40GYe6A/PJ3/CKVIXNX77dncZ7WktOZozZna/TFWM+7TuOMZiAlCH8J1VohykZtN
zLijudRDFOiNwL6D/f6bE4nsRrcrbdN02gnn8VnEmGwlwTVvMJlAr6OY3HmAa7DrU7fhRgf0GQfb
PqMmoRbs2aUI9SynAd+VwQSnHfvHHDXewm/QBOHXOzgh4BGTG3hJAsopdjrcfZTqrtc/MXIhrTbu
/G/24HTrcq4hZM/ukKHG2odwSrfVwhlfxNuuSK6xwBM0brhIOeoWx13lMD5iSsXAtFaNN+EwCYqz
rG79TdPrN5QvYsHCrFZJ4Dj3jVvqzQrJaYbWtUKUCv8g/jo2RXMYxag2/LF1JL5qPBURNJ6FqqME
DI+qKbtTw1r2MzirDcMLuxAXYGybo9PX2cZg8taVdrhVTimhmxJGTPoWq05f1Pt2TpZA21rm20BV
5mPptWpV6Y1+jER1UURiVoszNotjC/285n8DdwzehyiEi9wP/GVLPrq/ciP5xaF8JvSoJkMhBUKB
r5T3Y0zdGfv9g5+GR6MG5WCkhnk7puMtLXeg2b3uH0lDxtSVOfIpr7LEX5VjY0D0NoPHpGdenwl4
x6Q7dPW5OSRfdNIRXuhz1weMJ9auFtb4kJda/Szz8kmfxgydRmEwnbcVtf5CsjfbxoR8o4hlG4Wk
IgXcF6FP2/WmRjZAEjAdN/Py3M490EFpVt40UgN3ZLGXCt1sWeNIeZgg/e2cWNAuiPJq79S99eJX
wA9wucYvtDBgYTclPflTYGVKO2LKiJqzhh086q54SA8eZF5kXQw2z6fOJPCsGwjaWJKSkazoxZCz
PPhldtblQBbvUcvH0Vk7yuwq8JMkWiAI7Rd05Nh9mXZzmHxTHcDhXTFmGNYm6WbLLKPWrqbAmfMv
78FHXLgOMCBNjcu0SO5lQ158OhZ3NQrnlarGa600jGvKnhjfcoCjT5Rxqq/aekTJztZpHO8LOpHl
Q6cl+RE3NHaDqoPdlbX1/aD1IfSW0P7qDFFUrGJXm67ZjyPHDbmAwCDGex0W1mbo0+Y66pvskKam
d6PnqbuNcLIg/h1MZy8rCBZt5HQb2yzlFZTG5POAi/hBjTyySZvrB1ufIhyeLREHn4FLatwPqQo3
GfbQexI8hss2o2OyGGXJIJSQIhhbSPSjbafp+Vlh1ifK42+6R2Y8IR2Cotm1Ea23yWoSQqxwe7bn
IYo8TGfp58TzHmJ9oO629TOt/1ziFVsNyJ93zIWpR3HEt3CglnT0s02JezmNDPbKiIRXCtzVIqPt
tWRvMNwI2kAZ7PTaruSaofwGPLt25YX+hYzqF09XzWsTVHjGCKDG3GYYsad1ewPss3Yb1xb+tANi
5ySpL2Crhua49vt6isY1jSgzdDeWiV8gR4tWtHfwdPeTZ6mvCtvsC/Wl9WDmmXWJysc4B129aKrm
EioWzlka4gsX/edCw2FwVjLehFNd4dBSyrJPeCW/NsyWFtHgsu31CpDaMBGJkwK15ePSrQNPXWTY
osqafTF+rGJl8H48tuUAWCaLogMwqeBLhPrhsyqn7shc3j+2LRKiNaWItwnQyF9g827Kda2pjZlP
B0Sbh8az9w6bJ/D8QKpGtSMRKlh0NbaWtmiXMhzCnedV14OfoL9z9ZM5DXuvIGmiL5ppqcySfT1Z
PcDlQD7m5ZcSlm6oTNQrRdLssxFBYpV4aLiDAm5SRPimBkXyLrXpDRTU1UALvZKodxEx0kaLaW4Y
6SPhg/WLiNq2060QlGRrL4VEV01fE9M4DUVtYeKivNwVaUG/LQzUt7nXqMHoXWjQME/zO3NJTCQ5
3HZ3Zk5iz/VSKN30fAe8Y5jRMtjnUdjcEMa0sUNLfHYS7CXZoA8v0oyTDfoL69L1R3E+NOE1o/Jx
aVdjfqMIfFzmZCctC53kohHLwbqQlX+Wdpq/5v4tZuIns+2MYXxSaflVV5NlFA7lg07+7h41rr22
ff+F99RmIMIbbzVPHBAxCuzWTaHvB+V0zRT+zvQhDmVZQLsJ7gugmHu/wMWSA+FdKYQJy0Efq0tf
DtyPAxoUklgWAF4PZuiPaATTEC0e4ivlJbj9p36b2sBH0b1vPdHDG01dWHhU5ZWMbzGg+ghxMY1W
ZTlsHCN2NjVr5Y3d+LeeUVZc5tpZIT+9RrX2MGFoue6g+GIf7LtDgiXizOjqAMJ5G2xa3ctW1CDj
0jSQMlbRVoRZfuEP7UXtyhSXlsRGFRWU5kzBdqT/jHt0ceIsaftqicgh4q5gspL3mMUyUL/rcESE
wzgI/x4tE5KbTo7e4nKYoy5U5H2OPXER25QfeVt3m9jAHsNUA7Gx5YHrQ1dlVexTxib2btph2kSt
8TBNEODxW5XlFU7pOmQBqqUZGeeqIwkhAOfAQHohRzLr1oHt6fadBgBpqymnkysZB6SN13WRfSbr
4DMZBxtJiREn2R2vbpMdKmQsHD54WEPUZk0VRBuUhAhmOuNeNBjx+hrckOseSYo95VnU00Ybjwra
5RLACiugdcxhLVjQ3KD4rNCSgiMLd4gpKjImnIwtWbaJeiCL4T3L6lPX+YjEoEG4boxrndvCwdFU
jSUEg8Zak5hxUU9ewZsx2FvuuEM9th5ytGhd9bUtQLr4nTtca31wSSl6FXYi2AQkEZ5pca6jGmKD
WitWO2uVDLT5uOd5czle/BV3mrgumphuwFynBciQZe+Zt2YP18NEab1CYeRe9xJAvOzdV9NtsyMo
CV4yg/F1qKd0w5yzOmlVCzLR8ZriM+6dAyl/WFCQhNJbxBs3jgTItgmF95rekInvA6JlOB3p6sh2
xbA0jy8MiEnmMcbpDZlC0Zewd5rbYD8MCPHSdsaIawQZZR+6X0fgxtL7MTf6Rxuim/8PU96l/kvw
/PWsvvnXZfhaoUF4yl7+heunfU3eJ8V//zv+FJFYn9g5GWRHoyKxGeGzt/pjA2Van+bYq3lkL8y3
Pg7MH2SpYtUgEcvUmW7/R0ICD8dm0D5PpHTL4tflPxnby/nob+fO8+jXNHWLgwCc4L37YXRq0JIO
wqwLtsEEdc/uw3uOuSnr9GCTXEPnY0JLNo3+OhENHo3gihJ0zzDP2ThdtA1IeF+31Ricod5nAyPU
I2w/fE16uWYyxMMTpnsgducYrjaYPq8Jbnjsq+Sbgd56NO19a2nn/gDVt0O/wKISvbSEbCAuvUMo
C6TYGxqEvvkDCt47V9CqnP8l8s0Y0WZAR2zwmU84+KdnMbdlUKd2yn6eRP2aUkmuPUsbAIE4pGVA
TUbhK0584QtlZI+hLs9oNEEOJUZ2VZMhtGDXgjqmdpdJxvxGl/F0nMZpOotg6lYkuaBmxcbghtE3
TOLRwqBTtvDN8iEp0kc3T9eZ8M6blplRH3nnY2dvBMjFNfCEZ7wjLqRTkpyA9RU/PhZTN6R5uKkh
axHIE/m3rvZ5KBQVFurmzskf+9G6CPwBn30TvgSec+MbfJJJZ33MLIiXYaPfpcDXLo3ScyCCEUA7
9EgCJbVma0cv3gBAII+fqxSvbFoa2EOK9sLIxT1Md1TLoEGt8a6uuXJhTC1HDuAzaIDdhGBz6cmq
QNkeFhhMLF626ToK0MRSol5q6FJhcLtLCRQYBba5MNv21DbFZayX9TIa+T6xO4H6cnDIS2oWXu+H
amib88RZjiWFQmo7Dw2TmDxpOwC3lsadQgGjTTrUhS+AzhgKaLhLE+xxKg+fPZrDe0dLijUTQQ16
sBGfB9g+wFyAKppG42RReUdWhxpVaOq8qodkF3pBc2VEqtlkGPaon9RwnnjjEZtIvrLrisFRYA3r
kYAVhLl8BC3tmGXVlCzM/Jaa27JJ0dv6xiMLDUKRqmngV9GShzlcJjpa48zwzomCZV8P7n/wWOiJ
xoGe36FHTclAt4lfMANuzaTXwFhO3OwWklY21aSQ0C6LmF1ysQyRPU5F168y0wIeL86FEV/hYLm0
da5+QGpUKiB0RhtZxr8RgnzQnaAIonGiGxJ+lhQW/bT3Q3Qr01F7tTZR5gnAQjs3t2Nk0buPFTdU
cnjTWvqJ6mRWPL1/28xHw6BmGpSmvHM+HK1rhdC0gOB0G+sNLBQXhytY2zyD+7mGeXLBhJgOIeNz
0qAefnPwWQ/wRq7x46vyUrWQ8Zj0Iz+86rJUqDw3JYzcOH4mHyRfWdrITG3gBdfzrvl+IWhyu15y
cLL0QF7s5tcf4YMW4/snEOh7UKPi3ENz9f5kG8rEI2UKfxt33dGQ6QH/yq4s4dKAVM+9+Dene/Yb
fvzGNiIMjicJkeM7vz9eRmBX1XlcXA8JC7s3axmMd1X8uSl45Ku+oTFVuzdGjIsecMxdZFjHpniW
ZXXGQGQZN4wNMIkzvN4jwLhzc22Vtvsy6u4cmJCtjM8UeIXULbfTCxbXjAgjYKdjsRbYZOimqVM2
UnNOSLmLPHyK+nqn+fWeDdKat9Ea1MGrVQ5IndvkcUg0Z1EocRjLnJpRrxkh0COIGEuj7EBjHPRP
paLF7/PWxE9ILVxN2rLrjRe7rB4o5vHasIRti1acAuDGi8St6H0RJbXIx+lOlrw+HXkXj85NMOl3
YzmTFyoHrI0zLnMnOM9CMl1pxBf0NX/ok/5bS92MBWE8X2n0N9V4hWXofR0kZlns3/eeD+3wmj7n
beW/bT5//6UfxZOFsBHQCEoiZp+2QjP7Z+1k0kQ2TOys+J0Vj7T+HxOsqX8StKoRBFmz+la6fIY/
NI8Ggl50ijx8tov0UTjOPyme4Ay+e75scpf5DJhpebBpj/Nkv3++xsIMfNWiqpc1L3rVDuO6geGw
cBG5fy0LypWhIGID/7s4jXg6QAFqinzzCHqLSCGDxSyrtYcWgTtRbi2kw3euTJ4xVDbbSZB8qkhg
XLh+8xSm1hOQH6hoxpcJ50rAAGfjmOE3nOg3OulnGCASDEYBAZmyUsWSRhmiFffcHv0r5t0viObh
Zxl4+4epROgfkINuOQPtGZloe9a7ComR91ySg/GlERWb8SkIr2mqjODa2QZh0bOPGF9Y2ayRkAwI
aCgoJMRVcFJ8z5r9aFZPG8cX+gpHgPGZ0ED3zLP64eBWGEb8oI5WdZNtbTXeOpn36Kddcx7L+EQz
iEGXzqcEkNeV28gc4/OWiSIRKzbOpFY8orU+SXQEEPvLr3YwJOcuUeGIS/I1GJK9g/mDzpJyNlme
PjOrROXfQINir1luIuw0i762JtB2qgH3BGm9LDrIArkPrjWltWtZzlPfWBKwRYiI2gqaczQu/r5u
HGQOcJ7Z08nnXI+GlAAX2zzj5V3tA1KBge3m5GL09m2mM0zM4C8fk5EZYyEhG0dKxkusu7iYkmkH
bOkw2/A2SVmVF6gIBHu9yF+G49gDTKFDawzASibaqiCrUkoieUzMOuKDVgIXR2DhZKnTpVlUd2oE
msp+1OH/2FmGbnmrIgBPhj+OS70176w2v9E7zwGMNEwMBbq7omiaTSzGo9nXYtkXtC+kN08usYQs
OdPAkoORua42MpOF7UWfGoO16O5p+DpAc8rrWpTegnDzY2Mwb8xxuqx1qMKLsICxm9GGmz8B2rgn
ryDZyoNthB5yEQnAw2UZXEyAPla1J58Z31rrtsSylxT5pjD0L62laDegEBEpagXeBPuEEGpohYzN
M1c8Vx3GK8ryz5qf3U5ocOKcgQmMGYgX5n1Sat6m8ayBLAmnXDedrJd5MVS0gjK5TlVb3fSFfuao
wAYcbLz4vUnPK+vvrdow4KTo2i6g47RInAhoSNV+qZR/UwSDd21qJQRMn76xCoLt7Iln8iPPZe2c
IRWGfOYV1i4vbUQOfEuxCfMmW7uJASelGOqdnglQjWH1pbYTA7+2IxY02LyzqCUuu2q6c71rhzPU
Izs9cpwzYELbAo39tuP+uoe8/txYOoRkxBarfL4IPpqrDSOXEZi28wj36avTlbedSuXMZ0KlQQuS
eh3oW0r9vRVtzpJv8zmx514ULs3MiR3dIq/tfdwKd9fJgsYpQa5kDRJ7jBPfXUVm7pK9GYAaEuEj
7wSircF3M6KVBNhb8T0CE2DeRiyooftrZUZfwrDHaVeQKig7yl8Yh2hgCyC7cHd2vBvl1qhzPNYm
MCsXvgxGe2Gxg9QaEOv4Zx0iD5vJwViFWpDisw03uMeJQLV1bEhObFxhKTZv7CwjHY0EkFU7JWK2
9rtyJcS4T1WzqyNZ8ahZ4TpKGKpLrOf4gcMT5o69zIiKwImPsOnJ6KfhiliXHYxiwPCJXa08CDXg
NkAa97K5oEf6XHk9rTEm1Q5Qae8lAGHGK2P2Ptq3rhsBSSuZDsCfbPC9T7dtZj93XkrfkGZVCZdk
kUelgmxS3ic9rc6sD86yGIVEWurPk89VTmyrBB4dgT+JeDorSq2cNJZ9xNRv1feE7Da06PCLDj5j
Ofs1rlqkVaRRErTWHQc5vOQjcQlwiJm9gbpXfkgX1uud/3aBXrMmbMbfVS7zWv73lcu2DbPXdyPz
74v/Hy0fG2QxdgwXMDBtHWbn1OV/tHyE+QmXBCp/vBeSBi97kD9H5pKEQX5c120cGzp+53+XLXSD
kHZhDMD+ISjjqfM/WDN+ZdX4Llh+sw+y54BDKiYHKTMio++l01vddMQ91YKePGpVXz3hscWej4ax
ewXEWkDaCFPj0hS1xENb6fiI6tTuZkR4FD2bJK2Ou7ip+2z15vT9ZGf4UWQ9fyahLIPdCv/geH9f
SaXMStEHJfRbxuI6TTTzS4EA2l1Zhhc/4ofsb90+cR/wg4JN/fWh3xdx5vfTIVyBeUDphjDt2Srx
Rkae9JLMTzs6ZkWkbXw3Mw996gEWkqF+2YwieP7nh5vtiHTukE2gJ39/OJUOqCOSCFRrgmU0CKr0
a1SGGbkApKh2dmq//Pp488f/eLXfHu/DrldFyKZajickmk8yt4sdQzd960T856+PNO8m/3IkKnXs
K4Y01ffN/5sTGYRVwU4rPmoJcoFIi9NdFIzd518f5Gc3iiS/kRJeOibOkvenD7s0bMeabBGnzbdj
F4lvFYb0wxjVrDReA/irtJBeJQA1f33gD43S77cJZT6PC0dlVPLhPNYxabPZPFiQtHqXRWYo3BS9
f+VMpnOVDW23J1y4W6YxtEcvoiRY/Pr4Pz27rphvUTYdTJvef3GXYV1M2ufMutTXRRX2W4R31T9/
FuY9Dbsum6MA1nt/kNh0AHLkwRHxmPm11UdtKxian4Y4RrFbMP399XcSH1oy80llu6d0Ok/0Y4hF
fX88OTixKU3/iIgi31fI4B7yUIaXua68kwMx4Ys7QkEbAaot9BY0FpNDI4Gv1Wfj5tcf5SePCY/j
/D8eS/WXywt9jDeU5x+bFhlbUyS4eNqaqTEy8N+c458ciQ7Y3ABSeDJ557z/zi32pywFjt3Jxn9Q
QxjtKncCs1xG0dmvv9PHdtt8etV3+41Qxuz1+3B605I3mR2pQ6iH4qbhVD6iLnKeCzee2vOewMc7
G83nbH5PYRKSrDBASC7637QYf/LkMDPg2xrzHMRVH56cwQzNrLDEQRYtZaRZ2+wog9Y4FhOsv1Sf
puMo/PRuGpN0l2J4/41N6Cfvd0PndStYV0yW1vl6vHktpRgO7E6pQ+6TCSFHlz1Qwt43isdqg7jd
3/3zk44HTVkuu3Wqgnnxf3s8ZNEBC688GMIqHeK9YuRnre3O0JfSbh96qLWHijTH+1BzxJnmZeoe
WFb7m9fFz07620/x4S7jRe/ZbSHpujOClPBMLlxQ+kBlpHXSzVo/ZdHYbcfcLbYNfJTf3Hk/eVkZ
xMHiiuOms/7S6LSyGFDQJA7NwOwnZj58JjqfEJBfn+qfPEmzP1uQEGuzoBofltKmrzy9KEgj8fRm
7ZngCpsg1Zc1dM7zXx9J/OxQGGsVJhM5W7jn0/3mJoLnR2pZJw5uNkEDxHdmVwv7O8dQdQ4b8cCv
jqNe97tQjig4DAgSZqSVqCZSs7yx+zy/MHGEXQxJD6FFmpXzOwPp/Cx/WH3pbYF2UTboXIyk7z+h
k9Wghc3hIIpqPPRVbeBDc5NLGfbWlpiU4WqyK//Vy+3idzf8/De/P7IgmoMuGB501kbx4chu0Ghd
qVl78iHizx4C3ZUfGvjPOwAYupmQD2SPdHPZ2iyjLBxPfIZ0l5G8vrGtKiMsTXf631QJP3nzCRpy
XCdcoYqS8sObTw0t22XH3HdVDo16jNsjskH3OkzR11h24F9Vtt2euWJEUix69u2t2d395p756+Im
BFNfA406HUL1vTv/5p6JkL24eWbvNRXWx1xM9oENo3dhYiJbVSb8e40p6BbVmzwfDAR8aaaySwuC
xPI3H+SvN+/3MzGHk6AZYGj8/taI2oHkitbYe2nNUNAyixU8u50gSXHVdiMpTmOKiMZvqvJMlcCE
C+UpKLzIt8lUnXYBg+gFQo/qwulH43dP1k/uHgAL33dKkrLx45OFtijlBKq9KUNfw1pAmGg7EnaE
CbE9lumTpyOPpcgC1TR0uBR444J29/K9lzdBuQBnNj795nzNC9KHG1rqCpYQi6ZpW/aH8+UbzQAE
Vt+rNmxx6tppcTmF+LOKhtrDB8N+NWLXWrb/S92ZpLltrdl2KtnLFvyhLjrZIMAiGIy6kEIdfIoK
NXAAnINqXDmDN7G3QNvvWbLTvreZveurkBgkgYO/2Htt1ZPChmDN95vgIoade5d2TGj+oTL5q2uZ
X8ehM+RrpP6kMfzj2SPGHuiXZ10mc4E/0ItdZoGYzDZqYh+7NFI82vbc3E+Dhr9L1NckxNn/cNL+
+XBhg4Rg2yDhhhPQ/ul2UhIARj+al/ogvR2Bi5gNDMVkSmJMfCHGm/xQo3+Bcmcf/uG7+MvLg9f0
8ffqa7/645vH/Kb00jMu87pvD7Ymsz32BG/nOaV+V+KB+GZMfveBXY4DudCz+GIKygsv95nJ8/FE
FUk4/3C2/PmzcCgimITB8FgXmT99FmVNcHq35JcZcQDfQeNxqaKPgMwFIKAPLekS5+hR4h3cuFPR
338cf36uOgbFMqcJHwWq0p8uBQ2DR2EF+aVvgFWSYzpjcTSL179/EeMvXwXFisEZyuf+c8VEoIUw
SZ28XLy5uZ7dfrjoKjz7A0NY3p9n71AteiA04yyKi8nGryksMvVSa4pKZS0vDSb4fINRMNn+/W/2
Fx89jxo9QLXp8NBfySp/vBPKWJQI39JLPh3zgFeouoZ5le3iyUxCv0ZhOQN4Drlp/+EoXz/WHw8E
MAnUr+h6dJdnyk8feyEtP60r7ei7hV9GU+N3qCXBYoPHVyBeo3KM1yXQmEz/1PWd27qfX9pfKxwT
xiqjoZ/esvQBf8CPu2Tp0JysVtPh/mYydHLjuYf8F0rXaLfVMt0lQ+tejiOKU0eb+51GO0HSX1fc
di3jd4yw8sGz25sAd/rdYjjdVdUOMOiG5K3T1aMac+s453GOg4JtcNf1+Nz4z3+oFf5ci0MHsWye
h1QLFGzrlfeHRyLcspIz1TuSpMz9UXadjx84tvad0wbN1jKX5O7vr5g/X8rrC/pcMmfdgfvTN8fl
UqE/cY+Tx/SV7Ix2VxRtHf79i/zFu+KuZEnp6OzB0W39+K70LBeLljvHSjPi28Gz4Q+29ZrdYazi
bcyt2sPfv+CfH+gehR6wF27Q9Txe//wPHyPW0o6qoztKtthR0E/DGsyML9mpzX94a5QqP137zKgo
eRkX8r3xBn8G/cIOV1NeulsA+LbctYljNmGf6PUXvWYPGMIocYDPMkL/YsJpszYgNxCqe6M11Bcu
0qErE2cbybRabx30sSBKCbFixyJialO1VVANb8DJZXAQat9lLh5MMda/uXkngbD60Ca9bx9YuRRL
aCvBCrVvS+sZCVlxGiwZvPUoyNPIY+/53ZhsTwIQcyWsVh9Bw3bE/fDWCeVVgM0AvKFjNXKcKIJ8
a5VKArZNUk2KsJsqEsntBXspjtLyDUDgcqqMduyj2rc64LZNr8c8cNkpo6EqC4Q5iLQ2rrDUGzd/
99mWCMmLxhsGfnaEiaZKVX6ip51klFqz+9F4eX5Ph6p/9vVk3gHEZeWZis4bAVEaxmstDewOWrEs
JCIxvvqeNy5QTbwH8TfiVxCpNHVJFGM86jncMLu4U2j6/Y3n2dojQwAz3ZNpiicph/KKQi8Hhx92
JF0gNDYnPJNJHIDU1eKcDw8u/0YK1VzkCleKmbdQDWh+niRRNzGLHpeFaStmUuy8upTGngSonByT
tPtiosEfosBYxd55mrTtFqLoum5ByoR2Sq6J46bLqhIffux8Airt2HFhJOjqQrLO5kHpb2RFLDJL
KLJKoU8QHcyeAwItXgILjrlGcFZETBXrW8lKdQlxB7c41F2BnNCpUxSwNTEzMPt5FEa95Y8HJGzg
kGWL5yFqrAx+vNM68U3VEey85gpkbVRomXnLRlNL9x3WjqPMOzKEjXlukxBxs+tj9en4fVodpyYC
vQRnY1oUgmjgOPcJKbFc1F2qT+s9cSP+m5ObmY1VRnJt9cB6USqX9fDMzaDhPtAJhNgETtdLEnPs
+cLqreqFssrEwlS08SsO8/WLqRNNbapsLi6U6XXPHI3TFCbzZD1WtZF+Tft26rZFP1nvbs3TFilZ
a993pUVoSiybTEXEA0Mi4uJc1nlV7azRzrPzMOq29uKn4Bu3CvV9jv66JHPLb0tnP2R0zex8h7Y4
JENHIGmWBqRXpaAs8o3WK1jOkAA1j4V8Mb8J6AKsy6sSszgoX4PcJ8C/G+EtLIfLDogsiuhF6Kze
0prlNZeQuoRADLgAJCIFeoCZqt5DNrGgH3aECIQxekTMnyP2CWJ4fLcMy6pSKsKsFRM/IpoAiGJS
DK/YSD22XraXfvMWxyLqbraQ/pMJn5zsUSf5ZGI9utr94peYVECf8OWkvBGUhLg2mgpsZAJW8GSV
EDijsXaSlmQuxyKPcHabTQy/wd8us1ZVG32qu8sG/GmLF6JPhy1OnvgVaFBO5lGh+0WUdD3k6LGt
NHkwG0Hgke+TnoGfYLyHQm2WYRtnAyoQPshkh6w+fq5FkY1hWzTt6rrGuhyVJBoUYTwqCA1da1FA
lYtPKncmfL2KZDaoglqL5Fw8Ky5pujwwgzcxM0TdlmiqvG0gvMqHZSs0wk9bDAUbSOaU/EvOyWND
DX3F3ptSCDEaf1u8wjxWOsonK7cxDiM07kgEKgoNG0q8mN22I9EAV3eRmF5oKNE/kHfOQrTsGBNs
pOHnxB8gwVTbEpMzZa1Yy+wsM9VTpgoHacOI1p+Zd05doox6vl4qbXmysCpyrAGiOCR5s6DqUKP2
6WW2M4cjuApj4zqTdpfHE+2VO1Nooxnl+EUAgLZAzRoex1Y0zZ1r4WPeeEhSvuhgOV4cszOv+KSI
JXZTP3/iCxjuk9jTyUksYSr4IHYwqZFy0WyBe9qEcrp50G6IW+mDzYRBqt6ZbEofAnpasNwNu4QQ
h7d5ci1neQkUBdhGYoYndXkIDMD1mDN10OFEKkRNNrZAlwd/qdAA8GQJxzGGGOCP2ZVFoqJDVpft
iIOjLemDaVviS58t5uugN9Pb5FXERrqpVj15xPPe2nkXPGuuPV4nVuyjIgY/QpBRrxPlDMJvQVKB
OCYOy7kl+Utmo36npw5wUUnUDphdb3LcsBMAXzdZ0uOqoizXbhvfRIYkZTkessDKv5j2YHwwkI1v
yzNNCHi4e9/EHGhhuywe2zUq7VOZ881Fdrdk3p7iHjoRjhiele6v1KIVYDTq1IgHzl6EmeOZcST8
0lVRhpIWFRAXZRMJ1ZH90zsrHgmxjbMFmuyVF/pq2G7P3m3uKyUv5rOne17t3eS7YXJqUaDvy7GC
almeveBmXWMLPzvE0zZ2b/Szb1ydPeQ5qQMGyTmer8LKr/CZA202TpQujO3zsxN9nDXObuyRHSmU
v7rVp7H5mM4edqfhuRvOZ2+7B8wVy9VqeV/wvg9nF3w2slr5cBASHwyeOLgydb1WeKZWJU+aWU0b
2kbj33R2w+4dsAVHulUI65utVUUbURItDa4e4nPIpneHlwK738Vo9vWwaS2IDuE0GNp9XVbEesym
WbwTkbA6n9IJNKhf2p6/6Wyjg2hgVeqennvJI168RFCknOqtd4dp3NleN/RX4+zgcEvKwD3UbQn1
if2qbXGglc4bNPTkGv2CeBuzDtXAUKvizq487bWxgmRgoFLbFUh6gTSJbBRmQIZd2pLEx7blwAny
BwxZ03XFKc9O65yRGStsP8hnEsysS1vqR52eBGV/jFL7S9U4U7HX4zRQF/EogEjXNdSHzejEmn1l
cP5QGc60Fbe2beCgtLCCQp/RgzgdgXqrfMCQBZx1WwipmzCcuTRB2OckVaeK6fk2JQ7l2W1iKouh
zQSjNJZS29J1uq99a+RxlHjemvfpuemXTO/cdzceMxKlB4of3ICZ+W4rb7xzWBb6oFxKUBlwMN07
5LEGJ2AFHGnTzUDRwG7wCRJ4RDW9cRZsouB2Z6FvBm/NRG99y/mKdSk9oWHyHxbUHA8zg9dHywCs
eUHgN2ENNF94Qys9FsSuyWlwEL8N4lLqeUeghcXE356L+cNBgksIzmA5j4RPTo9waa1swzCT828x
V+KNB4j6Bti7MZJ6SyLBfesQrsSx5Mi1zsKQBJ996VcylS/ImPXywNit5fWVRq1APHter8+ephvu
PIIUvlVaKyMZLPYVnn5yIoxSpnsqes6Ucex9PA2Wbl6T5Dcsu7gNoKUU/D/fQGp3U5ROuj+hXqyc
K0cNw+Pi6FV7ket2L3Bfz9UdIfLenkMmI7gKL/eyTWLC6AiATYn6tRs7/ohTvboXpbdGqdY4FmXi
F2Okw5YhsoHjk6ycTKtcUBNzS/iC5olgt1RSS3d2ORrG1tQB2FHoquDT6Fvhh2juK7z+zcDXNweV
NK6CwjaTnQjsxA1rX9ooGhR4AHT9sfMAUaZ8WoVdPWFzU22Hg9bLlyGFrb2xe6JUL/04mRekWdls
hAxHnfd8bnIQpBPuQ7h9pJq6ht+/Uu4Gehj0Y1LvJCbzPhyExXdSzj5arUDa3teVFW6TerxUj3pb
kf/WDFTsmM4YR291N06+YH40rlgfL99Ifi2ebVlbR79UQP1X5M49eH5/CJuhJyJgAkiwMcTSUv7M
w7x3GZvGB2voH4cmD/YEtFdGmBUUW3urwyBRU3pZ0IQq+gQvz/KDyBz/xPOWUIJNpnuU2CmoIWqh
fFj9hCw3mnscvMNjbSc6gX6uDrDZHwv5WoF+f5nLer6vuKhKRGIyR/g2qQZUdVtL98DxCmaqnw29
CJe8bC9Zw2CADxg38+3PAvFiPtnTe0febb7BYTNdLQlvZit66NZWMiQaIsHEfAeAVnBFT5bYiXYm
wzOAdPCggR4rw6Sfi2s20uUnDDodvaS32F8b0xnSLcKu3AwTo6mJEMC9O0aamKfx0HmFb9Betdjz
mrYLutAXLSR6rZxahonBJF0EtlNnhxpBTDgSUx1CkW4rrqgBDsQuBluNu6SMSd1t8+SDkdYaMwec
FbaC1CZIp1gv996ox58I0swLx5px69WcRy/rUuIawO6cXfAtjFvO9xqsrmlOzwRtAFQr++rGT0qF
EHABlniysLc8EDjjBQcPXlEaWcGA4bfAGBVS+xGuNbSzTVOikte064mpt0VjulGQIuhA2Zs4WBeM
UoVrWpTauASb3SrTXuSmTehqIpqc8XMpOk3tutnAK4QgZJyYVATeC7g242oe2/6+J+vxtsR2xcjf
BAWxgfkffO0Vh8RO9HJNxp0aYguEm1ZaSGC29hW90tziUmEZvRstvfosvFp7bHOkrRsYo1lJuUSa
EWiEMluLUMMv0Pkm+RQStLyUITE0VbOF+I4VSKscohE7NrS7zlFrQFpDvhc9Evpbaj6bMruvSZG9
6siLGbduM2EzkioNvtlmV/dbZi/oDvWAmPGkS4Im7Fofi3Gud+J64YzXNgBp6SkBLc4vcmUWEsI8
+Q0px7n/2OGk73BtmcnTeWDzbxkArrK3rumbT/kzqxjc7RsddJclqfyvG/FRP8ju40MCOP75J9fX
+38/iubrt9ePvsvvP/wHmmskbnfqYxXl456Qv8vF1p/8V//wP/41oZzBKvR/FsqF/+e/5cd/vP/n
xdBk3ccPMv/1L/4mmDN/Qa/PpBnFHCowhpz80W+COf8Xl+6Gp30AYMYAJ8p86nfFnP6LZ+usRRjM
eiY2Af7W70L/X9jU4gvgr2JsRGX1bwn9oWr/NARjxIY8xWb8FTAPQyDy48AtL62JVME5VFWcyMcp
TgLOerWQxfnIPaEjgZ6Fq3Uvrs6G85uiyTPv+0SZc3ehJ8AFZTQi4s/996nVihh8gRBO8z5WVqDU
1RT79dcl7lCCBzy0tVNWT91DKzsPvksc1LeDOdDXcWe+6vidiRz2sOwPUJ+DC5VR2W+4FcDFkRCY
zBthLNMnWZYxoHwCV6DFoFYAr1D4U3Yq7Ipb3gck/zioBbJV1RqKFNOxYowfjE1xR1JXdyES3/pA
8D/M25QFhwUZEnzMzayL3HpsDM0ovpqgw9R10gTGASlR9c1JiUNA9A3tDBOlHOdP4JTMucqFlKbF
V+k3eJgAVWyduCPIlni3XZKzZhLvCgbnG5x4znAal9xpERkjX4igdzjL3cwBQB3fJ0DYPEkczrMJ
lkacMmGtxWEpTCslf5iueOeaE/GadpmMX2Co2MXlXKSEKujSsp/LliCEiESBwqJvapaVaeWI8WLh
aE4vEAlq8ooDuOVxZ/S599WyMqPfiDYlGoJbN3Ujp2FiyGk4zKQFGPastpTzzkIacVf0oQH2lF7c
cHBarlVkHQ2W0b7jvULLrODGnYCWjFm4wGi7DuCb2AThMpcINcOSjxp+ctz7iwt+gvq3Wa41KqBH
z5548sTTpNtvKMwTO7TowABvUL0mBBilGLoc5ttFpED84N4z27Tf5+iWis1iI/DYeFLlfOYORJZQ
l6m64Usfq21T6FUcFtMyYvrQlWTeYhNgsM0NVb90fmnWobcIHzJjb9IPklQbPEMIBKhoGHF8MRJM
ooFK9ahv1Ai6OmzxFtK48Hwv9ibkSSMENEhQhrs6TxjlcdGVhId6YcYwYY46anGCJ9IV1wGwpE7o
aAARx8m4fBcTpIpw1uOAUWtDkQIfIFubdWFP33zNnO6NTve+I69H+09kKMzRoTDjZDcqnYp9tqwC
Ik4yxN9zIyDY2+Xh8AzlzmrXMMQaMFPCv7H6P77mBJnd0aTidQiavvjIiZhuScwes9dkyuyHefTx
249DNx3KoSfZruuDnNvHwePZZ2hCDnw64nPMu5p35lgEF2P1eeYnvVuhg7PdeoOSD2hhrBOx5Xh0
coPsDAauNTAfBtkV7aCN/TICbkbACyFZM8jKTkx8rKWiJk+F+QldormvLW7uEFWHCbyHKRVMhGKU
X5LZzZfQ6aWT70qjwGOg5ra81pDTrTQc2b8Vi6fflD3M6WhuGaMT1ru41+OUJ+OuI/xWpzrpKYSV
xk4La0v8nWVSrpGIqTqgk/BeL02joj/Upj4umeBlgLEWhMpxaBJZdXS9egak1MtXa/JoRCyEBteL
LQcstf6CQFEvmMTTf+rVEwE7AvCCU5f+RZJ08lRomv5aBjV22Ul5XhvpYH3ueFGyl0oyhsl3awzv
xqSl+ALg2eGiM2R72QvPfW3AO6LPa/l7G1nga+wh0l73bSweaFxWZcDs1U8QSeW9F9vW5dS0gNU1
szB2DdZ2TLhVqr5mpGiSypPMdXsUYPz6HSG5xHbmwIYvYmwlzGO1uLpTBVndvGOQsRur9bHBiFZv
r/CgCczYeqld48fCVZzQpj1AFaIGNXkiPqharP2mI6tL3nfTRZmWMhDjpRhysr4G9+zn0ICuHDCx
L6rz6+dWqzojrPph1KNgdPVxOyQlEW8rgfkEpYYBoltwFoWJ25AyYjV6BXXGMpNXzVrt0nafkgDv
xVr3VnRVPp885WnjhrCZ8mOqUmcicg4ZCnNBzlII5gMLUzXeWgmj3o0CTtNtTLchmWYiYfzN9CaG
LCOJsngwxUwesqtaQ2AHUy7cEEY/RPOCA9ib+NjIsRrzltkuCJZPU7jqBflxQuo8hjagwAmIzLBx
HevRtgAcAFVOlLfRxGBeMcBvcUn7DSnkOaXAE2gT654rhak3UwXrPYibsaP/q9OvCQGAj9Wkg0+K
7QZ66DpAh5bC1M4sptUGvo7Yq7FlNGOug/exdGZvb9gNQ3n164A+c9Vzdx7bkx1J6S9ZX9t81Uz2
5XnGfx732+fRf3JeA1Q0+cAOjZ4YuPy8KuB/O/6G6Ezop/15nVD31XjEmBGkq9vEvEVhy+ohtkGw
wgNnI1GflxP9eVHRnZcWhaavuUPrKgPUG2sNRSbkuNGsmnWHI3gaTk6nllCeFyI4iGaW7uueRLi0
9YwmfCxj+O5YXfTntQowU4wjzOGRQYPYcb9idO+O5bqNMc6LmdooY/rB89rGsuOm3frndU6lj1A2
C5e4sr1/XvtIcPv9lTovhepAWE/GuikCoZk/jq5VgNcFMAz14bxf4mhipcE/WMN+kcw4LlloAXOm
9Gc3Vde99lhVAzcDOREOt9x5mwVVhc2WWpdcmlmx76ot0/ken7dgNPNsxJq5MF9ZDrEnQ8q28jDJ
sriD4GN8Mu3I7w2JO6Y779kAVRef6Xn7lp83cWJdyglDdZ/euqjzzzu7ETrl7XDe5FHULPFmWXI2
fKqSQ09P3C+npDeLN7bubAMHq3e2xnlHGOdVF+xwIsxQLdc1oiRGeaTX87l88NmVb7anWeNWnfeP
5nkX6a9rSWKRaebGdVk5Oqo4yXWBybPPyy+5/mM2c9Uir/BgSbEvGyeoLomAtNW+K+rpbvSD5T0w
Ovp8ETCCyOrSvbFMQcXU1F1fh6wl2O94Tm9/iKCzAY5b6XRDmFQ/RQ6nH9s2Msgr4kFrPN+pMbMy
UG6uP0jAM81RpYYI9o0mid6EEO5Ezlx2NyzmCSDKuIYszprEuM6Zo12JbHE5cSuPhVDlgtIjcM8n
m3NOx7aFMu7JFzOGhNQ1+fCUCW/0SbLHzAacG6x2zRVDMQpP6rYrKCAijr0aKaUnxstemeqFWaTf
cmomAL6pLDxqrZr5tkvWXbMiqPJ6nyDT+FKNM7eGCpR2yifCbUJ7npvvXcCbOna1IS4m7OHfPWDG
9+Qgw68fpI15sNd7/6F1yAchr8rswQ7ZWupyX3UzPsNJ2Dugq45zyT54fDI6O/gM5po8tSBDUAfA
HA3h3rbVkIQ1U6BvTq4YxwOTzXgUxNI8eoY/vmC+7FaOuKgfW06bBwfaKdSq2iayzyIVbkuYWX4o
NX1LLqIHX9zV3AtdmuUHRt/8UcFu0w+FJbUvE/vYL3FrBpfob+CrytKATccTXdHeJu6oswpYxmOi
7JWgpJLq0phyj3oy8bWPXLhUCIK4qyAq/M4B4puWabpL7Kwjw62YtXBCL5rsgtFgZ8jYTt1XSerB
nWNedSK+LZmiYYl7nLz5YIJNVwtIjtKN42rXV223s4BSkGfRN8LZCBJfbzs26fCER0DkG6R8FP1B
mxFYAO/SJYmr9Xly/Ps99f+2btn8+zyqX+FCJ/X2Yyr0+W/91iq7+i94M+hQgxUChK6dVvS3Vtk1
8JahOucmoFs2UC/+/1bZ/gUxF5IbhLq00MEqvPmtVSaTykPcsfJTXZcel9/w92nB7a9CpL8zl9FY
/yCVIpMK6xseEpCvOnKGs/nsD9KUbmYZK6AdRxCOd2tkZUDOnCaA/6THoJ2ct8p12ocxDeSpNLoR
Or3Vl/tixmGGJPajzBzoxJ705juyQVHxOZW9fJd+kp7kONanhQ4b4CLkF2zuSDpuUPmdLNIfbgvN
DL6T35fdJnO83GsZbs/EZwp+hUAEvrMvKW96i8D60KhmgIvaMEMyc9rhefHrO8jgih6JUd9hkkn0
71+q/+L4539vvNUqhPyfB0GP3+Hgwtz/Xv9xCMQM9PchkOf8QqonEyDD59LFHYeo6dcL2/UIVEPT
gH1kHQA5ARfvbyMgm0ueqcxqBjNcLmGADr9f1xbRV4jRuR1IoOGKBOv1b1zXP17W2M1sfgHcOkjs
Lct3oG79oLgClQkfZ7GCPYipOkriQTxJHuyA3S3vylOaeZJ5a9wFjRK7P3xMv91hf0zWMtnC/3BP
8eIeGFCGYKZpGgy7/FVo/od7KjZbBvb5ZOzN0SsORtaLJ96zpy5J1IqNHQppCPH48ubIjV0JT0nE
l7OLOnFik/XW01REjdKtO+UDTfSnwHuGopU8MFjukZ/Uo0Vp76T+zjaz5I6wUPMwmtZw5xdBxfPe
cdbkJmmn9o7M5eHWABrxGsdjHhHDztIpmeKTYCm+UYDcN4bZb+Iq7V5de5IHGArWzkD4gs8USelG
k2xxdrgFKgD2LLEihTQpPwYMzbVpnoqNX0w12geHYXxvZw/swOncCML6lAiz5IVMKqPbz2PSgYg0
VXVnr0Vw5wXlSaDBvAK1AJRJDtQpjODEjZVPLmtlJdo3gL3iAWqAZUfKaNO3BsYTi+mk3nrwGiK/
NwIm6mS5C5hetkq2U1wMRiRQiD9pI9MCNlDEyRQA4vvQ1vIee3qskwywBgSEY15VzzTHIAdmMyAC
xhuLrTdX/pXfTPUFzUm+HZhgHhJlMNn34VDg09AORVPkt7NfNPtYJdmu0nXgYmJkgaPS+NqPcxBj
DCzUyVGeeWVKC26XbkxXhJaKx9LLtN246N0BnH1xOyLriogIACjbDDjmxnF6kU5W6pt5Gqr3qZiA
D8eJcTnryr6CsDjs5txqn21VGTsYp8mTjAmGoMxLiHTRsbWQtqzj9HeQuhWdaN8Dd3RuYhtdNdfP
EAoNfudmIdY3KjXFuc2Y/ahhx7gWqsedyRoh8pUpd5nIeg7xYBUJEHPbbXmALNB3x+ZQI824gHXX
3iE6tm5qo52iKklCpxTJO+eFdiw9+CLtYiS7tNZhsGqVzfzU0i7YFxvPhCz2FDCW3DeZMYR5qVff
ECp6d9jM5s8qszKyv4o5exBLWi+sFynfi8yWkcD7cVp8LM3HutHnF6+QC8EUfuJR+AYF23RHLsz4
qHiqOhEX/TJfLLb5Jq0hhqhL28+N8dryCAX1NZOKY5EiD2gTEIQ23zqu5n9YPnV9Tu1mIG51BtK3
2YZvnT5pbxLSecTCRxa3Kr8dCSSIXIZTl+1kbI3EpUpLYcklxr3obRFm1fLuNvaFmuKtaIQ6kfxY
7QgLYwHDnq1gmmTM7fBlNI1jHJhvXZmbkaUnH5rxwED5evH8LTMcpmNDejeV2XODQb5zuyPE70ct
SR+KrLo30xYuBUnLVhX5+bh3FboWwLQxYai4dxIkfZKbqahp+JPukf3+dy0fnztvYvLIvb/BWQKg
29iX8ROanshBwZVa9mNamN/mdJZX1LrNjUYiGrMyad32Zv4+Q1ZYE1ymayE1ZE3ucaDKNXrjYMNX
WLoPEh0Ii7K1I2goBgYDSO8F64Vb9o96AGmDj8Aie5A9E9RdtCsnmZXxRsu7R3suTw1bJ0uftulI
Tu7iHPR2BKNibPhQ0ywkd9vaxov1VrpuHmo01FdIUdKLsqmKQ+3XgLFi5whdWhxkmrdvVqoR2Y5S
YDcZDpHN840hm69anvofBGBpB7dzjvk4Po5OBtzKkc2D4QxbEw75F3Nqc3ofYupNc9OW6XEg29fO
v4yNlGB/1LZxQWNgyCFFXQ8X8c0ZagReVhImRf5Rm+19Xq1MH7b7sXSvZ9L0tktGW+cgKHIgWrFq
zNLH3II+XxX1e1zw708tsHNhxleSTsOWBvYrNd6TPLQBLrPPdOw9LY0JEKFjCQNWpfq3pdFvGDdf
eagxZ595vCy1q8Edh+2cCRIQjWjq/EM6sKDVp3WLn/b3zAvguXoIMpt+a7rplm4S4Ue8XGh2dtV2
zpYhXsgDtCVWhFWzapdrk5NqzJs7k80A+RdeQjHHyeZmX5PM/WoKcWUTEL8hafxLLv0t7PQ7PKo3
RWfcGSrII93Pj53L3FrXglOuAeqt8N9s0KxyBU6MjPLsJre0G27qBw0yUebxryWu24cZxD2iTume
PVgaE7SUBYKvHJybwe9LhHjiZhyGk9AUBIL6mqFjKOPku7SycJxRZ6Jw8faznl0uPjqYNuj3GGeu
DEh/XK7ufaLUJTaF65ohn8q1Z8eqT8bIejtF3pZWw13Bw8I1mjLSvXnbpxJ0YGMxUQdAJ5eA4HGI
Jl65KWO5JSv8IJ0nU2p1WBJJE2aTCrZO18L9SIL4AKXphHD5amKisbfFB/dXGk2gSsKFWexlLFUd
smYtMClUxslgiIjMTjcis54eU0FUCIZq8DoNQ7VbMqunR7g62rF27fvSWYEolU2TWfNqYNPniKz6
Naecip0TOOD61nkMelysoMAP+doe9o0bhxOFxjHT63k/TKmx6RVILOu7GN2cLfAQb8jPdkkVmT3y
TeLiMvO1Ky+ZNS4chJx9lte7oWiTBy3jjOlDMS3fB5rTuKmeDeneLFZlPU9eOfmnOfaf/Abpjl/u
hpGm0/WOvs0nVTpbxvQ7Am4BqufTlW8xcnkm1IhFwSoQ77XsttLXe9pk3Dlf24BBx9p4RvL6ZM9t
uAwkxgd2/mISzMzplxY7p4Ii5011dSPLJt2MFkZql0A2ArQ39Yx/rnOPycITaWEbZshn5sMBF2L+
XXULp5bp72Qv3lvkh+i1ESBkJEpsOlBXKCrt96H2npqZ2b1wxBD1onz1qjIMpCajrMrBxMjpgrBq
AhJyZqRMPx9UYl4IbZV9Zbd9IR7SPH0q++wSrdXqw0FjUd9OWKSuaybQen8gpimayK5JYvYwaf04
t6rdsKZpuFKCfTqmx4JGiedYe8xxNG6Qc1DeCgSRfGZxc2F2+o51A6L9Qf+KVC0qsuY4F/Izj8VV
INsjYYT7oAtepjy7F5rG2/K3Ru44e9al91bD+oAZEdoFkX1L/ZK8O3sgilzzjok3XyI83TA45ayS
XPnIceN9o+sHyENoHBcjFHoaLdMU4eCMAnBdwLjqE+HlXeRphMgxF2PFhfN2SlGj5+0p9xULB04w
t2XI7rIb3bRad2va9StpFHxbaygGI0UVafk6JkFvvZXTAyxqVjMsJnlBd+crcclsltm4az4njsdY
WmX3+SAJa/NHcYAVwG/dmOHQA90xx+Ew6CaUgqy1CaZoqJsXnTB7FMT7xsifJqetIwwvO+JwtowB
t0avl3u/iaswN9k0aki/NnpvmIesMkRoUntvqzn9Kg0BZLc8wtS4s1NKspETZaOk9y1gto8PMEVy
yBYgEUEWapQX0cDImaDR/8vemSw5rpxZ+l20h8zhABzAohZNEhyDMWUMeWMDy8zIxAyHYwaevj5K
1SXdqzapqsx60Wa9k+xKl0ECcPzDOd+hDNdZ8r2IGdCokpPStmUUGiO2fiDYlZRPMcZ7/I/TTvs4
fsKYoPjFxD/nxtsBMXtC7tpumLtah9LK9/Ui+YFnzkQyGDmb0qX+WnVZdp4cCnDurYvtLd0bYUHJ
EUb7iT5cYBhr96ie8f5qzbY8/WWHeXrLBnwrrOGx8eUbc4RjgmUrTsivGNhO9bebUhXVxaRTxSbA
f5hBxkLHLk6LBY9YegJpG+wop2o+AMYgD5ci3ArgGBtdkuGCVaXaQJ8D0aQBSum4fVr77C3v0yNg
zisEw60HeinrKw5d/93EwnC0Qa1K5VzsSi2O3Vy8+ivRfkiDoqLiRrWX/k2VC8TOiaHkeiz98V0R
vkQQxaMcwmNm5tcJFbebWwfde5+LuiRJl+/HDt8zYtrLOs6XzBE/TUfWX5Jmt9rsAq3kN6ejzAnX
6rI6DLg7D1aUATjG1Ln71gwx+m/+htFItWUb91Ebgv+mfL25Tr8FU/LV7cS9yVKS8LQLLo40PRhp
4/egKp+cJb1rO48ECo5MiHYespiZhPCt3bIkT3yZna31xtZMTr1rQ4jAqp6bQ1fNd8iQCXsyyQsG
n/TQeNm8KaZigzSG7BR3ueYJaVpNaEeJw4u9yFgJVRyuiYsZ4zlI2nPrK3b42UpUxZC6kSo4dpBk
ctDnL07RDyRf5jsE/b9sgR6oGpnjppGSy4sl1BIZvz+A/GU90z4DvKKu58gdSPQZOoPc1+r3U0EQ
y5Dr9KV0cCLtutJz+h3QGH2cQp5rxAQDDWMVfCUnszvZ6VAcyqCf9nqU4an2RvVkKLujdsZps421
PZ/EEtcnskqqvcyy5NB3q/Oz6T35HuiU9LNbWvKx1snRB0XKGbKmKNpme2PPIn7IOwiqVDGmbTZz
J6xz6obxD69UzlfhjRlb6pltx6Zp4uyRjspmgjwbulhsBgmo6YWEhQpQ8osaK9q5EV3YJpxt52dB
p8GZkTFip2pof01quPUT6eTc2nX7xADbRBMABDwqpoUd3Y7lpya554IYxzpaUDKjYsyn09Svw9Ew
q773B4UUc66LbjPHc/nMsANMmT9TNuLSUF8zieLQA2GTbCq0/TuVCpCKYefvFz8wnx5n/R0URIwe
pEPFr6o14w+5xss56IvmK1Y1tZsQcTOiLpf5jKeYZF62kXrrT3Z9lFkdf4EvE+yz0HKOg0jSTzmv
yJ+RdxXWxrGmKjhmyGk40EITEImn518sd62HKmZ5K/34PM/LFOmwrjCyeCsv0JAFUkAi637uekF9
Nrikq8XFgIlRp+59Yq3kM9HCeOe5yDi4FHVyX7DYMLbqjz1g5LfJWPY37XAd5qz6uSKI+7KSExeR
E8BK08woqR3nVKYFwYKi2Zg+E4e56xqiLgItCR1M9RXN7HxozRDQbOnxkHfdbc5ghUeigUruX62s
Lz2OmHAbm4INGX3mgl0l9M5xM7Agi32nfc1CkLjTOo4fuZqdU+sR7tdWKFFhR1jXdaisK0Qu3opE
AJ3T0NbwqvAKhPT7h3lM028lhzt2B7VQurH884/AKYrHomOZjfGlY7OUwEicUu/E6JVAQruZj1MQ
x6gRPf1uEpIXVNe/k2146PV0SWirDnXrIF4dEpV9F/gcErqnMC1onJA5IeeJw+2CyJ3gyxHj1OwO
+Q831fkFvS/iicahfhS+7e5yyaI+J9ziUSHIReAxECXVjeZqXEVcKb0/f/b8kqtaHVq2/Hs/CUjp
UB6bddo6PE7kLcn5vq8HTBJkjPrHLhn7C3tOvV/Z232/AdB3CMLSr8QTzgdeNuUT/tb4txxB10mB
mWdWVcvnLrarq0HcS+uMRek15CQhcy9DuN0rkxPvc9NhuEvn04b53v1MxthC6ohbITFilpZ6bbbV
0gKQ6GfyZ5VBQKSbCD6HBA7mEk/xnW5cTFNJurwXi0xe4okgSF14/oPbT0GUkhIUNU6PXHEslu0q
WxxVwWwbSpykOMd1lT1gvuIAn71u37Zz/u6Gff1YSFE9+Alo5szNxYOrEbQX3TTepf66fhQ2Lz2V
Dt5TagfLAaHDcnHHcHggb3L94FXBSs0LYD4UWLSiKS36mtdpmV2bkZUqogBdfw5dQzVJ+XrXIO19
9EIw/XXnyFcDtxvZfN9c7KVdXoTf8cKh6UOqE+Ji244rQqmbW36/ZjHwTdGNFxqX7IRdRT2EKm12
YGbXXeW56TZYhXxp6rQ8prHO9wYeTaTm8BZTFdxSscygt72wm2+M6Isdb1URdTaahsTnX93rmy9m
jOMtTN7qfSFH+FLZ2olsz4ovvuwfmokgxVtIWRiPM+UO9YXMGOi0Q+V+Wf1u3EovZVaK74gmGSzQ
DsdN/zVd12ETjmHGArPuXxtUV2c7JlDc8vKAFjKgFmNqudgvLOlC4obT2T7aUzA8Wqxl3pK59e5i
6WNtzSG7HldNvswIPgAZOuvoK+HMjFAwts+/1SzfzH5Mkt+cKquo/e3KulvtAtsBSFUchhnP75dA
tlUkpt7Z9VNVyyNpkv54Rv2L7kG0df9Stbp4zeISVPYShuUDy82akKHs1hY6PJDTjPOL/a55YjUf
MFngnyMbWoJIIR27+JPnPY/r3HyUTADfpG1OMofWnUOqd7iIR96TuM1JHMAmU++C0EbPm9XQNzuV
qgfX6wb2hz0zWwu3Vy9btzuiAbQicA17NcR0hCFO+VNZVPWVcL6JKQE1C8tBUMNjWo7WEe7/qUqd
W/kv4keW5fGehFEIwUuQc7f34mV02p+F6nCL9k32IyVB+YA+66BdvIpuQrRBC1BZrWPN5MxiOrFy
l0V4IIv+3ASZdVaZ6gkHDleisQIrZFeqmOs2ewJC5zefjfq4I5BKX5mVsOuVkx1cB3egF83MlOXs
Z0PrIygT/Y24ifJ7bDMGjXKElscxTPSyWbKeBX48hdkxLcrwpcT+tu9vQqjHWsyoOVwgW3LX+oaz
cVwGOr5yquOTizae0jXpiOUk3QjIIoNprvg8HSbk7o9pLoMX7JcUD4b80Lt6yCT7aQpOfJoh/GLG
4PkRH2T4hmbQj/rSsfcrc3aU+2Rocbo0zXgGmoK1EfkGOQndoGMZjQx6LtMatMd5KGfcCvWEcMdx
P+K+kL+51jgcysquzy46TLltRkB2t7dJ9ZnYQ3eaCbh4YIHtvlkUNg8eWkZwwfz7t4g0g1NHFGKF
SaFxXjvD3HkfmjV7aUpbHaaUdOBtdWMnlbf7i9TcrVEJeLkafgYeFd4N0LRRvZYl5iSbLR9Bgsvy
0GInv2a1mn8kKOeYd636SzY3oHBLDF33Q1NP7PsqkEuT3yExqgq9bcqylds5tGo4tiQbvRgrtE5C
lMOrhMx8WmaOrw1h8eZrkA+fCYpOxHI6ZOq85FEz7dSdZcmtnY+7YKxRJSbN0UrEGoV6pQ2xm+5g
hiOJD+wrbG0VjO5jcV+oBjHjLIBw5wlEQtPa8gJDTnBFbQktqqP1EGZ2dyJncsRx95kMqA5SIiWv
jje3L11jmledCEZOqTWt57VnjLf1rcyK7IIpWID0ggy2wV0fJpwoDOfSURJfp9dDS1Y92ebUZXUL
KQe1FcG4DJVfaQbjy6huAE/jtntZ982XKbQIASvRbDIQcbwnxm767DTOsh0Ld760YUcj1Lu3PhCn
9RbFE3eFw0wzbYz/JdFxQq9gZcNLox31nidBdwBpp1/bkGDvg8Ok+FsM88C66glV2xVlMGGDeBK+
li0b1zQ07S4tWWBtQJKHtyIkwJ/WdgV509kgDw4D8vltgOP4QEdi19dFooXYxUSxFNHaxPO+mlpt
HtAy6IdA4O7HgFcXVIGWBrSsvfyHMUFJ51+n6SXDtPAmcyvAL58wSsaS/2PNm/pXJbtmT7kyvE5V
w6NQhu5vWG0yTFeFLr90qdLH2an8E8ngDG7tvLCutcRe3JXDcI/wzDp1iEC2ZeamD5pUwzuDwXHT
CpKbi1I0DwyluKH6UH7LglzWh7JfKASl6/VRkYzjK1O0rtj0+DejBP3XlqxeN6KdrPa4wtMTMe/2
paAueuW2+OxqRfHAMOoQ52H/bPVh/7J2I7Oa2bWap4oTJt3ZK4rkTVml9VMQsqUQDDqBR1Nfj7od
I3YG9SdLB3OYaohPrFjsJbIGIrG2nRlCsXHbCYZxzZAfdtxTOzAsszFsv/RpI4jzIUCcpWK3bPrA
KSO/45JjRvHR7ibtgQhZQ4z9UnQ7r0+S794UyDKSGVBTezRwHhgyaTTtP7iu2ESw+f30J0n2dm+J
RxXO630vfHnzXsidv6jhWk+CXgvsUM9UpfSo5xAWUvG0j3FcWI+5WF/CLHxpcRE/V35TRZ6FYxGN
ovBIWuZZ2ifaW19LYasbAxt3ySYjHJ36e3IDJI6EAp0wwRZHq7NjwkaD5hmwNbOG9maADpL6o8qC
7oOzZbpz1bJeBfy8CzBtgz7fXV8TyXur91XzUaSt5LUmbqmp7DxupsWXOu4+K4yWeO/SeN8wgbnD
jTvieDROidexYhc1jNV4sWESPIz57HxbhuS4OsF8li1/a1mQm7BJxs6cGGDPj6oOsGeWHQPDLWO/
Ah53m5MFSkO2qrl8zD1CvXO3ai6VQFLFLqHuec9bzQ+rVuMrhw+zETpazEo2FZhcL4sdEHLkEFeQ
1s5nUS4lzt9KpixTCqclRm9esiOmvJ6svSxHGqRL/WZhTv2pfOaOUrPYwxUB+R0f0bVd1zHKlxg7
KXri89zKS+nnLbeJenfc1j9azujslwJCCj7qhuo4c+ODcSyrR70mqvuhY1shtXVfZkb9SJT4VgRp
SugIY7IWe5lXif7gVUz9aMvUXVOE/pUH7l0TkVZvggRrlLZmVlWKi82ofGF8tFKmBY0jdpkJ3pKQ
KWiCHno79yjmxuHkCKJGiqm+TqRBsi6wnseudS5jwfiObhnQRHxr9wf7gXSD5b2+mSvnAJmTH/C1
gUrmuxtMpqiH9uC3k/oCh+jUOA6jzdBZaVzxGZFSL/3qNYnbVxghwSl3F3Gitjgvzvxhjf3tb8dK
9pTkwUOZN/dTXkeMeO8cLT7iur4ERmxmWZ5mO3zO5/opn9rrmq8VP4VTHoMwfkqG1n+zHYxUaT3G
aF7gglutOuXUqmojplm8hxXT0AEBO17j50mZZjN6lti31vxCQ8IUoNQHNVF1gyWvfqxMp3FEL+TT
g/IYUa3DtPmOpJkIQzcJfaTgmT50rocNDKlf3ewZnS3nGe77Lpu65n3i6Dus+NW3axY472FWIFbG
kbxlZXebTDXTM2QPsJgFalyfzanP7LsryFjulvylW4JwYnIf53ezIhEwJPn11GuPrXEQVB/sxOm7
y67dG8djZzQoFvazey/oPw99uTTHkN5uuClJf+XNzJcQOvY3eqV0nByLU7JLy6eCV909bSuz4Rad
38FW8Xo/chYeZr8688Ia33MANIQ0dvFuLXom/3TvJzmn8ZswigJ3AhOwAXRFY1EIpjQbOfCIAQOf
9jaIl5u+qGueEj3q6YhSKtm0pi34kTS7uKmyD9jj1miG3DLsYBSQ6mAnE6a7RvTtK0RxFL/jioXF
6RYCf2OCAoly39a00+UGDNjwNWTd+FnolHEaDJP+Q+CSfC4hHbBispGorhUhlGVJtJrnae9UkZzu
8Vik9VVYlm22vdfd8aqeXkura+861GLflDV0jAQpLsKtZ/fdp2n6+TwTh/FO8Et3mRdfsx9eMu+E
dcc+1MJFud+h5EApiyGHyksgryStQFfbcQp4365ZiSNRUGwwhFkm+wujuhFe/oi+HP6HciKSSOu7
ZbYtHSWEHMdnkziW2VpY9Ks9a/86p55avS8leXPnYPXdq48tFY1AYZ0sRJksoWYblGJmGDnU64FS
NL6kSlqKYWVSnWORNbilQiu4ljEtWVYtMouKwg3ePMCUNUkoneaJqVP9hjWi2I+oKY+jMfWTPdu2
t5nI89zINcQgGbKDZ85NMJmTYD2lvxHUZbhGUQZX5aQihr06cicXzUEZynankFCfReO/lMBXyBJI
k/y+pXdF7Gbgllk2ays64GzpXV6wQhxUXPi/ZFtkj2vpTayE28Z5cAYewO3oAIvpsDFd/BqldZH0
5iFvOAHZ0Y37zCqtnSoyueWNzfdjD4lagK+XTe6Iy71m8Qyvx4oCjOAvRJXrV9ScyXFBhLEBMtbv
V+zk98KOm2OcPqVSfzh19u4ZxeQiSDEdeWL8UtmrPhJ8Zn91Vy0fYc/1O2qv8QP4KPRVOCB3TY1R
bVsIkieaBgDp2hMjs3RD8wQ547vMGPJFTAcbBlTwrN2NICOCrLEsZzlWTV5BiQSN4VLXhXo0boGT
IauMv02wDcIy8MoThuyRfblrs5TgELOMsH4RatpthZenb+Q4L3vOA4dsUfLliqRCoV46wM7r2VbX
sNMpkoVwPDdDRcvStPb3xor9HRtg7w57cX/W41jfLyhWT6wWkz0a9u8pppIyxpuCppZSvsj5DFN4
ORM+zQ8wkJDadDBn3Ja8+dYOf0ELX19yiddnCDK0vaa7WH5ZRrTpyzWosvyBKXPwwqpdPIMCHp4W
tkDXrCwYl8Zrzy6ETdomxXf1xbF8LPyYuMNv5YrJ25js5s/uK/U0y5rB1Lq27VYSBi14Ly31MZ2K
IPKWwPvJ/Y9CpOndtw4wznFYnZR5lBXu6UOPYZ6tx8GrbHcTaOXvR7AleyesWcaVzQ10kLI+8kA+
ED1LMOA9tu+YvLxBPYnxtvOkoVsPPsZcbOdOPm1K42FlRivPhBB/mndi0mU/VnWgH4c8He7xKepr
PhFgwsOIKED4gX3KyoqNxFQw0SpN96sSWfo+WN4tHbdYoYaFkxVEusQ6xHjsnZEd8zWj3Tsk8zSI
a2MiDZskKpOq2bIc9e8yp+wf8ska901bNNug94YfsXGbXZsFt8CQor4bVx2fcKOxwSRCDE2F3z8P
3lrfO6hVd6bH2SnAL42bouP9iZ+ZxYakkptWY28CEz45qbvs8O84zwCDlqtFfDRpOoF5IznZoGXY
xk3/CH4CYwPqBtEAR2rQQkV68F25LRXhHnBQ+cmoT+JLTTzibljEDA3B8bNL6Y7lRY39shscUmKZ
SnLNk55/q+PO59Z09TsDSCQ1Sc7mTvOkMMx5wOKZHehoi9d1dfqHxZvy7byI6jeb7u4Aocl8JcU7
eFeZpT7dqr0VFFBCUbTNWxwk9q5O7fIVZ+Tr1FWMUZz6IVg6cxbV6N8PYmWqkxj3KkGj7sFUmcvS
aevACl8yIRr1IzsCvqvtgPLY+cgCTgyf4zc/F/OhIHMg3VGGWbyeTYMFkeOxtR3Gr95UDw+d8cNv
Kerzo+2YPoFiMhAy5Rf5F0gGWAZYjakr+4/pGPZ2hW8raCfwH/ght5qzAwJOmDmfkPkIWJ+XazhW
LhMXN/ERTzCtaeRt4w7P1TsPI3Um4RXsaSYPD4FiQfZig/9oXEKNR6uNvxfVfDtbRUbACnKfRxiv
ItjZpSBsymtyE9UL8Kyg/tlXlCHpuryMYkEUY49nPse5FIzjImInJUIUpc1Hh+zlEFvJypzUlelz
0d0CqBwV2SyarxAoZLBrgad8elmKAsCjtLtvHdwlI3qxSAWOiRzTnkzpr+xEqH/YrbsuGklgo+z5
IYhPWPc8q/sXwFd5E7T+Ve59+vy3P900pwzlhaNCF+JHIOUNC/h3mlNYFdKHwREeGIZ3yDQRCi2x
X34tl9F99VVHrBmIFPnUmticY49mIXJyYeFH63R1tEQWphH9Bod6x4Z2W7NYP9up7VRbzdYnkf0t
9ghrWEMh9bKAedsJFLTZvxDP/oGdi+/b96i3EbY7GLhD/svvv0ZfYR3kfM2OA4ju7WS1NYHpueTE
7NkF7pHmtJGLwCLSdJ93AT7lZDO06BH/BYT+9xzKf/g71B+QwojRk1kLUNxeOjskoqd9lDldfvi/
pjP/fwwzgCr672TTN4zBf+AJ7r9VJBB+GT7/ICz/G13ACf7sMTHEw00iz00k/p9wAWn/+UY09nD1
O8pXCOX+U1gu5Z+lJDGBypy7n0fhb8JyMgQRlRJkygNr35Ic/lsJzN4t8ufvnjQflq/LCYaqHR10
qJzwD7eGGxiUp7362rXroF5SMxofwjX4VtHeYkgT/2cipjZPd329Uq980LFZcoGtw8v/uOBTF6hk
dLxXDJyLZmeqCtvZtnTReId0adT9vJAcp5f3zmyWWu5jngj216mXcxBXnpLdsagMOzkkH3m9s1AY
dvnN9pco0tpmR97nc6b4Vw8W439IOlpov9gbVdnpIZm7QH1PiJFgBYt9s+7Yz8NIKvyjX7TOuDMd
S0msQ06qIisx+BTrec0Mp3YTCo0EBuL5VpD1niX7AfcZSpA1maei4MzO/fNtFz2UUR/zst6R5mc6
mHm3a3m2TOOB56mJo7nSHXrDfgG2wo4mBjeU7X3ZMS23mXWLjaGcImK5ZiRLx1o3VAKsPNhKk6uH
Epg7hAY1aPor2V3slANvWgzVaJcXzS8yYyu9c1avIu+XcYlvvudoWcy9ShLNzsDzPKhesK0Kj1Vx
OTK1qTE6FKAVgmbltJ6D4NR3eVD8YsBX00tkMgmHi2CsWkQk1NM1LrLkHUVgk36PifxKIc5Z4ymN
WUJv5kTM7J3K0jwOZmTAP4fu8IXL5Q2vHUZm52IsFzHqJidw9TpXwUARU6wIzKSZ40s+JJ3aQu9D
N1EkGPEYfZUrJi0Wqmt7KOtafno9AvptE7RtGVGTywaMc0oh3o9LXwMQ7BIdpTb/wyR2qHVMrJ1g
61MtobWnax/OnprEeyBubkMXMxhx0p7d9M4+Wyv/iQEY4IR2QkBIa6jQboAiIN17U08z/UmIfpSg
Z7PwLf2xXsN3u6woiQAz+Q2BRc7ISHO1JFKWOkHKobcx5FiCNco4YYqk3ZKlStrIIXhQaPy8HPGU
BYm6oBH8BNCXTgdf1bCVT6PtMWZLpsIgzGh0on1QYha+u224usB7aoikDtl7xRTDJOtbch0HPHZ6
OyeNgz4WZeVDHc4mjto10NS65JDPuzXT9Jfa9dg2SLZxLfyHsFkOBQAxprPoNR4H2+vAj7W4V9c8
QHKZhAEEj8VpxLCZFsWWxwaC9MgTO79x1/IzTgI46CZb0NBtrWDqH1r2S5T5qeQf5mPchpEeFwC2
4eCg03Mm01FfyphlA/XPLsnb/qOulPjix6v7sYrJf2uwmbN4m1GkwhLQ9pEYqmS6G9KUCXrXyAzQ
gyfCaUeNDw1kdXNutpIknGlDvYldO6x6Z90Z3DjZ2e9FkG2CSekT6D36Z7QX43NQhe3X0qMZQ1WX
Tkj3fAo0DJPoBbEggsMzLkfMxhcLjMJGgK2/a1dWZuwiy+BjTkWvS4AlTjw/9JQl/VY2LNEnFnOk
Bm6QfTJaxMelhj1H1YKuiS68/6JtZs3XOunZyBV04FUIpb/2WNBLlbuwkApd5SSQejD/1/eeYPj0
LxP0GcmcmeKZPZ9cVgrwdnYpchPi4dmNdLKFO+vgvslYbzdecpAh1nqbuxRswriDQGq3p5mfo9pN
I9jZCOkeDG4rsdz+VLAS6K7LkAbWhec29c8T4wlm5BMuuBZjrGZebEnRovvuWTPdulTWNMkP6Yh0
/JjDGCeLN8UDxOMQ5Mp7zfxDgjouyX4a1Ubil0HVnrp+Y38PJfLx4lRjtpcV0FOnFfkxnHKVvK6i
8x5QircdsDXffZ0EwAsszgkMC6lQ6B0aAM9CVV+lAWi+DUcLeCH5sva6pOILANTUC9wL0BWklsVQ
9O95B0D0bhxkMzzXmcJwm6ZdjAuCByb9Qh69gwlmLWvaCCfDG+BA2QTiyaAq3JeJI9NI9qCinhNW
oATDh3H/FOCkR48/xEO5AVtFzGu4NHG8M8BK7mP0bwGRKkJ+CwQM4n0VDxTAUqTVfee5gFxLtRY5
D9XtlhSZhygzxKOMcHYCm3v1zJQjwKZI7AHzOazUirQs7uGzrLxMO0h6dAKhJx/6jnD4g7FKFsx4
BuPHWGd0v3kIZvWk3Vawv1O9+dkphdapXtdlTxakfwXL1VyhTdEe+qMQ5yqpvHIzZQJFw1rEMEjw
H6zilFE1o1LkvSt3sc2hsvctrbC1DKUCSpk345Lu16Ufv1m6aj6ZVwcFIX3SqH0ORwJdTx6iYJfC
tdncqQnpYJl09EoydsV5glPH/BXVG97bAi88O1/HggRjjA5xgYcV/sdkQu2/CyAZokc0tNmUzNNH
AJJz3sxtmJKVArAi3PD6RmyZougR2zRosmK7yLg4s+lxYcuuq2ETy+16LAjZnfZAcr2PuUkTiwVb
4dOVB6igUVNpq12PAJX79VkZNmrw3BznMA6ZwnmegX/dGRC+4PZuw3OUS+ASAXymsBtLpmXW0C9n
WcaEfjathNHlNM3Y3g913J7Bpj6XBgATeaJTeR+GY7CwAFzqbxUalpfJ6lQQzaNCbLUB71w7V+Ml
3GNZUtvLKz0Ng+Cmy2LrGHdSPri41WComdzOH9B5rZCx+4WTn+IjfeIkcX5z9FBkR7LTsp8eV5kf
tCLc9+vYS3d4rdlmEmOvcl1vW+gP8hyM7igOtc8c8QgjGmUJZjqORRD8nh31KK0b6wlnidN/ZpB3
5LRVvS/z7STC9UogtPyeojv7YhyXIbSV2uJHzOi5YkwyDLxttKmGaOG3fiZwFWVnPLX+7cWXti9q
ssVny15z3LRp4nNdhbP+KGdu973vVaRO43PAMJT6tf+tIIyQDp7GjFlL4DgX0XtsUpdugVdqUcVM
kfSFPHkVPwQLVfDFAMbdEVwBY3SuWyNekaLY08bXIUVFkqMD3FlrQxM9mWRJonrsMo7jHmPtNrdX
871qE/aKsUj7bwjY+rMCWPBujbV+tlO1QI5fCjfnlNPjNdOeLzbcipRZbpioOsr6HoAl28uQvFdI
cwzt0rvO7+NfQPDFV5o8tyEV0PEOqrz5edtsRVeOELiVJ1KKxM9pGJWNENYwxmdX8Sv1Qh2/mzZ3
UN6KppqjcCxS+Rt2xWp80UrBsmN3MdT+QWYtydZWSa/g/NXKDq0t+an/Dx7PWzP9t2b71gLQIdoK
q6orsSX8pRn/u2Y7HJFLWHypTQrrB/VngIQh0rbonjIcLADGzQgS5u8apP/KZ7q+R9chHRSOpKK5
f+iMJR0TjpfM30D2qi6u0wSHtbDmaInnNSrgHUX//PPosn7/Hfk8H9KUI28fqP74eZ4157wUMHHp
JXlC7Ltu+Y3RwTMEixJ8obt+tsedHOoQ4PY8/ovQlj/23xIFCSA4B+M85kq88L+fA6wFcPHUJp13
1kpEoeqZscr6859/xd/7dLmMbugTqkqjKYAj03T+/kPyHk0buhq1sdD9M/NTDG47xitRUoz62//k
sxTjO+h3RE78YT4T23mXtJlWzBircNcnVvVuJmjOQwv/618Mg+x/uD/5YvD1kA8xDvIIp/39F2Nd
NK0lNiN6Gk4fBViJupXkvmOLD39bAZxmzBZYOzPn5uxXTvDdwtMcpYyuMGIknAtT4L7Ps+m/NQie
z4gFgUv98x/kH68wfyNJUUoFXAKeqN//jajpHF1M/Pi5DnQ0jFl5xKUb/3Wg9P9Bjn/yMMj/E//+
/6r7b+2PPvvBffpXMORtTviX/9NfyRTE/f3pf5Mo/vKf/8Oib0GsoG1A/+Fh7oc8cfucDjZO+m9/
sgLvz8LDeYKJWjKc4wn975j0/0K04DL/7ShVtwC68IaCdBRESKY0f3jQYeXj+86DEFXDsLAlltW5
KOwwC+yKoqGNJeEACCbRiEIj6n81yLJ68RhzcFlPCm5zgS1QV3RK002ozSgZWF7idNbVgdAzL1uE
S9iwznS/q8u6LEMF1m885h8eke+L7smyYZjpzl/Yj6NcjVb45vN4rh0Ff+c+CcQC3Qlmy3LjfGNa
3baT1bsP2O9wdTdxzjpmDUVqH/O0XdpP0fVjFS3EHC0/epcN2iZJCPKM8nFltj1UvNgOzcxiSJ/r
lg01HtG4s2IqgiYIxHEBzWjzPnfjsLilQORIL2CNO73YjUtlF/sh9Na7MhlNgQN36LJzl5VNAN4X
4Zj+QfJE1b+veo6fuXjhDnj64Ke73J5keo07DZe/6LyFxXyS7GDYYrcakyU0UepbTfMUjl7zyifU
38LQNPezlSK84VWbVlslY/RVXuwvZ/D1bP6Jnr+p4Nt+/CxD9gAXdk7qsQPazAuRZQNqAIhM2aFw
VDB+hdFvTqEr7GjtlPvt3zk6s+Y6kTSI/iIioIACXi931y5ZsuQXQm7bFPteVfDr59x56YjpGMtu
A7Xkl3mymknHmYJjHcF1v+BiRYdCcrI5Aa4l8bwPrfW4HgpWboKHI7W965m/rBkE4kysFn6bUWml
QfdkRgfTFQxs99M0mIRn2ggqvGdNdAfA13IZ36JtOjIkyfY9PpFj1k2ZS2Q7zNZzGU7zdsIHwZzn
jcHZUH1MG81A/6YFgIlNHcchqkVCM3oiE2DJMrsM99KRxLy4yKIkkrI2fp7cjbEYqt+k9JsTrmNx
6+RuzmDd8zstggEXu0zeNL1oCSoewGkMPEW0H2TlPC3YSSEjxE06rXgqY6Z9O5WY6nlbzXhDByoc
FFxHj7YTZYDngPAQMfS8T12HduGdrUQ07X0LEavOHOy4EYh5Wy/jTzENnG43uRKJyAZXvTcgiZ8R
NBlUhj1Gz220eiFGPc72Hximfj6Efmc0x+cILLTozPQ0rD6P84B8OXQZ2DiTMZZV03qe1pw73uzb
Jq0BYpJWHRvnoLZmLB50Q6QrlaWULsU3/Ii7AovW/9sUcqwumZoSnEuVQ8KHOlnIQ5zBC90Bi6cN
4rvxav/oKvaqDF6+ui4cpkEPMI4Qf/mCG7x3Nrs2PDrnHjc6HuZg3TQipTtlsMpEOX40USPVs1WV
3Q9jhmMh8qfj7VLTH4Y+0H8N+IGf5DCaM2KE86kXME6pyNBkaYvo6odZbPUbTvqNqNHSYrCg5PDY
cTHn5VzEmO+jZJueOHUGPHnVAkEXcLrbHfZQDG3OEDFoNiYIkwM9GgtVOFlL+GyjWgNeWjH5h2XZ
4vNmTH/QN6F2ly1+FT8EvZe7L667YA2dwzrK/5O+P/6s/bLu7+IOxPQ5x6NSHalhcKrDAqVSwXVQ
G/SPlmCXzRyR3RMNqh90HBevnrFERGjfe59XYX5iJAcu1ejQ3bNI5OltWIfVPe+UR/NVFzAJb/9v
2qGJ9koALjhhrsifmQsK75Qvk+TGG+fIPU5vnFtWOiY1YUtGjLEkOFkm4wOBef0zpjsVmKXpZ7wG
kdIVAP0Ge4ws1+gxCkCx0Ekg7bHDJPEwqQmJJWjitjtp4UOYX9YoS2Hdkl2LF+x9bVbnj7FbNfUt
ByGOc++04tcYbJpo9YocCEyWtYNYp4OFU28zXL022g5OY4nyVqiHLPdsi/uk0Nz9zaDDD6rbeVCi
3SDIleuKdoSdfHpoHY9OJEvQKvwSQNGetx7hl8o86a1p2AERgAE749OEMtm8dXLFkDNm9q2LkupY
T47197ikvFc1qOCpdXIKZbJmcP4BxKePxqKlwlscmtu9CCPLBlucKTPpzCoTWK3XkNBn15AZz/et
7rYMZdEvaK9YE3d4HijtRT0tKbU5GiNm8xKFXinPojX6RK4zBAUQKTRzyrTc1MVXnRwlYeQzJ9we
T2nO4/PpKNrHoXZIXVcwDhOUbc0gcMcXX7xixnSINfZt9ZWxPl2haI4dMdMusgRsM8pdwh6didax
ec8M1X2hr1XGab2EwUsSOazkcb/mX1HYmvchg86DsQgH3d9p8ihgYF1C3xDW5THX9cm9fUx5lcTg
yfg8q0MZKwGbceYluUHTyqceoIh7QOujQR2HP7dbqU1y0CKigsEw/vfxjf0//tlFs9nF0Fur26+c
u9+DpBPs5M4Nu6+g3OcscOV450kzW6R/dBE10mjMnRcTERidHcbqku0dbWqqId/DI2iSH5jSCJIq
ZN7dOEZB3e3ELJFGpxjYLn+0MWuwp4H+vUZIMk9x0ZE0ymr6JI5WhhN/ooU1XraMVMHGQVMldqCg
Vew9KBZHyF+kLWeWCAH86xg1AQJBGrlYUY841PQ1niYr+LtyZH7JFxw8pNIZjv423DKpLWkbNmgA
0ipbj+zx3rNtbrPcdcoj88SZaWX5K+uT2Wb+tnKyE/OuDP3wWzd9EJ9Ut4AL3LwG7DrhwtI7++1I
+YaGTEJ2kY2QUsbWOvV7UjeJPQyOuxDkMfTQMC6g4iHkkT0S/qtjZvHrQHpUtWCkx6yoWuKbJYZz
jo+TObHlmgsiHv4yzwmCA3sSjymB4JtRWhUCCqyEmsYrKOpkvvThxsBnCG3wX4vYRzI5SrA4QEGg
Ngiiq6kfANlWmBdY9ogKtKThWtfH49bBQH4RN0p3Gi40E6VeC60DDYrymSlgp33PqtX94fZAsuHs
Bsm7S9KfoQiGu1elivgXOU4Hoi9TrodM63B8UixVTOXmWyiuKQnazNtWFQeYT/qZ61XDZlwZH0E0
qqLiZ5Wr/HdTZNwjbxwHhgoVFZP3i8MF+S7eHA/f/DiGNy+wSxwuyR3/Dz8p2W0h9RuvMeqzxcqY
cyqB+UZRghnRrDE2zEO5713T1gccy5A74tlfkUZAJx+KaVvxHzFQl0znDMMrJwH9sPPZ5X5hs6dj
YcSaT0bVdWzzqv3b/F42sTVvG57lP1tRrJ+rR9HbrtV2Xo6VN8CRiGqCWruxT+SLRm4PTxOZJPu+
loDiDlO4Jby+/VYmx8zPZX3E4Jrc84gh9BqnkueRj+qFC6P4tpII7aHQQLJQojt4xUHMLIfY6FLV
e7wksUPGK0Cuh5vHEl4EgZYHvGvC55xbRv11lLZpyXTHSXc3upiPh5O/bZvEHJuQmz1BE6fyLyql
+bEuQfUH9+fkpJHFWjdRVeGQ1lXo9ag4+M1LM8dvmpCbd21tUIFeoimoO+q27CnGEsL1H+kc4WhS
T2pAaZ3i8aEDicqmjTl/epi9oAMQUUnOIPznq3T1YPjqasznZ6qWbvyfsHehKFH7MvL2hKcuxOj+
PcwNhKZ9s8TtwZEs5q9WLtvwgnlxY5HcbOV4qRY4lSRwdVC6w2amnMzbqO6mMGe4rAmzNyc/wX62
y8aGYSy2dvM7a52QYAiSUZv2Q4s6vHQ6eZ9VkjhHzfzvPlQOmIINaFZLXtDpSmwsGnvIjaNAb8ds
8ngn2ZKqYw5DqzqQtCnOq64Te62LxZwyH79vsIsyGDXpYPX2OtuJ8Uvr4IweWs+1hFhojMIV6Rbu
cQhY8XkcmmAdiaGQ10IYBs94Tf/hlaOijuFZ+KO77ai7JOnzx3LBNPUlSbajijPFsYeYaZR4rnqM
o8c8NoO6Rq2If6NZdAM6YJZdo7opKacY5z6HVGNlcaN7KdyPrXGgTeXY/Kt8jKZnwr/+35ErYrvj
8Lw8DJZ7wiUa5ohpLrTYb9v1lObqUb5gDnKKY0s0irHurSCMa+eQ9vx0eCvdRM8pU3QuApd6K5Lg
XhiQ/Hdr2fT+fsFY9acXaqELZsnd6ncACVv/cfMM71PZk4onBlEYTpxGNr/X0qwnPAP1nR794iqh
fHJQI38RVSGpr5lp4k/fUoNDb4+jPpxok5qfAmVb6iL64L/ZJRIH6eaGvkkG6gMATw+7oKkYdDHo
nd+1O4MQqsM5icitKNL+OWUzPgQyfHrHqCBI9GF8ORU/8EFqcBSC3NGrdddmZHRMtGjPqJU7XwoS
p8J2lhvXfTBAqJZDb+lI2DXZwPlOspl9gvSf8hNi/PojaDfXPfSeY2YmS3GpH4WV2a+Fvm2OuZoo
aknFJMXLp624zYaBCJX2ryGbH75bWYnpBMccV/8cauKUQ/66AEL/wEEu3hstlwtWw63/IFa97Ucp
IDGwP8Uv5dgi1WsMALzTuID2S1ltHKiJKKGbU7k4njrjwbfII39wIJyTxkhE0DxZmVfnaGzjU8Hc
8ZAFKjqNMKwfPJvhJ8wqj8xc0/BWTlnIoLsdINCi0U8McznC7cOooZ5Tcn17lpv0WqJQ+Pj+j5rf
sNkVFZqsJFy2GyqaX6jmjZIHzrrLF8fQm2VJ1vhyh3W9nxlvxtCVmxCcXbiI6MjpGRTmEI8yIh0/
qyFlE+SLJnve1T8V70L70IceVwrqgtR6Tij94rghw/JHQ2P8Ck4QQ928GKlT+IjlKaNg9NI4cfVf
x5l/j4u4ebM0U7j4ROR0iIpEPlnjDQ+BN7dcIGxDZADkpr+TJHazb5jB3FzwiU5PhLe9VOGRpfSl
C+yj8Tq7fHXUhF4J3Q5Mf8DZ3IF403dLPW1/Nr+GNz4TmH2s84DQe5L3oOJLXU4UQKP77Leo2l5b
kcRa71SRrCnZIhD8+D8Yz5egakHRY11OZ4aWf7ZQje+ZH2l5nW60gLSv3IHa1CJKcEeL/G1RGNb8
itsLNluqK3ZQ1Zf8BHR3/Q6d1XtzTOB9FCuo6Pw2yD6AB4JEFwtd7KxRhqPtIDiUCWx9k215oltM
HGsS1cRgcZYEvhj9cQomiQC9HP1Un3Cim6c19uJToql/xP88O0d+wwkbCeaxQ7KhHdwvYgkBqY0B
Umwc4rnAFnGrgIJD7qeLB/XO7ScswZPKnOozLCmUOLlxT+FyVXD2f/Fw5I/PXKrj7C9u/PwzN+EN
DcFbekW9715LkS2I8mz+7Z5z4Nw+0Z6xEiKyONsZ4TLo3BrfHU+cBfr/QHoG0ScjFggQ5RLL4B7u
e3+7qoqHilurfWVHC38NeAQvMQOaAiBZ0Xy2JITX60iXCBHtMHmJRTC26VKN1Vu8Mfg8VKvtwjOV
cyYiTGKWu3C9GflygwH8kkVt94l9NgQdNBbZM7gCC72PtgNKqthIOCGz4583hoPvNuHjOkzwS+q7
SkWzvgDecKJ9KRz9HdqQDKZ0spPXDf5jUBj93xYEfX3q0JTIJST5KSp0/jPvMxfQpTCrSH0sffc5
ppIzVhGosuCdw7fGYFOiGoJpIlPvfnrkSBwd2e8TWnRhxkBni/LmWGQUyXAyDez44lIDNuy3ZXSK
txrQNiUbZI9Cw91OGfbmQYbLRU3t/IT5pX4gnOyrt8JLqOzjFcPQoubxrtAFg7ywDKPoSg9n/Oa7
nH34WsqTCPPqgh02ewmdOH4GWJpjb+mWRmLTrKr9HHrJNQmxRSEc0PJkV2LlmMGbc9MsPRS+nEvv
cTGRv7IvR8OvBti59zHLyIi7nhQgFHpeGIbLvpkvC0vVbUx5kyNSai1ifiuQfyf2ygROFRwr4Gx1
R4cd3pqXDLDeLycLWW9vcsPDmNVc/pOgq+cjGceS/7N09NmparLng4mdL45UbXOB9UKUkc1sX2NY
z3dajNzWHWeEvSKodqL/NEEoYXRPnqTF2okpR3nAUzIdHoaw6029C7y6Hd+jue6Xp2pz7Pav64x9
jtmV1sdyW1HDJFiHlJae9nHLHEUkqHT7Ne0V7LQ1cqGvjPATbiybRlJOoEbWqMeo9Oca1xuyCXG7
pn33VQEMQvp2gVPIIkUyP6oJOaU9Xmw0XyHHv33buL9UMsYK37rb2KMKJm+CuE05TvKykVDE65sl
9IpAlpjnfbNm8zEnICd2AUGrj5WGlEdf4DvbgRWDUYLPGzMHFu72XjY90QTPLFnqo1L+IRRVAtyI
uP8ezbKRtKZBLrnnkN+fpcjb9Uj37frEp7y+N3BeX+HfoQSMhVFEBXoa8ApXrfXR67vgtLYU7FJs
CkCStVFTjdD6waeNZHUPGOi2Csppsam38oIcDNyQ+Nz3ZiGhiQ5lL8B2DD9PmfpzwLpS7bQTz88+
Me13VRvq5JItDqpLTGYsSYcgK37gL8HKYonSJ3vgYKvdj2Mj9X2h2nnXY7/4VU/wPQ9z25bLmUG2
Nu8kHZdfuo+bT0NgJ4U4MNH+WDPEZ/i8Xh3XhuhJg1newVSyZi7u4GJnHmJgNJJ6mn2XTcl6Yjlt
uxfCpwk0yRVa+ktASbWPqzFh8bYAa75L5n9Ap3JSvawCdf8kqt6cGtm3vzYq4e8dUKH7UjnLIZnJ
S1VS3Xob8HJQ+EuA61wofCHpihZecWOKqj/L0IgjYhoNqeXgnODGOsAAbubpdgkvcvTgFnaJ+wt7
PBgQf+qflC8AK6gtvMONIKITxn6Sb5JSVOrrQGTtarIF52WVDMr9LP9bTHHwXg1bqx5a21kwfmbN
fpYUPr/krVOes3luuVwn43T1Jj8jYy8cIkP4FCCAdJOJ8DtSh0ktCq6C6UYki/+j9Sn4PVTOdPGR
Zy+DjDhsF2tRHmlJKj+Iom+w1miZnMujB3jkF1UyM59R1HkvZD1VcUXS7IJrAYq5hDi6RMzl28Kj
Dm4upzN+KVgpSbzCyhQUg/rHWfSiPhGd6KAPz2LyAdKqgM2/60BwDV6gkrtsJa3eyhsjzwabQfoj
Fn6/QMCN/iI0NhM7KNa2mykr08emWpCeR1Yz6GUmORnLmdenYPYxp0X71qlEFcRxWGnhoHfWpw+J
uzqsm9UZ+OQWmb/ocpnJispWm8O23cpViGwJ5HbMas/duiyfeFrzH8UAkohlCwxGGo4mpmnKW8Xy
HKil3MeaQ59Ntz7AHFDUCrq5hkX1Eir2i8egvwEhRrxK7j/WvewTTyjOGhmV8QMUFfGMws4j8Bvn
jOEvoFzB8yVViFkgrmHRl/0XtQDx9xJG9UNWd9EhpJz8M+l7Cq024NDjbnN0fMa0D/Vt5ODZHLW5
yZbuBIv9zELj3BP4BhJNpci8Ujqiqie5xfVLbQHE4dCNQfMVso+/fT5v70D4j96vrHftvugzuIq3
+MMtSMQGfmtNIkXYAsPb5gE/UlVVMXtLG3SEsvG6VRgDRWzf5iivTo2IwytVR9P3Bhcg5Sv1l10u
oO7uE+X4ZzCTCfgG6RCosdAj98wwpl9qjvcdVTrkiHLobAKwdUXD0YWSDXpnWMMJM8e+83fxV+QU
OotQtYoRUYZr9kKlbTM39BqIYP0NOCIGmjY5aL1OT+GGroP/4DR3521wllfWFbsnBthkx0w72X0o
nJLIPMMbdZrKIaA5okUoOJBCKVOi1335Suq2jA7aN5M4DqOLTMDInRAPnrd3nHHTvpn85J9bzu4r
wfbuZ52T1ypLypd/FrOHSbZraCA+uLYJXyaSGR0LiOf+G8muPyCd+yAetODcLdt1tqyGddCdhyTH
DsdFZ+tTHHfr8II0YkfOESp/puy7mu7qNZnsnZqgS104y8xPIJlhk7TC94fnm8s3Y9+H6fmMaT6h
mRX7xWkFt8rVvgvN3RyEtLrkMUVopzjXbVoGBUcAu4RtSPClDKmrnOkUPs0xHwuLcMa4S9Jve3T1
EvtfCr9tdMCMg6Go3ITu93ghCVhXNSC1PYrnvPgpUoW8G+GGbYDtkgnKAkImZWUBSJHgwXBG/i/b
4qF4rEkzY1jtIyLh3IfJv0ctLyJLXqV+JsEwMYCBgfLm96X2dm3tUB4799y6isDpeL/JvqRSk0zC
HW28PV1+HmfeEqif9AEscCectdqFaHLbPm66EE3a8SGpQF+ps6DYWwoRMNfBCit0utaou6lUA8wX
vv63zY1dbFn8/hpOc0tEJZqdnDeZApwEmz+0RzVEn/za5VVVfn+xMdors6XlexOz+Okm0/ojLm9j
qoDiEEjNfk44WPT+FnBCsra9lnLY6o/aEKu7j6NWDS9hkDP1pK9DSAZ1svvhVL18wcqp22sFTqDd
b9sU3a96AC7FGbLrX9okdqJzn4nJOWUNjBisjn20fGVTRmg0yKcNhtoEep6FKOL6H3g3qutQ9RXZ
78TEJt1Al1FlA4HK/BkpFtL0my5BfDB2ARBjmeAxzQwZdRA5gqSHToVcxoHFfGMqT6Jzx1/nzgsi
80BJ66zAIVMxYthqUKUWtbDD+1PrHWJvDesvOQ3yW8wrlzOoetW5oxKc8jBmKHjVF4L9IBrIGl5G
ZPKcJsDGvy4ldlcwkYIhRytG2KnVHD3UsrWQbtaFntUh1hSMVonrnbDf5eoHG000ovLICCM9sGCO
KKgayzvOg2y7urojsL9qKx/zuU8YU4Ik85qdv829fhCikFCJURinY1xNN20d3eO9APe1L+GsL/9s
LzZxhexOiQYPNbhj2EBAcWgoc91PxEeCfUKe3vthsRDbq+kGjDets3Zf8B1hPgb/F9xvf1JwqVIs
gBvgYZi3tmvEAc/G+tk30KfuVjJJ6lqzWuiLHQrjXWg5Vhc5OKtkWodO4ceNqX4jrkNZSnphAbL2
IjjJpatoMsbvy+UIgk61zNHtKXCXHxFt75w68V5XSYt5XCm+amJb+izqITgsrmsvuDLpVZssV4QM
xsz0I4wyMFVL3RbOw+h4pr54kv610GroqbXn3jGR7X+uM2bTDPDcmqx7rxq8B8+M3msVSJxkHdcH
zsHrGko4Nnbau2NgaPiwlMvP1nXcbceENoR0Q8yDzSbMP21XDXccxRmc2WAsV5BRkDveRbxu3+6i
Nr4fHAsf7Htwf0EQIp3e2y5wof5yuHGNu5MBWvRnDoIFln/tg7DZuF1xs4+mbj2W3bgUb9xUI7Hr
I45+5yxH06GcCQLp9guGnU+HA+OivrjPaUZYwKbkeH4PU6a4xd03i4hNeQjGntrqI9H4USankqp0
2oYjbdp96JAvDH7T/ufQqNf4aDAzaqd+wVKe9Ns+X2gvox8JX3OEWgnH8hqMXjCx+udBuNxh+J0x
T3W5F4j2ovgyzWcFn0o8d52Oik9ZZBRBU2LJFbRJ+TJkm3abcJ1HIbhZAwYb9Hxau5BeT0LOlXva
PBdoJ7izLvkS05J0c4rRgSsvhmK3NwdnSSYcLMUUJYxxEaaPJliwOnelHae3gQEMwRg+TVX+8Pwq
h1TYVBOa/bVTvVPZtAvDgKis7g3gJGz6Nf16e1BkKhlOCaK0QmcNPXMmtM8J77Et/aj73fLWcMpf
LWH9giMCIDym0mhJvC5BaO7pLQBaAPFO3vRsNOzhubEE956xhpbNQASb7MleGWw50d5SGA1ughab
nLZr2yOznYGagJTyVpBT1Skvao9DskWc99K4WeflrJCsbbpA/yvuKtEN6omVY+Y8zWiXcWBDkN7r
KaWfICgBS8XCT9umNxBIEcaAMDom7UxZ6zXDlNc5aVHMOvoLE22M3r0YcvY9F9mhOZhWKpjdZQQ9
oEDC3u4GHPZsj25G5RvfH/ryR+eUzXyIJ7oDoTcWLG4tbXnRpYd7VD0ipPn2mMyjoStVxTNo5jpL
kr8jpp1m2uNgCrvunCSy8/fBGsL9T5UNb3YgYp5c6w8Mr0x0lbZqQg93jYMmyJiY/twnX1kM21zl
6rL0zyoq1HSHgWwmYC+5FHN0xj9S/BlLZmO3w3oLo4LDc9aI8FTjEg/NK+zr3NveaJTA8YuVhlk8
J6U5cGEmWwArDEoNRBpYoj7VoNGG2yXtqCTT6RwHM/0pzqDKg8qwb0Xk1QmQnKMkt+tplp3rH6ih
hl86jBQAvjH6o9v95I6FHLMTawMJnfPo8hHtJ5Jo3rkmWW/+MoIhXHP048XJYcU44XhRG16SF2MK
6/4r48xB2+ar6H8PucNg5V9INykT4KBtA4ZYHJYptCYlUXRlA0bbpT8WsAE7KJVd6BvO39EOU0cz
u98CtcVfMh4dtVISCUSk0AzlbqSNPl/r5dGn9pDhrBiVvWKPl85jOa3AniyoweQ5uWX9oQj1lROS
MQHs3L0NUdkl//DOF+tZjb3b3ddFwwkV4vNGxEcUSnyXsnEZdknULO8uryZHMEoNx+jf1GDdhojn
tg2lB0kIRazahFjoO7DV8qAJv/1wBZdlwKxeUv/G6T93x3WGVACOFt29RksiMEXLQHfZcOeaH4s/
N8CmAcCG5WOFWC+OemBQcFgAD7gnp+t66qU6qlM+u5pD0CVQjnXgQne9vExs2NEXy2M/U4le99VH
5kTr+DgNfUT/TDORuUpp9cm3u6SxE6QZ0YquPy4Fax27xVJafbtMxOIYb3nRdwfK7dR2TKbcDfb1
WK90k1SbAsUsp1x8zYih4T1CFIfnXeKyBbzVgXTqU8vlwYFfBThuC1O5TRihWbEiBslMBZOEKaqL
36cmI7C4mGwX2TTE2p3Wjef2GNF8UgPQ4tibXNFyuvkCOCPcPkGMesGVilLqE/FSjQP1Knrt7QWf
jhge9BKE8T/+uXLRcgOaJh5JZbAsXJBGuJxZsOTm0IiVN5KrTxaXF0psWofQnmOzI+bEqn51O2rm
m6XllsCaSH8HUp9jNbcKvwZ7vlH8ueWPLeOr5Kdsu2FN0oWG5OkK+8xvrhPWhewkADs6z1byP86R
694aPUqaB8ppFwxdzBkrUTgInm+9iND3gzEfEXWIe2YXafKuOdaGROBb3/atD+fFw1RxYs6+Na9l
1SjK5TUQRoTuumnW+9yJtcvZW4N5oecLo/JHAF6p+6sbRR+K7IelemVF7phE9QFsn5G1RtyPsMWD
I0JlNX9wBYshceUoTN/RmHFUOVYCbeqJl9wM7wAzk/qYryYY7SvhuTmgyMzM84EjJvOzFViWR+bE
i9bmcy06pqhrV645OL+lL8JjMIvK+xdEttftzp3jl5BJgOyZsUB21QLSpShD/pBP5dpkAdQA6w0U
CDXwquwR27o7tgfkwEF/6576kezG6l8y3qfFuzUchOuqyjtkEKUHHFwEAJ7WLeY57TacJoX6r4qL
TesnvXS2/k9kEZdCZKiimyEzas79/r0XVyH4ohrVCsjHsJA6rFxoFd4SAfekz29hFiW8yoMJUTbB
/BooOpHEydzG82+igqR2JkK4gsudbF0LKhKSsS2/JIWCPYnOwuDW3OHT0Js9VkBbYop1Gwb5D3no
UR7MLaqBcOkpjBvPHb4+D9sH1q3qjP2EzkVyN1H+mQmxUrHUz81KhVOlJ8lhVesotscpAKhMK44S
L6VeFC3WhXCZsUicdXYYmvcw8FZwsNvk/1FGjV+6mIKXhjZIs6PjZb5fhl4Ge6Jl9Gu2ROmSR8dX
PobdJmBhxxVBCe+JZpB4O4xx43PVblAAwa25o9sNjC+0es2EP3pHwm1V83fWyH5PeLmE+RKLEQn7
z5ATpgLnwz0PAHwmmxOWyYWXdqs8r+BKSzjy3rNj8GgJsh6JIhKDLGcHU2dRYZgD1ANokC4LMleO
F4zP7ZQlIBkGZujjPKgzBOvx0eILa8gjE3dAPuz2M6gV8CxUIrwGZR48KUIEFNFgCvkaq1KeCu3L
a+jLIkDPHH1gR47zJWXAL88cFB6ag/OPfkmifQEa/JvjZnAC3OjdeTyN1NV9uKaWnegIAQrVpA2D
6+iGNYmgcmOuMxX+c6sb/aQUhE1ivQsAeKei58Hn8PAIQrfdC3/zH5I1dxkco0Ffulg3b661IqUg
KXoVQjk7vYGFS5FqxcCle8Xgxwrx0XIzPkTltnxG2IhJsxeQZJs+3/dDTHtLZqark3jhjJ1t7N+4
NAFL5HKhGMombXbfeHBC015AJENwrD/LsmWsHLX2nwvEdX1itEPhzjbWAazXTP2ZJlPPacg7flst
lfivDrZxTZPYy0+DXGdom+Cc9xFkE76KsHiMF7/81eQLzhYKXcN3DLP4MoJVcjrQC7hvGH/02Kjs
XhBkCXZOjjEFsCc9DzfsXsr62mO27BYsNNlMTn7BvrdXfdkclrAW5/L/3lxk9QThn3DNjk3BJfTP
tZMC5yx6VoLy7pSUxPjDpTEcgWQb1QNpGyOoOeVFzMe6eahurdEXDzdJGtOtBNWrijaalDuHlBoZ
8W2fOOv6KGeNU4JE2UnkrjqAmcSKw6YieDUGC6I+a8sUo08cnFszyBPc4ZxpW3TLN03oiUyFkbrL
mrl8qvyq4KZOrhtElg7w3SKanEapgi+krOoIKcOefLqOj0zJEAuXwEMnMGVxsXgynsijtNc1UZzW
Sy039ElcrPO92PhMudw1b7XD0B7FIN7CfTSE9d28Ftx2h5ZqbsWVMTUMdxEqVYPHi3LthVtNxXBW
jZvFSBA77XbMBLoRfTpiOjApDNtHFEn/zoiAKUW1DvHeET0RGC7z9FOSN78UfjWdtVsBhB4QZy/E
1ofLMo/9OQIod1EDqiQp2eWu4F9+Yp5t34qFy2m8Bf5ez6jC3BlidS4a3zwNpirus1glD+4GwDJl
vlk9etqgQbtSRq+Kfvl4BxAvOEOcc65ZZIPflGUPFcuLjPrgsoqOMjcfg8N7lzn1D7eau3fRrslV
2FEc6sljMOqtW37m1MpUI9OUDNzTEvwR1YZDJsClIJ+97b5HOrlfTDnRC1N43r0pVP9QYGf5jIch
EoexqfwD2fPYS28Bh/gczMlIfUQdVlfiA3yF3tI0T2M9YyiK2WRUwOu+A7wD8Bw7S3Gca2/aWw23
5RrgeEk5+BVgEkc7P1ZM9D5bHzO/jcLuzMW4PY7rBmV0S8RAG8vcfvE+UyyUTfmalpw2DiQyq4e+
ziJnx/hAPs5sTng7mXOySzCTOhPL43OT7Zz9QIre7ommMst2g/rKVHs8dJhJwRJ1qIM5FQQQumr9
nPTxtq9LP0wnZFoKV8roMeCIep/U27yHurGVlIVzcH6ezAzxNtuG8q2LYvMc8RxSdm2RHz3WnL8r
Xtb+IKD9ngasct+cv5L1DCjC3Xdl7rxStDaf4/9xdF7LcetaEP0iVjEABPk6eUYa5WDphWXLPswB
APPX3zX39ZSPrRkxYO/uXh0phttNDZljuwJ4/ix4z37l1ZJnvG9gr3MBo7ZR8zoxVFfhnO/GqR+R
8kP505kkec06I9iVcHBh02I1JY8BqgcUgs5CGmIVIpqdQtt6YnCiiqSjWcziFb4LuiB+GyK/l2fy
sutxUCARHldsLt5misUM2rJxqVnAa010JH722CGd3dlM5xYhoaMR3kYeVHxXHFP2zf8wYEr5BKiz
f2UDaZ1DmgOf3Q2cXSfu0ZT15boUIt0lthp3RtfNP+mt0DBC6Vx4/xcG5mtNXfqYu5qcrsWou+9U
By8bHyZ8jwqy1WbOs4x/dZRg75DzwofKFzbAt+XZP6OIvfebIyIiGLNm5zbJ6n2elnRKuDrOlmPq
U6n5q+47VbCTnPn/T3zxVbBjfyYARs+Zj6xW5eiAKPu4fdzZJxlSKDc/9wte6b0j4spO6B2t4DCY
xbZoHilXhKUZ4kQsnymONP+f8L0khMo/LIyRiZvGwR2vu0nwNFY1RoNkGYC9+w5+FYu5m9I0VxC0
w0VA+dvgb2FWJyMnxrlnZxYsMr+P+OGwIqAT0iHPd959YiSvOa2Ugx7uOIHF1FUPYfAk52Ron524
EiD0QGpF55YVl2CA5Fl44S04b2c54ABJFDGCnU6jmNOTM834l4eUzbaTSlN9ZI6X0CsdYZ8/9Dx0
1g39Lre4P/MfXsQ4tl8iVwyKURvIg1PkXf93ZCjcVnGj+wvPLuc33Bqjd4sc+PROy+HHYvzk5tI8
RDalHssBE2e6ABouhMpOyQwbm2V//pzWt8DIWri9+Op6rfVnlOU4GtbJiSEYGMdnOUqzEgh0bOSU
YLOkze8G/JkFWXpxcx4CnNT6Lk8nq94yuMDRUfpQY/+rx7F0sA7w/XNWJTvuQx+zWn2zq50OLDMw
vdZKxRmvkq4qP+xSYbiNJ1RawpiNPKR4fPUPmZqu5229hDQ5GpaE94gvQ8OWYbbK29UzBLczyVRC
TXt36Em6beVipDyzhTRvDKXQEuKhbC7U3JbZybauZ5+yuaEIkNbxqcVSpXn/f/RFrYJdt5BU+JGe
YV1ZUmXTJysK+sIGLRU9DBk/j0+cQZyOE5TlCbVzpzZnU6wACHQbR7GPbMhXJOTdun05BxPdNtjc
DrI35Y8JUuoJrOvWv9N1ZGaF7SrQK0qZANGdmxfgLTO8awqYtlPZ2PiUeXl7GAa3nO8dlq8J+kUJ
mpKwmZ1+KF+Y6d4pkvqum0WhnhPsN/8wIE/FOexrWkDnihf0LR5H+KJN05/aCsuHW0vWeAArTkKG
xT+6/6YL4loYnoBKLPe4f/+5ls6H9VioPGi+1tmQoWP9JevpEOJT7bapWBU/s0L14sGnncx9wGLV
ZtuMLzD90auQ9jg4ygbDbqK4j8AbkTt7olKJkqytbiV8hi0jXeyeBsEouw3JNtAoXYvEwQbjjzNz
MBEqrFllFFd0AUzozcc6Xvv6l9N3CyqcNvEKa3RW+fKdU/qrNiXHdpqAan8kreVrzXWn2v7fqmJt
oWI0Yib1N2HIYXe+YtjJbv0lYwDuJ6QmxDLtGdP8dK6XzXf4ohX5jjjtpfNO1iOm4zDDIhD/7RAf
12tH+QcXxJTjYVmwgJXXrMnyZueO9E2yslx7+ltdwRZmT9Q5IdGc2ipGh8Z5P59yU8dxv12sbP5Q
K8Qy7zLNeDKT3RT6tb1I0ObQQmwBJ8rFGLCWogbgmi7DstyFyjFsUTh2Dau/0wmbb8wpU9XMD5kl
rdVuEQiFpg8AKKogwMMenO54SVclKYLcrXY0Sy2fobWdfQ2GtCr2IVFsLmNOL2HeoXuMpjqXZS9+
Vr6pin/KddN5L3XkmK/GYDuAs4dEb7D8B5iaDNhMjEuZCjpzsFMHODsbnXrilqjF0jwCSpz4Zwdf
Ft61H7rZeabNvAjFO8uqIty7kcniYy5YrjMhCWgF1GzI1ugtlCNh71NcyrAzKxKk9a3NyPN/vDhD
x9xT6EXGZ5ToKvjZn3VFXfKFwdeTW59uu+EZRj1+1NYP3Oluzvl6Xg3L8HkvcL4OdBOW4ixLLFAb
t73tpzSw54NnWJDijp/hBixwFM4Omas7nknpNhrRpi749HERdun4U6Iq0hi8RMEOdJEl00QZs8qS
CTZ03IhDoJVH35NLjs50Pc+gvaXAxxxkNkxefJiFsLxESaVRELSESzaduy6Tztbn5yvJRcCaXIuW
OM4qTfGtnL4/Qshd8qMf1EqyKmKRwUW6oK1XJgtvSVXHo7Z9iehILKbh0FW9mdn28AvYSzH0V1MR
e+Sh0ELCVnFy8TvZvi5YY2k+Y556ALytf/UWaWDX+gAuxyElyYtQ202PgWNwyS4mpGw3wgE7nPFb
rHdlEBAqwYtbZQTFeE2yImZDMAJDj9viqF1j+E/l2p9NlRWPZWwZwvrZz5/Y7oct1OGEnq7JnfJn
KeOs20jwRldf40lhiEY2DZBEKUu2q3UfmwEh9SZ94liHAui8dN4YEXatDK2dePL8TVpFEJJignnu
Ochan+ZegjH60ITo81uV0KTTKT//BBJZbad4iDxmmBIlrcJs7jyEa2WP1YCLbS/ypHV38YwDHgsM
hC96CKJ5YyMLeqYRsLSuqxVMcUTd7IpdoUSKIkg083E5u9HmmDndm8rqiOpJ0jk8B3Vi13MdyJEu
ciIiv5eWrAEZHFw6XTVm73683Cg5NJbiKiODZO5GHFwEQdcYKNlI20pXzRR+rBTtHhIoI1uI3Mht
IKb1RwgyJyJcPCz/Mkli9w4w6PhCCae0ZyXX8c2bQsWSxRmKo+ySrD24MfPkoVa9OFEd6s+Mz14t
Hi2blKemzPVFi0lTIKV6cykqkoKSCuldX5v57K5VfJ56G55lWMkfFQONByfPehykd/fEdMyva5sn
Q232IcmOHzWkxakmjXniVsn2TCsTBzDL0u2Sw8zQZ+rWfIKapVnja2cwCZ40DLPs4AYL57caQLI4
OjhbscskFPrs6jiDxq8zs3dzzqm8NEf9r09nRltmeMA28zqtO0/n3V3BXp67ueudL+Ay1fDq1Xid
dsloWXgIIm3kNzJkY97TPkND0x+7XuUTWCpofHOfdpyaxtIv9hQfYacYZDycW6hk5S7mOPBq4oKt
TqCpsuG+HDhedvBpgGK58WM7WTqnUZCwEORB+Lx4BTG+GXLbnrpFd9m0gzM8JU5RHMCH1JcFNtl+
EiO+o6FfnmvCj1u6S299LqPpH2DWkGvhttNMnJWinmKEWgSOpRnRi5U+LNKvHzXX3DZgwUkvmJuX
F1P5VDTg63Xw+Tt4N0OW5hQOz33wPvBgsmxSlThmkYO9KQePdZPf04ENcFDhKmLR07pnE/W0m4cO
ZZcLjS3dcUX+ujhYczh7DwSAD7hhMDivquD2zUtw6zWRRKJLhY8pMINPyhZkCOVyyjGIk7eehohT
hi/inYeCcOrdyTuUQcmeLPMS5y9B8ewYV2H2LQ2e3M2auMHZHyyGmMYq6HM+20R2LEHyLcgVfYiy
Hhz4QTq6kDBrD5kc9N6ld6P46l0veJW+pFMxKlEpPrRDaaHVwgsODWoRk2Hu06XC1QEW4MaS/esM
Q/ikk9WpTjURYBCsgYMZuCunH1hqGfgyuT4Dcgaljpu52WZ2xtfQOZCUNQrtWSPmPhXlYp76PqiS
F3q158cOcnSGnSFklgKqBlbLvZHL/NGmct8w/rWb3MM+a2lWmM5TUwc/IPyX5De9VvSRAFmdqLiC
hsMQkoaEsVlxnfoC11pNE0rkPkJl7AtC71ghnAUuMVtnKgEy7Ta0gyUu3Fw0IQ4/Azy+uJ1Zl2GO
LlyVvArpMQD3RLMwgtVz/t9kbO/CTmLXDwA85aFKeMXZRQMhw0wHi3vw8Q28LsmCuZaFmns01kQp
j822vtH6S/sTOStxMHekidDT9tEtvDzcpy2Pja0unIYtCEeOKwnjzuzYYCYPM2eXj0m7fMCwlxlf
UDL12KXZcPl0TwWmr+R2CsvxhaE3i66KVoFz3ZrgPvKpebvEZCnig27R7jfhCALt4ora15/IJJTU
3VQ6c54DMzcHgkM1Nl7k1ajYYVvFrEAiwL0mXB/6hPNg+I2PoLqzapG3PMg4kO2Opdr5ydiOh1Dn
ij1BIag2hPK1yYRmm5bOrT1NfdHQhliXYPfceoHknAYPAfx/IA0NS8CLYgHtXTviag9T7GUXJ7AQ
f6E1/mJ2bfr7BajXcp66UbLh7niLkiZRYiKtpQBZ70P4Dpf+NqzWLTVceEjdsTjbmUpDGbjlfznk
Q7jAszT/rThUgSJ7XLBkHGOSWhuHBqtL4nGseJtuEEIaQWniCvc17ZrkAkqUrXrUeCGwThanKjLl
k0MVYXqs6Sjd06kzEaPySNbpd5sta+5uFlDquMuoWZTdX0JTmpZEhNItMUwsk9a6ISwELKvVHg83
pxHXH3t9JMHWqQ3IgZLDIMyxE/pdTKYGWMiOt/b0yOHVmF9kRkieY1AL2nPE2Sk6rWJML+vizN+h
ZV28dG6NSyhOflULiZ/n2xJ5+qVVCDtLovJSnJv45VexsL+49Q2u7x6OGq5oNF7ciwnz2IOf1ZCp
SuIMmOTCID+ZWtE5Ldp+vOMjQl9gQjD/AbVN3v3Vs+yTNY6/osp9gdBDB9fNhElbiaBzTR0VmkgC
qzPvUnIaWGdSYoj4iygRwK6WTesXD8ccDYepPEiRJkjPIrijeFKKRWL6GMtkynZBM2K+o+sP2oSt
REAhph4IQhxXSFp//HDonns8CeuG6muWjlwKKP8VJtPnMvLCl6ayyZag4AD3dvH2TjfC8uZAtlv8
CK9uj5NsfpMjdgyg2T0lxU2sX6KGTlFKerKsOwImXQq2ruWynicJwmOfLmR+d8hL/r2tUakcsjHn
NshcAm+qXVj6Tqg3MevfwPLBoEsMj9R/B5eUxfiPA0Lml8kAEfDSomilWyJcNjTzxQcXsDiPzQyW
AwOHaFF8cucQWmnD01yIcU9aiqfO5Pim3i3LSpwEBAz5GOvm8Du3A99dS1xi4e/lvpd86BZ5AeQo
dKdqk0SzqllVwNhxyM5zYjri11h+U4c4gWAagQpwnIVvI245KBi80z9uxCYjvZ/2D4yVfgAmSlQv
Mb7Iv5M3S64nFq0b01TjcW1HwLcVPBZ8kMm6JxHQPa7sYM5y8cejntcKY+7QsuBLfcRLaF0zXaa9
JDOdrbhViwjFn9VO3+7HPuR7rZgE9i7phF8ujNzwv8XtrPvtLFgmfVDHxc5bck7l5JLr3ahG/Ujo
iC4Gz2WJVI59zBSVuhKhK43pd6/WmZ1NQ8UgXu5Xw0xzsjobmWaypjjmbIQx88sFU2hnjOPQzuxx
rtCSvP7BIQbX71b6UVvi1SG/WWkjyfGpXLnK+M+kW+zE11fFNcUcjb3e+t7v8Q0RMKsST3LdGQLF
2VITTtMpURMV9fWFcVPsiYREf+0gSaQamKV0So8m2U/WRSUFuBGTArQTBk6SBm+ylkH3UXSZQFKi
goMOiUBXJ6k6grhlZiueCxFBecTiJjSUzQfgkDtPABBgrAEbqRAAqjfP9DK6dc5P+OUiVIbTGChL
1zqVINV26IMsPtWsktt9BZ4F64tCVScLO4ax9rBzTxn5IB+Syq1GtEqPHe0Z3hM502G8DuRJHuus
ZO6NJpb8T7Tk4eDHJClwNaCrHT0nzVn28ZunrpT4qob/0c/boijWR5DNlr8iJMhDoPpzRix745yJ
mVGILKzvsDXn07070AD1Uk6DXxzrro+iQxsBr78H2xx7oGDdUKBW+pjuk77VJ8ny5hOzavE9x+XY
4S2MMMfyLurejcMc5fLuzvHx4cuzlJo5GeQDTx7JyLJ8lCikZF+7GWOiX9yVQ1J+5VOl/gaRCJ+r
FOTndfXqKb9jHsDIyNt9rncZuwQWr+yeHxpYMz9UneWPll/nMxb2npC3qgr4f1gfl3EbDsJLzqBf
/OBZ4UUO9oHfG/gM7MR7KDOEGLbhhOcF8aJCFnKZyOi64+jtqw1yw4jDMOVoOhuK29nOzIeEv/Bf
RS0leGQs7OlepTmFv7HxiDIWWR9HhyXnxEfqBYvJh5qxqx+jBMPLXrlxfF6GIjoGIuse20EDNqXN
M5l3/DQ9kSLMeWfbTIvZTss6fE7l2v0XRnpud9USEmVuQk5oNC8My2PaYirYzu4KLqHFAXV/Q26P
D3O6UsueBC2OU9UaFOUIIi7kiAQL+3WN0urZUV2lrs4a4GSRXLTqCOPaXvzVWfY0nYaXKoiSH3fG
7MBTOLTqTrZY1q4wr+p1t7iuVjvsu9RzZFXvPlZ5Y6jOnZLntp3tW4ml2G5kguXrDjpkGkFMWgUS
XYnVL1wNeSmIoM5AbURZszdL2WlP38PAF1TdgpwJFnep3fqECj89pkWSUMdU1e1+ScvuJIemuLaz
756gLi3+L8T6CF91yckhK/Alc6iDP/niMNGLLVN/FJ0hNFOjovhS6QYZxesihiR+xBzBRNe1xHyv
MfkL0Lm1E+zqkTyCnWO0cN/DWXeZHFccCsfHVLV1ksgPvypvDoo309hmRhdtABARx4p9zsctnxe1
3IOOvA105r2R5uHBgMXB9++8IY4eSvpudza3Q82OPkQFIZYXvmLxj4dn3PmKIR3SJz8oWzyUCvhn
+jkWctV35EVLiu4zl3AAvxVT/udytBPvQd05MX68UE7xpgd7ejdNKXwfGq9xVBDJ7y1PWgqk93hb
puavJ0Z7oB3NlVdH97hUyEJB2E02Q70iY23YEVFvCbUbeQvVPXDzjVbDcuVG0XspLYyiao53lR9j
f8/dYTiuDhtFuIMUTV+aIC6TA24NeSkWzuOQNMP7mmAHoYolSJ/J7Xb4CzwOCSFzJ31Pfvh7igrd
CM4L5FSefIdQyQlgFIkB0AcEgWn+xNZfEaas22q8lipuYJCSgzK7kT07yAdvmfL7gQkiO9ZBz8q7
GFl/bdoyyMdj0DrkgYteq/vSUPDwTUxGBu+a/NVvLflBM1M3xaEbeAgSgrYQ1vRERwr3SLjH7U59
Intcdz0L9kWbxeur/nJrP003dH7J+4GeqRaaiifQOZp5kd/DPIXeKe0VAzdeJxSOzEK5JVTZDMvf
JSq7V4PABVgdTQMz4bapShb3S1NSLFX1TVt8IkC46QlnQ1H/X/jGK6JDekmFJwtzoKiFabeUnRA7
Ww11hLyu9FlwokCR9jtbrweDoYtbX5BsidypjqldBqDEZ43W37RuQnIacvOZoErlT6C91QPLobXc
mdFEBh4P6hfVPDp3/tWTMVCTc2UuiJg8ydAGnXvKTuY9Fs+KwKjC4ewV/Yl+0HAHTKiF/YGBvcBF
2gr/3RlqvF+jqNVvAAW3wW0qirT4srE3I0oueNuGeeZAHXJrpEmLjgNfhkeI75Nj/sBTi/MLTBeP
5gPcJ1yimvWt2sfutA6nWfpwpCoWy59UjLJWYbFYsiCCy43FqV7vyxstFVAgLqodH56WVQ647GUG
Sns4/nPzEbl4KelaOtoxrTsAbBNriY7ekfY8Wj7nRuqUelF07ql6HJrF758d71bAZsIwxzVq+SNh
7t2ML7195laen2ExeZdirKsnOU2KamQ3kT9s+KMrXvGeYtwIdPdGcrIE3Ya9+4bysuEvXw+3jUh+
00Gzlcjahb1w/hV0sZIbIvXBQyfRy1mdzHUp/yDwY5JK0NYgaoryMahbRWjFF/M3FJL4mpb4J/cr
cROXlKa7HGfBqeE41w5ldfnYabmvlsL9sPjpWSgKAbEvxQfcn7jRFHC4LstpJ24wTdSXVU72XhfV
+GYi7MMkStKpOsLAoelNFjXceshNzcvKvEy/WVY9UNeezZvYiyS9SNEKLgJvmsI0eOwx6+wdRv1/
3P6kohzrc/qiRo5TfTNEybmjXCs6DaVGZSf4tb536zjNx7AWjngpTYF2l2JehXMaw3DZ4OYKWcdH
YBS+iJev3LA2DeNnW7DF2jKYd58RP/gM7MLlCVdzpLiEYZaQjc0cFqBitt64HSO7fmGq738zJFBJ
qPsFOlwyQ5BSkhViil3tsDIAvnrgp9kXICy4h56AWbGvkVFvZCPs5Mkh8CjT2xQeplKElezWwp55
8tDzgOqeQa3mOM/csDg0UaOvtDFl4pkI0+hfY68SF1GL2mUaRys7Y3U3wZ3jhfCWYjDQ3wWUiogO
bY5XRBIcWXeHTOkoe6jwSRe/4qANz1pi/IRgNVgFgSH3ppeRUqb3qOXMV8UUWaPrlN0ddcBrsVMh
HJsFuJRwP+m5mP8kdeucZgsnfrtOy/JSOVL1iM22/U/ebLfbqTLGfyJYEFQHDqUOnsBKQXgSWZ7d
Kk+cjn7avr9CTkAziANhNXtCLJLnqB6SvUpYWFUHZlCOXH001d3R9AyTGPJXqrdaJ3afK2+9pXOX
oOrwUU2zOHlEPS81Lvsd/LIuZ/iY1/OYhPTUJjgSsUnVXOt4dOOhPafNHJ+CNs6fpMR7BJbLa95a
LNk/cZBEWx/v033eWfNvlmXg4bUdYWykrnvlRToiX+r40yVqSVGtxo7E1SWm64hx/dKysdyCHLEE
OGnJcJ/QakgIehOa3CXO2E++LfSa4G7y4Z7U38tK+V0yk4jkiJ64/NMuSKV95nfIG8xDGDo5tLfd
/a1AZNnmE/kezY7D30dhvH5W5VD/LZfJubiNi8ChtZA4zAxH0thJlwAlZopfc8SJ+46as/d8HDAQ
8+VDOZPcEKDVXbOrYTGpt8I6iKDdFAbkFSVWxlv+AuNA36tzgxqtnzVueXyyylR/YSMQl8jEzDI0
cNXtQbmgjkGr6/6ssWmf13xZ/2SjEu/UdjvqHlZj41xZm+TcLKiBAWuPJpj20sVj8z7lIuLlxG7l
hkUb5zuEewURveSleKadbjynbADDw1Lo1dnR4zUcebFmKU/4YnjkVaxRslNKl6Oq9qiP6LziqIZq
KA6FLtx7OZa8HxzOQSAduaIcEItx84cVMcTRmOAFRgh724FlvT2t9LlRVjxCjyBvWZ25MXt8Y4E+
G9yetK/GCx3sSYMhCXSV4VUI34yoTFr1LVU7kDYydJmg+HHdKdtjuVd3AT4AztEixttr/BQ/nOnD
XVtrwnFcDAqxLIkJdUeAUi9dEytwNsCOGgK3hGo4uKGlIRN5JKUOpEXmbSMitpfTnI+vRaMzUmwU
NgKPynqO5smyFAd3IOUeDu7gP4JhWP2jZ2qbnVePcAYcrTB769hGg8bxjM6unDXS65gRagFHyiGC
x/1Kk3QXx80TkvFqHuEr4ryCiGej+9ko9D347Tq4tKjqXLugF7Fw0Qy07EU/tvpuXZaaLo3Uaci2
BTGB+QSta9mmYUCSuteAb8lT4Szc4R3ugy3IDBySsZv6zX96jZqHkNfXd1DY6GV2xHgSzsRzieZC
s/Vcn+YIubbI9AJj/0PRVro7YJaJHnvpNR+rLEDed6OeXtknquwlJsui8m3d5O74la5eTGmQG8Vo
D6Gn2Wz0A5H1UbB3+C+iZUN8C0aN/6ZqIZZqill9qdbPaXOSKY31jlHIS9UQPAcNhUV86mle3zgn
0wdHp2vTVLs0tKs6VQxY3Xs4Jq35W41Rmv9hwsiJN9g1LSlBNYTOEYZ48yr0vhWjbBWJw620GlyI
qqP/uknGHzLNAGigdPPax23BdYHKasc3loHcmfueFMSDdEYvecRyiBFxU7sLovGSR/IzjCrxPDte
2Z5GXS1nKlEwQPhL+yryEWOVK2Lii3aCHqXjpOvp3TDLhR6I6LvTAKh+GpIYfxq6TkPEzLAxP5Ok
FuchwWcRnGEZygZnWcQsYAmDsuVo8Jh334x1evlLhKotd8SS/X/a82X9pG6UDxctIMAP2SR9czS4
hYiIRwyUm0Al0aXgyXuV02JDOCDK/z36Y3gK4gCTieqaaB8kIVe5Hbpm6yo1eTg3AkMHW8QA1s4x
oRkgGOu5wBU1/9KDCPUXvA2/4JyzpOO39fU08VbOw0+8BpN94UrxzAcQQQ07Yo77PtrObAEJcLfl
E88IADBmyrB+WFb2OjTp3qo4vtOcw3sAaB5ALOJugzjV5Vxn56zw0/+wtKtmx5Paf+LgOlzidlW3
vXfc/yl13f3qCjqYAUqm+kTCo3+xgAKOXWS63yPQpweNb8JSo5HmuFccP76GvU//Cj+Fi9iMHxJY
Faee4g+7+MlLDkOBUYUgbRA1/DX5IveoozIB24rlj99aUMvpb7LmAdDiFpvgsIsL8NpfPLn5J1cO
TAm7n0Q86IzJaeHk5F+MQFTB/LS6qC4U5OTUD8Ob/ihhfJQs3wrQFYRNlNryNXpfHPYUJJas0gUs
MSLFXNGzM2Q7BVJ4OhQpPpVfhBgKTIBA9cdntzZc/VRYibC7HwgBdjsa6WHSyD6zx7hQIwuzFs/Q
jvhhnkPrsgSxBAU73pPMx4oDec9GsDWSsYFy4sghY2uNBNxqO78905XRSLyv3fy3bziO3xdZxAJ4
NEV6P5OD+J3HaO3pPkW6w6Pm+mioATjTGfhEAjjNVmv2zJyOE8qaEjXMzvNzEgDPnrbkmtwTC1QU
lIYowO82Mun6Spl8DfcVX8cx0EhPaHg8eCC5Je5u8vWiTxkvXYzLXNE1pU5lQxsmUZQG0bDN5b9R
FzU1UllSMrZhKuWauUEhdfJMCKut3usciuPecEorDotfpntaF5ii06Rbin1jirgBQVEm9Y9LeM/7
DMLVw8IgIBS+D+QWys8IDwKyKJ7ZJLvArPRfEf3oZiUMikvMVXG3aXl07YVI0CVo4m2PTcDDtmOm
r+/VNBOxznG6PteeVXarJkc+sf1OKCn2YNj+9H42cIFAEg37I0cb8iYQFxl6qeRKONj4O2QnHHvR
bDJnF8QDMQXcRgQvJe0VLinPY1M13ZlTpbOeVnoInLemB+N9vLU55jfN3kvvV7pwvLugnoW+sxP7
/WvP1aOPpbUx50DBenaXpnl/z/W7fgDashXvoA4zsu5xnLSh6yGJeLn+k81moFUnaIqSGEdWcFtE
IhiPrgRetV8Gb4KBViyEKwImdchFDe1Bs0vRalX4VABj/GZ5Rqjj7AUSYrqKBrSU2idCSXFu0u5N
0Kb3iCLFay07HCFFIOqPmN6RjAmnzX6jZqV/oHq6UEimEWs2Hk5+t7BItrgiAyBTjkzrGg/bKiv7
XVJEMZ6KmWm/DNl97hW4nUOKZkEGtlLQDWIJ3u/jhjkrODtzN+8NZ514EwRooVxTrW/22ELHHZkv
KGTkLOAusWC6ifEQI4F8Uby98cYwah5ZxBPwz6uGdTQt5gQCQ+nmbFF80lkNuwJJ8BO25iYoV+ox
HDuyUUnCxbX71WdvyXVlFi/Z0Y4+RV8dDySwrR27jFeIgk7+EuYsL14REjkRxB549hOnjiV7X3kO
pns/zQhGMTSda/RE6DPJSONmi5ZeiuWCFR/wG5TR00Lmt9toUSBqVN6oCM7c7mTXhVZ/5GWYS3eT
4j+gPUgZmCwYR+bpT8R3uNyzhF1BtnkeiTbc9o1FZe25Gl5XLtvy3ONHIAXXk5bFLxtG71GVT7/h
owTdp0OggjBDw4+RstS5NKFS9wUbmv+YLBNcisZW6PF9E3wUiZ8EJ7bbxX3GqMx8WgYmfcKc4uOU
WCbE6XRKr+yL0MsoolM7SQ5sw/pasOAbhXjuGwdUpPTo2+sFe/E9Tyz5C8eM89KWPs5QYQWkXbAj
13mAfJKBc0Ujn7r2dwui6842xh4Yu0grCbf2TyP+hrcsA41/jcg370BHOFQrhiIXWzwu1WOmjb+S
wSY/vC29Cekf7SvYo/IuFHLManxdGG7fMMKHFJ0TeeRrmqgLWt25BP0vVXmxUivn0HaJegzHXiFq
LikeROwFfv+RxXX7M3lsoMkYmxZ7nhvSpK4WcCrID/57gJDenOd6nShY812bnyAeJNfU8vIjDXfb
n9GDRYrodrdZ71erIBv+5hQq4scey6h5ndOhVHcU1wfrWxSb3H4ZkKGHpouB0lJXVFIFvXKuelzZ
+O4izyy/fJ9s5038+g/GIcYkVwOmbUIsVslgum9RL5wzumawcpt3RXkPJTkcnoM5YGNCe10N8kq6
eCpdaU4Ea1P/bAxHjSGS6Oa65Q9uKmcx352zzr8ch+A5SCtNGqkfj0BFZMjVoJvz6PgN6zzJj4gK
t0T6QUUjfptVV8XVi6DQvEDC8On19kL/xDtjrVMMr3hY9iwcwi8XpMUzec0S2Al9YdditT7zIhbr
Xc15AW6Okw9HcAXM9eCey39Z7MxIymOZPkx9U8+/dRFhspvDcFGQbgZ7FN5QjYexAgm8HTDlB1vO
u/WXDn0Yq11LYnyqZBRs2NWJR94Q6rViesV4EmRkPpqo/AOgVl8Bes+W9LYNnqAYF7s65zm95ySx
vgoVl7vFKKc5BqT5941ICJUm3lKSMYHEwoPJPboctt+zibj6Jg1H8dUv5L8ZhPk1zcz1O89h3mN2
dPIPl2aCV5IN3RNpmN94Uqc/0Oyz0wxthuV9WV0qrDKnAJggK3jRFSyPJ3lW6n8knVdzq8q6RX8R
VTShgVcJZUfZy+mFsr32IoeGpgm//g6d+7rrnL1lCbq/MOeYAaCf/GZh3oS2tvstvPXpIoY8cnfa
KgNGPXVqP3teKL8HxWGN8ifrj1XdBMAvRufdYZjAkGhUDseDTuRROj6Lbe+G8UGmwKdkVJz9W3Ov
fMWluvyAmbSgW/iJy44P84pjI6dGM5lHj/NkNy8DH/sTdm3/RIVKKeaBC8KVZufPlZn876JwOgwC
gYnuI9vI5ZISzxocMNpiW5mtWR6mnN4PhRKcrABXzoMnGpovKoWdl6Gl39oK/C7MVZSjZlnvHST3
VJoQn1mlIzEzUVaztrLTNfZs18gYTVH+3mYqe6vo+jnkh+gh66rhpetysFnUM+X7GOiPvK98vq4S
QcMwuM29SBLvswXk8idzZxyQgS7yo5zZ6a/e8rfLwulQpKv/TCxiUR5DXrydy61H4KjvBI+q6ZHd
SEx3d6NNI76btCSKHmnTaVEu32rQ6Q/qj2XX44zZO20azT9+X9tyb8Fc2bcwA0gWVDnrUWTfqGQt
RHIDvxZBJpFJjtbcRE5safsljLzpwb41WehGeH6zCQwlAuPo4tRFcrWZJGy4pKrYY+vFboMEk/PQ
ufmJKf1u8cppX2cBdRYW875g1deFZ2PUCNLEezZzBgCOtMyzNebp22LkC1Yra+/A57u3UT0fm0aE
TwFm8sNatYs5iRZIAGdRR7+AVLqJhes655zfB4IR2wOx8dzJYxMzCsoMr2reFo7hM7g7fls2TRk7
nj4P31v2mOvRQ6bx7HFZHYsssd+RPxBdgeiZpWoA9kOSXFzGk+uFHt2j/kaaObxGRYsUqJLFO0JM
wlV9GMTV6BgXFT5oSCTe2S+bomyXN5oMdzCZGznwuZoZllUxCnTTNFVx67pQsMpgkgB4J8bBjm+X
jxgbxthkYXTNWDbR0ps8RRZmSTb2pBpn5PRA70JQUdtHNFnTXzN387dbiJpyVn+hN5x3TjXNaFXr
JHqzwgS1Wmo9r7e/FBFkS9AmLRn1bIh2cqgDyWIBBDegXjrYET2A7s2xJGJnC67OuSCnoBENg3m8
7TwLm6jSNj8HGG34qCu03DpHxmE7lDpgT7eDYaLtAabeCBI0nlhQAYtm7lPMFEy9U7och2lPIsLQ
nUAfDOS8jHp4itL1yHcd7Tq1IgcMLNZ/WGq/HaQBMRH01nnOpzOWaqaVndTFv1AQOWhph8tv4Ftd
oSuXL+sShWE8yoncE4gHA1YmtaX9rLjQAHJ9pPS7t4Jt7PvbSojyEJXUEzka4ac1+PeZr8wFXEDq
nKNUcKgKENYP9oiMX0N92uKOh2CKquaeYqm69+eb+VwitfhJOsH37Vc4kKIylHuSQnoBfYMn2hLW
fwX5o1snXwAt4jPYM3cxrByRglXKJYQPgCgXcRjULyXp03Auy8o5hUybP8NAtZc5GLGgUw7/ULk3
v3XdPlY3hyWvbhLwfybsaGMLS3xNXfXYDir9COGYbzQb0ccklPUeMjohiFMK1nVb+JGxMdi0XOq5
99NYonrmwprPPpVWt5nA8pAST7bPUbnUzxS3kOTcAFwIsTu3K7TixnpzUxuALrNcvsFIH5lS2Awg
+ZirYnahlnw5o+xBbZ0VuBcQhag4qwKmB9S2G0r66J0ISKwEYxsckQEB4CgqLLZFpV6HaqDZJBCI
BGDbvyFT1ynftdLPOWT+/42oTfWX5VTU7LwlFQ/KrKmDoYGZkU41tHnlwuaa8uYH4op2Nzx+N8Gr
0tmfMkmcB3JciqvH2jyuhjmEPE79P28V6pBg5w5rRkRjPWa0rGnHehZmw4YNf3+rLLLfOXH0C73+
Z5e4yWEowB7jqKdCYEVKBEGtvljETzmFX6cuZihCb5uxxYYNwIDua4Gyk22l3zXmYg+0/Grs/zId
TuIhdCdgVvPYXXNph1CnovwmPK9RAAXFDS06gnzHHe68+u5EyI7fd9UXoZ7ZYUV9vy16j8E2bLP2
sEAye0p7013pUjhLpOnMXxI9zKYbV6QEpqkZtXTES245FwLidgD87IZVZnp/kyts6SqnrbGABbWL
SmKrttB3zClWRKek90HL2rDNkPbZSZjt9pi1YsTEhDSbXGFoqLGq2oXpt3IeSYQo2lDpXb52lLIt
6ioSuYhbB1jJcbK8AZtD/+hOlt4OU4S1dXonbNVnj38DdaB2gn2TfpgJXykUvQiTL0rlbJ4NPHP2
7JLjDE+FsF6dhbWN65ryzg4IL2VGk32awO5OkY6kOYiqPECIvMmPSn4f7OFO9pQ0DMP2gQN/sVc4
d4htXJHGJD05PBMG7CJXJ7Bu1iln8dgeLM140DOBfKlwZb8Erp/FEf43crkiGGjB4LxXarA/LHBt
1qHK7eJnNB6SG26t+rf0h+k+R40VAXcnpmvrMO+/+cUp9kngqDk5xvyh0bK6eFPYb5UJGfXDfcDQ
AXwn0ZJ2ucUulKON9246dkil+dgd84L8WJIOZFyTYYvSb/4vnRFG4ZY8FzbG8pbqGEVV8cHghf/Y
GD3Xms1pVNZnTALRpgun4b2ARo9HZV4Yra9lOvwx5fKaJrcagRjL5jCh5UYI7PnxAlNoJ3VYnTCe
pU+KlcNnkbi31I06YKx92zU4c8bxiceJkgvo+oElA1ON0K7J17G7hz6E/FkspXqd4FNsy9IQrIww
Qdx0itnrTev3huVhqc8JQw+qqTRrCQQC8Xq3glHfEYQy/GDAjgzLrLThgItylGB+4C70bo7l7jo9
z7+tKthdjvwVv/6U82TldbK1OgHoX+DV+erIQ7/UTGfcAyVQCJ6bTTheNB5wBLd5bTHRRVcCl/sX
+sT8zvzEPoRV5CuCrgb3eQzbPjuVgnX2flg9DyMPRjizEdi0/jnC4yqaEZPGY2brvzy+ojnUbOz/
OEU+NV+2Mc3j2q/dUwDz4WlCdkJvpyKBsz+cyhumH4TNCTWbR6pUZAPrLWBxTvEAjR0rj3R6WV9p
HIlv3kCKxgTllYVzDNzmRtFL6uli5mmOvkb6vACh1IB7A9WS9bIiu13+qpxXYA0CSLNMm5CJjGsG
2HA1RXPJl5Cblx+wKOrnYBoNEI61K8+5E2Qw89r8Z3Eywa2KttrfA6Txqyc8AM60m8CJvZNGR61l
MMDtM9k0R7pDNNIkPQePYgK9F2qvoLGt1vAlS0sfoJxB7PdiM/rNOTbg2VBNjK4Zd8geml2ihRXd
oYBx5FZXtb/LC9/eTYq+G70g/MIyJ/JvT+OaMapDIuNGHZRNXxKh5nEdosJvo7s1axr7oM3s/cfe
tD2Xrs7pAAn2ECionemOt/CGPCaEYA+1ZPjNkWs+MsUhy6eOPA+9cOKizYTowAIyxFhkYtMbJkA2
rALGOtj8t6PHUH3vh8H6iebGN5vAW+UfM1RLE6d2I9XjRFgrUkMmbdGoN5X2wQX6fV7cyHAOnV4W
Y3VVpBUueFDvXcB4zSuLLGtBnXNz/37ZNLHtR+ahLkBi0LFMwVdB38//vHOwnfqzVVNykeBEoPbA
VEqh5E2H5USvwMfEHFW8QDNhHrVl1yH4dOxDcXllXinhSIFa3eL3aZJnNy2ztIgRV2WzorRlAJ0f
ORqsVDAhdVP3GqGpwDKMPjL7A0exSN6SejTR54RJXp/NhJwf/0prGYTaBhpdO3EbkVPoHFAH6OmY
8a4WNTuezFjAOdrEzu+dJHFt4NRwnaC5hWRAlKcyzYOZRKt1tTUZS6qfayKzdF5RwvGPClTnUmBn
p9xIE2xgtCEm/8c20pb/TRUclAnQQl54HXqOSk7qmlWJStBX0B+XPjg82C/9ntEyGHAunvWKLCS6
+VdIwrxGhW0NR5WADiJEheuEfPBBYLnr7CiupSIVKUXnsMEoy1wsm1MGyIikh88ynW97qcox93S4
CUh1yBdUYDhMvI3ufVUex3pa9d5EXv1JmIZdn6ySpAKBH2iMncIuiyPdNNmJcpnW4gHOXREcFhW4
4WmGs5Yg6WyoOQHKOGfjjvQoUHpYPPl0ry+geSA/biyv0/pS64QJDtr8toGxFebzFV8TyuHGSFpo
h5t9fCj1HPjHum+iaR9a+aow2LXm03FG+LwbCqbZu6N7mY4D7kjk+FUf9C/9jdbRiltUI5pXQeN8
UwITvJjkmORRNQxbfB6p3gtYXl9tPiIO8cBbc9fUvvMUZP5yY2Zp5E2DJDnlhDgsXE5958psL5yp
qu/4T0pFpKhCkMtxIIk0tfRbby3BMwIoM72SUTQ8ysB4/FHE0AAqcV11aIbaBWoXMZERjqLh95GX
UdBW9sTZnrV/KBaa8XeE+fNLQB1uKIfleIidDAP/PRKF/r2rsg60LcP254bI9n+Rhz/kiOcVSWuF
pPSBOaJbPHrKofBxw3nHY5d9464IhpPFdHUju7R4LDgOqoOZSF/fN0Tf/UhJTk6c40Ek5oLRZXos
4bpl2EBzPif84foCMEwSVWU5uRevZecs/5jHj9c+Ve14iJY+/IEYZ+OpJkGRMaOrqaElcA07zlLZ
nlqvaP8OwEWYK9kW2XTDOtkXmy3bF37S+brMnfXGa0v6E2ohEs7CsRiD0+An4mGia/H2jTDlJdOw
f6nOOo56fvnC23uqZEPcMzDAsoHtnwWGKqL7ChKbFafYMmgVOYHEZarW9g2HjmToT6OEqlo4OY6W
ORD0bY50aZJIaOsfSEIoAiKcOoQjlXTUd0IIx53vy+Q8+ljJubCnEu6NaLETyoG9ZRw0lnxdU2wd
/DtwgRAVmrbglUYR3JGngFdKWpADbw6dzDDCq2Qdo27zy7caLvp0rMex/rGqGXHayGyWZzafBfYh
AEU/XoFHFR+9SIJXGOblC79ow06gr4YzsR/Bh/Dp4Y4MAR00SINBfJw34bjvm8639iE9cHtYXYbs
Mc4Uuk/X9rx53yOBM/hcbQx+A57vT8Lbk+5S+dCBz4hgs/Rv32d1sSMtXKc7a1KqOiXAGXNIsYSw
YbWYxQugc9jbkl3fLc+TQm3EBPgc9KNiICISUW6ripJwM/FlggrtwIxzy036uUC/dbEhbuYHwa34
TYQiPTP7W3mlKgFoaqrbJ9ajzbyisRricPyiwhU/jRHbi9CmcnCrYkZbXAvObbN2DqnxkkcCLyzW
i+3AyfuMk6D+EK1P5i1PL4aC1MBIikkKg8TGlUg8hOIgOpk0z9PXfmH0vBvBZ41bxgfuUw44rI0V
f8NraqBzxbPrpVvQseLe0rmNNyVdy7tWN5ReA0PX+rP3rb7/wzi1ubP0OqX4t6YuP9P2eTuFU0Mf
mKzx7LEOa2YQoHAiPeT4d0zk7LNIOTVElphvUYcVRppqZfYp8NCxDVrgX96eubQ5KfaFqGeINxNI
KHH3FnEzOf0fgGFy+eskNYEgm1owwvsuXINMgdLTlUcKQiM3Q28LNNOwmLOrLhu+jXIRE+lHnpwj
aDwRk6R5bqNht0w4+jcC6um0razaLAd7spLiYPIwdA/aYhzmKJ6dTTcp/RMK9tt7WXXTnUCU0313
zJNLBA1pr09Mx630riNQVB5cU0hJBVUBkZkYLlyr2Q1RN/WU3FhLC6h8EtcQwSZs3WCdMJMVfNXS
pJN9ZC2g8y82vKO69yR+86PjeK1/LRg22xu7H7v1WLUDGWNuOzX+cbH7IjxxW0wMxPMb1FSTD5/A
onHYl7o2SPWt3XXBa4MtkrwpoFDptzZj051Tbv9/BLWwp+HH7l+sHvVmPEAJWR+8tLH/oUyeH8d0
Aird5ZBdMD4I+2lR0AzieYIac+5bJ/iHjoEtnfTsPNgGyB7DM2kja/CloIfGY4gESkMxpHqoq/wh
6D1j7ww3sUVfhBlOIOvdLlUWnNcwIguZ0ooJXNFnQP1gvsc18ZIcBkQki31hs+98cQGunSqQOJQP
U/M7B4iiN6bXaEiMD895J9KG0YD2RgCJTaX0Yw83hIqyNpTEucr9V/6m5GX2bbBw3NmRDWYuIcyp
CMN2fM6RCp6KlS3/DaJmP2B/z+5aJT5sxao31vAbH9dphrtCFp7a+EBcdqq1V+z4lnsOgQymHNQS
pXsTJuIdP6ounpfR9gFUMQffOpy7rEEs5zGALmTjfK4lg7DWehJo0O8K5qnltmbQt++sgkDCW+5D
3yDa2lWMyU/IJTJII3MdHZCNsdd3o6L+WGuDv7V2iYw6TGa2yrt+cREqGQExTKuI78IkySp20NJU
x54rWasSZeyKHaktnP9KhScqq2dupLZtbtVU+HljxTzwGdQDiDZ2qS6b1g6pU1U6m3xqYZk19fIl
3boHvLviVLExp5w9x31NGXXvkjq8UauMOKOcgtrQ1tEH/Ji/sI48MKxmekJvyPtfjCsvAXNb/3Gm
ibqCDZ458Jio7hE9pm/a0t6hDHkMy2nJyLmocwFDP6MN8Du3uodigNZpifR/na/Lc9PZkrVriVRz
F+VlfRc5SXkcqkK+tWHFHcgiG99RDyl4Mykc46gFw6zYcCcEu9xHlgx4KIk2SkcO0DQMRIdsJJEa
JTi+Ob32xICXUxvc5wKPM0gNxGsGswybFCglrrfu/MTjJgVm8JCXmXzMEL7dhYKoIabT0IsCRqZo
LTv1M1JtjDF12/JqVhcMEpV45H23jFddSl7+sO3sOoymWi4LBmXdoeIRsPco15OWb09xdyyDgsDT
dOXc77Qz5vOJda6dxKaqNeBZKgt8MLwbL7zWxC0yWi67vQmy0Y4DT3Xld7kY9gi+NXPkFoC3AArU
RBS+5iij0Nt0BjYZ2miZAe8g8A0EAeqxE5BenyH1bLee2gvB6xfTfNTLx2B3WbMV6xD2j7OV6umO
WQvGDoljz+PZj1A2bNIES+ohtW6cS04CqFUdgxR3WzkTigCGPhEyStuLDl5nqhvDlpQfrpfUf4BO
cVuj6ey/KMVRBjugW24BQJwgpCAimgf74SSkkexZnxN0i16iBlQWkYNGzz1yJLuNbUjLY2hGmt1Q
o5Exiwz44wXd522OjFxpm2e1WriNajEyvoJ4hsIcwXTcOGnwAk2LTRr/+eJdNS3H2RJG3ZebsObb
wj2KuEHw8HbXAZ8tP+9MNOduRruL3ws7MrZU/LKgQ8JgGPfILb0XaGQRqzmUGyk6v6LLD1lJybPj
zGZFWegsCiHmJijrA+4jXnPymKF6ZmaCxZiBDoq9xvGWI96gyWz7ZtbuAY+qEx1cEEenNgLwgrAj
M4bRiVLFHe4IpQ66ZMeyE0NHGkUkhw5MSmgNj954y8cISZ9/q60OJZ/GNnJVXglbFqQgsuDChPnC
SdLZ9oEYGSaJPElkzuYkEruXnmxFBytX02e/oDrAMDfhknzZYMyQm2iVq7iIqortk5v0r7bvub/r
MgDQJteJ+x7BbkuDH3ji9tlMGLytqcb7Q9VZ4ajroeCe1TLkpAgSwOfu22UlL4hWxKNjcqjceF3J
o9sDmtRrjCKWFhF5MmUg6b5mjeF2O/D53GKajx1gi38OP+xXw9g3vG+WwpovHJrYo0mF8zDc0WA9
83rjZw3mPmRnFRH3QkUQ5RZBNfLGB0C58ByhdYY+l7DX4Xmyy9OkwGFtzbBEn1biWM42KG6eIZSs
jQ/bdOkdVg1D94m8FFAbFYK9H2kpCMJxUCMQbd1Heu+hcULw6YZLiwJjHELmTfQzO9168JqcClTU
ZgwrGBpGOVl5GRiO+Ay+Wz8/snGz7JPvSBR8JulqoIbGhOFu7jSPEDwSOW5ZcbUue5t6uPoFEvmb
e3SygeVx+HGmuIiKm6KhvRXU+GHMOosTpxKCEJ0Un6OEP00e7o7voS0h0ySdd0K84qYvXoi07pFV
+0DAht/686cv3FbtgX0646GsQifaIh6RPntZ5FiEb4XDd8ZFMsSgAoLbyJWgvW2G7vhlziuCIfHw
af+QSmvydxThvfsnB89vvwpaLgtCdJBHmBd4PmOEKFV5NyIDBIdEIXwupdX/zq6+oczruTlQCKYv
Y4BhZNe1Al85ZJo5vLOlyMMaJrWp4DT4pll2cm7hzQboAVnO65tKlYpU/oM5zDKPysEPz0vtJP9m
fyzIpKrc/HfJRHdXE17NKAXKC7/76lUJ+aHIKZEERWiBeraqLFngjH0iw2sHxrgOzCOsrsjVstSy
IGUE+TczA2OY1HbolBIlz3WKNAtDRbe88M+C5wjhbbdbXZR0+4xBtLPFVD/8sIidrZhSRfnxaGXD
+MjYtszYpOsGCKuYfLrJAVXSvZOGtf9hJZh4TktZMODxekPAOzTIsdzOSTHemQmHf7wgO2l2jJg6
tU1x+l3RRND9Fj2EPivzvbdq8ZdLj0Z/ACPbBU+QmommIXtD6dNCbcpB27NsAaWFrBDq5JgdSSsY
/tljW/xYQ04tPA3IKE8OBmNx9LmtXxfQlf/AFCXqqXEwym46p14fRoqYx34o/Icm7VhHJBymwGym
1npOl6617upBVd8ZyfD/eTolAEx1iGMZDHTEMpD/6cXw+yWSPDMQKBn1FlQ1Y7s/N/Egr6uVFw+S
heJfuEbiF4168xSmC+K0ArPfAbUT1Fo7dUkQY2EFCa4nawTvX34Da0WBHFmjuSX1micExSwuUPed
4BZdbCmdvedKATjflY1EsdZZHqvNvgPx9QI70+niHrHhT2fTlxNEYXdvgtCxYEs4Rj7s+3BgmVP0
TIFumrPoig+btC5fFClWcfyqUEhytHWYhY0dxMGSZaxVcSPoro6+E5X3zFDgKq3uQkmn+ISKVc0+
76R8kNbg/YGReS3b5RUQ41OVF/OTNS+EN/SzuENbBuunz9JH/LLLQ88jlYO2nstThRD3JB2D5AK1
cnYazCD33DLlETG2eiHhZ7myzV93dHjEVM6B9YWA0b4Q0sv57Ixy1w1kdhWAp/YiHJb3VOrXqfEm
dAtFsXUzN7jMWIfuZTOgey5D69yEsx3bg/+58qDsEl+/KIA1cQN4D20CyXYoeRqWs0we2ccqTDRR
kJkPjArvLOzD3wqr07OlIRVQ3+fHDCUluc9V9NVJUEmpMCzOOoa3m6StKk7VcdgvkSe/fKBK71bW
3OhVo1M/NSKw790pS7bIub6SkHAacJFBh2S1gwDBKETdYXd6XbnxNxp3AHQtq48xaxSkGs75b2tD
l1uW0TqXxKU81wWEBrvqlyfEg6Rj9BaJQmHYX9Bh15eyHIufrkuBfxR1cezJBHy0zLi+S17KmDY2
wCHkr1+07MuJ+xNrQwZ29H3OcS4y1/f/CzpbX2Aq3WCXffJbUMnHabj2l0iF6s7BjYRhfmiOiLjG
txGJGIvdQT1GKqC77qFFWnagX3ui4sBo4DgBrbPwdzU/RRZEW93Xzh8b0eQ29KVzgsHtHj2j3bek
SOV/Ix63Q++QDoQEQTw5Yij/+H6hPlw/pL93WtzHDkvsrreqF3LC1GFVNoYGXNI7CySK7FRxEHX3
H+ErzQ6MBEO8ipHExRi44EmLMto3rse0FwnXIYGbgP3FG4jnId7osFSIYylV0Ia5yNBiU5bivlIm
f4MJVCGWpnBEUzLuRyH10ZfNdA/SFabvKBkAkEXEIDFiuoi7j90FY5MT9IMF4Usxhax45nBDuRw9
cbPIGq71EjxMXvgy4iy5L7NVSU7lYTo5tlV9o8e94h/pPt0RH06Ujchk2/lEPlPy1pbR3mKI9unT
Dl2WoXYOLYIIDKZMa/HPDUceoCfcwh/5wOUsKmv8hw0Qzyo9Y+XNwxNn3GfQrPl76XtTDJyWUZQD
A6ohYhFK88B0nRnX25xDrs8a3D9U//7B8RTnAoRB3KruELjbhPSkawVGygDSqHeijaoj6GD1RPYY
TtB6Ck4r3qB9JfQJs52NaqSLipjUb5o2Pfh/FjQhn/wUE4kL1kuHNe/TKmkZEE80dwTDkVLjoakB
4jdiJmqIej52TuYdfVBsxHtDKmTJ3DC2Saf1txbZgvRfm/0qFDaqaXwXlo1qnDRZyTY2hYyQTCNz
ShoBrrcpX14k0eBE4Frpu+xVsl2I7HstTUYg6Oqr4AcKyvRYumwhN02/YlHAE8dEHp2o85MOgx9L
eE5i43e6gPafut3X2tXPWeeDFRjknQI2itSmJiGDf0eJZ0zZWwJa9XuRNeaF30RuuK+Dg8D1zoDZ
N39tz44+ggkhZDZDu1fKr73dmiLmT6GIwf1FNBM3aype3UVh4vAdTJ5OQ+wpQdhXUbSosAsYcitC
zqD4Qw/SHUKnnuNqrWDjITTvTjIFWF51qBW8lgmsRMWggGM+Vr7NOnRo1097JgdkThDksyx0Lqxn
9c6bSCUUDoKLANr6SSXRx+QD9dd0T9c8DfN/DD3RT3Q5/b9dtsU+yGUQ4zDA60FNmDBz7fSPEzC0
puIl34bJPAk+KgD117pIjQYKVcwBAqMo+UKIILoVfq9S5zBDd1PKiN6Pyfe2TyJ1TKf6fw0pngx6
ovd8tM0HNj9qdxZW7ZnTOPuqUulc+t78ZxvUCfDRvnJPuBflEI09EQywT4DObYV2DISPJn1ghYUV
1GVnHqPWwtdf2cve1rp5wKsCfqLsWaQMGX7RtpCNwirNag68nvrWReHdF6FJHoU/F0gErWxrj/4b
KNj0jQEMK2gUb4+WVeWfE6OF51n0OAlrGPEKFuU9sQOPpBa4T5UJxKFf5vzJtYR5dyrEuLoU+oYl
vaFerS68qLDoD1EEtJdC0MXvBVLiAWMJzl85mi0znva19WzUsOWkdm2UOFu4TmbPvE0+5bwTVMsZ
MYhItnHPrcHwr0yAgCHzmdwr25kEI7kRR8VgMHYqnVzXKgTVkJKOh04xuTcB8cK006QjIfRyv/GA
YauZ54Ey0Rs5rXBnXqCsQL1BpTG/gVJr01hGdJwb32bVplPXu1uWvLvHvcguX6ROvDJ0f7DSTtxB
mRwu8xyqM14K9R70NJBSBGrHJHj56tPsGUgkSto0fAKP+2V7focOlWHdpnaw6Misca4J2Iu99pfh
4jodtw/X4F7K0T2JpbrezME7gqwg1JeOxe5ET4cl4guZgmpU225K6cxCf4g2BgXYY46d8mzQN7wE
vhZ/tO4l1HgbxOEuwe2pN42kAb7IwpfHcGjsE6W7OM5Lr8jJoL0/0TPZlB2t8ylXNzmVOP3PaqX1
iVgzxH0izW5E0CGQKff989LW+tjk8/yOY785hroB6sYXG0AYZCH6MqtuvY96Vur2bGWXPmrd18IJ
+bThUESMlfiBb0CN8dHqS2tbWtnrnMM6JDYAMKiEl+RtJ5uACGNgzM4YtpC9hilLfY9RJGhWL/tW
Q9LGYkqSD2PrB/Bh/rOT3zhmdZAkF3eQ2WPVjvUfXGvIYCtgptFI/iwr27H9agqGNGwb7d/SIVyl
0e0Y94GqIEK35FxYY3Il0oONItTjH2K3vW+ILoeJxhUXD7yNOyHq5dDAKaFRRCLdMHsc3XhYiHE7
FwN7qhtyP86T3M1i9kdENyLVRMBotQsy7MTxcrbQ9bqzK50ekplBKE9OsW0K4S7oLrlVEkVd4K6y
/c0yow/+rIM3PZv8F3kw+gqQXrGPkfzf0ghkAJwZ/UYTF3zIA/ddT5hbN9HiT1OM27y6MiYp4YX7
tvXi4ET5HBtjUEj4VrKXrZ885JPM0HnTJuwIN37LtNJEZkjvCX0T5DFO8JKKb25ICfDwYhREbGDL
YUPzkRCk8EpLihbO1WmMOjHc97VvHdJaiH9RMYH5uAHXSQLIqM0T/9Uj3h0TkKNekC/30AWTBaAF
idx5PWvSgMnoYW1YjVSuU3/FLLM+A1Oz6O6XgMleVZlTDnmIim4JyHLowphkwQQFZzp++25t71u3
a65tLqOcG8TO4lQIFr9pSNxBm7SUB32eQWWO5ImY6+hBFbr/1lxFd1MVBH+wYI3xkmqWAjTePglP
Lg+C6tcy2jBMbrcJ0+vvsiM9nlXUfCcYJh9z/CXXIiMjMXZdu/ksWKv+4qrM9gRgsmYrbf00dGAY
nDLLfzvHRQVljbfwrMS7INcrHtZoJrRysby3Bu1r3Op63KeRCG7yvy58R9DR/2E1mZxct07eFjU+
tO2qz7oA4t8QevOT0jjvcHpwbCyDs8mAZtxAKQLUTkgKtCgtfUYaOfwXDGbc8/9LXq3Qph1WPrFz
I2z9M4xlf+/Q6+PuCpY7mYj51KTc21PN2oYRpKMfcuqijvDYG43L1H+npRkfGgh+976PewyxJ1R1
e8ZiWNXFLxt/Tvc8s24cXaO+x5kQWQZ65xlY1gbkc/ofk6zykTag+1xmQzKNMqL5sxrnDTMd04uB
7MFtpym2oy4YHyNox+XNGd4wHPL8d2Ohs8OUH0xELfjy3K/MNk3CPduMdXp1OqMeCqUNgPpZ1Rvy
16ZnEIpmzytqE7xghWcm65E+BEyaEDP8z8+mnHW4zmFqzhrkyHAmJXE8ki9T3/dwQDdyos3aAMbV
UMiqxuLczdPP0h8JRMaIJjdVOlf7fErpMBkJv/lD32CgLdjTQmm9lqA7D0SOhZChbPJHMYXMiE/h
HhnsFnhGNg7ouf9lT+DkcA05uEhb8ZNROdCUox+qsyQ5ojKM5it5J6O8Q0JUxqRKJC9QNgSVPsSk
Fgz/LZes31ZApfe9dHtiIcJbIEtYkActnOEvEM78kZwsP/8yS8jjNtMn8P7/GZycj/R/HJ3ZkqNI
FkS/CDMCCAJeJaFduSj3esEqsyvZdwiWr5/DvHS32dhUZytFcMOv+/HW7j9Zh2S7nA8r3zqL5wap
5LUYITN/eIBNKQidomozGi6jbo+tG1lpdGo0BWEfJ7esD5Mvuu+Yl/r/dyfeHzyCDgXqwCM5QoZg
IeRSnBajaRPUWp+lFfsZ6h+Zb+osaNk3PockjX7CFhZq1oQuTLzC+Y3k0CLIIIlfOXV8YyN5ckis
dM1JkbF39+2k/oAthTRfzTZlQyBljjb1enyjYsY2dg2E4+rZNBbQqpAmXWDI/4Cn1OKW1oQntgCA
2stCV87L2IOFIG8WX/xkav7FbdvdQ7/MiOQ27VfCqXQmTat3EUWtL9R/pCefUO+VFWp/MFzmoaSQ
GDFnxygDz+qTY262bRH4Tt3eheEu70YRuZc5M6SHMQ/nIOaGAnceUorLr6Qz93Di410/yeRsWwX+
smnq77hCzZOPEv2ZNakVEKbLULbLTj7kqdFj7GQyc59q22g+ExaVHFpIKHXozMRJljo5Tlgvv7oo
mr9dK1+eGq/PHud6kZwJ9Fp4jSkeRefSE62L8sOhTnXXh85/8K06eilAmnZFZ/w1RspvJlsnRwVL
bDXtl1/dZKHfrx0VYRG7SFcy/s4wfrAJKK2LS6HjZtR2QhafxBm8jkiBNANf8RTGOKY2YCPdU6Rd
G5xPmT6vAK6NjqmVcke+2amowWsQs+qYNa3ceyI/3b8SV25vJXc8+jyzfT1i4x3sI1gY+7DgdUA0
cuYbDZT679KlBuyIBbU/9TWRC/ymZdkxSiEyRgTNJ688mbzMyPv7YWzfhhpLlIn4j40zd981tyZ/
A07tg1AEaWqDtMlXGNb6gbzy+LzEUX8qebWVpGEpDXFcUuU2LA0cvmAdWLqMXkA/w7IfCjc/JH44
vgFR6S+UXhd3sfaPgOJwsLyy3GWTCEgKTa0T/t2QuDvgNmNNTEkJ3GVBWpmKGW7exK112u+pPJV/
GKTGaV8OPV2B+JHFxcXvLfaWwbodvgGjdMsi7zDUUJJ5ZzufSLUpAehEjyBBvZnSCcfyrvM4KUAa
UyJR37tk+AGgISysYW7M544XL2irBBePP7kUYKwZkr2DS+qjXGn3zwjOwg3Aw1ln/GbsgJChC0nt
n5SmHySMSK/sGlGe+kKx/UtSytq+CS2OzyjgkdjH1djU2xH3yXSx4w5PL5V1UfqE88aiQYn7zY/t
CtPeFjmLlBue/64CPBynXyiReJ4oI42XDXEfDM0im2SxLWo+DAQ3N3/SSUvkYk4Lm9BaNsJDRBjH
gs9zjC+ZiiF8yj6Xw36ZjJvOV7wMLlkMZi1vNnqYVPaS+U6PmiWSgt1MptOYTp4YH0Pht9HziBvp
DkMJg0ScGUSh4bMEkAMZ+pVtl8caawcTSl56Hf480bLe88EknQpDrPxM5S//CC6QG/KWfjy3ehHL
GZZl/QqIGSBcy7IaeEK1TmKpEqH3BOSVzS8pKt6WTgxrCEhZZvDbliP5SZ/bFdpXSZbxYhF05WFI
+oIKIy/q86MGCgb+fgIKRgK0BvsGod08jG5HQCUts88RkypjIaE5d/Uk0wmnq9q/LEnLbyUxrQVI
H9zfLSQ+C+mM7T0OWq7AqvDZeWonhvTRGLAtgmn2zH9ZZ1CFQlbKvCQgAbhrVjVwSv4jSdp0ySzg
4xVSnsdxUOqBpE7Nc18LipRNQxmXWegiDCxXlMWuBY1SXwrhqyOVbGZzGrMcCp6aEvF3pZsy/eq2
+rXlqPaFSxXGJmW/8MrqtVuoooGasG+oUBsviTCdX1MPXF3y2KtvQCCcRzpa1EfEYc4VFh30tQu5
JAUC6zG1vsDKDrKogNn4vF0hdxpfwE7NE3xajdBqFZW3x3QpvEAVLFR3yF44Mug5OoxNPr5Y6K0/
Rp+9URMMviXy0VLJspNocCCn6PkvaOEzpls82WFmzdhqm+kF0op34UrD4BFxNf/APE+BA/WoqGpg
5sNMBz4wzk1u2R/cHBEYdGEcmLT996Sdfmc7TfZ0p3DZcwe0dafwjw02e0YJYg6o3338jO+C6lUc
CPE/e8DXwcMAuNr9njmuP4A6nSUx0s1E1XZlj080OmxLSUIcONwTIcm7t8YVfYZIcrcfbifxLk5j
S6c5XNygwGe1E4NLbA/mIXWLkbXHQUXI1a3To9V1OZYQbzhYlCKCpXSbBzIt6qnukeC3Ia1coAvm
cU/O5BOD43hDtzYvaVSrkyk98en0fXiGk0fDlWf41ddSN/4t06tXKnRe8wFj+2D6yX8zF/uDScaa
XC2okQqDTe6zkHb0xsq8qzdZ001AHNzmlelCDiXBhqchfm1YmMmN0+MPhYF4R14W7wiC3g29rvqJ
QqGfvGodUsIb2CEAljg4vIvKRf3IBOC16yi1HPvVqZ8xlU6W8J5j6K9gouAmFEJhXWnrglj94kCr
yIFdAYn+KLz212evvgdsE/6ZwSj9C+ni5masnScJ1HCfhfW0sT3jyDYM2bvweGGbhHOugyuInLkd
L56krN4iQz4PjJgnAVtl39IT+QDUIWOdyhHFnusYZaRKOj809qUV15sUwbrdTUDlb6WWxYXLLBqc
d2dHmOCtaNwLlOCQMGxsxsyF44tY8tnZeC384nykyLTkxAlQlNk54NQ7YDDhusjuCr1jwJE4y6+W
VMSmH+x3j91SwFqn2BBff1S1Hz4Yk3VLCc1tBjLXe0BJfFRd3u/mRen9PPn1DiW4DBYDjuggu/ob
hF+/x87a7zvH+Yhn4pCUsm+Z4wFLgi9mgmWx4JvKu+Itdc9SYz9uBRVabYjfTrekni3tv+YRzDhq
hCHCuN8L8Uegjrq0Lwoj9amMY/eDlfhFLhjFRZskNCRLNNVBfM2z/s9qslsHA6FrtGUjoZrNxQ6L
9GAr94Rb1dm5nqzQdML4iDU5D6I2RkWs5Lyv+tZ6QvL3LjKZL0D10JrD8RWgjsMstAQ6duYLPss/
sRgUsZsWODZu5T2ep79AIFmwRfRJYuMEF0HJ12ovjAiGLlY0Pg0mWkpO5TunhHmmjQNXz1SrXTs5
goydPTvNRsVl8yXwHO/HpoIO3Iy4hi/UdCp3qxXvBp4MoKxCbCYPCy8LHnmAiWQ9N6u3gfGVcXbO
naDTgCfGlZPH8YSLuq3chwbvJ350Ee9M+nCR1egpZ1rdCVLQuOGt/khYDGvaKPQm1vm/wubr03uL
cW+ZAs+e2XZHYC7jtvWS6hra/ZvP7vElam2kphSLo6Z3tAvtQ63s6VuYkuuE410VChh3MJBBIC7a
Pcw1oFqE9Y5Qj7KHDmrMoe6Nbw28eEOtVo9JmKyF57odTRkcRUeVtOqbekFcIlk+VlTRE3s1Nfun
3Bf6AQPZjcAyPePSZIvjzWUV2M4cnnJlcNtlck7OcTkgbwAIOIzKFKwwCDEUlABAjkwb+mtpKnDI
2VKdnQrqDg33i1R332NMyyU8DSUGLuPYMTewvXoCpCJ5aCAO7QFLNbvGr5O3WBjfwNqH8ewlBuhM
0tG/2I1NcDJwqw94/it80wkl30Y5yf3SUl6LcDpOJ+Zq3oOVPVyg2RjHVA31E10s6RcXevxRSePw
WaK3JfVcPVEFoa6Wrff+/ONUiYNG1JKPXQFjgCgWsocVMUXXtdyT9tEtUnPInrzclhvfs4w7rxuM
K+PfBuNNepgQCL8cu3f/04OHd0ZE87zVadRZJ9a/XOuTr6FzwkeXt9IFXXGPmcC7kXK4SlvRtZqW
TjTs2Bl8lBojPm9Y8FQ914SEzp9iyrFhVwMRUr77LMn+SzqFo9xvsh3/4J/NeKnni1jK6CMx6K32
QkttEeg8eoHcv7M9/2tGrZ+bmBpzBxgJkkH+bXohvo94uXo0GDw2NV4vMyquTdG0bEWtDPNyZgYF
dT3bBedHvpHSq/fzOHhvrIVJc+QDV8qBBpNDarW8lRrlX711yT4kqI+0KwHliCJTXOqp5QVYy+KV
/QqdszzWk2NWcDvi7I3rFQcSGzeibBz/ToUckEp2TGBH3UI9ssN/jNaxETxcfsuWoTnbZW/tMeVX
L1RzhxRdU8u0s0zK292IgGXBuPYHPxVt5UP/1hqY4orSc+n2q+Al1YpZymTL3PgrbYTt830S+mwO
04fXRHu/x2JVEq5ZJnuCu17WbKGt4r/Inuuabg8D4opiJETFvvVJqt6zheKWaU4fTenyympaeS7H
cJ+32Xdn5CBuoPz7oATdmV8mKTOCTdF/nbEMFxI9cJdGzmu4LvrB8X0bmT5pD3Pcrz9DFz26Vry+
/FxbXg0v6g6RSLpXXqVzYI4VIBCn6PNP5brujzmJ9Ad/GUSVOKkCOuqq31CFT0lCGCYYhv6zs5dH
7aaICxNbrG1PMUC8uN3dterD0MMtUe13hBd5y6oqJTA1mcdRlvrKcmwtkF6BLhnrmjHWgcTKuOUV
8s0EdwZJOp2qhYPGIZZ9stqZzMjUR8mmaylhG3RdBEiw5UEOpkeObFj3HfUbW6AXt81CEiFRd8nM
MnvrFvYwg9IUeKKSajaHVfZW2ZyryoiIukL+PQ6efwDH/g+tewFl3QU5zLFLkuGvTIB7n3hMnFtl
xIdpJv012mWY7jpE8F1bWhCtk2E0WAOz15D1W4sXZ8PeHKyKYOidzAJIp6S3J3PWLvV8kQ8k7EaT
azNU6LD78mt9BMNRsF0pKlAz/lOWEsdSIQ4Mwjz0cqk5OdGcl14Yv6LDhGniqstPrDzYsIdXg6oy
F7pITeoIiwIq+gLb5BCpymPwLjtNUxuEUQPi3mEYsRuWY3Y0u0bsG+UUz5q8YFAlq1aYFjRAdTnD
cOE+Rk56FAT4iJZO3V/8+83Bdox5T9sfw7elYPUNQ33TS3z3oNMwkkB0LuA516sMbglZfZNRTn66
rHvhARK0dubTa+lgeGfLKn+4ptPQYBOrvmd13t4ssoi0jCIdW97wp5WSsMtGi+QejxYuatePVnWT
ISoDuAldG6HGTeqr3+tHPITPtcD0PNNauIFZ8u3rsrqAoamCfo6ZFvXaOp6xOL60Rt2cejfxd1NE
AlGVzG1J9D0XLS9HZ3L2GDVeY1E+1nXLqxRpdALCEanjyDh0H9hmkhOacCGzh8rHxDt0WhkvxB1X
8ZY9tYVBd332xbu94ulSnzEHi2Z+NGT8vLDewYmTVbsI7/SzEfZPeQZll6HCDNBqzKD2mvQ/Ex8B
xwwPbi/97DAhYAWcIC3EJixKATWXkgZ6Y3hOhkFT80NqY4PpN41wEq2lfYmbfNaSzAoVXmupd3OJ
ZlaZYAD2mp+zrh21J1DCTS8Cw8sFGPj2rk2c8timMQSnEMaM6/2GXXx18FJDPmU/k3l/uQ64pwX6
yMEabXlTHO0HIyUBPPG9KENejhBMRIBnlystYmk/7uvQG189GVW7RHrpK90H54Ztzs1Wjf2PXA2r
uiENP22iuitqDwZcPXgBO7X3yDMHUrZcijyyN/OEW6daUNT9cR5Zf+EG3pnr0LEzQqZWgvlUaUd+
dAZB/OAbzojKDgsms6lKOC/kom85/PyzWkAn8s2t1R+/UN29NeyHGpoBKy6k+ROOf/yJsd8nl9iD
yG8xcGzwtKePS8beZBhoFUh5Ot7Ctki2Uy26z4UVHfIHBdxQaZJzMkSReyokLtUKPYRZHk0MfDSg
Ptg9XDetPLYPJKvyHc9adQB00JJogevnUDUHnllhVmbupDEJCCkfyjQZjzDs+GRkbnwyhQLDJzq2
xSb5sFIj2cRaxbnGE0m6ZObVeLHUVLw4U9S/6UY2D1UWmfsuXsZXQRsA+h1y0blz0SlkMV9yTaFO
ZRXMhvQD/wKx9hknxzVTpSh22mELBIBVRMmQ7+lZqh+aurP3Qyf+Zn55ll4//mjucBcCgIKzl/DL
xLbL7n5jPuj8kBWOi6+waeACJOkS9gfaHUa2q2H4hH17uEQ6ctN7jljj7EeJGnRyRcexX3NlJuCJ
CrGJ664TrGYq9d6Qnggc6qKfVIIgbSw9Tm8Mj6XDOyDrnpXyfsSQxGhVrX3I4WkFkzvjSc4sX8Jl
dqfA4eq1XxgkDpXHc1MMCoLSRIgoovsH/3qz7uvMCRgOqVsM6062/Kf7pPk7F+q/uezcQ67bLGD/
HWf4CAueZdS24wI65jmVhfHHq6uQCqk1v459mIipZ9HHC+244WKaDxvgsv/B7iVfafG2Welq24wG
zgMXp37b9JTJ8MNDw4jXez13+ercVVFNtp5guRPR0YaFure2i5+eZJlglmtajSV2bq4cmbAIcItj
xTaH+aMbrArAECkqDktqLvPXwWZVeVbjmGLbaEu+ptCtMCv2MTtBBAb6YRI+kT2GHVcdIAd0p7zE
IrR1MZAdcK61rDWTon2nFYZoL0wZR54LyAfV+KCwZ7HzNQYdr/MYxglN5LVKMOKZw3XBvgx4xVUy
WIrwi2l7uTvkqM0NIXXriESlTwN4hVdCywq4CKbA90ZpOP1YEYu7qcfxkMU+lsue/7tpdtEv/Mkh
8KnCPBOJ/0NyozwuGNhXMx2NsMXay27M0ET3EFSaMrBV5dyZ3vtLNkEew3yFgOdrET2GbusGic/3
Eqs7Bo16RKu10k96YrpzrFngc8FtwZYq1mGE7IezCW+UZTo6JIt/1gtsymNsiNTx0ZbBCvubDBlZ
WTv2rA2oKeqy6G70SLEgrqGYbNAcsgOLBzsNcoFxAzN/LN6sTL+nc4kMOc8wboj925j2ZPPbxQWY
TyClqO5WMKr5MaNndzPE2Ix4fnZTOXgPeG3cW4tTF4gxkMbGYfE7SzqVeB/8l9iD2IfFHLMBG98j
ywblCmcOkgx3uFOzLAMWkDoLUeW0Gs900y+bZNH5SvsR4jKYsbp1DMJHoiE23TyQScHVU6XTAADD
vDaeJ5GQ02IZFOQUsy92taAiHM2GLUDpx/Gx9xrS1gmEbyfv/F2LDoPNlJP3D9MVZvawd97C2Prg
U10VcLy5m8hIr0uolo/SgV9YdSOWttaiTnNJyieRmTrw9IyfOm3u9JCytA/BOq+NF+I3Qv+ABbiu
c9D3BMF4SBT8S9YFA6I5byqgnjBZFKcv35653XktFp7arJiUUvrKaHzzaedrygstJAOllKHHYqnL
gnSdRENohVRjTB5KCzb7HcnYTWWnTJH+SGsUpPDHOlW/8+L96wnyE6iBTNIbdF7hUMpxW/YOJtCF
evagl8ri7iTxfsInhMWZpNXe8srVObOU/IGLfCODRo27q9zkixfJMyFP+hUEIXZg5Qz8lHot7DFo
nw7vM0wQEgtzPz3w/m2eJ5KZ84nIuU2Uir/NeAxmTg00wJ7KGOcptcS5x/l6RFQtjmnaUxFiUdLH
Bs/fsR+oWHMKrLpWlF4m7Bl3z592MVzhgzJt1t+5+b1ExkE3LS2WOZTFZszRt2LLf55HehXUROlI
Ptcnr6aLChOY8RlR5gvysTVDniZ3gRzYiD9lN8T1nnZRsCEjpNDSlf2BIbQ9FwtWL6ox60evna1j
m4wrxYGyON/SxAhsnx1Pml7YTvlPqW/cR9uqdg4UXPyxBhpuPloTBUANNvd27MDH9DRqeitudf5T
07sGcp8C+0tfQFtZIxHen8rWcg6mdF6Kiwnz/EUh1VZnzALoFbrtTrqoRmCmrRc+6J7H9pGFbpUH
U5VBeojnYhj30l2Ixe7Y+5UdsZvCukzteng3unmZsumeWqbcWY3+JlQ01dtZ47ZEH2Lyqxd6IIGe
E4ptI5g7eKQijGwS9MBu4mZ4LBKfX+Bkyv+m3q/PITodtkakv9bL3wyD5GE0o6Ob2MFi0OmblsB7
RCR3YqM9TRHaZI65JzMz7BZmDpsoJA6MWtOK/OIt9LvKOR+vmZNDfRMqarZ57RW8bdPRtLaYFSjj
nkfrnWO9+scUsHzUXC6noF3U9ILWql+cBfp4Sgz7KFAkz7lhvq+E7IB6iS6ITMt/xf7cE/WJR8zh
dt+xojTrs2s23olhAuRFNqkAuzmCnUVJyxNEhTknk9yk5KGj8Cp5K2WPhq3FeGEHPJ8hq7hYt7y6
P2KzGH1WHRiYUu6pR6XH8CbEAlW6V9nnXOTu35oyobuz5PY7za5sBZpCexsLNDRPkaY6aMuyKiIj
EtKDXSAJ+AAOgE3WTvuW8gd/NHlV7wftBKgVtCUuBHX3/IgWY5mWhKA5xcPl7KowuSfA2G6jB8QM
TQySFojIdNon80RgpRhltp2V7v7zKrbynWqQnzip9p7LJbviu2sUyRwH4CYAvzfk0Y4g7Bq+g1zx
6K3F0UytbJrsgEdhhU68eWcSEzkmha8eqiX7gi4eBQtxYqJxqjnHbvtQdMtrBarK0qyMgDJRT2Ms
7b8+Qj30VYUX2x2hfbuOYr9Y5MbGdYsGJEQsh/Xf9RqWSf5TYAUJ/GZo8GEl/kKI1cj2Qxs6RxO+
M57NvPpY3PTgJMWTGye/mcshQACfNHafEk5gDcH7qx6btRZDKirCEyPdRjHMpHQAuxvBAw3KDgGN
gF9XvOvezdiVgd9Gh+WAbfEy7Q2u/SdT29lt0aTtO9RnlBsWRXXoHzssZMeMW4Ii4Ta/DLS9P1Gb
XPGlmVGBh0bvE7+XF+Qbrs6qGA4VaeZrBGDoXwJTAJgw0CfkZJ/rR25Vj2qe/SNbaQsHFiH0ZWrU
vlPeP0Xh94USIEYOCOsHjhwIrTLlQ+Ax3quJGQFH60IKzK0+azYJHjWkC/UzvZZb2Q7iWHnWm/Cn
vCLTkjdfE/Yc8ruQpOJ9nijrGWf5MyUO9rlbcQmh5T14tSEf8AiyzWSxTE+tyIDWx+FzzJZyR7Gl
pXY46XuaQAbbD2BBzm/N0IvvyMUEbHnko4a0Eo/1IJhvGqjO5rH0W3cn26p4LPx02tkkm+4ADaW/
n/mfy01n2xpONianC0vO+t2Wqmn3WsfjS6Zz62FJQ76udpIeSUbmZ2ZBNiSuRUAceOW6V2e4ZXVE
v/No4Elwm7zX91HJ+m/fRs4Xc0x/zqLZONRapBc/7nsXvcNwDkC2xA8ifvzPnAWGd0TyfO7Km5ry
2+jox4pFElF6n8j4mCf5fSmHbE+fx9q1Quhp64+uDYvXoLyasqpTwY2Xvzgl2GmapNkqUMxRNf+S
BByQ1XKsI8TywiMuz5awRM7ZLGUJJHYU97aZ+EN4Zmlvzz9F2jX7kdtKujVNuu6lo8L9OJXUiNHg
AZvDp9mQzecpbmCBol5VywzLiIX0sZxEFBLp6G3jZHCakwGrmvHeWY0xocGI8No0pTUc057fxcsC
uAgsZ+ZyM3YATlPYQ2mmhrWxo3sUh0qo2Lg70GQOEnjkQXQhtt1Fci40I/wySSkZqrgmGUprsCt+
YraWjwASKPuu+Sh+Y7XkpyEflcFuh+OuNOkHCUaScI8eLrILtCp/zzcwf5oL+Z8m9ReEAhZyLMEY
kipoNyNPWzoSnp5dTaM6+In8ny8Jk5EZYQ3foyH9pnWEIN6LfDx00jhassiJ75XPNncLnPBEGhB0
KGyI6hjPC6gwVgKCJYhwDetg1w0fCsmpF1DrZHbpDEIdrSdQVCw291j2AGlMJQ5vV7vTbSGvixbU
yBABF8kPUyKKqe35kLJKtzpGFesDfNO2v7zKvovdoG1V90fXZpHT1VDMyS6cMMFuScTx0GGOGPQ7
MCXMNk41mFdFi/bZTzPDf6GNzQ2UaMCxluBTAvqirV9BGPjZdaJQbyasSzuNseAz7mDubbLYsW9N
OPc0r2H63qd+soQHHO5liwZU6LVzkC19NvXoJ5PV9ckLF8DJDsBiImeXjVfsOmNKP2VsZXubW4T7
h/v4OJwMXY/p3jE7qkjhaeFQczm1L9acNM9VC54K+nGo/sC/V8VTjIDpvHTSYa8E5KGKnzUvgyrw
Q78uH4FtS6599EgP9VkT/pz2WqaGXEW0+NolVDnWY5LaL+w1ibbYZuR1G0godBBuuYdE+yQksIxM
Q5E0wphFQXS95FdyojZl1qXhMeNPctYjYgYFv2yqEDBOhaMyFA9ckdh7Kw1FK6GT2asdTSQ75w62
UfUytZfZtUT+MoFuMQ59okYz3AjdVOghuLToyVr+tgXtdBcHeNFfIqrWPi9ltDziu0zboA27aH5j
VCPAj86elD+e08lnhr5CHXLHC4k2DghIXSG7ByM3M0HTeza6n+Saq/rRroVcDqwDcLdsFoE2uJ1j
WCv1BrFpgHyYgf4MjZAwWGI5vPEqWsDqrTE5+cTj1yNVc90ymb0w7Pq0m1f2iaii/Os4KbXm2Njk
jlcEva9hKoaHhEVifo3A1eKkwRh2WtK2cB5EBY73RldCeefyl8kjF6CRYzebyA2HAszoJo752TeZ
B7cKcswA+3HkdTEjJ/C29P0i52l1LGoGBlXVYsepk3wyHtpUKpp18Ta32dB8ALhTKb9B7PFgCfSh
DVMW7w3ls+GZDjFTnIq4j6Yri/ZZ0vfLdWsLXD/+qIq2UrsxHIiwaD74a5FIZzzjOSs7SHK2d8QC
1lnvxHvpNHWoDj24zMY/KQ0d7yxDGvmTTE5yHWXPhCrZoQbAW7IzDJv+MR9FeTTXMEll0ka1MWok
dgQNd7X2A8l5R1HLKKIsVRT+qZhYx2cX9zFnGO3SdmE4VLlUXbled4uBDJPbhcn4OxF4rnaljFWz
x4Az9d+5of3oO6XlfDyb1mhl17xXw0m7KKY0CbX5mkUfWzzJRhSeaxxH5h1r9nQnkAgMsO00/dhu
sQC1pwgn5vbzgHnJwv6WcFxMdoL9a5HOkFxLMnDpg1lY9DdGs5WebSzjNXSa2GFLxl1Z5wiIdDgc
SzPF6CuaKMMlY0f3SPs0E8i8JW8/FDktkX06Xw1M3D0LZ5l8GEuJ0u6UtCM/NnZoYIC1gWi5tH2r
Wzot3scw4B3eGBOl8SES/HtT13JXTqF596q6PMnE7f9Glu8q+CaWFJgryYVd/AXKbJLAt4V6N+ty
oNEVxQO9OK2SA6IY9Xyjjsz4YNkEHDjYiRtw4tDs0rchnm38zNUf240Gm0kh1YT+Jnb1pzoyxx8K
oobPJUPRjIm85cMUQA5HD20juDer7UKE9SnsGgtLV94tOMLNxqzOKVgOAKtZNCC2UfRSTKxdYEqD
DCIqby/W8i0G2Y/vtE9E3T6dqnS1ecQJHR7NlHjpoR1N59ZyFV/utsAGl0E4UuWG3I0k908vD9VG
um6e4pkuBnxklPZtxGDQ/FOWiECBZleLBou23186ox8cBM1IeQ8mVP4QsERifVVcZiAtwrMTh5hm
rXODpj3hMbWMN6BqsAgo6xg8eK8rTznetoJ1Nde4zgIie/YyTPoNElJKoXaeRtgKzLBay61FCQfP
hhmMTYFX99S3zWvWwFeQq8H3vR5a2//VhIOHR/KmFTx5qQm7GCw3scI8iLkzkTMrU+Xy7NHluq9C
XJPbdoBedU3GwdJ0KthlfKo9JoTjwJ4/wLHYv9ltAhitjiour6vR5qQciA04dgH8UGSlfhj/u4Du
N0xFEXDNJ99idXmpBda9e++uDsN+riy4pC2rTbx9NAE9DCL3yFwnJMBpy6Jqig6BqbDsivSd9nEv
52Vz0mI1Bpqrk2af1n78S0OG8B6QK93iAbulgwvUF15DGFigvCNFplIR5kpHXj0qNnuxt9l5qkfb
j2I2K6wrdvYCa3XHkJrN16nnBftkVi2qF0aj5qKKsXon3zExKpVG95GbVhNkSVGLT+a24pQwnbB5
lpEL9AWzdvdWEy2PWbzY7s5s2UgerCiEwuXG3ikt2vA/BaofDX2oL2CywzOlzeNVJaKAlMNP4NBo
3Nkt9s6e2EfKfg9SqMRO0HERY9nF34Di2XEOL0Bp7PFcHeM9Zvpu2jmxBAyIh8rBPmY7LGBJK8ZB
JAgKX8rCj9fGi35YvIvrWDC4xoHsSs93gfBbJYf80EEfYElUKvPNK1dwMxAspEVrSYogY0tZbP1m
BpdP4pJ7XM6psk11o3La6lp7GzM7vyeD8h/5z2Svh3N3WG2mc/yoWG5ZG2uw+/jA4N1hIqZ0Qz62
+HRPhsdilqD5hOcQ5Clet6iRJisLe363heO+W7EWz9mQsTYf10aCm9fabX8z6Topbz0STPhTsOHj
5LAU5yk8OoqtjlwxURzRmmhpilSSG8nOJ0YZ5bwm+P4ejTGxeeVgSnmNpkJdlepHI91QXmPkt9nk
zgOdKgYMP3Hu15uuMNQnk6kwnk2TNemnCVH0gNUpfx8I1I0/mHIhn/E+t+NP1TOeHPCx1+O9TOeY
+pdJ4eVx53retTVlILTeKoeMjqqebUC1M8lq7q47lwYdfm0V8YrLUqQa/9fKbP0YjDYNuBTXd74T
ob6S1LNe6R6hgdzk0nBK2K4qdtoy+iQ21c87HHI+jxa/8vASwpEkyVk3ARiQgWKk0VBbu5tKhy2T
JWP3QWouSGcwjIVcNuBUZvxQTZSsAAmb7P8bwkaEXdtGj59DnwCsGRf/ucLjj7UwQQbss0Ybzxcj
9DGcLf8E+r5nxc9jEpjz0EQXe+I+vc3w2RePaePCfkDKYvbNx8YFd9hbrPEsM4PzUSm3M3B4SanI
1HkWGVzV4cmFfum7AT0O7vTHB0/6YAh+e9YO5Xh8H8resMsdzVfdJ6xsOsObmkHEJlPRXaK+UWcE
gjjd4oRYxQLX4QvnpE5LIlHAnPQ2wnOs5CQdV/inMk3+x9l59MiNrGv6rxyc9RBDRgQZ5GDuXaTP
LKdyKkkbQq7pveevn4dnNqqsQhZ0u4XuRssEGQzzmdfoZC0MbowVNVjgiKF2hi30rvmaEvD8JWgs
s953U+VQeqknzIC6GSsruGnDGvCeus4RzEPnzw7zeJPgGzpD4PUb4zNoT//o6lpzGCJbJR8KkVfj
fQTfs4jXKepE8MSSKnDtndVaZX2fhdNA6wIlVEgENhBUFkHVI0Mi+yP12P4aQJbAMnlCW8Sw7WuN
/ou3Aapso1ARF431rUJa3tl0NVHzOkabZAKuYkVeigSVzoeT5S09qiIUdlltCtRFPNJoPdhTt4kH
1iTdL3ynU1y42Q7kXztIgcEmGDv7Rwzr/sZllR4w5tYtxn5zMT4ow6QeXA0+QugtDBQEhdNYQa+v
Kcg70hvrjT2hK5fWFZhaUNXDD5pEYfjTLfEbvoElnUI8FbgD7gSFTB8UZtwk7X2oOprpsnXzdI/2
j2U/UCNHvX7QMt+HlW9QE6j8DGocFnZlD1n+4JiwS7dxERdXAAjSbV+Z+hCMwE43WUH9qRttNKd0
HupFczJgmuf6BiNiYunAHppmC7BO7iilD2Cu6ARW6OLEXfbUjm6SXCemOxQA3GfzlxdW1i8KNSj6
Fob0LH474oPfKjaMvZlrhGyCsUUufBU5Ga3lNlXPMDnVBspEh5xYblyZEJ4J6qgNFsamTF0rRxMu
TVEC8ZFcAMcjcv/7PDbDtkelo1PIkQUzyp1tbohTFShz4SnS3+6goz07qVE6380mrG8AhM+ILpXF
HngC7ie0kWIJ7mfqdqiMjTT7i466DWqBKmQ+YtFtkRisyWrKpt3ZFRB1qpbu8EAEFxfPaLeBOuCW
7TXcwZaoprQnboGqdx13nSuwm1MxgitH8T9YF7hngmEujSm5xzh6dvd9R6h2bFrl2we3CKzyKV2Y
RZTekZD5PvbTiCZgjtJUvCCny/I0I1EGHVyboiMnmIPoHlR4re4R0Brgg6neJRn3QgOtGgyty2E4
oasY1rjz5YQ9T2jHkUdthLMIYRaeYW9tJ+rotc7cjg1pTRmHn9wWE8JV14MlTIBYJwW8OZMWFFYh
WFI221IP7W+VLn3wmPLMqdYuOjekpNheibZ6LqLA20e2JatdIKzQBchlq6dsbLzHtkvaJ6v2wt8j
ogrmNxtxhkXq3bV+ATscQJkndv+JoD1EkiQcASQkdjVwkYfI+9T8KY1XUDg12iB8MrrJ+EqRaHrw
glj5GE246Nsi24fy17WPnty9T7L+uzI9ikWcBc4Tcti4IaXJ0E13KcLoN6XX8vKIJkgcV1WfBVtV
VkrghVrh/9Q5YVFvMwti6FpZ6XRlxLQXcSG1+qcxrMPvHggsawfGPcw+uaUJocT3YGVtqR1zqpkj
cUQA+vgJeUrDPk3K7UbinhRhbnSt7CJH6jvBIIXOB706s/O8G7guZYmxa4VpUOZQKrvKgOCmWKti
swnrJFTWtsO340qUNKARcMNjm14e994WOKA/foIU5H2BCZI+05Ie+m1N9/qoMweNfwSBHmZB6+VE
Supkp4DO54/QrPvPrtm7NzAajIkShjvhhS0QCfUCa2i/4WpZDeXVXFETKgBRcVfdRj2dP9yCjbL/
iskNABVAPDMtM2QGfSiXngl4DJnbmQIZxzoK5y6AGFUY1dWIe26xpjFPKyjsmoG+IEZV2PnarlOj
Ngw+b7ztLa+/66tW34qoyB4dtAz9O2NM8KcVfj/imlzq1rM2uVU2xH1+6RVbgepliNR+FR2irrQ/
hwqvuiNNet08NUQvkM5TEVobDw8ZTSpdop67ggc5IDFjINVvYS148GsV/bBDq3q2VY3ATdybP9M4
9U7AYKp/2shsr+PIVVdlGgTpXng9Bkke5AjKdUMW/cqmZpFtlXPQY7hjOLfap7l124R+6JEbEhJf
TbZZi2swz011kD1vDGILZSMvzCFpFaMbVaghC0d+U31rHCHZN8NnOGmeSdmdhBQR9xrW8e/C5fK/
y1RGrZeuxFx4v2zVqPgmHbqYCpNA3gsjAa4UgHa+HLlfLO7+TY59sLXyEB479P0c9TekHaCp4ceT
IoxxjIQhRqbljHHwTKR5dJwYTOwwlR4+51MfPNQQzbptN1kJUuJzKOUdYBejA5JKyH8ascxgjCmG
LONLd7jtuR7uhZ6nO+yDnfITfkPp1zwPKKkOXuCg+BCVEQS05dshUAtSKYfJvGmgvxgPSiB4kR+s
AOMQpN2n2ivvDeUhg2zENsJ5q54zRxSLLXCM/Lwdekh6aN8uQKXqgSxhReN0MFDvKO0RbS+e9+Sj
dIp9g112Wf9i0BEM5dpuS+hhlKOiMThQa0YuWsh56fwqTE6vzYrTBwgjBTnKSFP4OUBUroRdXsz1
hr46HHBKKaN+VliioQgOdCS+Vl6j2wi9QERnyhVXlldf27ScXhx/RMqjRSMipVJSBCT52YRNaoym
A7IRoyrgOCMAT2Zp2wluIS10TOsly+oW2ZapDwPzhjSyBbqXwtakiS4LlcCRgDgCVM5Vs0E1HmYs
fStqQ0fi3ZHJawrnkFk5TI2gHg0M8Vz7KB2dNMiHEJWgBovwifO40I7L30jlZvtgsMu9rEi5f2t7
WSQdBh1H7Qk6k30ZZT/HWIqY5N6aNz1W53qDjzercegqCq1hh/3aj3mAwXpIC9KP28jQZXEnhNFV
uxpoWLC2+lylR6MZTQf6tcrtmyRIAEzixgfxBM+ew8j6RxZTDo75WwHJT/cw2Tg2Y1L7K2cIUNGN
krS6Q7aaq9xPyvGmoGNgequ6DSrnKYVwqR5hL2RpsAL8ZGyBtgEjLFGyAvDnDS90AtFiiDwTmDwV
owAsR2mIm5TQ+9kiBsnu5ziPHh0qtuRu1I1/YtRBaOeqoL63mjouNngruFc5+/ordMcZzWT4u1sS
MopF9DKtMVnZpB4jSupF5lxFRcBPoHKPtiCuCy5CnY1Rl7e01yK0T8NZVs5nx9LTAWkCBVs2x6SQ
Yp5cdTpG4TdPqmMjy8S4a8iBgHBY0h7vCs5TOqK0FLJ5MzY6cEC9ePIpQgoQRFTk5ekpone+9gAm
d+VmyGJR34CmjbKveQh69ptynL7DxBDQ+9rxm3ZYJ5Fp+J9CA4IQnXVFhAAfthDOlwJJD22sAvTH
xAskIJpkgLq85Aj4qLwRo0LUhl6D/d3DIc6HkoTzMSY/nEbO3pgpXmRkORTvbwzLT/zfXkHdCq0y
DmVkdb+VfFHnwLaqW5wLMtOqbmSDE/Ln3qYAvos7UVqQME2tt7SjYM4F7TBvYSHgPazpQyH30qpZ
X7sTygfIU8z6JsdjRdMGmih9eNuUeg79G4Qtn6h3heDX6IMShLhQ8mFCSZKoAhKETrpT7AIZOnKg
zc4Ddt5VgDiK4TfEzCV9xBTbPnmXzjJfl74FpJGAMczd54YqFZl6menxF+VzYKxknhOoBcqNZUIZ
Ekussf8tPd5wbamIGoU3ds1Tkoa5WmdUg75MnMW0Qw0nzIjApvGpIbj+lM69wc4Kqxd0dNShKq1u
vq7snrQ0Qu515yC7EDwryxwpZsxW4vwix1CQ12hvicc0rNyXGYuIINgJMSPiMXL6I/uhrQRdLOXH
T3lRBP5dB0d/h2UGgulNMj92Fup7i0dzH3TPakytcOv1E9qpWJZVeXvPtRMDeM6yvHgRVcD2hAUT
fuWIcb8006ApuKQzVrT4kKtPlmF7JmSEqu+pqKUzgIlMqfuJ/MA8tlhjfCvczo1eABihYDbadYKD
tOvLh77wBTyhKiElCgf1RWBUf4KHDKeWeNUOnlr0utx7zEnJttg53vepH/u9Jy1IymOZXdXWArmn
SJq+EMBOB8q/sChd6bRbzJqRSkTYv0UJDNjAdJPZU/0CUSIaHxM3HaZ6VfSCX7lUSCk6Etr+bOll
L8h9B9crNGpQTupKiHV5VuvtTMYM4SUgF1zPrSej3z6Ck9fjhFPjyYq9gl5d0jrlXnQzASiqfOU+
jLqYpkxdoe8iCFqh0dL1wsd3dNQ6Hxr3FntoQm4YIHR2kyJzv9JyLu87JXoUNuysb/ot02+Y17mn
h/qrhb6P8TxAEjfWM4yvdckhrY6Wtmr0vwpt9PgxyD78pYlP02Pdoxch8MPQ1xSz+/ogISj3G0Tm
MrBRXpOUd67nDrDhyLQM+x/qTzbEbgOlhfIhBTNdbC2t4SMii4lCNvTigfaqbaTBJ2mg7mZGI14P
W2NuKvchiGsopcQw/poWJ8IfSHchWxXBmTO2PJ8ub8rBLMAfu5zM+CmgTlj4pPUbf7bdnzMtJaya
2QXPAbIb4CwSdJfhUxgYZxIVinTdzNngbciJhPzh5RB412gn0yVG98ecCIbB5tNrQsEAcSGYgJQL
aJE9ytbApqKiC4ruo0ObchDZ1kamq6OnpMkDEOMCcyLCRaNWmy1UFCq7wW6QkLR7BEzlWtKNewIj
bya7mOhk6ZCbk/s9R3AWWatQVPmOprQPgRUr2NM4FPlz1tY1DY+4mwKQlYtsJ9ktiL5dSIAKw7dD
VAVJvSD91nGCjXdu4onkyoq7qG125lRq46VEdkt/LTsPXcY24N45oboFOq+y+G+KeJRPn1A4SAmM
CZ7vxNiZybxSEhjXb9N0YuaNg8VDkBhdtvkAnL91EWLhE38pEcCeX2ALOAFKOnEWdo8FroGP9G7H
AAsFN/gHge0uua8qVyHvDVJhnxrMIVGxBu+EmaftfcPvycKDQEbT96nF3zhMA7qs0ELlyp0CMNja
DEghaFAsuklBEN+UXVD8Tn3XowBg2fwTuoGzc9yeWtPS/p5OwLvt+qWORv83LTy3+D5wUWAaCa6b
8Mjw6/opR5oB5XhqgA++XVEaSBAI4v4Q7vw9McISUhyBHcQ+PMnxrCk5dOwOWOqNM5rDIZ3N8qoO
B799AuwzyodFJKDet6JFsmBTdtWEm0jnc46oEMb8I3ZFWfhIi0kwppnAOZUGbjV7zCqc3zgTkYjG
bhvSWoq7XeW5+q5SfXIUOqm2lRWbPzS0Prj0IPOBo+FrU107s8CnirIYAK2ZLbmDp2CagKiieW8V
OUlQx95wR2lQ3lE+JRUKTghqmPZ8XxvArDYqs4cveZCN3j7BuHJCu8n38EyQMdWINZLsOVaEHB7I
M6Di74tx/pLTBAMoauVzPEGD4G5f05NyFvFLIoxVL2y3fKJB587HAAJoQtIzuUiucS5Wh9Dua1pH
U3lDOzKvoeTYufzZhU757BqdpRDumQZ7Bnhj8BvbfOo/OXndXQPi0Qcccwy4O4kAcJEPSBFMnvaW
kn+OxKuX9/OLbMsIEStzHF5M+NA2FSbooWafsYQj5lUdCJYCTAlz75EGE3OcGW5scJB5NvROfLls
OLlZbBWPgVdmGO5xxAGV7Ariax9tlBMIVKqLAQrZ6ZZwawaH4alSrhNQuPm+6OiCBmCQFfro4AsP
mTPaCfu+r+2voCuLuKXaEFfUBeYZ4KQ8KOgGjBBPZujeg4CNbuYmSwuEDdze+NTP7oChWeU55t1Y
Wa154iyDREgWVn+r8b75lJhG6X/WZWfYi+SEqI+hL8SugohxwmJ3ulVqoidrRM7NRGrVfOkderBr
KnHiF1WWInrGjWF+rgxN1EYuqNeFy7Te444YPTd0cdbgYEv7F72HuTzhneldZR2+Oms0Tz36UDFG
RFCJcTa4QnI/+cS9ADWJlEAa20hXHt3rOIPXuGsyPUNhGSK26HiqkMxDBFhR+cX5Dk9UnKQtB3MH
pFC9IV5bKdGDAOjSw6A8JK3p6HgTsD8JdTO704/xQGa5abp5ILuXk/GpdCcDnnG2FLSvZ+DkwX6I
Yepgo+TZ/TcL2cXkaWrGJECCzmwoS9iDB00GohXV5ACtqXFn9HhtmmuJnUFmrDpV0oepXLxAELMv
hT/1D5ABgrn6R5t110Nb7MsJGiW0qHakblmAW8unTV+FeWs+opcb4//tG7T2m6dIIpX3uXWLfrwB
qGOUwS+PYDv2d/TP2GBgvkfg8nu3A2+Mw1oGpfeWXG/GhkNp0wtShCwQgjjgJwL1wZ7IPm+p6bvz
pitE8S2qraLfx8qoaCBZlVTdPuYi66DrjRCE8rXOgHDKA+2iMPwa9ooT6zDhHTqVOysHH2e3//z7
X//7v//vz/H/BL+LT0U6YWX0L+SvPgECaZv/+rdl/ftfHOvL/z7++q9/k4agUmlrFF2I2jybChc/
//P7Q4THG7/6f8kkyFrYV+V332mrakPmM+xTM7VeHEE+AdsPnjbEeUy5G9ObyF5ql879mNDXioAn
XX4a/fphhKbIjVeEB6fT8ZYO6uuHoXs3OQP3/tfEAu6xsVTpfbHgtLRb0WdTtsdIBTpwlYSEFH85
MqR82xamlo5EtV+q1yMLRQ/ICI3hhVgx2dfZhC2LAzhOaye4hhz50/IRuLo8puW9fl2J4Jx0LUXN
HA04jbn760GBTVFK0uC9MQAZmhtXdg7Cka2ysxX9WFpPq4Ftw9FcNrb1yRbwThHCt72U21lqykIl
3dQNrq+FeXAo08YUseqOoACDzQWfaGB3nYxx2T8OVue7pyAjsbm+/BJnn0yankRS2LU9JRRIK899
/Q6CCZrtoDcfJm31wJPK8Rvqef22ESZSXZKg5sskRHC8POryp/6xaqUlTAuDFaqYLBTbUsuq/mPV
FnOThLbvFI9IPWJiUeZudt0nMAuhEc/tmnKwpr+M4+wxdHHn+GCZ2u+MLpVWrFbBv0zxevQOrGzd
NGbx6BdD+5Bk0n4MmgWmiz7iB0MtK/78RaVrCwkwz/GUWpbQHy/aCGnQEFDFY9OSWeYAP9aQiepd
l3jjrtam+3x5Ys8/pyUUCxK8oWuzLoV59jltBHuqEfrDA66T8BZCb2mzUMdAWC7KDxT86Rs5hMeX
R307oYxqU8BXliAIt83Xb0mNgxel+fZQJIToq9lwfoQNFWy6Zsb886/HYplSGXNtC93T8zOGtVmZ
lNj8B1rn8plAEd0S6GjRUo2CTXd5sHemU0llaVdYikarPlspChK4Q+l6MQZa6Pyo132fFjYOUkAC
/hrJOraSaWRN28vjWm/XjWJg1+Erco56cnmwP9aNbQAeFV7qP4C+OpWGrNNdLdHiDai1YLHdIFEf
DXP9PXOsF7V49KyTpsVnwEexoua0dSA+DORzHvovn5AsefK8Xn2wid95RoeEkyq0Q9HRNM+esQrL
YGgQr3iYFM4kqzBzKMvBl1ZXeYPvY5QW1cvlaTk/cFndWnBOsc6YEo6Q17MSki3PbmioB8HeBhgI
f6ClKAA+2kHBWaIidVCOQfce+km7izDIXV9+gHcWOuelxXNQ3bIcebbQk96CJtIF+sHpRnFMVUMl
qUx9wLh998FQ5zc7Z6RaIEGcswDakMuQr182iEe/c7PSeUDQztuU8Gp3wO/JCWnn7/O4vCqJ/Fbw
X+XGsnxUNooCcEA9Z4fL7/z2rLY9y7N5GJM3N+2zW67FzAUc/2g/GIMn0LsdXetYpukX2PRE+gVS
rH1qThs4stEHI7/93FxLLoO6Llc60/B6Brx5qD27VOoByAcdUMMe9Wak/rRz58S+pil1l4I12vmd
s4BD3PLq8ou//dg21xNXo2URUoC2eD08N5QLZ6CxHkRMJGvFQzEi+hTOGxk1/Y/LY73dS47WJkZ1
SrDtabW9HgvDaXw3Gtd/MIEz7szGWxK60N4DkW7XuTnG+8vjWW++qgZbKTWHDIxkEymp1wNmIC56
18zo8gWGVV5hbhjLQ0/Hk9Jw5Nv1zmkH85hhc4OI1BRgc6dnRx4nTO3mTw2Skz8KwPZylatGXttz
MnyJbG5xJI1qiOdlGca3Xmh7d5cf+2yaHAdQOxtCOyb/lJZ3thb7ZupQjbXyKzHn8wHRsPpQGJm1
oSOXPgSh+dEmfDueNIXDd0G716NsezaeCe4IT/SkokXpYVObD7DXURL1Efuna4HEuLu7/IL/OcL+
CBh4Q0BLpquR9HI5AryzQ7UHNFGAYqquaCa3z54ysr1SIl87oTkeIznLL8agEszgRjAhZdYm+5n2
9cYkidnaQowf3Oznp9D/fx5N2MCqRNzQO9uDVoqoSifQVAI0k2chxp61/DXEpR/+45f04Y51OC5C
P2Ya73NQMygNI4/6qHApck8Sy9PnDyboLOH5zwOBQ3Kl5EyktXK2K+nXWWAmWz5JkKX9GlVokAoK
syZWqB2bd3hIgiSmOouiEXaNk9zZnWH+k5YiCjd9pmg3Xn6id9aIpT3Ps11TuMtyeb2TPNMYiPzH
FkSAk+682JoeEZia9hQf5G/Tomp0ebyznbtMAJeC5TkOcGdhirM1mXR44HTUOq4qZKPRDkbKabgR
iUOHu5IA8w9uVTvjbU15+wmLzb7+YImK5Wg4W6IEs1z9zL9FIHYWvDddim1MEzZX4ZhOxxafOtRB
zfGzF9W3RPwKLa3wbjGv/ZUtDRtyYMnlVFEzd3BPPeCXhMI4zZ1xpQFCoQxsuf8EPSpLgTPEKz90
osdJan2IZAocJKPMCG72++VJPP9oLnkzHwxFSMUdQ3319UdrFIKGpO7pseTRsbxxbBRsdHTHHajX
Fp4FD5fHO7tLHNd1lGfDjzYFHXHPOtvWoahDjSC4cXRdrzdhelKBHmk2VgGEt1WaTdzgH6zL5Y/8
8zO5Likp97bkPS3Tcs52rgNBgYK/255Ua5YHTdkb348J0aJWNWvHrsYtgovFB4vj7MrmPV1tkwxY
jrAXOcezxYll3pSB+cSUwNUu7cMMipp956T0TA6VWdbTDtUvwziOjVW2dO0BN6zjjvbPBy8v3z6I
Z6I7IrhQbZfQ4ewD5yb4nhri1wl7H3O4ptkWtg8ZmPKM69vpmi+qsxy4vR1Vv40MUOrJEFtrx+lJ
95HdXLd0Xc3PlHdtqiRICZvR10EuljkgepHdvI1B+iUPFbIc/sakueb9bBTqm1sL3D4HT9jV5kOJ
cmtIGluBl0PVAiV7sNFtSJhWThFu0dFQWuaxQR8Id59MjTROp7gwlkQ0MqPT0GVdj4ljBMR+DVnK
CJ7kgDrzcwzAPv1EfI0m4TiMYydWmEigzX15zb7ZIyToni0lejXkdMJZpviPHESA2cMTAZyS0+R0
SBN/cFa0GJHEEXP5i8KK+8FHWxbH6xXLgOwQix8uX245eP4YMGngb+NHlp3MYWzvEcwtHzFGDT4Y
5c2VxhZjGHJrwabgpj17rxIJlxjQeXYCsIGXM5XDY60kbi2ql1g+l+JoZAgtYgIewn3CsyQts2at
wyn5IMA8P8l5EPJKG4yMRQnGU2eHwphIRC+xCDgFnhqeVZVGuxxv6lOOG1+PyvyiAxkV5YmUt/pg
Et7ZHoLSlEO5QJNcnE+1hTpfUUYWviHQC9dOnkd3GVpG22FZhSPEjiOYH41ZJCbEKSWZT5eX1jtf
mqRGsq4I65X8zxXzx5cOs0bMUwaaMsgtYK9gQrNfRpRFf7+CBcA2k2sSHK/pnMUK/VB0GjdyvvQM
PRF509G5ka4/2bsgHoIX4Pw4AFx+s3c2DV9Uo5VIzIR4zNniiptwLMMsDE+NwhZH9c0VDEJg9R3o
MlvgiXF5uPcWMxrMlgkKnB8s59d7pjaTqaUlFp4GJ+UaHZOa883n8BjHZIfUA1YpaYnOxhSX14FP
i2ByW+vOrKuflx/kTVTAYqZETt1JO0sZ+Dws6dUIgqAOshMyqgJ/9VGP7gmyzph8URiWzqsK3yr5
bWxA7q3JoES0cQoqxqvZtY3gV6JHs7zzO4HkKnIt9ewYK9obttzUlhcIuSqIJeNTHM1DeTsDS+rv
KktD9/dMhI6adeZ3njwUuapB4QCrRaDz8gu+ucG5TCWldkJPQmGpzlJ/lCIxkRZUY1wQ678Xxdh9
2/dIvAIewgDw8mDn9R/uUWaTHzY4Yior54kHyIbcjbgkUM5LZb4L0Rb6Cc8TqezEnZwDh5omJcWE
c94JsAPV4s7VP5VY8qTX/Nb8UQCI8dfabaIbXLOtcoeRr/gZE8NaHyzBd1Y8ORl1d80OcygDnq3A
qTAh9jbRCT3MWQLWxq9WBbp5tmfhFjctnY1/Ls/OO+emw6wwLaSAUpyv+dGJBfV2IzkNk9dv8Bay
gcXq6BRzjO1KKZrrRgZ4HZZB/Hx55DeLAFNwiZYqxzYXFJ2X1+/apBbOTFXEOnSwmoXKI4IM9GcX
XWVAvW8uD/bOIUmAb5N8QfOTlFdfDyZtGAFWWWGlJ93x2EKyXFtT8j+4hDinaB9pJRwSq7NofsDl
oY9gPZ+aOaGkCcoZAKlpGRh5IqyEmkKH69AEGM5Ps+3lF3zvOxKamY7JeblUrF+/4Aw4x2tVEZ9w
FEqp4Yli36I7vAldhs8amKtwpNQ6EPOwvzzy29iYvsNyTrNguR+ss80MkF0OnZckp9ZVhb4LDWpA
W5xRwkcRCDq7I3aN+FsUo//3S3eJpZb7niwf8s7rV65LJafa8ONTicfLNhlKYzUBab8ex9j5PeJD
hx1GUEBsoeBafnDnv1m8S7WcCr1Jt5Cqmlw+xx+XLvjxIHK7WZwcmHTrgl91PwsfPcDYzD5Ir97M
LxkOLUmLXiAvyRZ9PZQNsCOnSCROeDoLaHgYO2lw56vAacbthP4efV8z+9uDiEldRuUWAuRP3Pp6
0DoFsz+ZUp9SBDyuSLOQssIYaJXPbbRvaYB8MJ9v716uBBIdx6WIZjpcDa8HFDrDQCfJbK48+APQ
I3EQj+N/KgcvAixMplUeZbx9maPgHkL3gO4odsWIcM1frublarI0tQc6BSyrs0WlnDhRfuCrU9NW
3r5pgXeiTZFvVK3lCriu+ZRDUvvg7d9s3mVQ7qll/zCkdzbbkY8u5mj68pQ2sROC4O1mEDMD8frK
I3Q/oXKIJLW2M32owa/+bWTH6PQriTQE4Q9n8eupV6ZVc7rHNrJLdONfao2DABIgRXELMCtBKCNo
IBz8/TTTBHI4I+nkUZ97PeZs4OOYBT3BHNZhsFKqeOsbhXfn4niyDxa9N1CxWfzBqn5n13pLJEm7
SwmLr3s2qkWXYwhadZrMTJpIUjUN6k6BT0XWCgHTXn7HZam8SsGWeUUTki3EZc7183q0LNVdbBi5
OqmSk6ENdb6mc2/tonD6LlE0PF0e7r2XIw8gXCTw4EI/W7kddLYIBSiJasSUrVsRYZZnAmrJkSj4
IOV4b70utVUpCJeJlM8C88qqhlnRZTmlHVYRpuy8g4Fk9y7XuTy24N6f28iyNpQvUUe8/JbWu6/p
cjqRc5FwnjcyavQPEJENvZNEfT1zgTjPZbFGHmesVxXcEn/rRWDRtvhtmBjsYuCrsIoIvMmj/tVK
B6F+H9r+it8bI5SJ1t5k7uYc4YlnIBa++AAT8N4i0IgpcLpRY+UYf70I/Nb3gzqCETy7IBF7EKDI
ZejskMekNFOYGB/Mz5tAh0W3wCdYcKRNnj7LYWaQ+GU1BSiMZ237C1PHeg8rNbu9/BXe+wiuY1qu
A1aRlXC2tFXrjpVp1urUFlX7iMtSdtW2SDxFzaw+OBvfDkX1wpIUKQnhCXDOXgh7AttAmkIToPbm
2g9bse0qheBz1MsPDsJl2b7esEuhxIR67FrOW+BLEthNDSVQg993wVwFaCFrEbWfQYn3O58IfAuc
3t9MsoQkY6LMcnlS3170DK9pkIM9Apr8n5X/R0whUVxCeCL3TlPoztdpqW6SErVbSmw+dvRgD0WI
jMDlMd/uZMYEXqRZo0TG7lnYiCIjpoDTIlpBqe7BnEe0zPQgMWnU+a1d4LXcDD0s7ML4eXngt+t0
iZ1YOUtHcgEbvd4XjTuUVQUk6OTEmaNuStWgko5mcpV8vjzQe+tnyeaXpIoywjmeojfsvpok50WI
SMQJ/+7yOnLC59pkai+P9N7yYRrVUrXlA57nmUnYmtEkAvdUhrUBjM1psaSM6vjKGgZ045K86u+T
VGdfh86Mf9vcjfeXH+C9OV2CCAo0jiAJOLsByF1Lw8gm54R81HznoxGImxH5/t+fMeRrhIcuO4Vu
zTniqI+1MjTCCSc7jOMeedO2cvcJ5cW/PmUYh/sTTB5FZ5okr9cI5dvZnUuNuyVY029azfkVfKKa
HM78dXnm3tkGBLuuI0D/LX8ti+iPradVqABRe/ZpLCdj65tWtqPGPa77vsJhGwAaMTbWyzat0g++
2XsjE/px5Dha8vGWn/9jZPo8C0acMwfeePYV3aR44+UtVA/uU3RrY53t0fbrNgDLPmo+vbMzqE3S
/qIhCQLjfGcUUQ+pNOz0KfRyuFgG3a2pTZNNN7jR/vL8vr0FCbc8mJ4cNiYFlbP7IoyN/j/kyxME
YtpY/hQNh0xRVKFOjOCKgV3g5QHfOUt5LZcGEfcuf59Pq4EyVVnGHC9WgKBybx8720PgJJLYKA5F
vdFof1we8r131BwyFkuVVWTL11+SvGGoEGeTJ69HaDsARXulBAQGUxcKoZnE++C4ee/zgXOgTOmQ
g4KheT0estizOclKnqQSQAx4IpTIZlxJBvfvz2q6siS7korU27JG1E5jVZq9PM2F7b1YfdhvXHss
Ptjt7+0E9D5sikIcKfq8xyYaCyVAJFhOZYWEcuVlxmcMAfJN0Bcg3O1GNGvkGL9F2v9L3CYHC3UI
qV0XsJ8C7ncWo6Fhn+DSR6BuAf7NV3Bhnc9N4b0IC6C1GiFH1Eta9tfLRRAOopm5JAnSWQ7zPzd+
0eqw7BNqoBSs9m2QBBvlFf5ThzLJpoKgGX0QGb6zPgWSiFTuPT4k4KPXAyJRAIt7IMns20Zhch31
R5EL/4g7Ea12u3m+/H5v0BfLrKL2SkKJGjCQv7P9YMb1ZEdeJ08o+7RrO4jRuQFvuImGAW7CSGyw
6iOJ6kavNKlCX98UC9NnoPeLvkPYDB9M+DvXs6DAQJOIy4vtefaVR9wWp8IZ5Alf24auuYvB+wpM
CjxVB3PIQz145a6BzHCogGM9uE6c7i5PyTs7lpxzQaIgngOqbvlCf3xy5c+uH3W1wA9n8PcR3fTT
WNXNNqyK4IOXfef8kxboVVqOLsAXcXZ1oiEoUSntxCnOXPMKpgmyqF3nfC7iOfo96Xi6aWVvfnDK
vzPDIMcBAJARLKfu2aHberbu9WirU26i5ousuNfNmEMg5LJKK2xlVz26grdBi/bNGoF2faXVEHYf
vPmyb86CeO5TcDw2/TD28tlnRn8yRrmPBGjCcvFr1Az+/dyHYv773QRuxqbcurTpUZp5/S2LdECG
r7DkyfI1fZcOUdOibAT0fGh5MqfT+/drx+P0BanC1+Soej0eNsUDDrJ0v2rDyn6NhnJOmMgbtwX8
gw/uzneW6dLoF0t2Tyh5jgxFwi8wapWqk0nldo3i64h7ZYuIciBCBMwvv9c7pxLBBxCcJQUBQb98
zj/2xP/j7Lx25Mahdf1EApTDbeXQ3Q7jMPaN4EnKEkVlPf352HsDx6VqlND7ygYMmCWJXFzhD0GW
zr0luDUL0Opfgp6qbgMJEKslCyMHvF4DP1xZ8o3nY3NSY3EIudOW2xRaTMp15psXCFz6k6wcQbOv
QcLPReP08dO9cSJoZTp0p/9n9LDYJU2Cs1uYhng9GQqj4yC/MWwirMF30OfgeVv9+EOzBvcwIGxA
iTk5nx//gDfiAEQ5n2EbpwEI5iIIT0nulUko4FfGw6zBkbcU9A3lG7Q3zNFApAjkTraFneXXKyfk
jZYu0RaeE8hriiIq2ttPC5G5buoqzkmDHG+CKxiiNqe7WDDNGGjj4KX5iPQlcfYymEa67X38vP05
9v+1W8/dP34Pb0QFRqmUuECd2div9JPftlk2ajpVtZ5dZy0z/mVnFFuRp877k/nfV1l2UnvkiDok
8rOro6fhzgxGG+8PpKFbv6i+eU7weU6EvHRJuQbmfuszc7F4nCQmXHBBbl+1XQLkDGCuXwd4YfZ1
kmg5fAkix/iDoWX+sx11tAA9I/fGlaTtjbOkhj+0SyjkEdxa3DNpq5ku6pTpFR0IefLLxjymqYFx
RZSs3d+vg6RFZPf910zX9+AILROYduDfLOwurp7MbRxVQLVi3ZMUBSYXnehaccbCrwsPEV6RmPuO
JVjvU13DOp7xj4ZWtHKd34cucJNMf1TP3iRMLq5zkp5sDqeiuKbk/TU+oXJKtjo536dJOMOHri3X
qD73b1tBtwmWsDUUnn0RTqBGRY6upfjSxmNxLHM92ddO0ew8017LVe53lOUEtGcUGQscdbD4sPi0
tlgNwW1L3br5FRtJiZwnRxRZn7KFeB6bxU6fAqQTHx/UNx5RAQm5wcHzQJ9ZBI3eFV2KmWx4GVGl
k9yksnjukristiLLGNk/Xu2+5qBTwziYvWvArl2uZkFcxXsEdC3qtv5Ljh7aPhQdhjE4fSOhO3Vd
uzWFAqvT7g7/frz4/f5hnKcYCTyvR3dhEZsr6B3egAnlxUkKOnx5N22kI3qI9m6wyaOkXkkh7mOg
qm6Y9NNi5Da4ozdaBRp2OPNc2rCmierk5nEAxbJ//FT3H5Cr1aUxrPJAGEyLUzF4Jjq+GJlfJpLq
j1Xjzy8aRPJL3pbBWknz1lpcazptG1rdZPa3Yc9LvFyAd5ouCA0pYEeBFjUS4JCVs7Xm7BtLUTgp
yDyHCazXIv9KsbNvB0TFL1PnJb8w3Mo/lqmW77R5Tlc25dtLIanHJBDc6TLOYcshdBSvengY1fgR
WZHyZFZ2uUdbfA3//MYWhCehICcksWroefsC/abHsC8ohkuP5NfRl0hoF8kA5qNCJXAe2m7l0V6p
ELcx3GFsrgA5HkN7pB9vF4ROrMeDG/YXTAULHDd9JzlP8Rj+Udm180OXoXGM4qlPN7KgdeJG3GM7
UZjDycxxnCGUC/xocd59vGfvg51DwKFyAYxED27ZCSskBnFmiu0VggdIa5hTtPe6MLvECMqgxjEe
EQh9J+OLpgMEQtDLNIpVOF8m9F1hD2WOOufFQsX3Tw1E87exjpHPRBLiYDQ41j1+xjd2lUoNABDA
9XIJO4s3H4zo6xRJd2kQi76UiCKf6fHPJ89rjOP/YSkIMQAXqLWZ0t0ulRjd2Me50V4Q68opt6Pw
bGmRfYgpzFbGa289FWHGVm0U1Vtc7CdsuDvUr9L2MvZJ89HXjOBIwmt8odHhr7zANzaJRyOaxgk1
kecsh54JShtCr732otcjsvOaDE6Dh62qF6fDs6wnBKvm6v0lNQ03vhY5NCgXKs7bVxkFjfS9QpeX
apiBm+zQPAmBouV4NxZ4VMcoLuOCNsZHRvcIYlWBlYf/oM4impWR7xuRgtyLe9kAlEhnYpEPdF2O
17GswICj8jt9avE8iM+lrFGko8jREELt7DDfvnsj+RaBSYGaWHd5PXvNRKNhtpuLZxXjccJ765Cg
BHOyNdSTHi/11vOpV0wZGpBdBotrC2uuMcM8iuxcqe6EevBPOSfhHtzdhI6B1h8eL3efeDhMvbgd
GUoxQV+iac2up2yMHXkJOPlI8kNznzDNOImy+oTJUHJqlF8XGj/Nytl88zlJAyiAaSLcAS9QLCwn
DYfey9g4yRfkPfI/B9eJdkgwKG1FIfePH/SNKpAOtTo1ZL5AApZXTEqaIepW9BcHFhYAtDTDrTzH
Umw7DS1aM43EpiSaEh99yWIeKZiK6K9MatnP0cia8+Nfcx8uOEtQi1S/FaTaMlzEE6rmaNLM9N3q
IdrhxDa/BH1WT0e9Maq1PXX/kdXJRcVB0WvV3ro9vH0s08nOa/1i1BV+ZmmGGPwOuzrr64SQ+JfA
RXcb66k028kuEyuIx/twxVjgdZpNXOS+XRxYoEbGhL6SfmFGUm+9JhU/jUEm/1alhrRMoPyCnTb1
f737BQNFJ6GmtQKfaomzTBFstZ0Ba97IQFnOTlv/Q1mYzc6PmmJlJ7/xLWlwAlyiVUUGuIQQ+Y1T
x7ZDc2qoMutn6Y3TGeUUFAh1FPgeP5V6V7dZC3x1xdGy6Z/rfMzbDxlxRyph/ekSgZg+MFZ10G8u
nVMO+u+E8S3AgEYDA5OKEakJUa6coTee1AP+zufkLqBaWFwCPpq8hWKWXkiZqmNDKbIZMCfZIC23
lqC9sRToIaYhAKSg4S2HSo2uWeSeWX0RgOH3RjDlfxR4JGGDKpOVEPjGBqUpxFyQ5hQlw3JeJmn/
YA898lTIowLvH7XmAua9wMIeqejvheAgXyXHpXr3Vca8FWkFg/oScruv3sFvvSDwsckUxzhAWniE
AF+KvMkjufbmedcimPe3COSQv5NsC9YZvIxr2aT0iki1WLPFmFDHFru8FMEgiuNc60FxqOMMacfC
7XBCqej6rgS7t14w+Cw1dFX6DksMJ31B0UPqLi5zhmdqWDu/EjSjN34HH9B0xT+lFqxBIO5vFx4T
NQngD+omXU7SjFFZEAVhcZG11Ty7cyMO7WgWkLDq4jhozZqGwHI94Maqq6dYVTT1/GVWYnRo6rqj
b58nI68iJOotrCwxuY2j7iVt9bwrN2pEpa/soGU8UMsyWlBjcyUYtKxx9aoqY/jS1hmzq6Y/iQm1
2m1hSRdF7A7t2DIyIMIVjr+LGeDvB38c9o8j0t21yuZH7JEGFFgTQsISFSxrrHjnIjLPGAi1NHPr
sRy+SAf80iGYk1r/OGLb6R5CLQjDg0A7BP+sXGTR8yDose9jFOqTlVz8rkHHb6JhYyn4LFwo6JK3
ByuO3AgQq5jOuaidTRVF8joyWd060GaAUsS43cBw3fr4StHDy6KjwGftvSWt+hFctSqFg6kERuX2
Rxjc8FoCm+Q8ANPZez4L4ig+Xjyv/VvH0XglRV3e8Wo5GuuUHopPT5p6u1xsT5gcFWZ/jt1hlB+z
IshhJ8UTduCHhm2SehsUbDPcm7F+SyZGnlgjrGxH9Ui/X0/8BmBjtCY45DrIv8X1hGx9gpOG3Z/x
yTP/c+cp/5bLOH+RTdyvPO6yh8RSNCDZeaAcaHAuOakzdn96MzgdSnmlh+NE3exdCrCVq+H+WNNq
YX6o8ggC2DJnDAqnZBI/9Oe+F9OzzKH1oleBNU0+6hsfibvN49P0xkdU2itcsqoUp+95+xGDFH5m
aczd2eLrDV/6rCIf7wprGgssDws3v0BxM0NsEnEv3kR5a+srk4NlrGYkT7ZEKgOxGTCcvthGrsg8
pMej5swmSzEqSO1yyg/Q6yCTZLWH/FWpJR0+lIWFkfeastId4Uwtz6NzRdGeIdFRL+i3K7Erg97D
mX0+48YVmcGplxT22cbHBCo/oKkt/avP7E//Wtro5dFO91sRDFs5673/o8NuxXgZZt+3jrlrJtoP
DZU9cbB6NND3mo58wbGBYBbJbTTSLvg7DmWafzS61MOgo1JEqJ9+gB3z5wb/csQ0kxgpzvd+YVAl
XBMG8xmOyTKFspMgAe8bMftK6i9l3OEH3eJs02g5bIq+L6+dZ7YHy0i0lSz1/sBY4HEVHI8Ioar4
2zebWThXj+4UnnUdJGlK7bWN3an49u7HYxUmwzZFHbtn8f0k1sGVaXfhGeM6M91ETacEo+x+oGvY
OcI/+i7g8L03ZqYNlrSI/njv+gBK4G+QZoCbxQPl9iljrypHKFbBefZCuKFEKrnpemZOc5yFv/AI
jHZZlHcBgl1uu8ZPv48WyNpQztC6g0pIOnm7OLJ8AnmbOTiPvYFJkO4UT2ntFx97A9XH2mfVxw/7
xno0YhDlU7wf2Avq3387LAFKt32cjt65yWqMjSvL6nE8lZDLGqFRADRRvZI9vnGzIppDwkEZojAN
y0vNdUMS8Lr0ztHcKioIludzRfmhT8zIvTq0kLCs44pBBmCaJCF5nhLYqoMRF89ZE+TlynF66xWA
LadBzelU2kq3r0Dm6AEwpOcV4ENx0aLxC5Lh9T7s9ey5EFqyku28sRwTEhfiGMBWRTm4XW4oU6/F
Aso5R2OKLE4LMaSKJndvRMa4mXSmC4+/8H1+B9CNpgXlu6m6i4v7YLR5l1jTRJeuws9gMwsTT1Jo
8MYvtwrLp7p3XIy+Jrv/igw81kQBniXl6fFvuL8RuA1YH8IiKhd3gaNwGSSHVgM+azSqU9dg2Z4l
cY5TA02SMkLmMCfcvXOcSw+VcS7qj/ypyk0VzX7b2gVDLpoEQ3RBUi/YFcxMj0HllQeI/WvqFvdJ
C0up8kTVJ8zAFt/U0uk7YxwTXXAU18wDSpRRtXd0eJr7Pm+C94JdeTL6lqqAR3FEzXFun8wQmcDQ
yMSg2dOaM4aX2qYs3OwH3sZrjYm3TiugINpL9LvYsc7idIjQwkTU6PBtc5z5YGW4eJYufmXCQENc
DoO9TUfkUdGUw9QcJhI2vEF8eLx93ni93DiU1RQICga7eN4w1yJd9EFwbruuOgyD88mf5vQpBIHy
/lhAxkDyQuDn7S5bPkkeOLODjM25530c/aLUxUZaGCRsyz6X2zwqkneKThJ10O3hUqX7SxFPtXn7
MZPZRqB/0NBOGw3zGcSDAzPfqE8wytoVXYk3PqZq4NFmYgauDuNin5rRUBgRZgrnWTT0Ceq60f8N
RW386fYZ/ig1vOmLPbUjRs9Tpz/PtpZ+xw7QXglJ9yHwlULGJgaaRXmjQtZvJ1NUc2tBW67Po9B8
GrUtulkyy579SsqzQYV/fLx/XlVeb4sKKGukLBRSjIqpsm8XrFqcDvExEecA+xokS9y80KoLwuSe
+2XGk4IHtsIClXKlTXNsA7vWPo+4otRPzqBn9X9hrU3OxU0mzf084JCKgY1sCuuXl3ZuhD3PYMXJ
1g67pDiP5iS6Q2AMJSrNicTMaJOaJmaeuA/i7rsZGefqyWaKosD6HgceDj5HQ9ZNfHDsrAevD5fC
/KFjG/c3Glv4LPpohXv7fEij7KNfVkW3SUJZavvHr+g+QiNjzK7gqoBwQXp5+4ZKqzJ5Efz+pBHh
MRjnz0xMxxODkeLQTOB59TEcV3KP+2NNqq40/Oh5qinUYk1Ns3G7djO0XHFz3CUSD2e9dFw8rmhC
vvfxgEuRVkG8oNJj+L14vHQqylgr8vNYT+Y3GwuLaNdmfjNuQ8/sxqPoRzDKsySerqx8X44x04ew
w6SSsw1+9XblIogKKXHOOLsoAI1w1iMd9IkW4eJCMyQ7+HaCeWTdY+A6E+NWIuf9Z6UChKpAY4fG
GV3Q29VhfdWSa2s8O31hIc8Nl5BOwrjv6ew8l7k/fyoVEfvxy37juwaMJJis0XyFMbq4Mjqg0szc
MaP2zDGuT30JbfCkm1WMQnbz/rsQiTXPQn1TTb2Zd90+YRJhATEZTX/Wa93Zuw2m4SQ4wWZOrbU+
1d3LfAWFmWgDeJQFDLtul/JQbp7GKm7PAqwldpp5vcfsb3gZI924lGmeYamarWFK716mwp7Q+2G6
BUqMsf5iUepKe6iS5tyGEdr3tMOcF6+eAoF+moi+Pv5yajvcxEkUlsjIQSsBKOXzLZ4wmVJ8N3Fn
OXfNEOxH5lsvxSCCTYRE2X6CubibMrJHvyuVU3dtr9y+9/eTKrwUkkK17HEPWNxPWQIsCs+j+lxZ
ENaRxQ+OdjnkqE7PMv6AqnG+nZg72fwCXMV3GBLXJt4i7wa3k5yD/6Obz/yAnbzUrMmCChtl35Dn
YrZQoWg7B/sD3MA3OZK2Xx6/87vLUK2l1EMsJsP03BZRsHNMNDZR4j07kwWStcQ5M92ULUqmByKK
c7DjOjRWTuhba4IpJ9NhqIb49DIs2ChsSDesz3XjiPgkCiMev7pSw9W6oi302YM2/97Bj3qnNqNK
IpEaFS9VU0MvH7Wsc2oae131rwuHauvOkft16tD4ePxK7xvKrEVywUYmtyLzXrxTkSah6xSdPGt8
4bRjOivKPNrmsm1o2WrhZJxICIJi7wsRfCVRF84+zhKz+azhYhqmm8aqq3YlFr/x0kksgVyBeldd
1sWPQlWkbbG2Ls4p5m7fgST2P6nvY20DbK8/0peKmvd/ZprYFJpKl0id69vYIcrZ8bTKKs5dXtQN
0+nRSHYxDm3zz9DO7G9Wi3XkSo5pqjN6G0Ngu9B+hDRhsaWXxYmeDVbi0CY7zwA7Cm8zc3ASsXVw
LZwQMVFtMjPOxRRfLAu/ok+uW6bDocalzXmZahMxm9aZhupvA6cdaysco41e3RZTHH46ly5IkER6
0O2HOAjQnMMHbHA2scC27IvujaM81bMr2uPjHfXGt1OCuOQQvgvoaDmhiCur8cqxzkHlVsmp1Bzz
lGly3JvC+Sr8OF2ZPqjSdPEOaRdTsiqtbwrKRRwURVEZIkmbs85875KNbXMtvWmtj/gqibpYBnof
4AmuNG7qZa9dxgEKW3M9nLFe6b0zFW6JFIuOxcih9j2G3KEGlt/djRpOCV9q9FKNS0Suhpy0lZfZ
j2zGbuQjTtFD+I32TBB/SG084KadE5SWucdQMMLvLyNTVr6to8CYDfNM9+wMIzEdPqiPMvxU59be
SbKwPYKyT7QTlFE6bqUsa5iAQA7MUyLs3sAMWnjOJpvzyfuErK2OQk6YB/PPtsKpFidMrL3+KjVD
j/dFaNriJQ6MJNnnCHYM26TBGWiX+/U8fsttG8mXxDT7//CgKKaXuTTa7ppPsWYhU2vFs0F+Hpel
dpFBjdzQxjCR1cg24Dqc4AXJw9CnHzlhRfR4k91f9Qw+yBWV9jKE6SWgAywLv4Ei4NwipjueGmGO
OHVHcZJvocw0/z5e7S4xBSQM5IBcGHU4tsEisYBBHk0BQ+vz6OZeHe/QFLfrj/jVe96xnMYk+7et
o7Qzdj7GZd4+GTFY+fz4J7zxwMCyIXzCVKazsIxP2iBz4MhTTW9hLL9bUCq+S4xnsD7FXuX/sJQ6
SUx8YHIsb7ygLLzJTUp5bpGFNr7PECaGH1pGhvrfiE6X/enxcvepIq8WbiItxVd9wUUPe+jqVAAE
cM9YwjXPhcQRDobrOTdk94zxar4BPeisRN431lSNY8p64i5krkXQsFMwqjhTYQ0rp7LbmV1ryq2r
2cXXPmq0LeI03R9xgPXN40e9+4iKOgb2QVFysI5ZFvOkNS6DY88FyFbazx6m15eEaTWmlu3avX4X
hV+XQkcQYq3i5i22rEzjsEFAwz01sVb/sptglnu8NrOPJmIo58Ka+5UT+eaCBH0l9E4zfgmTtKq4
oU+vuSfXnv8KUbt+HrDs2hn+/E9h6snXx2/yPv1FQpCADyOEbwgUQF0Lv/VFcKeZ8Zj07FOla9kn
o3P0H3ZHMrFPs9KNkU8uK8yS06ENz6bmtcZGDxGN2uE/a+4f/5S7QsBivEOrDXgoJByu8ttfovth
E/mNZ56GHrfdf7UpnhpvX/j+kLZPYnTSSOmR5frLnAJy2bo1oL9DmlnF8P3xD7nfXQFFM6oaatbl
wfu5/SFB1zDATPBcHeYm2kRWrB9NpymPPVia87uXonxUzj1sZx107O1S+N/iZS+wA8X11q9o28S5
5f5hysgdv5Om+cGXx+vdBWBUlJT0DwhN5i/ssdv1UmbG06hr3dFN3WHfFG7819TiKEXrRx5jW0DX
9tvoatsi2T1e+X5EyhHCTwCoBUoixt3IIy9nXyJx0x5jr8G8DVGRzwmWv1fNCsWeVyR2cFxR+DG8
FqCz4SGZWM1PTaMnZ7ercJOz0Q8FmFDs0KdDzKsQ1TlH2ZnCLKixPO0755MjhuisDzgd5qE0X2wj
9VYC3t3pVE+BvRUEcNjujEJvX2ACXCWyMT088p7ca1zX9Tmv9HSbYgNxwNZsTTX2DvBPAgQmBFFV
anGgCctQRzLgloNIAXXZdiwOqLnHjNCtsMuRm5zn2oz+GFEa7S7SC7PoQwfSPidTAM7z5GPToX8J
xtjXjphr0mrbaIgp2WuV3WsmepPT8RsJH0gpUGYBNV7ESA2NYKcdO3ls8Gi4GM1kbqSM5aapk2ob
D1ryl1uY1l6fB+t5rEKKTHQedm2d4m8r0vRodLq/M+wIR6o4Tj9hw20fGsepd81cZWfU/LMnPAix
AkUr+WvQCvMQyMTZ5gTHs4gbd+NgrnoAMqKdMA2eVnbuXVxST8f17YNZQnBtKUOG0B8CQpUmj0Xk
lTvoVfnTq2t4JaS5C7OufR7RjNrpbdc+MQyL3xsi1PK0mxDfUQP45QWUSQNZ4jFujkU1ATmtE/8Y
y3re9q61VkfdRwfApUwFLFIWSoEl4dSA4zcK10rPdaEHst8ZWeqFh8GRY3qw5iqsXnzTTa2fYRSX
869Z0v7TV172XUIBC4nTZTH7IZEBo7U4X0426Lks+QlZPl7jqGq2uIc2z85Q1JfG5aBr7TyfHsem
NxflgSF1qYC/FBcfEHCVvhtl50CabZ9sZYvSOMribuWddDxG5r8z0yzSbFtmtmzWlMbvrhuEgNhd
ajwC6pdc8faRp0EKszL08KQNaIF1jge+u/eyPX2mbOXt3i9FJ5EZHk0cl4CylAiJKWbcpJiCU9W4
+YkWovkJBQ1vO2PHu3Kb3wVKLhka3xR6qr9PL/r2qaIJF2TdC4PTmCXRQS8QifN7073CB/gmMzN7
73iH5eg1M0MjOVLz0NvlsrHCbAkf3lMOUX6vo6a+zRFTO2kxVlmaQKD48ZaxFq+SGTqIAjLe1/EF
9cki26aPqYe2NWhPNjCRAnRoVQ9PBYYz2SHuer+mfVh4CPLSTovkRnq6KP/E83fQjxkuke7VH2wd
dVn8SRCahbGoH8iju/mHoCj9j5ISq9Z0dsAsz5Sv6d52M3c6OkAD5maH8VT2NA6Z7h6MUWTxJkD5
v96G7ThOuF7N4ai9BLCXP6JKYnendIKvuEWIm4mHHYJsOHmpcMbdLOowOiZt6BWU4IUxW2tIj0VA
gWELvkNZHijkjir3b79K72A9T+cnetJzKzxKKb/1reN+scLR23p25+7S3gPPM/Vrfa/FiWZhCkzy
N2ipZBq2vVjYoIp97SsjVRYhpKEbv+DYaPs6a82zEdvDSYl5HB5viTfWRJCTGG2pjY94y+3DYpic
CGf266cx8t1TlKBXUHbCv8rUnhAZj7Id8Ls1mvFrVvzb3YsEOEKrLKkAm4hXLgv4qOd6d6QzX2ng
2Pq+7/3ZxJanzStmaMYU/1PJcPizzjQLU+Wqye2tjx755wiLYwQcUnj227p2m2YzoRf6Ytd1KQ9h
EXvecyQi/5szSzP6XqWFlrdEYsB8yHvnsYVNeRFPNXZuvAqxCSLslV/QyWrTXT+1nv9Frw2/3NV6
1YpPli9m45scqr548rANy2iphFNWbcscDHWBKG7QsROVYHyEPKDEtQJjhwHU6Wc6e+h1bPXaFUB0
PBGM9c6ImlLuOvyGrk0Dd+3APZJ97wUydRvm5sMZGfpZ3ydcmx9GqHT/ZJjb/RtAUPQ3DZbY74t0
fAFmM68ybozcCHWLK6sK4iGYkbS+FoEh0Rkzfk1TmLzYsHNOU5JaKxno3TZjOZJCkgGUiChJF8tJ
cHDhCKQRwUgnvTZhbzOcxRc8pG11mDvnnzKI3sm1VI8IHIOjBOYd0MBSmS9gHtSMcG2vopPTZ0fM
1Z+t2cmrazGvDZRY3+OjdBdc0QBURgngxPFvoRq7PUoOwqNJRGr4UsfOdERYLX2a57g6Anqej+9c
ivueQIG5IaY4ig1zu9SchXUJOTh8qqm3/9DlOG2wL2p/5OO4Rth41Sf6/awCZ+GroSbyKvAD2O52
razwa4PSsrkSKytqMMtui4tjDtpPS0ttsQHiCQ5+SK3gM/iqodtqiPEER4kn62cf41/F3sMH5dT6
dLJhQCH6UU+d8b2dWmMNl724v1VcUSpLBG+FhyQ5uf2tc1TR2K5761pX9vSjhJrzN4mF9Xkyy19a
KsVKr0w9+u+vhv4RVBISXQeSG73hRfAss8YthtKer8Bx+uuAT/Hz0Lr1Soi+fyhVpnBqlJclTCB1
tn5rdlSdwKcyE8MVaEWGNcOkJy+GcNqPYzJhBs6VsrKR31yQxIQhMc0j7qPbBdOpBx0ym/3VHuYJ
BRFhBNs+850jgrnRoZSVu6bvex8eeJOQ5ijECBFAXW5XHKdyrrSS3NmLa13fCgul8yS0kmI7Fu30
QY8wHeqnIFt5s3cnFptjlUATlNSYehmVNAOpeihqxrVx5n6nZa67oaT6r52DNVXoN1ZiHKKOKiN4
SHKLQ9RCu8zKvGuvToj00WbqIeE4NjXixnBjuRIdXqESi32poh/jSj4iI/HF69QhWLltHrXXMNXC
XWdyv281CTrtz87yWrkx8bhsN/4wxT/61u6rTRt0doAoqxlaG5UpGF8iBmH9qe7avt7ZnZNh2mFq
37kHg2pftE53mYMW2zLXSCIE1aQ07CcP63RGVgwE0r1X9N1fdunq2RYJnuoTAqhmdtDtaRIoIXeS
iYnXjGvn8f4tw+KnJsGXEUA/DJ/bbQSHb3SMWupXB++2Y4GQ6Kb3wv6F2cWwkkrfnxGCGR1y9HvQ
bEAQ5nYp2fSGM9H9v1Ze/19ZU+yHAzeYItenG0fo1d/vjPgU8yBE0DBSujOEttv1QmB9gxsPaErm
pv3fiPfQvm/NejxMXjStSb0umgdq73CBKdtQAJgEuUXE8SYrTGQV2FcHpeedKG1UAzj2V6eKPDT4
+yk94O0pwRqb+Xy0RLwmWnL/dmlZMHF+Vd3gklMf+reQVzCVriZMe6925I8X2XW22AaZOf/ju9L5
YJcyCVe+5/3W4d5gsAJYFOVC+BC3KwZZkebYu7vXsO7mfYwZzjnqBn8fjcm8EnXugx1+VcjbmuTd
no5y7+1SkdP7dmRQTVlhZux1NENPnT1yKwpkL3TMcH76Gpa0j/fPqz/e7zFBXeP0USEFcjhIH9Qr
/+2VprIKIz8IxZWMOU9BMHpDse3ReZ730tJm8YTim/cnDLFQB/0b1vNR6JFpb5H6LqpdMtki28i5
8q2XNB68g9Bh429o53nmIa3LRD/moSn7/eNfvdwH6kdDLcOuFCyEgn/e/mizQIHAnWCUJeSH6aey
y3xj10Af+0vEsRAfh2hw3jk7UZauNATh91GUK/z5IojM/uj0vTvV1yTr87/Iefxip8lWPAdp2jWH
IOynn+99Su4gBcCglw6bYwkm8uDA5tMYNlfZ19Wz2cz6iSa4/J5GeoeAo7Umn7EscHlCYB/ELKRy
QfIvFaP5nr1ZFfhtRuDcIypwI2l3kW8V4bmSOGFtXBRCv7qz0LaD2c3f3/20AAxRIUClkZbHUgzG
d0q6U4NRX/NhdO19bwvH3wadCOLncaj0fZo7/JB3r6kYTsDeGNXQS1kENGV6XYSeg5XYlFffktGs
0eRufX3jGE3xKfG15vPjBZfhhDtSzWBUC5aE+K6sbmyXa9HUpquixJ5ypu8HGQCl7PJmrRa4PyMU
AsChiCT0DO5wfSIMzAatkPE6CMPa17Zdbasp0I9RGf0905VcqeTeejJSGFYDZKdov7dHUuE7Bgtu
+rVE9DLeSijx3W6I7fanI5L3Cm7iiq7SDQXEVhM2nDhvV+uDKbF9gNfHfJyHvWcW3weYZbseSb2n
rO/slTHmq3rb71GS9eA0keAwN1W0m0Xm5JMuDEBO62NlDDE0Yqqa4qXt/KDdgL7KoVGZiTiOAkfJ
TVSW1isMLUoANrfuf12so72OCgU4raEZq4++kfnfa0025iZE9PQPvQm0clsW2si8GVajv8UuOt9H
KfKe4KS1bh+V8MVpMMky3k4Rmnrb2BPF18ebc3m9vz6k6pQr8ATsv0WEI6XDs7Wv5XHoNPkSNWkM
fFmvDwzASmZC2O6MLp1do7TzoxeE08pVe7s8ajJKFxLFbFprDGAI7LfftDTy1vSZPx2m0c1OoVmY
l0kb0r1Fr6XdDZom0GBLSrAVjvgRZfqaSvgC9PY/PwDQCGQNQj30x8UW9pw6iDLwfgerwU61NCEr
p8asf45B/O6wQZ6fR9N3PrRm0Z+l0UT7GpTnLnU1sXIp3wbi//khmO/QB1MUOn7N7Zso6rjTgtnX
sQoPwQDQsEI6MkI4t6ub7hJClP5Yd150gNVhHx/vAfVf//+NTqhQzU3SD8WzVRpqi3cw474N0CI2
j5nnRl+ycA6fGvL3lU99GyxeV2EQyOVG357mz7K7mCfVrHf2bB19m6Ico0rjszGZchek4Vqf4jYM
/u9SDOBJypkTU2rdvssQIFXlxbZ1TLzO/JBoLZeXNMYfYTT6h3kO1xKqu0ejY0+hgdoVwzU0thYv
0Nf6NpA0oI5J2UOA0aG74D+qHQZaBtvH32oRlXg2VD65LEkP+Fow7Bcnxom4xTEINI/SaduPc9eF
O0Pz/Q0MU+Oot+k/WRGLM/Xx+BXfw3kTObH/rPtJ9sUtMVoiu2uO7EOAEVbl7ybSrcvkYnduemny
ksSF9nl2M5BLAyrOEnbhsY/8Avaz8pZExmBful396fEzLUbE//tMShmDQKSK4sUzGU4z0WPuzGON
Tuof3M4pEgHefLIyS9J9Bjyt22V/MnupbeN89k556UpmsJrc+9aEloGPqOrj33S3hXjNCrzIREvV
AMvXrIvYsHrGS0ffypwPCC9/aqdmOskSRdeqmv97vNry8KuPSn7ApUZHlJewOPyVO49MTi3rCBsn
+JIF6JexB2hU641+FLNtbGpIYz9SQWh898rMnUgAEaKjB7wsk7OY/Aw+iXUUHM1LbICVSa043Hie
mP7QrUS7xs1snkOtWRtA3T8zXAcaIVAciXdMO24PqeWEkh7pFJ1y2sQ7o+36g5Xi4FfZOYWlL6t9
nhfY9XbWmibz/bclt+ZxlYq2Q1GxeNu9cEoJsC07zQG0JlF51b5yrPg588nP0ORaowkt1mOSpmwT
VN5CGUH0W6yXjzZiM5GAGGQJaPOHIdPIyQoKOz9A73icUTmls9qfHn/a+2VpaEFc415nU0ECvH3B
0ksQVXalcSpCS8P8EaMuPNP/sethPCRztAb7WlzlPKXqdPt8VAe+Kt3C2+XgOHSRjaL0CRcyuWsC
r9tnVW99t8ok/uloQXvKRt/d8ab1TcHXXknrF9vpdXmk4vz/8SnnL7fLu3hDdRMaDaec+/zSAVLc
tIk2HGuRfkiKVt/nSfYD9qJ1ePyWbyt4uj00CcC2kJlyAxCdF+tGpZ4ETWQbp7wOk+8+rpBbOxui
j0iemcfZIrtj6lus5KZvLkprFMyVcvlZRiczQQjPDwrzNErHOmiF66PEQMC0mxjyPYXcrm6NNYPR
Nz4wijMcF+pTSBB3GlhAfd25sM1TDKrsiCthuEkNo/5/1J1Xk9xGlrb/yoTuoYU3GztzAVRV22o2
m6RI6gZBkRS8Tfhfv082tSMWqqLx9dx9iglqqDZZ6U+e85orI0WOwuZZFXhhL67DqrJ2EHP0P18e
6PPlTGJdM3gaQwlDoWp1SYxIverJ4ljXaD9P+7y3ikB3xvTKja3UX9T4dVaBcmL5kNAGCfzJHp6h
1+dEN7KxyezrlMpFYFeu+xCD4YDl2aA3uXGtX+oc4kXc6ngFyof46epF9qJUlqG3rzPW8DV2zu2D
PkrQ5GiOvxVsnI2Qb0U4+NE7mH1wKzh5SXivdmtTLRNSKIlzvUAq8JvUWO7rcSze6VUoc8KacdXG
dnml5ybGbmAlr2buQD/lzXo1FN1yn4b68CRSTNV5I1SPRl0Wj50DRaTWtDgAClSAQlEJicYwGovX
hZJyaniZ8STj32Az1vhGkquDUYUpzs3aWDxafWEFhoYeb9P2W3I358cKx7Y0L1HROiBK108nZhlC
rRTOYF83lZteezqEGA0UyuMobJAHMGKDKk/cQ9Ig1vjyel8Flc+dhMPGFQXQUTrUnrZsC27I2AXA
g3GK9Wnx+AB+YzRo7pSa9v7lti4sP/PntlZ7q0asFbfxzrl2Ig2ncAeW+uz09q0NhSBozcG5frm9
lTUMy08y04GCgQxjf5GqOO1cstS9HVJ5v+Zq6p+UengstT7b6SLu3o+tF39rvPRO72vrZkA0xEeZ
bToQqEj+qdLsXv4wZwMN3hwMOHE7tyWKBKu95wwYQqtwqq8nR7EDhJ2tW2iax9gTxrvXtkSQK5Vj
gWHjR7dW4AV5ZjoK0S3hOfIGSroo+7F29Jsk0+1XHigUzmgCagWDS+ln3ane7ZaqKT3tRreb4q7s
4i+KW39L8ql40gp13r+uY7JMRwgrSYhkS8+0FfD3aZwoN0w4R7YZtMJL770Ss8Z8KLaMxNZXH03x
SODKkyAwqoSr+3Zo5xaLGRZGoorZr+fOlmtiCYou1PbxbPzRFqaz8UBZb4/nNnkJSfNACGHqaoVY
c0pF0hTWTYz+/kEXlbbDU7QMErtN9t1Clu3l4VwfOrI9yWQiJwIAiMPydHeIHIn/klfJDXDyZtdr
tRGoE9jB3Uya9OugoEavToW3wM0b2KovNy5/+U/ZALQOZOO0DdaZK2BdYlbD0umHybLAUDbqZ6Ou
1V0ftrhivdzMpXkk68CjA3If/6yOnKqord5zR+sGozblYM/zB0OBuZM6yFKjqRIdm8hpNm69S/NI
3YNkDypQ59QZG+XbussS+yY13OgO8fjhbWp7GUf4XAV6Map/vNzH9ckih/Kn9tZ5CLOsdTsjk3RT
TdUHtR2He1QK5+9D4rhbaIdLTfHMoHPyBGPZnC4ZckoQ7doRHktDpirvquLB4aLaSTLGxil2aRSh
qoMTA60oFVxOm0rVsQxdIAA3bjhkqR/akRs0SZ4RNyBu5Q92WW6Eu5c6x10P2Y5ElRRHO22xiIRp
5Gps32AG0V5x0CjHXg+tmwxc6qubQs9J1l1cDmmNV/FpU/Ns9Fbaxs6NlhTf8tyYH9QU66w6rKeN
YTzvFDUBGVdQiOO59Mxr+akI1w+jKyqnd26oHsRvoMkbWJWMUpixeR2kgjcuxFlqO2AKZaaTF/dp
p7I+reYwMpwbQ+9v7Vy6JbtjB0DNBazmQMs3Ynv58PLaP18l1HWgSEKDkTiOtd/O3C+YErpLeNNF
re7b0Flv1VaT5H9hXgHefJ3M2nMfpQgNCTjIDRiere6FIhymSRAh3HKX2ru5bKNHx8yMjbTQs2rO
6enoydoRoTPVU1I2q2YMLcqt2ZwinAK94srJcxGIJR+eEmWe/TEthoe6oWTgpGH81JhJGhCijnGA
enmyT/nDF2LQryHi9NQu9cHZOFWfsXpnn4/YkXolajxnBjHmMKHMlWvKTWoPkS8ACHzD/mm4b/vx
t7xC+EjJbeMAqdrYGV3tBFZReleWVYrdHMb67TBO3XU5Zea1ngpDyso8NtMCIrTJI8T1XSOgNtl+
snArDDDR4+DOEdFTFDva21Zqf8vS0T4ilpXta9Mcj4o5OjflVEzXQy28ndUCoh5TJ9q4Ly9sJYr1
AJFlRoltu9q0lV0IAvVeuQEpOt3mMWKJc1patx2vxI0BvtyURLlTFKD0tbqaq6wVplXNyo3FBf0A
/xy5abA8t9FQthtNnd2QtkQ9UKSkIgAw3FsttRyhtwwNlOTWGUS8S1JFv/FiofpOLJQbw4XGZ5ro
R728bc/6R6OAkii20aC0Gjo9KuAFcowYU3qL8pi4SnpLXBluMlyVZrp1G19qipSn1AqmqEdK+7Qp
R4HvEttheqt0FUY0kz0dR33qgkkU5QY1/Owwolc/N7W6Hft8sGZrclNUzdzeb2Ot3M+xEe8Y/z+i
iALmy4O4wklyGMn2XIm44hohXlwtSG+GLus06AEOfWUFpVJVuyiL670+LVj8OGV0P1qgPKzScQ6z
YvSA/pUF3DDyCXqqlW88tHbez9FQowPDw6Sq8+i1IS2f0MH6DtgJq4tJOB380ClrLTVQX+H4L96k
vfVx0rXoc06bB8/Mq9fpF/4YEaoVwCMpqrLAjNP2MHiJRqTwMwxWhvKQlkv7kJY9GiWlo/joFzSK
P+pxEyyEbqU/mSK9s3GC2wgAV2TR548BOQeQFlQV8H5rlJ/uNmpZCjW79YwF4UZFRR93qqfFfFj0
LMF0KW+9L7YYko6MT7F8FXpIgcWDe9+89sySMMNnIXCy31BMVksSOD06r7Wb3fYqeMMlQt4K8n5x
sNjdG02tE3esRgrNhBFQOnh9rlEWbVcNaYUN322d5fpDVOSObwE738eaMx6nsLEDFzeEx9iO1bsw
wufr5d1wYfM9k7EsYHjPFtenUz8hKFh1SIjdltowHVyhxrdVqop9PVfzO4ui5kZ7FyeZBBFXAkhz
qWK/anBcwqUuhvx2sCeDBZ6NYFeWrvFHz44px3uxFSxwAKJgyXs9qCZkc9iUW/aHl4YdHLSscRAC
WeuQPKxbb0CLML91Jmd6NwECO0S4pt2aef8bXxk/GoqXB/YsksDuMObZuD4uHK8yqgS7wIOZ946c
lp/iy25pojmsl/zW7POQpJFwH4RdJ7eAJ7aM+c5nmCXMy59MKSha8iinTdUDxP1h8opbpYlnvxqd
kfSwp3xBq/O93ifZllrzWfpI4s8BWYNLJBiDs7k6vSCbgZrVPHE7VY4bqCkiiwIRYShLceUrZYmA
SgELUO29fD8YRn+FNI37lvKj9dEZzK2a7NmCI/QgH8mSkzJ5AJdXQ92UnZ3PyjRdZ07eeX4DROQ6
p6gesNRqtEGW4iFhHG7mejA/U+ZvrpJE+fq6XUYqVOYp0YRgOOAr6adz4LapVY0VhLHe8CYw4UPu
W04V3yHFMd1NTrOVHl9HJ6TGuTzIEHB58CxbBwoYGRNslZZ265mltTNBv+8Mve19fIl0tDj0PMii
0t44v2XI81N0C0RFSj4CAiX64iJZyyGZTdhVAN+Ve3eujNtycuJHpVMHJP57yrLdYF1PFSYdRVlu
Jegvtix1MCRPGKW/1XE9TRHpoRm2nJZZ6m0Vee4VDoHiZqiQjm6RSfQ7VYt52ODc9/LErvIx9BlB
JhJ4ZPHkCbpOdqfoicQD1ZyjABe1ywYtPKRj+8oapWyFTQUOkOcoz8S1rLslHNF55VIcp0nrr2O1
M/yom+JjK9QlyLRFuXm5V6vT6bk98hUGz0MJgF0HtwV4nzGy5uKYu066s602um6nDhvwRd8q915o
CjUyciJw+QDirTFG8M+Tocjd4sgrl3mqq9Bx/GJEr9RrUnfrgSij1tMl6p20ttqHAKQXRRR4VlII
MZwgaeHA9qOdU8av3hHIG4/c0M372my9I4Jiho+Ts7YRf67OYzm4Mq/A5cLBBK5pdTyOGLZkeewU
x6o1i2hXIFgVwNM03rWGeWcqBXKYL8/m+kD+0aIEcpCblemM1Vtl7uiyMzPGVrTMd5k1H/GZ8v4s
e6W57fHPe+tqRLl16n3sPCdUg8gi04EQbsmHq7e4kyt8MyeT7D9PdN6D6J1wRZyehX0shMDyuDxm
i6VQ+W1zOxgaYcK/zgC0dSmzUejRlT46RaCEeRf5GhTTI5BisbdiE3FpgyxhVLv2b32FyKSDOICx
C4tZ228M3KXlopFnYtexGZi004/ajRplc0Utj8OAgWUGkRbl/8gOnNBU7xOFSKUDH/d74wrzg6hS
Yx+5gztsTN/qLH8eL/nERJVdprzUVcCUy2jZTe3yiF/WAiJitAaK53Z9ZTVD5odpp/iOnr2ynvyj
VVjcjpTS4qm0WqWhUjiDWzBLUWY4DwBXP5WTXgFymZf9AJI0qMz4e9Wo7oelHZaNfXrpUOCq/Hfj
qyt7DJsJdQlRHmsKeQ8dAn47qHn2baLXn1+e4kubkfBLZ3NAEEOy5HSG3VoJ46qey+PchOXvAJKz
vZP1IzkgLmq/4CV0eLnB86sKEQCQdtS0kPg4q1a0dlr3JH7KY5s09Zs2xuYsTOz+apy7R3TKE8RM
3en9wExvnOmXlhFYF2p6Ko8rKjSnPVWNcRZq6pVHBWuZq0Rtkp01QpLVCie+Ux2U8pcIVMjLvb3Y
KABkB2FGatlr8ioKyNRA5qg6xkm/vEttp743InwInbawDqEZtW+T2t7SRl7DRp/XLu8LKZMIOIx7
87SrVa6GUTbVLJ84N7/M6PBfc3PNe9Gk4klo1p+4qtoPrlA+NlDYjxh3tCSRbWOLPX2p9+h6QFAg
MJI1uNPPEU5aioxLUx6L3NMO5mz339TYozI95snvk2eF93Pfjxvz/DyRqztOpqSAcpIkQol4NdGA
Etxsnknz6y3y7fipK++a3oLX76bTB2NW1S6IGnX5Upi5dQB4FF85iTczJVV1E4ZVfaDYG98zcVt5
ngvDgVY16V8uel4i60C8tims9nYRH6nlILDUu/POsVpj77SoIs6aG17Ncz5evXIFykuGcJTtBlLk
rPgZKnVUZDjwHMUQRxhdAan21b7CpIFgoHgYxh75GKu1N2bhrK80S9jNHyCPiPlXk1BHpmJBCI+P
eadpf+Y4SN8AV8lu83L8lMhDzZjmrVh01SYwBMi/ZE9YbJRWkKo4XW71JDJjzJvyTY21S3LVhu7o
5j6o2sqqAsp5Tveohl2fHzy9m+3XpaxoXOZ2URgB9wRTd+22ni5xQcLK6d9UzVLd8Y77jQwX7KVJ
aD7aJtPGpbg6t4FC8rikCATuQ3LBjFV6sq8H26pMq4PJ3F21PfzI0cqQe8fg5hrsovH48iryGLqf
9hTNAcUHiCl5OAT63uo2bCvHLD1jNJ9U7NKCSecFU6SIANgotBEoztN+VFsc1+O8vM+qUXn3cvOr
S+Ov5llSvOTlNbVaTWAI4HIbifkkjCXde8M03ChFqwKHnL1dOunvrdG1Ayjc7e7lhuUvPu/33w2v
+m2IyOjiqDaf3DSrdgLpq7eprrvvX25lvXB/jC6cGDYK4o3r9GOEyYPZ1MJ8Sr1M+dQOUBkVXpqH
2XWi66rJvbuiNYaNrp2vIKYU3SMyFIgfgbI93S2tJ7JIjRbzaemq8YBdnL2zOxDNWKBZfuGFW5iP
9a30PInPut7oaLBT1xoyeeIkpb3Y5lMz1H1QanYT4H6GDL1RzTvoQtHBTtv0kCPq8b5C0TbQY7V9
26DbspGCW0VX8oM8OzMYRJTSNkFO+k+5p0y4s5YlqfUU21G5t/omudUFPO6lqrYUWi4MMsZZ8Fdg
PQEdX4tb2VHegAYbradp6B8bZ9Bujciyfs+HDKSUMzVbZN8LK4nCD2lUXq0gXte4hVIXXri0vfU0
w6q+Love+5MLQNmNCHPsQ3P2sAE0t7gTF3angQQN9Efp8cbZdzqemNYZaab39hP2eQBKvbS78aYe
wlHVmcclhE+RVdWTqU7zlp/j+q6XU0m2njBSJpUk2u606XDE+qsvNeupnqHA5nZDCddEUz0EMXmY
QxXjyixK9paD3RCl8v5QgQHyY6Rp34Rdau/jslavRdRuAddP5wHcCBc9oZeErPPC42Fy+rm0NItj
cjX2N0mU8O5Idub6XZiobePtQsMA8DuUXTr8VvRVZL1OrP+5cZqFFQ3uCZrJGr4WjwbZVdzLvk21
kxwyXBhuGcR4l9nOFv359F740RR1CsineCo6YOZO+2mmRCyuMbnfZmBqV7mjtYdRz+drz+6RXlAc
mP1epqofXBzA/BTf0lfduqREaRy4mky2gS2BIXXavpVrU096O/1eTRBGrj3UFdVH0cSD/TFrYm0M
fQXVgGXj6FwlFGSzJBdRpiNry62PiPRps3rSlHNnNvr3RRQKDDkvtrM9QlR2c+PkbT2IHQAitX9n
QDd0H4GBqunDLIpY+KYeAnlHQCLcdyEv6I2w6/S84RNJX2NUukl3U+FDH+r0gxFxAdmzE/U7KEno
NWaWaYc0LLthZ4mi+eSW9bBFwT89Tcljw32HPEo2X+Kuz8CSroJ63+BY8Z+kOwRO2dP4ATfCydeK
Iv72mnvyr6ZkICItbwhmVwd33PVsOJzs/4Sslxj3qdeDdYPe5ObvNT11HuchxoKQveZYGzO+HldW
OiB6SBIk6BDhWOsMkNvGa8qb0sjPBqe/S9zSuJpR9Tf8xLGVayQHyi2l97NxBdaLFhB5D6wfOVlX
UzmEuEEVXoxtrOJQZleizgrqiFO9V6vo6uWBPT3BGVjEaOTRTa6Dqh+b6nTZKJxhjtI1beSnlh1e
V2VBXT+vRn+uteTNuDjmGyTTMj92luL65abPugnEVqblWLRSCWPddLsM5AnRhcRp3HTnh8ibw33B
m+WN3lAEfGVbEp7vQeSCPQUSZ134FonSA2opQ7rZh+nvyB3Wtg9arL8vFuGJjRD9rGfoHpEthRhF
uo8/V2djpqUkzZdsjCkYAzMEZZQVvkhzz/NHLqmN1s6mkNcPtR1cpziaUJhctaYuZrREem7HvhqZ
6khrqIX6rRWHJvWP3MokmBdWgmfN1dGYTffTy2O7KjOxhhjZH8oNZAup6a4250jmNjcGI4x9qiC6
ipiwkc67eizc/LaaPHy92ipKMe1WW/db7CLy72edp37qOtG9zvOLzyJ9fqW2PyVG6YS8+iwx0fLi
eKMT+71jJFe9nnd3XVUPTLlT4ki0bEkxnI0+1UWyWRi3QdzifFhtIH3oo4nEJGSFcuzEE5XU/oC4
lOKbeR7exFnVv41sY9xZBCEbG2gdaqBvLI152L10m/yovKJ/imaxNXFatxhoejLS4vNc1E+YLxsf
qlKleuzo802G3PzGgfEsA/T3w4hKEzEX0R4yoqRHwe2tbsAhTLiEKkONfZMYXrxTG3jku3Yq5jLg
7+Z7w46n6nrKJ/2z3RXJW6PQ+/KLnWvDvUCPcfStKps/WGqZaP7kFHN9n6Sl+QnQnnXUHDE9tn0M
aT2JrFG5EhAup985Dcf7ToVyHHQEb+2jo0dZ/+Nx8F9fp/+OvlePP/og/vU//P0ric02ieJu9dd/
HZOvbSWqP7v/kT/27287/aF/vRm+t13ffv/H8Ust/nHoy29fuqQq1z9z8ito6a9PsvvSfTn5y77s
km5+239H4u276PPuuTk+s/zO/9cv/uP78295P9ff//nL16ovO/nbIj7WL3996ebbP38hRv9pc8vf
/9cXH74U/Nx98sf85ez7v38R3T9/0a1fNVgCWKjCykf60SZhPH6XX/F+5T9CM2ZdSAWL5wurrNou
/ucvhvErxWeZ7SV98AP2J6pefkXzfuXxLpmOEokkv/rL/3X7ZKr+nrp/lH3xWCVlJ/75y+ktzUmL
0xFiUhy1IJuBP662vZiNQsTtkvnTUDS+14mp32N1kDw6WtS+c1p7evxpXP76AD83eHrES8kVDXcH
CAx0AQGi9bZHtdzK7CE2STKhVNNqprITuvIHaLvw8HJL3E7s4793HGcZcD4yyHDG6dy5VRX5oJxs
aoelWT3rkbbPazuM1Xe1ZyjGXARGM5QlGgxg2bV95E0cNCDICqQvcu1QtPYy5ImfxADMtSDU0uh6
5rXvSgCo+GYIcwoqVKiia7usVOceFGb9ABlED7ALiZKdqKzsXd8hbXnI3cnodkpv58a9NyV5cxPn
HprYsVb3HpilQqu+ThpM5AMVfye6spHaYkZ0daqa6zIRFrpsqSZySmtIse5yLv0+EEh7mw+h0xfi
sbLtRN93Sj1nR9yep699nSA4AynH+VKkCNEeXRL1j5GVhMd6dpKvqH4iKkyxHzkCUJ810q6h4+Ga
EGRpJDrLX7wMyFgOU/sIsSwzPII2kgAYtXaM5c4OoSkW/qjNlXtvFQ7atoowcuhtUArj0V8mu2Fg
WN5fo2jQctT64s4I2lEp0uZumvu82U1U5vUKiiHYOqyoMUaZfYtqP4BIk/q0TRpSt4U18wgNoTLv
F9Q7TR5MVZGlNdUsl3zErunrCi3ROB0bKpUARd67YzWPNg9pyxo8P23UQf3NGadMzEENDlJQSEB8
Dg04qArj0h14J6Ok7dsTIliQpELcTwxs3pvRM/aZKtrFvEVqFIbYm65rwKW+TZSicfJdTaaxjwJ1
DAukZgrThIkQVLHlLI9O12hYgyVdajjFm6UHkfcUCrBgHyOM3Rexn+tYj3b1ooziC3qjVeOx89x5
fksHoHXvEFfvrTLIClO0TYA3VZX3QaPGZBl9fEHn5skxsI99RNvc5FFuKeIgNGriu8lc2o+8nFlE
zSDm4oAgeKXsmEe73BkULSw/Tdp42NlJbmS7pbPT4nrIWkQyJs0JowP10/brktZi2Xfoig9Xi1ob
0W9oulWt5fPb1EEK3HV99EaZ1CQKBj0sSl9hrKsdKU7yCI3jQvzqK54daA2NXeWbCuJUV6FnJdfG
iAjxTm0isMxl4RpvsNgSzKaRMmClnfTGt1Gzxvp2FIVVPWg2T+X7fACtfJfwVDEGv1ZnxQlUc4mn
d6nRCfipTSO/Fbx96uvsCv3BVjKVd8cUj7a1ByoZ6jzks0xFd7hGEC8B+lF/V6vczK6tqp+jO2E7
WBEKPK7/ED2man5mJRiLd7Wp3iJwPKCCl3OzR8tt23AN9XuBn0+r+W7oLdDc8Z9Q7OJQWZNlB102
FMOVNLKD3BbiG3CFY8Bc+l1f4ytkxHN9rc/CNv0Zi/iCSp6FiHqsx1bv9+jtVL5qNQLl/qFXEblI
rfIaTyvEmKMO3LVfJ6On7g2ly7zHzKs9cV33xfg+Q+0wOoZsZJcar95r76LJZPnuFXRt0t+qKpzs
a6RR6wnoOvieJv08lYqSK0HtaUN3tN0Svy91WtArm0VqKbve1Cs+Cw9jOzDSWKnvyzRV4xsFeZfm
qh3D+FsJOQ5v98Uq4APkWZMEuhdHD0h65cZuqtTlXaLlA5aedq2MgKjK5i5bJnfyx4WC9H7AYWmA
IVhaxS7TECd+x6rE6nOOqdh/GJEsG3kSk5RLMt+cPA7rz8Dk6yK7amvPTJfPM1Am7SmMtcXdgaqd
5ur3uBxmXf+Mo1HksS55bcYkpEktYHqj+2C+9MreV93i9uO3qAE52rjBYFLCEn8MjRUmRhSgPwHK
/dukxzz/PzxfSX/FJyfX779DoP8wUqq/l++69vv3jlDp/4v4iCD6v/4vEDmLj45fvn2JvoivX9rT
IIkf+hEkWeqvJnhWnn+yzo3zIRnRH0GSSSTEGxvYiwQWSSXPX/7xV5CkaNqvfC/hkAzouS9kkPZX
mKQQdhFlU88lUf9MM3pVnCTjoL9DCWIkojQpiEDSlqeausbDuHXYu1ocZwHM2ulmcdkbJjty99Og
/LU8fg6OTh8mPLpAbv8woaemIft8+jAhikHlUqRlMFjNHYJTH4Z++Nhb077ycoQ4TS6xlxtcdwvo
NoEYr1/GFpmHdX11Moo5TCOw0B3vwzecTbjeOuNWvuusFbQFiMGo45J4RMuMAPjn91aaIXs0p3Mr
7zB4KSpiN6YwzI3I8vRByeDBFaJKIQu3kAFJOq1agemAsxRJpaxA02VpW78rokNmJveJK95Pafq1
n/ItTsdpiCkbBWaDyJJUjSCaXQu9zEsUdaNQRGAS8ey03u4OCK0oe0vR53viwi1VqdPwWbaHYiJJ
NQJ2yorw5k876cyzGro2SmSK4XxywsrZ0VwVmBGVzFcuDeiiqMAROqMUiimnnNSfHskh5AU9TaFv
lFY83c6LmQV63W+lHc6XBtwBsAdSLIga9Bn7NxtTO3H7LoibGHpFCqZGYTE2vIxf7s7Z1kKOnpc+
eE8mCz6VnMifupOaHo4s0H2DPCds68csu/IGuBwuh/6hVir9T9F1r8vUPc8WTx2ZKZT2FqRgTxvF
bcJeqp7grdPNcm+bhPitaSqHssFO9uX+rQeSp6DM5gMdAdol83WrpjzL7sfGwGNwjNKrCi3Pm5DY
dKOV1Siy+DihWOvkMjAbwnLitJXWyuLKHZYsyObwybKwCQ+jAaGJZD+V6o2XeVvujKv9JRtEO41X
MyAkqZW0OhGtRS3raarzADGYOyP2LGbNc27BJFcYssT5RmboUnO6hBnaTBsA4NWibwRImKbX8gDO
oSX2qluWiY8rdX435IOiBT1aRltpyNXM0UXUfFgelB6ADJIfOB1To7RTwWMGLe7RVm5q03uXNZZ4
dcdIMLL0YdxCHj2buFiLGmGJikamUdzgbmlih4qLRxw22h7n9leiAJ47JY8n8psyI7+eN5Pif1QU
Shqw6ZND79T5Pvci5T/olSsbkdbBLP1VIq808oR0u5sGU1blflgq+a5q9RnkOHZsaocC76s2mewV
9xhLkfmisLHulWMq/cKWzoIlLNKAozPb51q95Qh/viCYIoIM/iejgbVzuDdXkt5mZ4gGJ4ghDKLd
Zb2oDi/3ZXWT0BfWGgEHD1zw79SGTpddZ3sicZcZV80WlJPO/92LCH3rzjDCjSjjUlOwlACYUQGU
+eVVUxDRnGXERWjCBjeIe3N6JzRv9D19Tsmq/TusvBBBXWqKkcMXi92Es8FqA/do7uT1Ag0HFvv7
ug+nuwGmhk+tewuneGGWpMTms7wPa28dq4Wq1iV9FBfcj5GTwZLvlWBKKuc/6BBnOzaERLqyW6dj
h6ifQ3o8LwI7VcRxUdRFe9B7bHIe1NKrN0C0l/oEbQDsJUsDAu7qKBrxp3VbJ8PdJCcNw+4ajlTO
3JuX5+hCK0C6JYeNgxbM7mrXFopK2p8tyvO2bvepWD6b1B83lvfFRihqSk4C5aQ1HS8ZNHwyNRpR
0Hbd8/wz30RdM75OXUBuIniof7eymh29jrKkhByAl9EYX7t1bvhL1/R7jOCcdy+P2vnKRv+eaoVL
2pKk75pdS04fj9gBNw4L7ht1Rc/Kdtinph9zF6L0q9uSAnNES5qUM18L0mPSnemjib6/a6XmXeY4
5X1HUvMLb4ktZNH5PCGaIO8mvFUIXdTVCI6hrlRzRVNoJgIIaNG7z3RtqzIsF+5PzzfmCdQBtElK
TTBuztg+ZeqMuVs6WQAyDaE8va+qT+jKud3d4EZGHWS6krsbK/C8TR4h6I0RTiCmzElxunNHHlfY
AUZ5UFMf98NMbXGhsKxdLkh7mgbpo5cn7ZkVf9pJCzFCKYUinQFhj502WDE7Wgz2LYh6LxSBY9QA
h22vxjK082b3N2VEG+WKVHHfyhyemPdzWqufyf+KT53mDnYQpn2kBzUK4cIHodG/MXuvULCxyKb8
CgdO9AF6U8EyzTSi31/+9OfLG7o/wTL7iZWgrXWL21REkWZwHY1LgTZNvpAX5FGwhH8oeZhbr76R
2Eu8sTFQ5LhjyE6HSrR5PbU1cR7iBd18KDJL/9CaDQi6FgxpvNHahZUAooayH9UIoIPrsEEPkzTp
C+4/08gEpe3YTvflkGdRME3lPPhDXbVvXx7O80Bd4tmAn3JYULdfw23UCLI1nid5IDz1kPT293lR
iyBT0R1oEPtHy2HjeLrUR3avpL2A0j0DZPaqKQRsUU7CcVL8PjI+Uuo4NnkSBlluvZILy34Gq0f1
HlkQ3NQ4DU/nz0CkwlHgQgURbxXs9DpRv1fmJrtJzcTYoLpfWJlAPgFcSIlRSmWrttzaasd5zMvA
csWEmkul3BVDlN7miFTsXz1rkErkSxgNaoL11c1YxmVkYzpcBotX1zv0BpwPOgWRfYV21p4nZLrP
5znauMPOZw6dFSrSoMLgPbD3TseycrEBSBKVvWALcSQ/H+4tddRuvATukixqHl7bSdDXMmiXD2Ow
36tjStGVqIldQrR+nMYrd6iS1O+Ttr/P41G9TcNselT0ZguOdD6L1F7BlQKbkc4ca9ijMGcTcR5a
bcclv1oaLrIma4og7yjyvdzBVSKKxcn5hVENDgGoYsPaOR1QI8WdbCjrIkh1FBH8ZTaLx8Zr1dI3
yqX8LV+y/F0mmgWLYMgcW1pj5zufdAPrFYXL5yzRKtjOE+7CBK4c7Iy2O1Y5WooNerWZ7y1j+qBY
efo+tAprK8Y/u8chSSJuiO4wBx05uNWsZrgn4wScctt5hXcDFyu/94x4S0PxUitScQK7E8gqZyjC
ZYCTAw2J93mBwa2TtW3gRW6/sULP1gqJLzaCHEGEDrhLTyew66Z20CxiR62d470MyKATdkxXPG75
xVxsipzKc4VaxTXmtKl86dHitHqkT4vRvtbtbtqZ6lzs1VSZrl5elhfGjgALvBpnGcfLGgpYaImL
gvAEF6FW4MuqnDa7sM2rV+aUn9OGaNyQyGAPAB9brYRRF30KC46HkRjrCHf2OP/ddpV+ywX5bKHL
WSJ1wjuPU5ko63ToIowWKI1LfFaDb4MvUC9TArf22iCb0EuaKkUXh06f643b/OI4cu5hDQ8LELLO
abuZkSKMVIIfaC2vuW1DJf1iZYae/EfNgBDn0Qd9Y80fidolbbHOLgIeIL1FmjcZqgBiab2xLNYk
g+f5AtzPZgL3BQh23R8HqHm/MF9m60fuvLfj6H0et5VfWPlNpRrXGGLsISHpvtu4/ZXjlfrGfrs0
oj99grUcnJdPAnFSTDXHXrGHwO3t8iPOAtbT6zfAz82szmVbJBN8RiZuwIfjWHjuBwO3nI2U1OW+
yOMDy0AZ/Z+uDn0YKOuHMtaao6w9uGpUB0oh9cFf7syl1U/yAQQ/VEFJQz1tB5esIesbmEVW2tj+
aE7aE3oCI1kpIj7Tr5wmvNficuuRcbF7IHg4FIn2yDifNjv3VuWpFc2aSwKjN17S5WMe9cbbl3t3
6VgE68/DiFS9xPKeNmMPM/59DfFdCJYIhv9s4oXWkWYxR2PTs+S8TxKfxUaWGXQe1sZpY3rSm8No
0SeUKzsoLXGd4I7bVq/f0bRDEMkjHtQ39+RpO5ZRa71ZcWAhrY3OohjM6Mqa2mQjnjsfO17uoMuR
RWIZUnE7bcapJrPWzWhgJcy9D95k3g2x4/muVhUbZ5RczCcvTpOQCgC7rCCSRTRXI4ex1aAg1E71
ZixQsfhf9r5kOXIc2/Jfes80zsOW9NnlmhVSaAOTlApiIEgAJAiQX9/Hs4auzHrWZbV/m1xkSHLn
AODec88wBHqvzCLvaB4NB9HL8T/gU39hzGKnhwnC1foQWZJoqSHG+vO18UxlSxxY33AeC36nui4b
PjpUZAa9VWWmB5qp8LUvJiQZCgWD8R8FX2DJiJohUE//5TsKARjqdAw0AZVgGPKX+2z6mFM1zL4R
hQ52rAjlPgSY8UCT4j9VlHhN/nKnSyy3qzYG42+cq/8mXkQkbE+gfiiabkAUt2yWPpiru2JJ0/Gt
T1QIrrAonbY5OOFBSlyDzndd7yClLqd9iqODNx1g2GctkH7+wZfR9BsmEWZfj+uQ3XbotB4zTBaz
k/Cwpq2NcpHfLqZI3lIupvzstayGWpsk901svG5fkLla/DEdYW4C/rmi3Eu28ZTOcF9I/QB5cy3z
PsSjqXxs3S0bAPc9ksojkrmZrCfkhwy76gCRR+pF3XLByGdaddD7bnFKQZZRh2vBSlrHw5JwXrOo
UMkniRdZwP4C1KX+YaEiKHQztEHUjXVUGhCq68oUozxDxYSXwE4RJHK169okuYyMk2Co13ykdqsT
EIlu5CxI221h33z1cuQwTlzbpoTsif/us4D4E7T1f7gtJYv/gsmsZED4qHYgUvV+BhG3HZ1nmx6W
QPw18QlNdY3oVpI/FvNQVTAwNH12P1hXFTuNWI7xOF3dcJppGapoC/uSJcSlpz20Rm6oYMmXLjav
bsXaQXjmYPWjbojQeoGiwHTBS9DKeDyTeTLz89UyJ9tELApPc0v7rA78uvbfOibLNx9sEN8k1sm+
KSnLi5Mukm695Kng5hib3iECsYU1/JZxAMFvFdEia7ANInigaEn7e4qiqgRxEtkLIVh0ad+eE+db
1m4ABlL2GqSUxNCNFOB3wYDJLF/9kmCmXycRofwdq02QDdFZT54I6cr8FGWqLHajiMFulj5iiITq
e5N/eEPDrgcEwiTl9YLYy3Yr4G0Fqjs1PnwEF9kSUMjMmN/1ItZuK1cd4npcX/0yUIZ+m6EbXQ0W
tGwPiYWeFgWhKujWCXhu7NohDO5GNKSiVqNj/jmxhkRNB9dHuYmRhmu+NSPhzyShY1F3Ob5bvcZq
wkGgWa93RvTuBrE5UtSA88L11QSznurCMAvCFHHFBDsEFC91ZAR7ixGaKesI5M+0HjNiYfYMkNE2
nrZDu+3SPsS7vYoiQQK8T76iWYKllFUrksMqjMfAhYdipsR7OPC7Ed4hX3BXFWwzzAtylhAz4p8r
0pfmCO6hG7cU+jLf0HQc0kaAR5VvZKd0toNCL/5uwY7jm7KNC7D40Ihn9Rit3u2IE9PPgkPUeGmX
Eh+8rHlOGxBB8rLuW5j/b2FTGT0rl4IoOKRD5U6FytBzGSoUsmLJEi671CGBDol+PNgi4ytB8FmU
T+/FyrPphaEYto1pA4eOF8Q7swMArJ9G8GSXC1wj4qnRjnoK7HWdQEk0sy7ErRpCMiLxGF4zdSdL
Gm7mYJbkQhWBS2lLpnI8cY1IkqZFhPnzCo9w+rqyvMfD4JwvtWQ95ut8itIXbPz0Fcns5BF7dyy2
PczE+EvQqx7bDSwD14PDnvnLhOn0M5sl8vUAGvCf1TwyeV5CZ2GSMurcb1CDk2ATWiG/Q8jQXuiM
QXWNCdYE4mwbz8EeILpuG+fJkL/DO4qFD36Q0fgq1RI+hiaY7qI1AnjkggpZ0tiH+rt5zWwHNbaq
hqvwXKwNsCD9pKZZdFdOcflrXkg1HBeY1Oh9xW3MbhBfFP4MaJi1e7XwLtiDGdR+Jy6KVG3LsXJH
WenMbqb+GrlDUTGWu4hpzm/a3lXRKXVh9go/wDFH6GQav/EQDXuJep8GGovdl+y0tGF5jpZFIjnC
0r7fjNAbBODJtsnQgDjt5itZl0KHAFuy5F6SgEYboUc516GAEmkrS+fsJ8E4X19GORRTnVgKN1ns
JYWrCRQLvhlhkv/QrYDU3k04hu9lDt+NF1CeRHTuxiBHQH1KseXrNktGJEdGU9wgSCAQe+wlc7yT
5ajiFjzdNY82SFddsmZMvGzfIGsUn2rW8WveDSXZpVEgQYZIugh7A8MZYLbeulkDj0la/UiCbpTP
HfKoqtdWKNbC+hfLtfYDWpFaDkn8mMQr4ulisI/5Ge53ia7RFUGtG4LzyzeFzgzdGCihyAZaNt7f
tf2sulfkAyYIXqu6cr0pWtDGXugEh6raKTiVY0+bO7AdMSYs8SJyg0RBaiB3miB8CfdmwVv+M+gs
RWzBNNsTmLPeHdMVD29blQx8TtByBKmralgEtMqICv5lMO1f0DPN8sPRovjWkNmaLy9cBALUDCrB
lgWDiGrQjTWKBCXz7Ae2jS4xtSWIxX3AbgUW7SCT1p8U1mjSsGXioINaP4W+jtvOkNdY55o9BaUN
I7zsZb5sWOhLs7/O+edHEaWKPklFpvQYDZHCKy1Lm8otMhd7+VyG61DReqSlxVuycjZc4GLjxGlU
puoObZvCs31ey3QhNUM/Y177YOKTaCrYKFZzLVakgbxPFab6H3AqHttHNis5fkFFC8EMWO00u9Wy
Lb/Tgcw47MNqyk4MtA1Wgzi/rMclnwO2vQbZgLCST0KAMZCXuMNNP3imf6Aygst6DfotkjE8FDfp
cyqWMLozEljia27F2D553Gm7X2btujuTrjraYbxI5z1vl4Q2ZWK7Vwefu+VxmZP+SqAF1/0T09ap
RbzxktpjxmIdHsOgXF0z9LYAu3UpklM2IonlTYFHSxoEPEkDSn65nnmIeLZDX3CA5z6qet3wcY5k
jU0inA9mmeNkE5UsUncIW3PYgpTDM2/GdMLCrGlo++BdSoHEpIjq1u1gjbpmN2nMEPCLvrKLLiDd
9r7xk5d5reeQx7srp76vZbvG/r4dAxH/mPMkuEUMy1DczBjnTl+qCmd3m7bLALSlEGk0PtEY/JFa
ji6edlNQqOi+AFe43IdTWn3Azi8cfyB50/XgyCkErtTeBjbb4ngCIgpnoSENGkHyJURUuaNl+KFa
+PK96QHB8LhDcnn5o27/XxLu/4Ft0L+0MP8DCbdjf6LfXn/8b/Tb9DcAWRjbAMu88mnBBv0H/TaI
4t/Qql77HJBpwSC6BmL9nX8Lii3saoD6QtQNhhuAqn/Sb6MQoic0SFD5XAV2GET9NyolENj+3P/g
hcQ3g1AKVlRXxOOvJKkyCqYWq3CXjj7MDgPnY79ByCqb3hKHb2ZqFpiy3zKEaJQNq3zkMGxttT5X
VWBhiJ5rNT8mXsXFRfIJiS0hKor5F9XxMJ4LR+ZtJQtlj/DZEuMx5jbpd61GjusxLVtFa0SIUrJT
WdfbH4UIRt34ZHXRQa8GgmpI6mn1pgs2QMtJkG/qnkodZeL3Ei7Yuq0TGFvmm7CXcvydU8HuJNJJ
1Qa6Dsd+92OMhsjkxlRHvqQuvaMMMSQrFVHf2JCnxQOjq4dYESJMjlOZRuQ5LFxl9nawHvHdwTOU
1l8o1C6IuIVtpxEPJA1uTMJA5UmCDnoZOC9M5V6iHYopmFGTGi/lUJU/wtC820pF7dGnJAnBexMU
4VvFS8roKwai1QmjkrHfqgw2sxsc3qXcW3Chl2ZVyRxt+7YY6wDGDeWPdBgRNYX8H5/uOpx27dlV
Qp+KktHxRxrwYN2j8RqblfnZ/ViFWbu2xhWY/ij8kNwNQUFuLBDKcYe6wx/hbt8OdR8peRzjHL78
VJvoeRxRrTSUzj3YCRaZZcd1CKqhIRpagESiXG0iBhkRb6KB+k9kfTG/Gwjx4d4vGFvf4xiEd1TX
VuNnPEbkNiF8LR4wFaItxomm62oplvhnrO3yAcmTeXAMYg3e0YsjqLBhmBSUNSt1/lgF88vaT/Fx
gbLzuxsjuu45Xd3Ia+VzSnewv0vSr9TbrG1SOgq+z9LF24viMNLF0LKa3xhMQtDnwulgDzaj6d45
83rZg5UHpRefjEq3C7yWySOVvLzzUxRybPtzK4pvBqFK9C3WIvdPYgG35biYsTK3iAQK+xgdFQoR
CJQiMclpn6xFopN6QA8gksNYDFyt8ADkIjyq0LP4Ky9IgUI2QPXLt6HFyfaqpmwtfhbhErJ7adDN
fDNs11Nelwkkg/UM151+htC0wsGa15MuU2iAuqS92DUmhdmFBotyu0DSxJEcOI7DZ0WcbY8Z9DzF
k4JfDXtJ2nGE9BoD8k7TulwHtHLoAafxfgwr1t3CqKCAWIyGYRcdSGQwBwVDL0vqjNmoQphVUvC2
DEDLTySCl3JY5p4Fz8u9yGazj93Y35a6ko0ekwvN5rWvEZ6xPE3Qw70rodsz4RFsnItsfhd9joqz
KsQn2Oq+ZlqUIE6EVjXRej2xR1ftVkH7QyCE3HM0YmClou0c60XYAeHKgYL4z/n1HM8lvHGKpRfP
ZREPRQ0MCq+vsPYHBn7mjD2OH2ARnZ96PogNqdwvDpPIW6/Ic2ei8nEQa3sKuwL3fQBxE98ZOuZ6
dlgPBnr2O6l88lx2cSHrK7NpH2InPLkyEz1qOu5gQT8vuzby+UuYmfWhUst46oJpurmGLTUAf/IN
DG+D/dQl1MN+JplfU5kqaHJ0gnqLVdhMd0Acwr2OHaunMSnPYWktrdE19HsuyvmaMzf8jHuFyi1m
KSq9VO0KWqYw72VxUKuElJtoWlwzqVDW6GODY9wxBL3M4300UdwvO0LV1DuEl+g1a2Yi8rz2BggE
IEf/XGTKIkt4smdvfLXtUN3UK6KumnxeLosP/Gc2B+6QZdo8TqNnhyBkZQPGY9gEc+x3cSpIE6RB
dE5ZOZ0W6uhbu8BEKIDIckNCBM4W3pIjk/pJwE9uhxZR1DDFavcrUNm67Sy/ZVCh3fDAmEcgGuw4
s3z5CRctMtWoi4JnuCF8xhmiv5h39q0tC/sADokH/QGxq5FeOtwRt49FCrvEnsdbiEsr6EMR6JPz
7qNdZzbUEX74+spHl3aV+JESOesZZhUb7y36HQXNR2oGsQ2qpDrQOHdH64v44mmQvsU8zs9pOavj
bJg6TQQ85diMmzUHfoEjK9sOxvaHFE4NG53N7mLzNjn5OSOXdqBknwQZIifBPvlYUDhvI7hqH3PF
CSS50h6qdfos8Ai3KFzjR+3mnZQdbP5a3h+ifEnO6UrKn0h7BaEkRKG8S0XAMBmAp3MDw4HwXvUY
Nl9r4p8xY76ru1K3+4ll/RHNYXIfUSgXgpaU4REkLOQRL63rf8Bi8GEIOE7EIIwfAxAINsFI9S4P
ITwNYtk9zEX4NJusOCSS52gjo6iRzCU79EcCtrhJeXIA1F6rBZ4mPDYLIpP9F7oqbC0sMSibg4lw
0uRVkOR1t6RzowhPnkIB/50YMjKD/4b2ccLK3VIHHQm2LuRxwuNwC96lxgukgsuEsTPg0HCFrzJi
Hm5pdD3FMbJEuHvASWd2/ZoUD7rN9U0sPP/l1jYZb4BPcZYJvASJZdFcF4NF9W92i1MRkK69o7xL
YGqclzh22jdbtiZq75lxdla1hgtuHmxpG3ANz38IKoXBxGdGg9atbV2i/SN2rZOS0yS8PnBga08Y
Osdj6I8OAX22mUEBsrdlDkvjbxDvc/IR53YRYV222fQ+jRFo9cDX8PL21c53wwQ1zfTeaRgOwx2C
H/iYsXvYYNIGoFH3LLK+K/cBW2G9Bhk2LH2q2UCu3CM5p7GlHB7REGSbXpDowqt82hqTwUBESb/s
sgnm5gK+/RuXzOhfCgVUtxBdnc6jpc1UJgahTciVDZAYf7PSTP7orQcO16li+HIxQWGVDZReWbfD
hsAkfpfo7gUwGNTKaVCcEoaBByQL/AJXJf6htExeAot0su00ZRbInptOnVtF1Si1llj61fI6jgBl
5CDkzrs1+4ZZU9rkMQv27Vp8OKJQxbVF9FDOXXUqZT49FnbAtoE/iNeGQ+p7hHEkhYlFCdcMO8SA
AUX+pMay3GScQ5GcLUH5FXs2QvLrihedyTdClumpR13TgmHAi4cxnpOdvm5aIYgwrgaNudt1k8um
sxpGU218a+InlxKJnjDoeo5Y2j65WDBK3r2vniJJy3uF6neXU2QtRgvl95oHwKz9DBvljSSq0+Ci
WPh0m1y++zmVF8Zhg4hRgILTSWubItNsD8vp7jDQOY6Bd5b2uWS5v4F6FvOeYI2zOoLu91hyO2xk
pnMcGOtngCwGwA5RXGd92r8hQZTB+niuFJDAwUNYHg/e1XCwyJbDBAI6kJ6uSh7ytQzfLAT5K1BK
BdKMbeFH5Uqdfq0yHF9wMs59M4E/jhtoxS3tKfZwn0SIReLRM13K+JJBd/9DIkb0E4Lm1m9aO/iX
OQ71ofDyepRLR7f9EsSXpe3GC819eJGRJCeBP1E1aaDCm1Wu+XMfTfqcLgnrajj+pekGbukGFfBC
X2Ba115SDJLX3QoR7tMcuXg/ZSaDy9HqESuLWoOM720+Mw127pC6by/78hHfFMAxGWo+AH+FEl6x
KP4stZ6yi9GjWe7gvObbVy3QjyG9JZqRAA+IYvU15nzOPkdyYAo+vANQd5BJknFDWzv22NHQwaTI
ORkEn0+V1DjPrfEBHEHmEFLzVibg1gIW9sAAW1f0u2KuRFnPcSnaQ5nN3TYn41pjfgJ6/sjIwUTy
WCYaBzL6AmAO+hXXpbatm0d8bawoGuAArFGvqaNMnL4JXLCcnc0+Bahbl2XNqodRAzOTYqS1lFWE
th6znNxmYJ0UsE3oIlCupihoN5niZ5otDhFInTpMlMkjlNj5McvkT+AcD/Ae0vA7wKFfLPNPEqNC
V1jVGy+AgKZZWx1zG9PfsUCTpxZbd5NOLv45OU9fIl0hFMZFZM8KnV+wmeYoubNo3QVJyD4Qvtid
PYz2PkKVFtOtCwf/hUjGa+ayCRaKVsmDAwc1sRg3UZcbfosqPn/HFDRcTw5ATNCkvJv0XTRZ3r1K
tvjvNkpx9DEflt1BRvl8NXog+Ga9KuKDnl3xboFp9NskJRUQSsks4KCk83SzQPN3BFsG9yNgA1rY
VUbgxodumTG4EwAHUdjlsIMAAVgl27IYmEXvRfEKFxKV2dFiHpqeYp+58W4pF+0/0jYl8ZZaS75Y
buAL4/XglnpMcPTUpSpkeWP7paAfxSTT4IJo2kI+BMWMWwcjbQCTwibYzjOY0pxWAI5BDWUH5OOD
YqTYpF4BEM0S2xYPHSFg0nI3qvYhyrqCXNLZqGwzzoQCCFyZy7YBLuobBqz9cAuDJ4OEGuD32c7O
60gOgndlulkDTFY2QUHTGwoIPa9BrijQrI6xNgcdAZSspV3sIeD2R8bG7kTStNomiyU7xqvwDjYJ
bAfCMKLOCDdf4TrRdzsnFGGzXf4KQHHdqjXq9yQgas/7HgdmATF7rWNQWmoqffe5zKTldZ8k3SEN
YT9Y+r7a6jB/6wzGBA0NC3miZgxOrYv9NhNyrQFNFxve49faXg+fcyzho9KhLPiSbM51HcddtZWL
7IYaGiVzCDIz/b5063CCCoJ8KiAo2AMzlVQbAUeq3RKpXtVAVvTS9NNK122bognkYaL2EH8suxw4
SADHqiHaxxilPEgSkfMStfO+CKr4foFV09YNa7SDk+CPYliWXdHl0TYkwpznYcTKW/sYeRsihk87
L8BDUKZ8q5gct2scTp/JENhzFxq687A2b6Qo498DNZkzBUbz2C5wVapDXWKQtBQACyOcNrXFQAOQ
KgWcCKob+ncs+F0mc9yUNSxxh8lDshh01j4hZwcq5gbttTgWEOdPWyLS6maaFr4hGcmeBvBmXqa2
FUfkOq3pRqKmOWZEI4fGxtFxWZB80mF6fKZucBvwL8VhgtYD45hJbRWCni5hB6usAyFa/eTsD7A3
mHtb3YVj10+nKQhAwod8HHB3AE5Gcaf0VVcoIpNW6Im7oZr+xiD+X8QRiCOAun/qs/4dcRzM8PU1
/Bl0xG/8DXQMoit8iMxYKKivHmxQ/f8/1LH4DfyiKyMNjF2YL12FXP+wRsp++6eV0t/9AP6u+Y/D
367+AaC8pNdUTOh8/xvQETqUP4GO8KEDjQYVO3g0YMcB4LyCkv+iGS5XjGT7pf0wED2sZ4klI28V
DDyxKnqr9RHRWuCbI1cFvfNm8oi6h0eKh7AuiOu15FmHEorFfR42Nml7u9wjjNEociPApNVVE5oE
E6c0lOYX6uEVhte2b8vpmTsESVGwnpIhJUdwzDxolDJBjC/6Aj1W+rWNsZck6YZE0GabDfiPHmIC
8G9A3Sg3MejptnzG8GhAN04rhL/0lyr18TTv7Jp19slQBL/fo86z2Ru0U128VVc30Psc3jgSvQfY
bR+AUiU/pRkF2QKop8+BkPqhANulFd0O3JEwPLXo6gmqyinUW6Br5hehwQhYMo1n85RhtqYeK+vC
6Q6O/d3PQAPiOxYgiJpDKOdw2PTotj+4dFYDOIkVNogcUp26aBHgXWcrZqP4/ybepFOgR/hxYh5f
Bt1S1Jkt+3nXQy013IFoEWqYTCpe7KoUsSiHycBY/AHhGj28dWeQYjbUTJnas0xnhxGKiaqZgG2q
GjVUjvFSJwK68YBP3iDEXS4JiUL0I2jkf8EwarRfKbbc/lYBQ4zOERvbZ5gd5UMjyoR8gQk+8n3i
mXIvKgsZ3DQVPPtGsWVhubIPGdIkPSXSdOW3VijF30CAWc1doYBAnsMZf2kLcSeoKnQu5uQkF50+
zK5T5S4tjf+UOFDa7dQTMdWIGw8fgyEDuSGN5jSug26KyZatV2WTQjUganM9rxumI0Mw6Cyz96xn
/dMq4cq9Mb6dnycsNbjL8LnktTBtcV/ExKc1mGtXPVApfLLBP4HE0A7QxKNMnNACwvXniSUDAyGk
6LOwEbCZvjOFQw1ZMwuTH44IjG5U6Dj6jqqGYK661FTrod/3bMEoOmRomIByoEsSIYvH7TjCpvoy
9SVK6xXjB3T/PoiyLWV9JW5RASuxg3PU8qJsqC60kMiVBOfbr3AwKll7V4wMHkptCX+selJ59A4Z
HIiQaxitv8JZlck+HFMsmFCjy790oBimm2UKu0cJZlN5dA6nwH7uYOrTwP1xgVAqZcBxOphcbxiA
+ceucAVAToJDtW6ZCQYAROm6oiovyAqiiiBdHcI0DB3JOCHFeMjWUkMMqopgb4GNlQdLVPSTmVDN
eFADxv9NjHMsOY6mKOQGvIQZjy2uiB831lpOUO7NsKLqgDVXNR6KZkc3ZBT0CbO6F53GVO4D1HkP
lAKB2KA50LpB6eABuYE0xeE1mvcwuyEemF0nu+AGzLh2qctSA8/SghUAxVE0wt6oXEZYPnmF/kIP
RfQMukD7lP4xkySlNeU2JsSlzzABC901NNR1tywILd205Fr0rI4gZy+WUTjuODJt6NsMg3kUGU4J
hvcRVhyb1cvoA3fZuXuPEPkHPl2nyc7FQfAEM5/5gAsPtrbvy4/I6UEdUyfTHDdcarHhkFZfs5bA
2Ni2IK0nu7nHcKp2tocbEFeRWKca9om9OQDsn0fQ76ao28UTcBHk3cCLMd6ssozVeyyH/gydcJrc
x8pBRT1ipJjVqZ96BLv5gH2sJsse5FxgJ499bov9sCqX1Clv9a8CnFpEdvJUvUrrIogBQKoo90xD
cHojph7kkysHo91bG1dvC4yEnlMwwrpb7gLlb2B5s67bvJjnokFMZsl3BhU6XngZFlXDZg4kp64A
wNBbN6s0voDZUUABOao8/mFVUXyU6Sjs6wgQZdoluDUKXS8V4ikjvkpqQGQJO7gc7fQx9bmfdyDE
B8NtD/clgJoJoOOsR4d8oukUQgeGgvcTSDm61Uq4YtiCsySSu1BSh2cXqHHYmERIukmXIoixLa1r
DPLLtCzNCOJg+q0XmsqhdjJaZ9PMkWg9TNsAJcO7LaRCL/eUp7DRbogcmRVNvjJisT7XpfBxHTOC
Eg5prTaYT8D1W3pOBaRHU7OKfCpuMhitmU80H4i2BtXEwIavXpCBDnO5TLbq93jypaiXEHSnr1wM
4QumMwsf6iWbOfFNFUiCjWUuYl3cmdYu6WFwnUT9K/QUbhxPZwoHsB5+UDj5IJDhM5f2foZiYtmz
fsH5uEnNbOEc1kUx6TeoTPi8wMFAxI8yv5qUqBhw0dYjUu1KPvHZestHGmFGyFm01EuR2nY/wI8L
+AmsBB7SksF6rhYy0S0GjsEa7bOIxkCwFuBoN9AWU7uHg0wp3sQAaQuvecvZHDddNSRlDJ4RBd2l
qbik0ze7UrPOo4C0qdgOiC/v+h3JgnL6KFfZe3B5sMJ6zIZYWvb1qJe4/8E77pN4I9cyh+Nigoer
jh2HVLXbKrI44rfVNNHl0ntSQPVFqZzP6WjH8jQGcNHbp7FkeHArBVMKAKD01m9TnHIjmAqElOkW
4sqrVnQIAdrA8a4C66CrYczoM4sxP/JB96DrehicIT0sXI94dVvsTfFSFYg5kUmQvwMBWcbLHIXK
3rneOLRMScCIeVVxorIb6FLjGHpdA9UpxfBJ3JeTGPpNpV1RdHVuhnW+V3kfLM+amHD+OQ1oo0Qd
GL1ODeqiBSmNcasxKUHrbQxIrkWuxrov2uQX0tQ4Ae3IBf02Rco2+QmTukFvgZ8Vz5iRI9ANEpB1
syLK41MVFjNGzCo8n99dNnZV3VPSLudKiTw9MVQD4nmhcNf7EPMkPxEiSdShG2AccuNzLOMjCTmM
Unpw8dy9kGoGxALNWn64To/oeWmTVJ4I7Mj7QyH6dXoD8IUrhb6xNa9e8uzJSNv/vEa5xC+5jKC1
6svFIHwdJn3s0II4N4Ob08/w8czjLtzEszP2GAFJDp67Dt7Uj64C/RzBvFIzcyhTmnT1PNEIXwrj
w0caYtPf/i/ZYlr+cIS9Zg3/f1qfD1gYTN9/bn3wG3/nW2S/gRUBQ4eriAjdTAhm/d/tzsCpuEqa
QqB4f8gEIH34p91Z/BuE8tnVxggqW3QT+Ld/2J2BpgGaBQzj4SQDbcF/Sbj4N2L/NZ0A8v/rmCaK
8D3/3PkEOgK9SGBTGZKK7jmYITc2p2IHodMXOGr/ySfpz43W9TrBLE+wJ5YRogbREv7541IPiIhY
eCJNIwxUBZwRa5Ix0/zLA/gfvEH+XT1w/ZgMRzME8iBepX/5GNoFq0bJDEgcJLltMev2JAC7Ngku
67zwVuzJOPbgM5gYPuCunG+hpfhPARx/fMqfRBP4FnCPidC45bjcv8pAwJ0PLZyvq1r+X/bOY8tu
K8mi/9JzaMGbKczz6X1O7koLby488PW9H6XuolhqafW8hlUU+RyuiYhz9mna+j0r1Phmzbcrirvv
GoXaZzeMpq8gaj6Utl4x80xGLlkVAsaqzRtqtFx/pf+F4riEMLDNRAp1mUDMm8FCFc5dLQvWus9P
uPWZkKh1QdGiqBoRhF3OjMgT7maYW3Mfc2ejE61gDZAs/ZweE2pxaWT9B8oCK4ns1OH1cQVv6lgf
YCtW0+vaLtem14hLuym0wC2SeuO5ACi5L0CxVtosLMkAXLEfTO0fNvr/tFH+y2Mh/99byRbAddV9
LT/vJee/8UcXRf+NLoylYSzClfXDIfM/e4nCfoHyhiYLi5grLrb8/91MTO83zmEbrCLbD70NB1nX
H3sJf4SHFzvvHyTG/1cX5Rd7IVEqpoPj1MHjaqPi+iEf+7mJgr2LsY1zTrdoE+9oKyJ/VCSjdadW
kuNglEbIRJgbY9z0F57adYfWQoJQW+k/EWF+2Hb/tfB+fydnUA8CEb4J91dTWQ+pNnN1IKxkRtVp
OKavwjbSk7Go4/dSIH31XT15dRcruTLzJO79ATfOtrWm+KXvME5jd+itG3PtzF0/jkQFSFtLbxXi
Lf+BOPBnb9+PN8ruztGPTxfjz6/ovdGmST8hx0WVOWQblFPGtkVIJWhKlIlEWiuafwiY1c5b3y/f
DbsSZRF+U9CCP9giP7W6FFm6o9DNycf1NpRrsnPUOrlTNJVWs73Um5h5f6iI4TnN7Tis9djwwcka
uG7PdFZ3QYU+5SkWBesPkth/Vj3NU47d/3vZX7wVb1P686L/8Rd+X/XGuQlKbh8XCBYY5jOuFr9f
IAwWPbZksGgEa2ukafxLr6kAnKd5R7+VzBuuETBG/3fRKxodVxhT3CH4SxzGLOT/wbn+cbb+TrL9
a648zvVfHqkfZxz0DcxqXErAWfA+fl74NGyybNXPE8yZSOgAR4NcTx27zkbkon5MKnWafD7DFKEa
ahEbuNY+wTN4nXp07CpXL4+d3hb3NqzvzZwr7UEyewuruNFOnacxfbKBNsdrh13NxJNzgChf75um
h0/uZUE1yWNrTzg7Sv1L99DtULIyHrpl/hHx5pqgrkc3tAlf8tW5eaRCXngnMyMbaR4KXr0ZtIDR
5ZVB0R4uTSX3ikd5EwOA9pW88TZM545qS0SJrSnfiu49DXW+iVfw0Fgj9gvIdh/anj80phLNit0c
GgwSPgKQOlo9kmNGmrVL3op7Kd+WxfDzObV2g57Nm9i0eX0JxrnMN55RX/a4+jarWt6jTt/GTRUm
87prhNyhkw+9dtnVQHpQi+ZeNE5d58skuaqgLrcMd8NEN4MhtS9MJX8QCq23kgiKwrtiDvuUMB6W
xhyQLxrVuRnGdsO2eJ619QSjZIb+xZ6cvACUqUKVWm23WJoCUFlbg0EWxh45AJNq4QWz50bOFJe7
pczJ+KmS/LZqqfBrkiNUozzmCM4iZeiSoJImMNtB/TB6Mwl765NMmUOiKjdNeW9lSWiVG7zNF16P
rqCYpjd24GGLbDm+dbX2UubdoemfqvwgFo9OEZl8gWpYsL+nej/12jNPFKYmdzzqXn9b6RV4SizD
BiqGLd7C67VavlrHy0Kjq/bnXEQY4PN7PC27vM9l6Ij8MA3MLdu1/EzT4SM2ravV5lnC6wE1Acp1
lioCv9T0bfFsBZlZ7cFpbAxUgz4TK2NT0wIhxqNglmllUZvRI8lHtl7iQ9vsKlNjVHrxWByKbj3p
lWNuq2lKNxibb1u72HR4touM4aoQab5Tm+4S29pAKor8EIP2UdVmOCzL3siHQ0a/zxce0/RWw+0h
epgjNJ+vhzz/6lLrRmvXb51WHQ31Hoawln6ZrUGU54yxEnuh1XiLX3Xpg2v2D3nWXcaNemcq/BdQ
1H2nXzTGa3hGiC+IHJHs61UeErt674Z0xcUW22+j2b6b4/g8ekaeB3OGYWLCDOm19zQwQgMDoaYU
6EQSPchE/xnTS9YdhUVv36XtXF1LrFy+YcAN8dVB22Wx/pEnhn5AYgDSmwQchiBIbhC5HPAnvuEz
iFrajy1asXXZe6v0x/R6jY9WjMqk68Iqdf0FnWju+a2nfdqLddAFjqnhAKV91WZ/nK04xBrpsvjp
HqSA/8tyX7VbcEJMqlvwkWKzzO2rdraZT67GactamIoxnA31VBVPRndXz07Yludc75KeFu+dJR/k
8m0ytx0qCqd5Gl37MykKdHHkfCEqS2lMNxJKr4o7FS9F8zr105mA2Fa1ovm5wHHoY5Sj5YiSwxoS
2lyQ4m9dYPfLYUQpjX7GWFLrw8pG00vpCOckpPoEdbjmnkaqmryqWfWDFoGEqrpR7c6srhy00/KF
gX2p7ZLUFOnBayVKEr9zysbZiUWnszf0hsiP+E1z28fCEdPxo8BkLjUmCW+qj433tindK9VDlh5q
DOlvegxwCs1ss9nPWU0f1VhLuhl9hs3Rd/uMfOBEmsZTkZNl40+L2rTbThr2B+mZaoqSLiPPocvG
kd05W2Vv0MeJGYhRPpg2qImCuBqEitmIhGBRyqgf0LBvVmoqRAX6MPuNbGJB/6U31BY5TFFfI0dy
ItG17pb85viF9iM6/IIF71pIoJM49m1zrC5E2+0h1YcW/ftnbGjFWwdPscqKK4ilykXdVcZ9LaDA
Y9nKUNrYy52hIcfjzta/1DgMwrNt2WAyFqTT8OmZJrKVZi5RgYwsHRxe6NsQ1M67Sm8PSpl4B7ki
7iN+Z86PvTVd4MX2PYITSrsJ7IFNdOx2Y5ZFcT7yxdfXk9H5o+dtc4PfHeKs0ogyYqdddqQPaFPV
c1PeVI5SXoxYRfFz9fdpmuZQasVLZ6SRJxrnNI38H0P3tZrFznFLlSIu2ZWps6MhxDTecsOZyXiL
f2czZNxjDbMOCmXqowmt2UFJCsAw09YYRuvVQZpJX9zAhIT9Z7OyivZIEB7tpA5aYBeBmR66tQmn
XJ4ngSxJXSa3NkkjbhNviFC5A+Gg+g0gtvt4ScrTvFB16twr7Xi+QeNf7gl8Iq2V+VZqzsgyLQER
bRLU4j8MDg3wzu5LFMU30ASNJqaW7pJxaUKNjJId8w0YZ3RE28KafTJEIgawn4jwi8gVSXk90f/F
ZfvdDsoJYDvury7MW/XSTV4Mc+mwB6fHsmuu+8oKsAAHuTH4S5ptCbioChtBtOs9Jsp8QiF4i7GQ
4V5DMmDblhw6oEr6Jt/CG+W23H6rxLE7RllcVbzwOYpj26FXj7RZOY3WcOm0Z5dH7i2WP9h1es9A
9k1MVyLHcEHus7elq75BARV46wlVXjhUYzhyXeIodcfP2uofzSxLgwYE+L6fGUUoJX6rhNGIQ2Ue
NYt86B2kOsm4XiIx3tlqG59sA51lql/3Vnz2FuNxU2ZyQyzo16OZ3a/JWzX2EUKkzbhOe1xaGnj2
wRdNcxBz9lKuarAQeaPUFceLHLy91mdHtzaXyOEbICvztrMq9mMya9iXZ7XcdW4dByS0e0clT74d
Y8X1rLwXbb1z0UTrjRZNM+kpUIegfCPPlDwAqHrybZ4uj40uN0vNWE/VdrFTvsSivWjqZCcFC0R1
/EWpvrKzVrQsIxBbSEV51bTOnwyr39kWa1FUVwwiWYZq7G5ca672hjVvDVkTazFvpsR779HrmOl1
J04J1KBGSl8hpm9y2Yy9+w6//Tqr3G8eiIWIUIlv++lJGt0OC3jBSEblFLzyVtXblj1SWaHsdMTu
s+IFBCnh47WfVPk2lsqHlycc/ScMiepXWtZHPdcDsxO+NZPgI7ztkCoPZ/VhFGeOvq1yt3ykJ/Sk
TWpxx5qkne9wytXAKmtL3caF/W1nRoRz57aS3sTum2LyM/Q5qBLE6Qn9/rMzqPat5kkB4hpYQovc
Zaq2ZF4L7tBVGLdshS5jWRUHaadclkQxtt6rHUd6fuzSmzLFlDcyG+rSFZlXusbXU1M/WW56OWRq
HlrQvnnUHD9OdBXg6XAce44MtX4DOHJsevfSy+EuybRp/Tlrdzm5DGsQq5aV+As7WFS0HYPnbn2e
0rHipH1tmHOEsdTiyJvGiMkb1s40GNVL5v3wyyBI7IQuBeGYYuelO/JTntfSvik06PBKbb548n3E
HIIEcDfWSx8twrmBkzSRj6yyM3QYk81zuB705E1mo1rDdBqQt4Jyj+dnIbWkti9pj2xjj6z71FLP
YTtlSw5chbxaZdz70eCSqti9lvFkzGMWDhLpp9vrRB3pSn6BArMIZWPety1HjNZY1zUu55dV79bv
NOXfHHAfa0ZykfEMRe1wjej3YV2wumTewVnlvmAi7CNSD1oN7bpMw2yJTwY03LGxN2AaQkv2kWUW
AP9LR7lZF7v3PVynj0Wy3pdnRAPiS9kDA6hEOxBABPk41Z4UYR9bR6CQH/dt34YFsgnEl97JnZNT
lnqoQmDBVe7TUM4fTZchqL3xkHCKND0fLs9y1sKkdCMxDFHmcjxNorXvLa1SdquNIbUzMbDHLSaW
+qhl64WexWTSMW8IWhq4SAKi0VLvIOFclZPczAzTVlpOPsYFm1wr9HwNNBp09XzwmAneZDnXDX6U
BLGtt/QfY1nbJISi7e76JpB2vOu6LGjMegpG1Fp+Z9m1H4/5stPc+cE4e3Tq0mXY3+f3Hodscg6J
0cUe5ewDF8HDUJf1RnRm5ku5HFKyt1TtCZgVGpzE0q/QXn9YqXKY2L9EVb57FQqLoRDbdUkjWj4c
K/eMwIPWHKYI1Ffvt61Jj9Ya/WkUw6GZh6fcUAI7HS7XRssCq9W+pzb9imd1M8TZ4+ANpyHB7lpp
6bPZzRfmQosr9nYLPwvpoX1BOlX9KpxN2lITmFxv68zmfFWjHmxLQPofpPGiepL14D3iJupPZKHs
zNKZA1kMmN3VqxXVQoDWdfGbjJowNqYnuzFeq8LUQsdLL4teeZNrGrVV+ZDIeQmy8myV0z6H3gsK
QzqHbrySwNOxbu1kK9VAVWQ4Nea16yTtHQiQTdYWeHB0bqeN09wU8uwRcqRvpNN3vAJwHIRes0Uw
fkPpIVFHsGN5wxjJWX+jwYyvfjE+RWK3tPcSKyD6EC/VXG3Q6IeG6BGP1CPuBYoPwxnLI1Eo3BLN
N9Op2Ec89PCxtdy5q/GO4+Ke8l4zUeE6EHiEt+mHYVMWSAe6HCNKHd9OAxJEod9OWRyNuhPRF49q
8qUq1EfYMu9s0Tw3XNxRI3NVokbCziXdo1eYm7YvHkR9qrryxvEsYAGWE6YoFloTFS0S9SZ5H4BI
ptMT6lrnoiWAihm3nb3mudtGpibmGk+kvEUGPlApXA+Ol3zESaqObNtF8hUbw3qRMXs8t+crbc8T
pdRRnw38wFxI/KSejH0yCi9aUle/7zS9uUbXop7AMve+PI8hCzUdnghFHgIIsOq+cHDkMwxPQrGu
F7Lkims2jh2AcKg33OcTKmoeYCQzWmg7U7ddV+byVqNuiJN6F2ayEIKqxto+L5HCS0vOO9ysxbYd
xauiJ9UDrX2Fgi7W38mOk08dXcstNIRx48VOuq1E4/poSLq9yTDzmhJWu8EIOiHCtC0CusaE776U
xiZJXOPBAFYzBcAsJHNaBKW3KL0yi9evKXMUGk33gqMMFgHQKsgoJujKWGebL4jQhKMMO5wuRV6f
OFpyuXWyFQfJuc3R5f0ALiTRripbTAd092m5Uad8+ST/1QlaVNF7dqB6H3fJsh+BBh3WvqL26E3c
fW1MwyDVN4vqDZGaOPNT7q3l3sr1+blrnJm0XShK4cDbvLXnefoW3KcYeVvOtjJGsVMB317Nolw+
c8uj6FVL9FR1VTRBh6rPC5yMKqjmk9UnQvaSSKubddsn8QyoM8ZDw/PwhqTf3nrWkr+zkR9QwCeR
XEd156ouYEhOqvmLQOLmmfaz5QV6bhvYq/olYNRuIieY1cavhSl2o1unOxXFUFhSqndZS4quNcIO
X6uG+leCZOA8LEl1z8QGx6B1UVZQZ5EoNMGgDSpNJGe08HDQKmzYSmzjjiaMIPZjtS5tvXfeZ73M
7tUy5/uC1JltPbVRNuhuxP04JfURe6lxQgCdh2iEjtjCcumvtor0HThVHqC2728cs1FfYysZXhJH
V9lTyRa8cWCWpL47lcU76kouG3NHgJ3O7XbnyN5G+7MYO2nOFLGllVqflVqMCyYIYsMDIfp8L5kb
Htu8yw8IYbITiXTtc59Pyz4bDAtxPcN03xGerQS1rouDwaui1ewlnmUi7riu19J4on6qoUFwyAjV
2adpRfL4uifN90aDzAPvw7udh/pNF+1WEhU/IaTbYgAbkU5qTs+FA37Rvhd9X/pLN9ABqJ3adQNY
rMuxSXO2ETFy+vvwojIS1Cpv66bTGFLIj/e2MulwRTAp+A51fRXavWNRe1Ri4/WKGkCMavA+0MYP
M6Rot/VUJVuVb2Vh/h82rIEtKZFxAXlooNiJJ0VsCTVEeuQ2WkjaJ6As15ne3L5+GkdPu1bU2eQe
UB0LY7oADVr5el70Ye552Q3yJedCMZ3b2ixhrwDcmrtx2xtrP+xqKceYJLjBuZidXpZhW3TD2eyA
k1Y7r9Qp6fdlmnVmYEDhdHyladOjVHWriPqcLRVESrttZvPdEvhE6RK580VsQUBC9VPaJ27I+MsX
hW5raehV7qdjLw9aU0tc473Y2q0354GBXP6z0Fd6njihY35R+GXBUOHbVrlq6zq1FJeRYXxJGpJ2
ffxmK7sfFnafhDkpwlSD8rLKqn3A1Y+OyeHfPYi4zaJUcYoT2o9xl+nxvidDAyyNOlygVHUjgwn5
vWGu56vH6o77ydQw5xuOWA4QviCyZDke+1mY3WZgAHfSG6G3bCGatzEmKkTW1qrRVOn7PU0ZwAWU
gdWgRkh3AcE44/CuyYEYUdAEfmYzEO9lHXn2uFESYzvI6YSUarrV+5LqfjDU+QPhOppZiDZ4b5fc
Wqmv3STIOMT3lFfyi5Fxslld0rR5F3EbFKmVXMxlMh/hodEu0fVklEEz1PGBgc+15VoNl58ybm8w
aOmvMTUYgrkBEB01pMlqy0CCaezYWd6OV7oTP5qDfMDnTWOxxwgyakRHKbodyrUOjJqCnnaHydeb
MWTSWp5u467Xt2srphcPLNupMOi04fY+6Oy1lDbpq6EpyW4q2hfEjdfa3N+PQvtmGwkmvkqupdTh
yuXYOg0Xi5pujTmFUu2e3cXhP1nEc48vJSJCcoLik/Es1W6o1jamYJhbXNmsIl55SkV5ks4LLqo7
OknaVrTS9L3CQKztoGqb6m3JeLLLa2WHSuER2SoqyNXsb+gzXQNQ2aT0VjP13lg150To6/vM/qcV
Lf1exTIlJhtF3ijEorIFA6FZcerj9+VyMrKSXAW6vkO/LlmmTaIL/VUsdeJzGNiA8EfnIW3tCLtl
kA/q/UJ/3p9dMAAdNwfLKz8KU79UzboJuGEP4eCSK2BlC5gKtf6weFYaduUQMM2VSsxmlEiBA9kI
J2e6K2yzJ9yzam7JmUTuac4nmetPeFY/ut5+67OHTjiBKmrUnKOxLZynumACge+CnlNfkjGQY8fV
rDfQYnyJqfMAdQdbNoGyCg0A8DQBXcTVl6pGMyXr/KafQtyFgRXX1yNdvrFrcB43ER91Y7EjCKYv
Za9uqJsf58XhXC8x5gqZYeKqsLlnc0nD1bx1ZCVom7b30zBcCQ9LOgX0aQKPlqrUCymK3ihdiq+k
gwTk9s7tqMoMiZVwTvQbdrUbp4BvuOS5rrExlEpck0CV+ZrXfoE2LLFA1tU1DeJb1LGLb4MH5BGx
7mzLOizkXIUydbyoVzWq5GnHTMd8HuqRqqB5JEh+Q10kQ/QxX1OaTfgnmz7kZMrUK7g6ygMymGo/
ecIut4atvNA5OA4VvWokWo+uPgSrM887JOE3cqk/m2FIyRmauKLV5XcXZ7S31O+50p5IqMrCmlxL
nvgMtz65vtvWRZ1DR+VhSumaq7G8iVVgbbSf1wvkdHJTTjH0lKJsAsd2hhAewqle5le7KPZeTLIh
50qHMKy+pxuPALVUD8JO+207m2bQLR3DI4YZewt6bm120vF1YdUX9WAboZfb4dqB+zGEGqqa5JsT
QT3qic/3bNHLmZ8XK4/DavROOWiIC6VT0Z4jdLuZB420N5UqNvGWzbLWZkRlsCAd7HM+4epy5kIj
k8WNaFI3mmP9HnUnNG7wn6+DlUw7dVLtS6OK49T3vCW7IiUn80dkiT4Opxa40afbdtYeRXJ3t6xj
/sJBPh/rOnlfFZG+mGvsXgosaIDasfwrNuWJPI9HsjiIGwk18QAZEYm9cFM4ZABLjNxgTbjdcrK9
XNkg8wzNoj6JAbvv2kSa673NkoYdbQ+FlhSDMc9YLnpL86d5+tLZl2WRPyfMYTBDoACc891KF4cd
TUDorNUoSQbrQrdZp3g2o87MP+GMbipgbRrXPB9WzYbs3gfZ9vae8KnA1GhUa7kRTYrCj4S6VKGO
E8YDsA4cJUnf0Y/uvzFyPmN1Tk6ek6F/dTS/bDlUuGH4BrFPWz3Fp2lmhwpEVadZdLXZohMq3BSt
76slkemPAgc9+MGHdTI+Ric94tI/aJmzywrC9HLuVaRb2HW3S6bSt3IhTymof6yVGhkQHg456DsN
flaxhow0Fp+0gzrAMcGmlvEh6V3VzUkO617v3IJb62DtNO9UAWrcmU2Ro9VSlNhvTCuAOHC/iPJJ
MeZvplh83PUKrRQ0AfN8Q0iePRpMw1DMoVG2XPUn9Q7CyMPcKgbpJsnelDDBsJCJSruwWnuLNJhS
fkiOqTkdOBhBeqRapp7nmpsej1iYYbFdHaYbWW7QcVS9IxJhUrNW66lbe56caXJ9d7a0A+OQewXg
yDg0XSAV+YKx0gxHUJQXOZ9kUxOGGwBhy0DycG8zHuvspZu+ZcewQ+HRJ80WV92aWl89dtO2n/3W
QchcGhoDrIqGr2l4D7VllAcLGSvzmktjXO+xZrzVavuizowV8Hej3V6CKb6UIxrqXtqLvxaJuQGV
4oYeFaanKb5uDIovuJ5xbSAcHYSdb3XazShh05R8D1mKxy8eSD4WBHeqxz42y13TszusLq0GBNgU
EIrpA7WMLG2DcjfosnXnkc+NgL1WsUvCsKHsvyznUgsLS2PSlc6H2TDMbVKa7oOT01+eELjBanK6
K8C3HwPTjrHDQUGXe1TIW7V1kYQy0cARNuurldU3MA2nfI5KsmvCtTApYIr6XvItnNZcYwPX7Hst
5/2hsY6SldSdXCPYmy+a584a1W9b/cjGdnrvmR9uLCfnxa9VGyR+VwvvkjTZmxZeD+r5q+wHRrQp
H3NdYAjwVm7c4x0ybJzy0Mo8b3gDCLhkPnHujwYN2Uy6NKl7+0bV493aO9hR6i09VYYaicmEnKN9
Zh9XtVuClbF+sFjXNnuQKwgQCBbf9roBVanDO5VwYaokBiiabYguYrKoIxMsGTYiPj/IeL0VXEFM
NWHuPDR+XH7HhL3Q0U59G3Dc1oJpveOouZJs8k5TbfEChRL1fe3NcVAhe46n8mjIkvJztQeiFMpd
Vhl7j+xxHDpd8cGBQry3B9WlUrptndJd7+q6DT1d0p9hjKeip7piaZ3DvtdbaiGQEAzlRI1ps29h
AdVFMfq6M93TAabdNTQ7QH0YRj+5+O/KRLmoGmr7zCk+4266sIv2ySS3iJ/KA+dzzUQIJkwT5Rob
MsDJMF7kqeJSWD4V0Gs1wSAFoRf1+5A+lpg/jHWJCV3XxK2bNx+TUdx2E6tMtdW9afc0H9OzVDvM
tPg5d5jgN1rzXdbIERYFKglHSIBL6TwqW2j6W/hm9DG9KBPtfcjt+ixBF4BdzaOKay4sDLQMYxJ5
1bS82mrZPqVrP24nheafQ1MIIIKz6xflZSYisEokLTprCtGBTEGbwThw8oNZfhaZuOwrsJpLwuk4
3ydmHLrqdFdrMFj1/pteJ/NMVbCwxPIwuVmKobm6xiG2mVoa1AB78lGhHHLlEZ/WUW+G62p9idU1
aNDoqg0a0cK5oW23NRITblcanZUxOs+iMNrtrNG8q52F3blzN0Yx7YuePclYOkSc6WU/AnAeR/6H
2192eJBRp6KbN68YD+ybTNsA7fpQJPt+TNBINaqnlj3ek6T/dDej3nHPRNJRxcOVUclwNB7LIfZj
Bn+eeVc59aFf1EOSnK8C5iRg8mP4BvrqVpyIrvKMIo25sjYeO2dC/bNsNWPmptSdIChsOGVDdxy6
vabr0H52qltyieTZS91tvyQfS7f4fQ1XCzBIwdensscVsXPf0cvPa1HgULQ25FkFzBBvdRAHyUIE
ch5HCfDd0UpkyAGZfBsxu+yZfjrb+Z4a329LO1pXJE1xH+9be7notJSVpZNunsdPKraWXKO1Ut5w
3Zw2GVPiGUePX5IQ0VZgngG1YbNWxxj7BaPd9WzrprZoNcYG+nFAlNvYa48T3qCLW/a02a1Nqbdl
WHdqElhjuqtWlAD49dxu3WoCiTCgHFiovijKN6swn0ZnuaLnVmBnfCJG4Ti2cld5HF6WTG6UrhLA
YdVljhx1oU+fNcuXLiidxGJ+Y98OipUvympuVS+/W62DV/XhUuh3aTVeTgxN2NhbKqqmi2Yv7aMs
z5FF1FtGjYSjEJserC5P9sL5GFUyvzQKuT50XE/ZIBMarrRToBIcrKWK3AHQ2qqtHx0Xp7TN77xi
vXO7aZcOLnPy0rvIsNOdpIpSFEnSelWP83HWV6464vMnVd0f0rWfQ7d/kYVbZ6GarhnnPulZ8u7+
mu3deOMq8opHgzhl62qBRQmGuxryz8ppiyc5TzRS8Qc5p3lsRm6ACZTqaCoY9Ub/8E7wO/+swrTP
LmPDw/KMZvcsvf9FoJ6CArLLXqt85Hvdm1f8cGbSEwSdVFb5rSwV5ZO2vXtfDHV35/bGtGFw2fWh
str514838x/d5X9p59SKv9NdDm3ap0P3J+nl+e/8Lr20jd9wmLs/ZMTIJFUPN8Pv0kvL/o22iK6r
hvG7qeNfcmuUsr8hrT3HF3j81T9LL/GtWzrZW2ftJSGPGlkv/w/p5S+Ka/xQnoUJDC04Sc2e/m+p
uCtwqCrPGQ1VuaMdFOnMD7bMoBWf8UnB2k/DBvctsip5blD29Zq9TerkfEtJW/ynb+4v1tZZ4/kv
WfGPt6JZOB1MHCIwpzHk/0kDWnlLp5A6hImujrudpdtr6CjpsCMP2EEDYyb9DZQ98SGRS/h//9K/
WlhMutIOhsazu8ZB6I5A9mf5KdhNZeqMtQ49JXl0e40uRTV/ZbO7QWtk/MOL/Wpg4cV+aPDPmZkm
ANVfXqxZWtvC9NqENEmWcEmGN6OBWf33n+ivXwSyAeJenjH3lxcBednGhaU0GPxTbU93e8SZZhh3
f/8qZ6jBzz8ZJaLt8ksROaSbRKKc//wnJXjTjT0zqYEG8FjfWMqK8CeW956zgrdZX/K12btjeV20
3j9sfiaL49cXRpdPDwRLjEYG3vnPf3ph4itbJe65i5LpgZ5iAL+/bHIYUE/CpWW+EWiJ0R3U6ptx
HnLNSu1xY8Jqjky+BntK6tQZIUI6mG/IyX1YFpB5lFre/JQaI7hLU1eodpVSU1a/lPrIrJnTNnC7
2bjvO5d/rU1SysCRhmULt17sZbWsl8sMKWJPSF6BhVUnvNOvW0V3/HFgrLP3cHODXGM0bAVemSqP
VWY84rSX8c5oBwYWWj84WmRlFoQ2o+lQyy22RVn397/avz0b/ND4ic4mEEenkjqfLD9/eVZTKzm9
45BBTn6hqGKI2tRz/uFV/m1NOSRTW/i1SHsxkJH/8gT26dyVWq/1IUwHGXp9izdUxXprzqOKgggL
0N9/qj8bIYhDd8gAOnNBLIcNF2Prnz+VDSMfMWTbh6SZ8MsNlcH1XCJSbijOZV4Tf7HQDvr7F/2L
D2kjWldtdHBcCKxfcl3g8aC4tyldnXy47toGvkzSoQE1vOtqIQbh71/tL344FwGcg3aRHVs/GwF/
/uFWHo6x1VwqMJgcQdmiwBq8uf2Hz6Sdf5k/rWqPnGV+O/ZgMuY1+9dfTmsAf7NxhZOVV68EIelQ
+dyG5qOsU/cehORJGVqsHStsEeJlpFNuqtRELkjk53+zd2a9cSPZtv4rhX4+LJDBGbj34eacqVQq
JVmD9UJIlsx5iuD86+9Hu7rbluvYxw/nrYEGCg3bopJJRsTee61vuR8I+bGvYsVs/uvH/88p4x9s
6N88CT+gcR7eVPPH4rlIvz1lfPk3/zJ4wLlmA3O8r4dSHpy/DB7Wnx7nQ15DD1cFR1dW6H+iccSf
HCMMHicSlQ2Pl/Vf/g7T+NPk7+q+4+lfXCG/Ze9wvmw2/36gWGMwdkDuYWt33Nmr+m5nd9LOrKLY
6+YS6tAF1n1jOu25igfk6bAHd0499cg46TPaZTZdAKs4C1SAmwL0AfWU5dKdZ72a63OgmLiY4eLP
WAJzOkOLGHZDnCD0sQZhAU2mj4c746LTWyAGUBcXKkNtqpohXlO9GUw9U6J+ioDol7mRY1vmhRyZ
YZqiLu2NGTXaCaXKPSRwj7I91jZN5ySfGbUYV4Lj9kOqjcYZcYh2LSZHnts+1g8uauqj3TXYO0pC
eiESgNN8MPJI0U9ZRd1ppHxD1+y1l+g91q7THBK/e6sBKGDcd2+odDWGi9OrKeizOXlH16QfcV7I
J0FQTBvfOpF7jGwJFjffYoLfW9E+fQ6MmWQ4nO2yeKYQeSqm+kXK4lAKUsVd/wIG5bF0mTr11RlU
3tkIi3NOXAIsNlJNAuMDbvsVc4mtE6x79wxz4jaSFQU3GgDMBicYehA1jEU90lxG84BE+9x7j0ns
rkyyeoEubL3BPzpqOHY9+p+C7pJTak8M39sFWNjrhigEf5R0e+3kqRnqG7vJHyAVHqPUvQCg9jEt
p4deZXvS17djqe7sTqzDFjhnxfg4hLpLlsiSdgucn/KjytGDmjwkWnDVIeJb5PTve+J4smNYv0FF
WpV1ckzr8kaUdIirPLxwS8ikeRMvUaNc2IbNbxJ7l5GRf0ZibuKdWDiaf6okKiblXQGP27heyUlp
THahl+yJqKGSTldNcuXHCyyVV21orxnjP+dpQck3gYe91gRGjShdj9NF2qfL0ODsem4LtdIkEuiP
XbH3ouGeXi3CH1OuUKnf5rp4rugMAtRg/MvoxpJb38+2iszGheY2j1qmbaQ2bVRY3tnBh9LcWlZ2
Iw1k0+2wxfaz1bRlEsVnuuY4jSwUbAnCSHEyG3tuxpxE4W3q8n5SD0z79paUT5MbrKrcpj2ersvQ
uRy76cDc7CmW4TkK0i10miuS9BiNArSRtQMqinFAaCLeS59UZxyCCvsLCGfaAcuB6JeFwZyy88A+
C4hRXnjy6DbmVfRki2eeoIsJCSdgyY+p+Jh4NwYi6oz+Aqg1OkX951jLrvW0vy06hoyYAEJUH/pg
7t3ikSGoWBSODa2YSJkK/Vrv41+p7mKyLWeR3+BeKtMGCwiY1YAa1T0wWdhY/aVnXrb2BUefatED
6vDHASldirXr3tOSgx7S+EvV2oIx4RYmY4xmrVT45GcZGOUiuB6z/tadXz4ihz8Y3a5ub6z6LQdB
ZyKJoC9d2MlmaLol4AdUwHtHwpjS1dEskw1xFZccSyF47CSA757WbRlHy3pA8gwbuMlSMND5la3J
x8y1d6MI7twCf1XFZgomBz+0f91VqE6c6y6suQ1iW/rhXvThup+2RT7D0budstXajp5Gyz6rBhNL
qLJtP+j3yKZOJKw+eLr1yfAYSKFsXU9kzcBsWA/1JRpIhugFvUtVQdCsdlZ4YAhoddq9aqxFKxhQ
MDX0FtLy70i7PROQh8q/zRaaioslNTDTGvqmg/ECMXI7UJuFQJzRZNQ8vlLHIZ929wCSGOfK4HMU
TEtfn4IlhI0LP0n3rQmqCx/GRVUUrxWSWxb0gLhSxja6sA5y6uDP9rfz/B2ph9GtdcOKlymi3wev
YHbh6dWTH0TyaEVJdYnmjjanq19wirkytelYj6G/sHotuYBm7l21AW8rNXlEml3yGrXdFcN9ZnB9
Ri+sTS6CPLq2ndhGW2DwcLi7nH+6qJxZjmOIjwA1bhvsHgxrT5h0oos6kjMHuNB3dmp0x6YSdOlH
Kz8BI0hu7FyJcz+axknoj4jPbRVkiDsEFBmd/Km7KHTiVaVQ2aimNlDvEG3mX/Z+/JxRGS1I2ZkO
wuiJdlO7wB2vafvBnBzLOy2f1mlWbTOwyhfFlprRviL8CEU/UxN3HmMqGdgrEfQoEXV/B2Bqg3Gy
XGOVemDNz/Aj3YpgNbUOcDkdXXniPdZRd4fKm9aedO9kjKil58tK3XRE69Ue8+IMxzzDhhQgxbGN
bqny4dCJ8rXvuk9Ta1L4dBdF0kNhC2m+FvqVBXKbTr3+WDlV8FxJl6hPDXRkzNsxHHAm8JovFKlz
yxLtzTJqkZVlfpcsmoIXpG/lg2xN+q5Eay16w1nrevKgO0Oz18wk3HvGQHvv2RXRY0/jFaXEIJNt
njNCy1Mcnon2qqdinYNLjkmNIPumX6UhVoYRbv8CxOipgBVt+OANnIwZajc96q35mQB4FDaGD3CI
LEE2xDBYOANH2HawjnDajmkWfDCm4CntA5j40akr/Mfe6p97X5xtmx3Kal6jYV+Lm7Ds9VXka0eU
drPU1AJ6r+toKRggHfqIBAhGtdidSwx4uBfzIyZtDGGIH1fa0Jss39mtmeHgBpCLoj1TJ4k1Zmsp
u94E8x3LZgCUoMO3gc/QXjbENELQa+7xRgJgs7LgmAPxXlCJhMc4SuHXsn93RJE82kHGBm/V3Rt+
I3fjFTwNA0f3VVbZ3iKlL3twm+gVMxg5Uel0dFzmd4CYmLQYqMGLwE6PkXLSU07kzja2jGbjSQLP
dMWMZEyYJbVyJ+bhcGtwlz2X09KEI9+Z8bq+pba9U2yZf5hLvX2sho91bB1Dm6Fm7qOlcAksNkP9
wPHCZp3yPpBycaUyuR9YRky930lKqRIM4gLX8ClMX/zSx0QAiG8t7PHk9fUtuWT4MQBgECumXadF
EK5NnKF6WhxGg0S7iElTh6R0U5nFbY2efSLkiYWtoaOcyOrgAAe8KJpETstGM91TRYF/2XhDdvbQ
jZBhiWySeC3f2pTGWGB7AOLqm4dKt689EvH2fYTAkknzBrQWSgXtZqJMvPNdMVLnMx/T2dP6dhVa
YbAeaMSu+rrJt3WeKVxv5gOwX3ceYX7+r7z0UTB1mGtj073VumY/6vmw8LTGXtRau681h8fawiRc
jZckB77EikjCTry2HDStCsZSXHxtIf2n3PqH4VLS/vdN3VMcvslvS60vf/9rqWXgpfcd8n9duk5z
0CpV09dSS//ToPyiq+LRdRO+6er0Vf6qtQRtYAOZM8cgn+kBhdi/ai3D+NOBLwNkwkRM82Wi8Bv9
XGYA3xXvYDpoDOueA4BUR9hJc/f7HgGL7hiH7AEklYruIk+mEm4LlKts2dfSfhUA/5OlatGq7qBR
oOIrVd3oQCfLQNuaholXO0q7MT0DM8R3DPXCtl4jb4xrjv7ke+mk1sC+SapiWlmEzTxAn8QPBVCu
+IRfKXpRhFLixy4MbwEapgL+j53zQNlWhi+9MKrwqAljOniiKbe0OFCoFAhcSVJEnrsJjJwXZuXn
NMrsta+niU9SjVXJy5EYU7rCsWrueDOdbkGQwVymJEU9rScV0YiwwyKaPo9TxfjF6UYDbWqaVDvk
y26yrsBnhesBzU/PaB6Bg74dMR3BOrRZp98K0PJ1sWn9rLOItmxLsNmLqS98a5cTXGqiuA+G4Ak3
z1gy9RpN8+RQBBrLoGsTJ17kEI8w7nbSZCHW7OC1bcsWRPuI0bseg6JejOyVm7ZjSLrsHa+7Gd2Q
agF0M4Ncve2jc9rij0OBp1G0lQAmV4Oo2aSqNg6CVaPPxpWATJ6VTCpxUxGdvIF8bF0Ejh7EZMRm
j6PBEragH5qcGCd7+tIkivRT2VkpwSpDEd36qjLhKqc+k2spulWOAvCJLL+KMirzUZAaZZwHzIql
3AfoUQgm9wWI0GjU2bsM5OInZOaqQslOh3FlJe1Ho++pEjpvulIiQto2NsM2LoW5kcSP3MSVVX2y
BGT8hax7Kkliqh7Hxoh26G/9YpUP7nQ/IXV+JcvTN/Cn9c6smNI1TupWaLRLIwE25GEKv82xmJL+
o5XlFOzQsnCv2LbQftGADMsPWdegvaH76rboT+WQHkks7j0kQSzn7E82UBJMOiG8lOc+KWbUPMMV
NZ0qwrNGbBxNxdk1dvhiNUEK5/xepPghlFV+mEY7ubBq0hTs1Dl25XA5oZJqy6pY+IhgSZiss0WU
xWCSMOcUiMUWMiZgU699dmqvPYKN02EZZsVLYssPFMRyDbpQp/uhE+QwuN6nXlb1yhw4hvs1tauB
aH+X9hMDCCyJocAmF0UZ4uJwYF4fafdNpt+npHBtS6tRm6lPZ1BglW11znBD5a+MPkbjx2feQavZ
CuXeB7q5Lgu2KXZpetNMwFO2yIWmy2GNtuYVQOYjlrEXgswu4pLZ9eCE1FSW94Zw5lWjREq84KyN
k7gtJH0Zq5/U7Kfk3UeHE1RCrMwRxQDGkmyV9e4r9m2KhjEwFhFVzMrBKpnaVb31WuNqJuMto0BT
y3JAm8icKX7p+L7B7PtbwnmPvqp5aEhafyjK8KFBaOz74ZNFFhRsRk6Ncfbk202wIvfdW3Vae6rI
dvpYRfk1nF/q9s7cJUZCDdPKw+RirGgq7SqMgh1xKw9zKMqcXAgB0df7JcbZ4A45kHNDNXZnV/1H
LW8IUcbCoJoLPQkzsA8t+uwyvwOLVFO2NCUWS0MDXo6AVcAkKvkWh/HQV85N0k8IoTgLEr4yOAsm
SP0iy9puKZHgrsWUD8RTF+jGCF2AP+rgi0bLL5ayyuKN56DMLgT6FwIDnsxYwvOynVfiP9PLetI5
zfryTHoonsIO9bYROP5RkdxNJApsktFW3kkvHIk2276RykD+opO1Tr3lR1Z63fjNDjkkINLS3hOa
tU6G4GPkWC+FX2fLCjI+CQrDQzMQWpQP4A1AsttrkqijS1iqyzptID86Os2RrsN+Y5urVtZyVpcR
fhqbl2bsy4uwFsmhdbWUpAZRren+XXgoKt1WnSsUvCcSVKNV606fbNO7yQ27Pjik0mxRGj9mWZjf
ypJTUNYPNJR0FLJxI8SOhLOdMLrh5MkMdY8bo+3T9VVs1sdmsNYN5Na1SrXkI43rrbTCF7iaFvYS
6yrL1apsWuQogsc0qQ0fOVHsraKmq3bwVe/U0L7miHbSNL6gVMD2N7b3hLp+VJ4G+mEKtNPQjOBk
Y3gNjYaXLcY9Dmf2rtGHYaNbxkHvp8s5L4G0zy3kR1JoUdTBKXUXEW8UOnWCJSxrm7Yk3TuR2jRl
1y0txBCl7a+yESNNU2vnrsW6redk69Yn06j3atK1fVdY16xv+cmd+MyN1xA8HmOMtO3qdSyGO1sv
Pgs1HhwrWo+QDlZDWR67ePS30iBSaiq0ayJA6Xf4knd90PY5wJqqU81LhBIZXsCwzMseOZOwSSTK
MncZTfWnshzPeYZEPKyaTy7IY07ScXFhyVjDbzNr0pXYpHp4M7W+uXIVYdKd/0qm+FXTZBY0bfvg
9O7lRCtioncbeHlBIFuexpBKRMZyV+h2U3/WGz390IAu54wbYkkgOq/T+QZ8pg8bk1lzhuRI18pP
A4J+rHaRO+f8Rs1k3FsRZv2AeBn0erhpeKY2qmxqrA2mnHAoALs2ZLGejJxhnhm6ZlutiHskAnph
9F4Gs9ODfNIfm7xO9syFc80mQqG1Y+daEEXk1xudTOC2/CyM1i3zPRPiREwYPf0IT0EAkMJYxlHY
J6uEX1ZxchKqFxex0YfTk6XXzQBiQoJaNWispX4mtuS89nayDcxSDMVWNc2AhzVUxc6XVifu+PIE
/YYx1PSDPkb+ecCCdo3ZQn+pdd6jVcVeIahfkRwNt9K1mWjtXNIUxSLP5wwgIKah/ZD2oAioqlJc
/4vC4hm6JvotEtq61EwmceBnma7TghtcW1s7E3PQaqXpVhWSLTQKoqC8srzTjbzPtKtYl7AD962X
6h+HIuu7ZhUlDYEjbHy2ADtarsbWsurhmCS9RzEXxHVk3QjDwSoT29QvaYqqN9miyJ2hAmaIm5CE
P5LxlqZvZIxv0ZaNl7nQ21ooBGh2ToYLvBFvTuubCrL7gqhiJAoPAGG/DR2XDOevMX/pxEZzosCT
5P8FumSRleh1rgmBHd2lqep8OzQh4FPcoCr+WBjyqWEjiO+MUJXu7WAk6LIYK1blC4Wtl6w5Qp2l
1ibsJ18zCQPZhJeR0kzYQr5kPsG2M/X4hRcJzsE5zhCTEQpfkTGKXhRyTj1E4zjG5z71huaxKRGz
7jH1D8EqqjmWQdHmplsWDI4VNeswfSBJy3I2VIB9ckXpmI3eOgYe5G4I6eyIPiIVZZv2OXLbxO2S
4aHIhboJcpuGeKgcQ67JKmXUHHd+bZ2iDjsJYTtj3G+LIcPg15CJpw5mpjk70D81Nky4sjqvNz7f
iCNzDhgCgM+KRgjZ8phIsdtFnGhgG8d5vqpMf8aUaI7wQzBRBf0rZF12SRjbFbFJhGgF2PqyPTEk
wrqP+qYNFkVPAB2N5kn5a5JMy5Kb1lGkhyYetr5k4F6PE2wfIL3ykbHUDNKO0Ip5aXbIG4EDCt4K
VoJqekBIW30kLKTlrGaSh+LH60HZYtunSYAASwsVsve8XZFLiDEKSvKS6kA7Dr5b7h0ntY5p1/a7
ySIWW1NufVNmrHZkarXE26t+1XC7Dw6mNSgOnti5YCwPuseyxafU1n4EcMuVDkpdjJgpM6qAfWwK
0wsva3NyqjJF0e+UHxTdhKUixmfplZV1qXVVhiXGhbgUacl9Mrg609JQfi7GmlOiyxn/LYMV8VkC
VKeT4grthbTEnJYbb/kJZFeyNnICs/D+Tas6LagajNJrOfdgOIVtn2xSU+kvox3PakGWETjV+P/y
ujnNHdJ5X3mpPMdbKFzp0Dhq71xjCX+hZo3WFSHzTHFTmFNDibRTsVfuJfHcG6wUL8QF9HuZ5uPO
lkSTLWmokfLZDtjbQhZGLUydfehZ+masO2/ZiuKRbSfDDTJUj7jUQTMQIb0k2ju6r+herLysufBb
JGdmhnSzSSvKE7d1jI1PDzBf0PrvHnyCYHEjM1KKKKGW3uhYu6Fu3hT5f5uZUnHd9zVTqy4/hvDD
qMlQQaYee3lKwu3SyF3sl1nui5Wg9XY3xO0dNPpon+iA1Ehd21ihC0CCiLB1WOnGwQgBWSV1HH/K
5VzIunmJodVAe9HSMIJsld3WoaR27C3akVZXPfBJOKKOjBm2Zd4BjaGgBH9iTKeeTu2+DaTLB+8g
h4hxWPFJmnTzpf3wn07MP8QsPvnvOzG3z3HR/LF7y96K5//64/+pT28gxsrij+fi9Y8P7D3Nc/HH
6/MfWDSj528bNl9+7NeGjcYE3LDRWnm2jikABje9l68dG82w/pwLQvR39EsYjzj80V8dG83904G0
bPmY9m1TCOEgtvgnP9lCg0eLhcxqRoaoH35LgTdLRP49HIfQjArQYjaODpnWjfk+OIbogwHmC0tP
GnUQ3dxSF9mqmIK62Emg6PkdRFb2qDAlRivARGHK7sU0WlGuEzZ2+r7f3ODz1wt/p3D9XobngHcl
3IbBCT5xHZGJzz35VmQizJqTihMfZGFn5UjeRovfT0v91lFrDrhI9MiVFROHNQiCRX1PC9vq9qnh
x663NKDrE8pqEvM2cfqlG0+bwBlV8gHVvftgYFMfOqBK5B5aS9nZgAVQN4/6r5QyxvxbfnNXHYN9
U9jzV4c8jQPHuzYYGUJj6iFJXpBLOCwKr0aSv+ySKpfmEtARoEGtU14TbYCcdy1s0sn21W5QExHY
q9gtA2ZzTLk4aQfSd4+/uMezwurb344vXPi6PmvnaDKg4f3+Hoc+REW3M9tF2SRiruhzzj+HtCHa
bjs2I/UsvHjJrAvABiIdmtM2eajnpMgGHxuKqbnXBlEA+tff639hnflQ5vzv/8w/+VOJYjEOo+ZL
2/Lf/+8SVmOpys/N+7/13T+CE/rXrzerXr77P4Dk42a8Bmg83ryxWX29AEjR+W/+T//wj7cvP+XD
WL393398KtuimX9ayCLy7XpB5/abb/AH/c1lOT3nL3Hdvv3wj74uMiwIHhM9dGDo3WDiWojP/hLg
6H8Kg+cPUL/Lf9yZovrPJQaZr0XHl9Q2FKHCRBjz7yVGOH+yRxvz4wGdxbB4RH6jLTw/T/9+3vgx
qIl1G4kaJzXL5FrfP2+6m9haaM+tGh0zV8g+f8xbL7muHUX+wze35m8WkHeSuC/XMtAUIQolWgv9
0PfXIqjG71TGlNnzuwBXruQsvwihF3zCM9VdmOQAVb+45Dtd3HxJ9Evw0T2keHwD85L2jaDRBohF
V4M2i+b0De6RUQN/HsX73/5g7CGI/NgOXBN51PdXyVzTqoM5gDIKfXyBLlrmJa140mEj1BY2zaqi
+JWo8W++OI+FAi2esGYu9rtrzlxI0lxcrJTt6GMKGXOcnxHtrUXjkh/y+x/Q1100wwbTCG9+iL+9
jUlg1lTSNPM7VVQYZX37FYpSvas50x7aWGIN+fkFv99qvHkSwizFnTXojFj47/cX5IHUu5KoV7Rf
hF6rETs8tOq2xTmf2D6zaHI8arX++UXfPyzzRT1X54ooRl32/e8vGjUosJzZWQeCFM9+7gxLlZXZ
Lx6WH6/i6TpKTRsuNy/+e2V0V1e5RrsOLLdRdacY0thlrdyXn3+U90+HySmEGQXQFI86QVjvnvth
LLypkljPK9uQdz70mnMqnBJPbvur1IW/udSs42N+JVz20/efR1lhEiW9zdE5JDNlmdE0shexOfaP
eNbb6Rff0fykfbte8cE4X+FsgcRpsYi8ezD6uKxz+JpEzdJz3iX+GDxEVdc+yDoJyeEdI3RmCQLv
n9/O9yvXl6v6CCFRSzo4EOY//2YZoYiv68qLJiJ9nOY6ns3fCWeIo1lVcjmO9Kx+8fz/zUPCoY/z
CcukzhI///k3F2RQVnt6XtJCCGpv7cdmsCNfaPjFa/33VwE4M7uFxA+vdWxbGifMuQ0mKoHcwaBJ
6JvB79884j/gHyDvNNnrxPefhVBxYF466cBMluptmdraKYB/cBCxW3+O2qI+//zL+nHtYJQKnpxR
LB/M8N7du1Hifior2i+zlpG73C2IYKw5UCE0yI2rxEMJ3kjj8POr/s1rMJs2mHkaqGp5777/lJQM
qB0KguU8WsIw+uxyU1Jf7AJtau9+fqkfvrZ5jRKz44xgS6G786/yzcNROxXyK3OEguKZ6pJE+GRb
FHXyu4+gZ1H3GCY+I3Txpv/uNk5arScW4SAMg2IkfVquDauqaYzb3/ww8yqlm/NTzg5Nms33Hwav
cwyTDfvF6FTlwunR1haSjt9vXsXn4DHbmOYNmmH6uxeYgX3jphYPOTM0QFA0z5akIrmrn1/lh2dg
1vkjkbfnlXCuGr//LKNtiA7uHF8M+sSDTKfp7LlEVSeOSjY/v9QPz8CXS6EawMTjiC9V7bfPACnf
8ciw0lpIO4IlMOatbu3HiqyV9c8vNC+o3y24oMc4sMy+Rh93yHuzhuw8MEmCkq2tnMBgTR8bdxdb
OTQZ4Y49BQj11Lh0ajdrFpo1wOfz+sQbfvvzku3Km4UPTOcrdN/dWt5XJF8x7KRk6IbwMAaVr2+F
mVflLz7vj9+hQ5jIvHpwUOU6795jLUiAFdm+u8iGsthEPpCSqZ3aXWhW4sPPb+2P3yHeMgernjAN
Tjni3anKmZhwyRxppeqm6soFKLQrU2hLv30VBFUUGShAcPG9r3fHInRwsQP+SLwiBM5vEluGqOAX
t81/l/3hGR41DC5GPpHOZoJx8PuH347JaehA9y/B0sEyyti/MCn3Uf3qek0gPyIXTTDqw19zW8Ja
qoAhGHppK4TXmkbFrSPhiW+AadUsnxoZ9QspyPJExJin+jFGCfvqQp9jwEB0rnwLgozIISuwiCEY
Y6XL29BUHX1ndmOiERPkteiQQyOVB7rs5HkjDzPrDMy037lNAOC9G4mS78uI4OgTi/Qs2mI+6cfX
STRY3aZXXgiXhv2s7q7tIRghaPHHFuLZojWuXZdQ6IVRJW2HahbM2bJO7NHdjiYeyQtYRdU9LUp9
a5YdAhRE06q6Cixfcz9Gsh+zS13lOL4s8ltm6aETAMokCszfpbFvFOeJBLlxPyjyfK+1wIrrjaG0
gW5LV405/VG3HWwa6knlb7uiz5ESW4QNsqem9iwpHhg835RqCKINpiMPveZka9Z1mtsyXoGhqK8T
uGEIY+OJNZEhbY96TXG4WrTYDwlUtxUtXEGEon4oGzs174SjR7R8q0HG2TMaGYeOsUfE+WIKzQiR
p263+aqhm9LsGFq5Oafbspz7QX34lDICguYsBwHIbzDiOz2if7z3/EoDezPOU3spZBmf3TFy7rxI
gCmHhgZJACqX+XlSHQKBzKwIUmZiWkq+tQ6lxErFOSmxQ9BG1yQxuuUydyOk2E6ZZnjQc376dYRP
A7ht7sBwMFGvImHKnKGH9pBnzYkAWsc/FJXIzihcTefDCHxy3Cuo93bAYpb3fr6WXZggxKETFTbt
qh9URFs+IczZXE4mSckncPO5vCAezzbXjLE7+Rrn47SX5ugFgOUy8jsK0GPEq7JWIx2C448KZoCH
IG+rBjzbyyjtyjSXNPQ9DJG2WTWgolPH18imVQFtP5CveR263TpEjNS7KwFBrnsl0UNvjpZXZ+qt
xZpbFUs/hUeCOGPWHOuQ9qKDmhN91510jHrHL6E+pbpX2NvAd+MzTPf6s6YcZSzAuTQaNA/fHeg9
qSIvz7WhGSjAO2Wa6HsJFuNbbaXma3t/mJzuRe9zUWxDhFEA8ny4X8SZkNa+IIcBSpefSGic6MtC
D1S/ow172cUMkacorsPrITNJWDUav/MvkYZViB7DvHzF5Av/Imp4hz/lCtrE0tPq4gK9rj4esyFA
/NN7VeftzSg19DUBkPAwMvhCp4ako/BiaL0mu/EyvD+o8hMh1pFW12INOzkcVlMkEdAERJeNyCPS
DipIQsNzPZttIGQkAVgrVlJ2sKEFxgsT2Z84kpSBczWkvXE/MojuINNqtbW2wOzAYqPNiggJ42K5
a5A5hMsGjDD8NFXVwdJLujBdBGA63qC4IBDtowyeVZUzZNvZbV/0H+3UqtU+ouLxd7Emc/OiUnlo
nVs/7J2HsoTeddPrflHtHUbT01aUPfiLSeDg3dDD9B9qu4kv9crX4G9nSfmmG61iNFnVBMFMjVXE
6zQg/WLdh5bH/EJ6qHU0vTTmL6jtn63Ohy+Tp2X0oeyTzF8WklAT1C2iOMHUhcTcGl487tywNBmp
KFqqcAQp+Hd9GpGjUKgIU8Rs5HksXU3N9yzLr1UrC+Kdh0w7pWNaQ02iLIAO7IFIMUXHqlEwMUS4
lENgqtK6MpaCsG65DYfARrPkeUl1NQZCj/j+GpLjVCztHP2r5nnryk5AbjTFIMm2NqpaIhRKZPAY
cqqhdC+h/BxNGJfyZKCk3wObmclHho24cXTRwn5swhaQbNFO/kcnY+Nc4pDrHXzrY4T5wACPdOEq
tOzgLCIgmnXr5drRqXV0d16RZc5h6g1lA2vSIT+ziY9IeZuibteWaJtxo3edQVhO0LjdslImgm7D
HxGZhNBKp0PE22Jg4El0gFptMTQH8JcwsiAu2TmodWUm+1oHikNAUJaIu6aRWO4H1wr9g85WDtWs
zyl/AapxGMqcET2CScqRs05F5b6wrNX6pVO6IcRouIFLXhbwvFWMXnsZuaXlPnVJ1pGzo+U6jI02
ZPjON4llSo8gXQF9nPgkfYgsBtAMGQZLuyOTeo0UISSZ2KCVNg59itDB6MhgnSrXzJZa35fwWwbh
IG4xKg6Fle/It1JDiLm24OjNSqoCV9Xom/1u6NSsQh8j4kFKor7CTcMe8BSPsr9NjNhqlrnm8Cri
gdCuKi3A/CeqpGOKj9sf23rS+ckhS4UmV6OvxSRDlRZ8IzfqarHq6oH4IVqNyWeRwzwhH8BgPK/a
fHzxKvhYJO2YvbdOZd2ytkO3JMhUN5jo+pWhkI/rmch2el61FuP7jnq1w23NRLPPBBT6zg9YkTvn
wWuKqNjHeObaNeG9OTDqog9IRyzj8Zqu31gsHVUR6y2FRgh76STZRYPt3gNvpKx7d+oK5BkK9wEG
CGagK7NrR32ZpwEiVLcCbBtNU+ry+0RA3+w0AX9Su86sMID1Ny7dbCI6ToGwmhY6Hp5HYr0NXnnQ
i4zra+mSmGLX5mvkyoINsDdpa6kOV/cCegQmqjTvao10IjYDMLGMD5bxlBbPKGpLBFRmaXzoPB9j
JcaM+iB1mUT4kBLyMJwicddu2Cn3ZCoDGSK9hcHjgITxhibJHKjS2kIX66p202QDsjWoz2Gg1+HV
GGWVv2xCLyerRX4Jbqm/hLgwTIYE5epFGSG2mtNeshqb1C2KOKhXJVOS5GQl1tRtcfAnA9gsi2cn
j0bHuEDn6acXFWeJ5kOR+Mi9iOidQ2ocsw1nXGykmNaBCifeZtrkX6JuiBArm/AovmThSNKdK/ZX
UbshGVhspMSHu3SB0mWlmVb1xLFFEGkNGxbGft0jubW0vN3FbIhq2zmhY+/mVGVsQlkeNMuQ4hBV
adGiNXJKgExLYnamx1ojLvogMy9quJjE19ADTbr22rj2VzFChmwBYgJppgycdlxNECaBTsSmRN8z
SLNbRHUiuP01t2DNN2MfGmUqBYOoya5RQgEUd6Q9PZQRmlfO4DBWyWqQ1o3M++5gq/T/s3cmvXEr
W7b+LzUuHrCJCJKDN2F2ktVallKyJ4QtWex7Brtf/z7Kt7Hkcy24gDd4QE0uCmUfM5NJRuzYe61v
OaDCWKHOo9AR6SaCNdGjBlKI8dAOIzsd+9AfHnRkOw+ws9ANNLavrT30NfjJPmqOfo96rI+AGPuL
vXHBDztNpJ7o9SuFGWPW3WY2neYaAbVLQgWfvGYBZGtcLffIw1vTVTzyZcjHq2Za5AM9hWgH/Ch9
CM2YFcQwAF/DoaVIDJwuQUhYWCl0NDb1EZIDdspgsIs+Qy8ZjvcN8e4Ly7A9Eq1g1eoWblye76CG
a6QjeYbyJq+KBILcErXDbra9diBWDMBukEPqvZWGjU6SkRqh6JR97rUinswMnDyHbQaHLX2w7aRN
N54k4TTwvLw8USWB11yd4UzQ6Anv4pgaxVYUKXLExYzQwMQxnho0ZgrbHLhim0cm7VqwEtrl/+O4
/bEjqP2xylpapouHzBR+hByfCWGu71WSqhMRhtRSZmZxWuIsUGG1hDt5PrtrcJBsjWndb3rM/QWU
SkBT2q3JjuM49HXEynO2lHCtdzb6JoWxRMbXEytdfeej/1ebKXbJs4j1THxJ4wtrD2HMxFAaq0zt
zYwI8I0LVl0HBDLZ/WawiXjewsBbPuoyjQiNYDM9d40hwiSYwiIlVME172oPp1nQttmAfFc411On
TWfjxcK4SVI/Rk1mDmrvx1qDYhqEDnq5AhdkxvRagG9E4MiRkRI7yzkM25i+N0LHRGcVVpk763YQ
hgebPLTpNMWXU3yk5zF+j4AIP+f1IOW2MDp2z0RmNmQ5ayrJEvGUYMsV7dRtcBHMKzwykj3HYHcu
F+JJ6rZkmebxqdLuzGW18T8zmS7aj5lpRMh0+zjThL6jOM/uUJiVMG5qe46AU/gOVLWruDRy3kqj
Nrum2VAA8SeuGbpHzGrL3Yg+qF+zFuSw17WTgzHrpXyIUAfeCo6C7cbjFOpsrQWcMI9SOvebimB6
b4/RdjibFop2kHoLxxDe1oSHziQ5GeKWLfr4O3E3nSDUzFughHb6CQRPPGyIGIFM7XlguoOacNSO
E0+0sjSRCp1J7NLxHuiTR/RTWWDrJkeFCngpbJiGiWMeh5TVm8U2N4uD7+YakF/pZLsmn8zLUjh5
we9Q4+uFX1k8RTqs/AM4jeyhlrlD/l5f5vusFglDdHvxHyAjG/W1nSHE5+SFVaT+phMOcrd5wZDs
C/cW5ziaoIa0RFReIamFWt3FdUsYXzUAfA4gDvXJNiR7ZCDIcFnEWeFqectwH5/zRClIcM9AN8H/
aNDOSM8IHPHcLbnGhtjZQ2ceaMg2j9YsBWsbuGh8n6jQJAflbBp2NJsoyKteRDXpQTUnhaGbJLLf
JVdBQ71JfrOFDG9ZDFwDyu+cgEh4Cyq0VBflzD+yaZKerSIZ1XAck9bseDnMRu544qgdaJ9K9lqN
dDPwXXpowWqG67cN6Wz5oSEKANcv4UOPBdwwVj6mtFOgZDpaG927KPPKSk871J4uLH2vKAC/Yhv5
aoxxm5yPCO162iCe2x4Yf4ZADGpTo+oukopt2psuS6sr/J1doS1kk2+mm6VPLOKhyyFDazcYRnKg
7Qcsj+oWDoG1jOrEdUc50Iug8YyRHgTvJTxQGKSJlyv3fCggHpatVyHgVHXdB64s7FujUsgD54Fi
N+gmtdZuedqeJYWepq27IHOj5JspQGP2UFJdJC9/M7owIVtRomyTPbaeAD2GdjeDFu2jW6EEDcDG
DKuw0cryw8ReXW95LlkOqwnK8M6ICh+jaJQSOplp9P4YSKCKd7OgzF7MJb8ju2i5Ai0+fW+LZuEt
n5K2R4I/DE88l5GzI+DUTZ6XGZnKwaQ2Nj6EFtDHQPdLzHx6aK38BD9jXx4812fnbCxPO3tOvab5
pSgE2SSlk2bNrjX75dvUJKw7GsjjdR4m5EdmxtISDKbIrraGpPWwKS7ZbIQXxuwRefApRhvL+9Xo
OT2MNSWJvjRrb7a3WbPY1rZaOKk+0jhIC/L4FIJXZGddf+gikkaiABdI0t9mlHENG99oK+MhF2YS
f2Ko6AKhDmsE5sQ6STPvbnInJ+NBqomBS5ONSX3hhWp8HidgFRtk4hnrtB1yWnYzziuJq5LzbPHC
77Ih7oziVn+uBz+272Fo6vw5nai+98qlhA4sVdnW6dzVafUpjiPsG3aObIaQKIbVdAGa9L6P+psy
m9ccqQFrDwFl7ZlT1hS7JJFzLJIEjdTSPuE+fwEJdA4+/4pkymfOu9kWde9TmdvT5xSV7q7wIuwf
7khKHCWnUeOWLqZ+k1mjLR5RHs7x2X//G8GHKxvU69AlxrWhSjKTpJ1qNsla0DNMja7/TFtCcpRx
acHigRnl1X971YRimOMfB/QSz21UpebAoCjVVz52rk+czCwyJXRMeTqPHpYFn1z3gEIru/t9x/Zt
C9qDDstExAJghZ8YDMvrTmrpD5InUxkcQFJkErQoNwi8/G1nGtMfNoc5GDJ3YYaElkARZ/+2aTs5
U7+QbBpYhGtcIFqftqKfpz8ceXMVRiK4DlcxC4qaN837DsFcX8UpSE+ALR84BJXnCFucd67yIrP4
eVTBZRDK0UpnMrZSat7MhrsIXqzdd6BBRwNLdJux6xCRIcpmR2j9fJn0wrscXZMzRRY1xp3Hhvds
KofS589/QMtUNNzXgadw33yQQYbCMgx+QAplvRl7TNqG2eHeaQjoebnU/wNh1lX9vfzUt9+/9xdf
6/8flFerIOo/C0A/IvVqX4mu1r//Q3Ql7b+ExfiXgyE4LBM55j9FV9L8C2EHXEMYWfAx+Rv/El2h
q2KGwdzYXhFXNKT4j/4h67TFKsdiaLfOsZW7ps//geTq9diH2RUaSq7srqIrZu5v5+GuKIzRqsNu
27Wowi102x8S0/740834G63VLxfB3ytRrwoO/zbD9zdDd13NoPE5g23RZcoPkvPmCQ2u8J1Xbn1x
//3GvYhkMHWtQ2jBJaTHLft5Cpl6nVExr2u3fROaZ5NKbiERRXsgrvm+Mg3r5Pdfav3nfrncOodE
BELQ29uBWThFhq/cqd1y6P+qeac54fo1Z+XZ4pxPGhS6neSduf76rv56TSFQ4QJvUPz0r74iETHm
XDvwv8N8yM/TJvJP+6ydd3bvAE7Ey7ea3U6kEGQDScxdv//Gr7eCHzeYDHXm4opOJAKz11fn3JKF
Rc7V/QaF/DgOxXbgxLEB9BC980V/vRSzVa6h1id8fXpeXyqJQqKxOhByEbkRm8qM6n0DlpAYlnne
/v5bvYgo39xV1NPKQuG8bj6II19frKjKEAMT59mc5J5xQyBd8SEh/eVTYpENvTPCsv3imWspmDSO
lWxmD1h3ztHvC8gu5zAQ2pAGaU7kVAMs6mgrWPJ4BbLkmTa5E0xkPj1MuHTJLwN9EpLUnNoe3rzW
wW5AKm8RY1Xquod5yaN7gRrxi2HFyS0zSeYwMlvIbCcHqje3dt6JEHB2bMtdjF+k2nsRSIiCzfs8
9iSsK7WE/XlB748ZnG5ES6yEsRwlM/vHcGFMtBv8hLAk8hUm5Gyx7T9PVeIT89d0c7ptGrYtMgxU
eOamlku/1scjnzrR11C3/hE3XfhMTTzkG53X5dOo68Y6HdNOWhy58uIuiXOCyzyrxGne6uUuWaR3
O8tZ3MW4JZk8hWoSm96FSBZEljAALlnzoz0PVgJdfEytk8op0stEocumoUDFDXkeO/KOzlCkt9Ib
YgaNIf79gFIBGCxtsJ4QT0XBL9RCx98czORr5y7a3IaKNLZAjopEEt8r2m1Z9/Njrcrou+kazcWQ
UfMezLaJH0yZJrfmmHQu1EupbpeelEW6JGDcCbHiBCuUb17QXWku7RRGWu/SXaGz55cbquP4qu19
E6SUzXlCMCymz9p6TEEdLPs4ldRicIB0+nE/zBqeG4g2uWyGFpKNdIwTKBvq0qJ7NgWFn/pPiK67
j4lpJjWHxnj1FuZtc2HEzKpowy8l2Jp6SY8hEggGBzUNsB3aC2jVXVomX+s6EzS2mkmeZU6PNdaa
h5bE27KermxG0t1uIGJwZyaRvZzECqR9FDYuNi8ClU76cVqeZmxcQwCmDMO8tnJS9OZRTc+D11bH
fEznr13RDvf4sRlHlXQv6A55XtdsJrpeD55s7DkY2mrQG6xg9r1bY21zaisv9klFvMdQk2dNbuDw
jemYc9MSBr9NqmV47vsuJdmLqQ7RCKX50dZWV74jaH8REL9eP5FgsWDjtJAWzoE3tVCtwUz0pMJs
Z7o6aedj8vIOo39XRohxOOKmTNE7YrwMrWiafqqbx9E56+g2NP4lSk9Csce02c4O55bbft7ltrGf
QFu9LEj/W0X9l+2w8//nKuq2iqqfi6iXv/6jiLL+WiW48FmR/FJEmSsF8h/uGIAmqNwQyawYanTP
SnJu+Id2HWoJp3NUOkiGXBvVAX/0jzKKAgtBtkL9iq6Mg42l/qSMYmNik/jp0bJ9RLT8+9RlCqbJ
C6by5+qjNqEvMOdxicJTByJ0jXMXRdR8AWBDdRsGme3ytXarGcEyUAdwRWD08Rz6MRwHOH94X7HZ
ObkKr6NiCo8pKv4v8ZjVd1VSxubOtrVDtCZTFOhMEUN4Yg+G/mtl2I3DRMVgFsdqETU0afHhBpkc
9FXdGzCzOj/usUt77pp3LUR17eQwUE+ACJr1bjYaBzhGJ+bHMpxb697SKV5OunE+rDvsL9OF8rLk
lFyRwoQUZqnmriSvzsdwF1nqzjGAl+xq2jx7MWfAFYe8IsiEdiJ47k1Z1Zazc8caUbhbxfCBFEoX
qGGNX5G1oEorvemgprAnRFOMeNwQ6hw4W3EB6yNr96lLT4z52eypYIq79puRTgSceIpc0SDKquyq
ksI5jJ2bJNesa2kcbRgLwvP3+8kplj2tsAEPqO5YxVZ9VYuDfRl8UGN464O5yWR4Pid1GW5ANujb
3JJZsvGRyfv7pZnNjtxAvHTdE3u0gfkcBuWdpDN3SUYakL99FyeKEEjHjvRH9mrryY8SvASmGMtn
QfzG2UCabQfBSYy7pq/xXjZATqp9PViyAAwWPdFex+enXEYiO3+gcYLSO7dovDJth89bpu0nL0OY
fpCRPxCH2lSktgxJRuCkYfuEVvihXEDEpCmEgYUQZSKEyUsMGjhTOSbSMHrWIa0apDQ9TwEE0TXT
RBoD/b0UL2rA9Kl56gavi1kHaUxAIE0TNIOkhWraV+wpAYgL/y7N1zFpNa/O+hRFSUCc1KigFjfh
AzaKgXlOTq4ta+9Z4k9lfeCNFFiDQ519gmXNF+sykTUb1F/sG0Ql5pc+fb1728OcA7Fz6OLNIDuG
vrYzunfMy6DOjMzIu4DhdTxvnJZOr2oUoUL2Ardq2xEtWTMuByC+61WtLpekSb4viZcyYS2T6qOd
FAkskW6pvuVeNJ5Fcexnu5DBVkGGkuw7SAR5+TBJu/+GXBz7UhUX7nciUpLudF789Fvkp/E1bbkC
jyldeQOyhANr0I4Nww6GWs1wOgdNtF+69poZXavodMginNaBWaYpMpyEKb4l28WAVlQaV3ZJz3Hr
T+k4b1MqgtN0sYd9HrVIcQqy3vpAI6waMdXOYL6d3jSI1UPVEDS9yr9gc84+G31f9ZspWWNznUi0
3/LZQeQJX6TfpmbFjGd2C2KyvcoeCmZzU6k2XmL7Bu7plI/a087+5KQCjZda6v5bu3g+LQkxkH6y
+KR/+hNVFrG64B8P3mi29mbmJNqtJWgMBKbvjTsOWMxrxyEJv6/QNwLu0UO25wujUIo8y+mJxCqn
4uOijfhC5LVRbpmGpd8n4B53MWwC8hx57tugr4viJpo7Hw5rTUbNktoUlxQsUA113HzhiZnMnUkG
cXVSsqIQnxKF9Qe3K4RNCRipO2z6qACWypsUQYHlihkg0fuMKlp+H6ndqHWjQZ1XjOGaAHAECjNC
I9Ee1nnZdifu4vbAz91h0CyoIHtLH37N1sGifshlTkaKqhwye/93h+/n06f/81/Wqv/+zzv8C7Is
+frzJv/yX/xjkxd/EReCLBR3KUpvzmL/3ORt/oB4WLZ/fBbIstcOwj+3eAd0tKQ0YDjJgQhPxL+2
ePEXfT7Y+yCz1rIPmfqfbPEImV9v8QjDbRv3A8duKgraom8aDG7e2SKFHZAPaVJPh9lkC8etUJn+
6ZKbswfcJ0LfMLE+xxcMTnoc5T2TrVN6/x5zYs4eDD1t1d66ukygAmRjNF75xANGnNuTxqbA143p
fagBOPOsC/y+OUk9dmYynCMrLA7YhY1kn9lum564s4D7W5tppS5ECbppM0fVqlRNTNABRQ8AOqiU
7llYp9QlZcuwKqKl8EagvmCbZrFhEH8hZGx8WYxEQTfRoGxgtrjzhejgGGVpgtDKKTihbVANkr1U
FYLhqhgzAAmkXKyEVqOPIUBDf6CiDm3s+M6Y+qhhQGM2QZy6I7TSBIrg3hkUvCbFwYZQO4iF84ko
Rf7gu5l9KWJRWTsifqOrdun9rzENkIcq6r0nMmZhvHazZI4eU5dwJNTaUg+hzSXvI6uBPJiKcSou
Zjv3iw/kHBPRVVYIUDlf4RQ6FXk5V5+cJVXEENXLaO8yd/G7jQu/Y9mZQ0xybSq1d6yI5LI+yQqj
0AXTAX3uq9BbOd0Gp12WDb184MDfdFcdII/8lC6+1wNGsjNQvpxHUSqO00MZhZ6mWeHF9AuGqQyP
NJsH0q3WfeeEs3vrBBFLmbNrkg4O9lxWVrAQsvZIrwEngGnP4jiyPX02EUHKnYV24KDpDjec+0rv
EQkmiWVMEGGUQAagzwQFpRIB1j6GVx4NgbOUnMZ1JKJnuW+hys2bTCQIP81ZDS566wI0wWTxsQ6y
U9MQtIxnTwjBM57iwUhwX7JvnZHEFN8YfdI94/q865OozoK4o7+2yXuvrmFSe8knPYLq4gZlzT7P
rckh/6ltIYMvtnNvV1MGSU2YqCjcWcobzR7DtplqE/0tnYI6GHJkpaB2xg7DDwbzBzYrx9ygESgf
7d5IGEw7zOSI2ZbLxyZHmRBMlkUCuu1UGELzcgB+hTyk/R7bRfgYIka7wv5ofUtIu8SkHlXspZp4
1WGr2BAy/jcZvxAUgGDH1LQKDyGpEnUAh8hBbTyVy1dhyPpqcOQ62moYngdEhrCzmkwL/cCLG1xQ
sZ2k1Qe7b9lc6JVWySaSHTMoMxxR39kJEVAPeUYCTDFawj2gsLQZeXsIgHh0i7r7xGlTxFsSu1ED
D72dXVuptG/Cuc7OyfGAFha3mfnUNIO97AFakBLbDSBxUxmpj73qfdSNbo6wqrZcJIW501enMbqh
qwZJaBYUOSM0XjnC2Td+70Xf7W42ydZtMXHxhyNyma7xMNFIEowjmF5TfjfGUczeasfYg9Iqjz7r
dP19/HytBQHheeZWzSNL30QYrYXSbwJlGjtewyJlRc2FT014Z9pcbRe66XxcZromV0PRtSSgKaWz
m3YSbbh1TENl2xA+yYmw42Y8rL6Hfhe1asrJExnbGWVNhcAZe3vBC4VSnUFFInLiHcMiIsZP46sJ
DGZg9VaU1gp/GdIYgn4ZxRwJqmz9dn5iwKwV1YAsKyfwrkNbI4IK9zMa+cWrw63XOqHaz2hHPhsm
yPZCNLamo2nUiCgaO4K6MiU4WXLtIaXKdUS4iYIfdZV35fgNQ357Vk/RkgeRLzHvZ3M91dtOCeeG
B5aIU4I889UHK2ANJjOoum0iafVva144+kLO0o+bUGin3MzKS8ed69Z1fBXGZgzXRGdU17Qfb5Km
GHqwdYvel3bDmtwIfgJvzg3SLKOmKy6ISSurM7KLybds5hTirGAP0kG2yLTYQx/p/Z0i0/BL4jU8
FDqhHOQI5Ls3XcjZMJBoKKDs9ux3PNZT8jlJzERv2g7xN9oVK7nFfghTewEH9SEsbKvbZcwqUWzB
ciVkvl5MGI0m9DoOU7TkqS6LniLRyg0ASVEFWa9K7eJIyRWWW7c3kQ82/A8Kksmsj3ZS0XuE1MvD
NyRmGW/yspCfY+Qu0SavwmTbqnSJd5hTsVJariueCGmjq8den372JEzJ8lSMnRzHY6gKXuhAxa31
NPZFeamXFRAMw9M95XRVDIcwsbN1aJxfyknJO9tIls+5ttvH2GAtpC1XqSdUlwZ2jMo0j1OFoTNw
urZ6FhEZgtPiVkSkLsuXxLL1hY/8tArisHL8oEbvXtE9zYHPJU1l3QB1tu4RUKBnLdyKRBIaa+5D
2DhjFcBcWG4yPAfPmdEPH6CxJqDJUZoexjxd6O7hTL8S5CFhYl0tSHTTbGIjzCausFPHg3Uqtcsz
wwFJsTTy0pBLr8cBHXMyqNsMMhdKhDakJ5qHom/2Io1qvRVTO3KCk5l5EecNLvcJUHcwNbUjNjLH
kvMR9BE8ye6FLQn3C/2NEXnjnOFAfuFQimxInK9QOSE7B9PSg0GEb1lM18tSSNiVthq1dx750DPO
VWQMmAxYQMPyVuW4U6Dnp4JngBCv8ERnRgsk048Kk6m9IXPzY4sIy0LI1+bFFm0e1E2YxggEAAPl
oI9jEKjuklqPLke58cmawc+dV3mYY6B7oYFOL2TQecxCZ/0vZ8y/c+x8i3KEolCa56JjrqwEGTiY
HJBNLlNvhqfI33R8T2QSOp2OLMGUtt5QrgmLKfhA9BNA0QPFKm9tiheaqv9CVo2xgYRftBCdg6to
pa9WP1Csww8wa/UD09rSADa/NxnLWGB4DB8O8w+w64CTvh8DiT3POwdvHc7PPVj07LJjgWj3vVN4
7UWSRVV7Eb7AZTm5WpBmC2oLuLOEnAOhjcdau2dRRn9+I4hbRUM6iDz6RpQTCFA0bCY/UyqLfoME
lQ9qxzpE8BxiFqHVPEWOeNJTr/MPER2W7NqVoPA3K5vMOJQvsN3wBbxLtOLinuRwVtW+eSH08phC
63UWlVjHzsRCcogal1KYB1lOd96QlqBppRw5cYE7IIjeHy3rAcPEZB8KT4fPpmYaeSgxPMysEtnM
oS00mYXYCw/zth8KjQiyoYl0UuZtNp+urj69mc0h6TaqRWB2lbLw5GdxauvvBmX0hTeF7he3nE13
b5GSneyttuuA2XmDP+/GMiltksgtumGVVJHcQtNKPG7aUK0obcPZzdoy602lZAT3ly+Wb1zDwXdP
8wUuS1u7zTfWhETvJVMpHnViVQWhEyMU/x7CAZ4jLydEW1B2NFRrOsKrFdqI15XyTEI8zIwK3k9K
6u9saZyd0ja656qMs3CrLHfKqUGGHqqKLhjaNHLyLbwhklWvZt+8E35CVgSvanNbCarpvZ7dXm7a
cRQd2cjWpHa1C+O/buf4ubRVmm3yAVtR4E9iPuvhJ6LspqTut/hMRRRUbYcIjMC80Q9av1DeByuO
uMUtfZ97w6pXnZfCQY+DpE2LTSk18Pmhycz42tFtpE9LWaF1H9DZVmdizPH7zkgkq81CQgGowLGq
oV8hp8axo3VWXjRTiwqogg5jn2V+NYO7c1oj3qEXpXWUYgExwPvxK6DoU5nciYpA5g2kzDLfAt2L
iWhAuEwrrZ4ZgDCKm126kTEwS7Pzx8fBWAiFBq9cfY/qJMdFA8o4/VbnuAYICIEkwp7cJfWyXZTV
VQszPhcvKZLjXrUouYZeTzTypFtbw55jh0/aqCsjG8Vjibov3M2z09ubLCtd98pjzQ8/LCuO/ZIA
kSm9x/gz6RC7CqqcVcHHpP+W0jNl5BW1hJ4uPwax/zshYEJAh/4/9w9uqzJ61T14+fs/ugcGrtW/
GFJjQffQGSA2QCDwT4KW6/+FaZxOwL80E//sHxig0te/DTHCYsQg0Qb9q4FgoLUgV0ziGkCh6wo6
+3/SQbBe6yAwyIPykJZY58ySz+e8bSBkSSrjZJJ3k1f558iQOniAhUE6hIpuJMipE4765S29REhu
lA0VJ2R7gixutBu0ysj6qCuiILba90gWr7UTfDKO/Th/HRQnpLTiG38zAp9q2u6J0d+hfV8VDQPK
SNVY140aMAEYIn9HlPTLnVivx8+BGgRKAQqz19eLBzEOZFsPd5BFCYFCDMm8F+ffTw/H9Y/pyytI
2PrP/Hso8+NroaJBesPFTKRsby4T1pkVlvFwh8KV0GrDr/B6xGxwYeyPN55evA3xyEzMOcBvUboO
NCZa/Q4C4rVogw/hIQJDDgZjB944j+frD5FkqehC36uOhjTmk862jYe5mZmTsxfez4g2d5VX6Gty
vaiCYGW/p2/45SaAGsIt76FEQ6nySwKvIWS3WJU1HbHoceyoigIH0eRdO2ZvXVbSHeiTpDbB6d10
mU7iQcM9e+eH+OXn9mARYPjGbLH29Zz1z3+CRJQ9ItQOy+qxte2QTEmStPsWA8bvf+7XopH1RnMV
3l8mfRjYpf3mRk+01RsLyOaxUQ4RZAkgKXxk8tCmRvzOpd6ED67XohlJlCJvsWBO6bFs/fyNlnoY
rUrM83HGfreNJo3ni8nkJxP5MDk0Ej9mVcfWA96/BzW26pATaIarskzuwyi0V/8g5r3ff//1aX71
tPOZhMPTxkgTOctbfY5wgQQXuh2PyjG+aKY5uzYsT9JJ4nAlSCepnT8SBP24CR7dWIl6DenmW4aW
7S1iUHU+HzE99jtN6sQ2skeAegWczN9/t19+W/BSSI84HNF99cCDvb7ffUOaHKC/4QjVFCdOItwt
CS7xbhKd/c63WuU+r24jl6JJ5CF69TCH+eta+fPDymmujsNRH7VRFvvJ9dFja0aHIeX8TTUrc2e5
2L6NqnB2f/4lycA11RrZwXP8RoiU9jquRdZOR07a4sTqtbFVXZXvhZzfQyT8suDzJSUNc0m/xIcv
9eZ+TuQcJQhCp2MownPEaw/WEJHa4jLGijvn2++/1y8PJhdj/1S8J2y13NTXd9StbRfQfKiPGcx/
Uoxct9xkGNZO4AfU50tiFGe6JNDuj6+KiMxh12f1RmT55ndssSzOpRubxyUrwm8Qpx+dpCXbPrGN
E0N3VOiz4Tz//prrbXvz7CCz5b56Fl8Wve3rb8qnEAOQYwwsUTRs/JE57cI/cPLHV6H1T0EiqChI
3n6ze4LVByPah8tRdbG/iyX5Q54zhfvfXwUFxC9fhvsm0TaileYWvlnjqOedoZaDOqa1d1FotGoR
YIi+vs4TfT60GNk/964M/PQkzo+TGe1Scz4BQh8oWlDNdPz9x/mbFWCtFNDtUI8BmXvzcjROXBtY
6NSR5l3Q0dpZqolRcPk/+daEkbJVwutD8/7mW2NGG5dh7tUxjrd2ckoYm3OWXHifRrFzPnIT7NPm
cZmD6MkH7uy/s/b83Zf8+eJv3pTKcplhwIw6lv6F0OeuexnFZ396H6HEQlICa0cMMTOk14/o4EB2
oCnS3ztEKR7ypS32BXYLBIwy++PnlIeUF5+6ksEd/9frSxljQQc00/6xGRWhK+tRWjVV/c49W48I
b146e2XXmeuTQQX/lgpkuWmbMP7zj54Hp4+Ek6r/Ho3k9WxwxabVNqzsjs5gtTQfxpxg0rrv4+em
zM0eFSKjsU3VCPHZ1IWfr0kVMaYv8DdPhSzrJCh7aykQzsRNtGGKl/SHWJKUwMgmwwdKu3c+E3Uz
XLdalfQLmDHhHUdWN2qjMk+ipOFZ6QTC3cAZYv/Zo1n13kL366LD93coMkF+2WyTb26ztLImWlBN
HEvGeru6CIlSqrvxnc3plzIWpB5r91q3c5BBzv36xywd2qu21/nHmWbSNgstVIJhj+Dgg+0n42nc
iLk/Z4C4XJOFgxvJQjd3+ftH99cFCfeu5PREbYMl4+0pZcFT101EiR7laPun06S7rY044MRgDLXL
4uyPTykIuJkqoyhfmZZMfl9/5UqgerLaPjuabZThIBNoJoos2/7+W/16Y7kK/zyiatNlWvXmhbQn
K5xSu8uOyHHReMF2kvt0bkKCdQZ5XUYDWSVlGZ46zWr2iaL6nQXhb6+/Hkthw3IEftkGfqp3WkyJ
UPHK7OgLmVzWPTORpiQjYmXbqMIgX3uCkB84lUEqoxW98/Zav769fP3VfoDLiCTnFW79c7k15aMH
vUSlR0A+zBJI9zJVe+ZGZrObnLm+RdRFC3YO03PtUDfgx81PiOIT7zxbv75EdOIQBFJAs7X6a/TZ
zx/DDmsha4NfwWIqfJjWJFFbV93h97/1317FYcJBjcN65a+/xU/3GjyeT0OUJ6oiYG+H3Gn6wADf
fkfn+rdXYb1F1e4AirTe1Af5WOCb9rLsqHqIHyNZCdu0cLt3fjn77y4jWXgRUf7ARL/+Mjoc+nAY
zPQ4M0pog6zqLgzMHTAkyDjQSXG9xDgCAbII/x5Aa3wB/764U8VoPpp+l2yqMJx2Tomm3J2GZ9fU
RsPs2aXTaSzl/Gxlhn0QE25FnJmYHJiuyC9dmK1hZlbzHpz3b94CClNpQ8wzUei/rRbtifwNJ9Tp
sVia/KBd3vUppNnSGRZOzNkWGyOsvhWl/bFGxr39/WPx4oB5XTeytAoYyhSO/Gpvj25V0eVJzbn7
SMNb7rh35BDgKzxtTbIss9pKQXlN7snYkBbeyFFeVkM430yhmeyjLIz/B++CxL6G+wI6OS6M1z+s
ovPjM0tPjz7yrtPOTKr9GIt/BDfC2gZ+ff3j2/3cnfl1Nec7Uxu8XIcW25taeYDu1PbDkhwXD61f
mE3xPmEiBMekWE6XikCxP77J7rpvrH5GmBx0Qt58LddpeVzb7uiPw+falWBScFIEhLnOp8vkqAer
Hx4G0UXbAf7QqaUZbk7m0J05ZIW8s5u+vIM//+L0YcyV4eoJb3VhvbUPxUnh5ulc9scI82CDeIAE
FA5KJJn7aDF56rt7bly5V5EoAATE0RFWlRm8c0vevsLrp2AvB+1Kd4bz7ptfGkf2WGQrB4KWAVEZ
edPfU55Gp6NZAd6h8x5gPzUOoi3K/Syz/Fuvnfk2NOzvpV9cV3N/M8vWv/79p3Idfoif7g17wdpf
wZlGeCXabn/9859WSYtAvLLwwuHBZbc/j3SdPiicHuClJdTwoHW9Aod322GPJbhQXkRe3jyoZoYC
YqULg4YZp/FlU+rwS2z1mOGRm8oL9X/ZO48lu600W79KR8+hC2+m8DgmT3qaCSKZZMJ7j6e/Hyjp
lqTqLkXdWUd0sCqUTB4DbOz9+7WWkTKxMS8zdAWVXuotdHGz9FypiNRCFZU2t1Hfy8YmBBehmwMP
YNOnr5+PYWURAIdW3g/LID1Qbqty6jeZ+iwPLb00RetE2thN0n1NshI6DTwq1AJNrtjdTk/RhqaN
VrIIbGO06Sl0j/Mi1F8P4pXXzbRWzdamBnSHqsT0oSU9T99koNyQfaSFdW6Yk772TZ+8z5VS45U0
ufmm7FvzjMCN8n2kUaUg01vJ35TZZGRGBmPzTbKS7kHdRXit2lpLRBtZJoLZnb10yUZIzlvLOKj7
FoJzhl12Jkwtq38WhgbaKrSWrN3R0l1IGYlt8y9iXcW/pgb/28L4TwCBwDXZsv99G+PpR128FdN/
REOJRMjwf9zsDXzN+Jb9B8wl39/+BIL4fx/324wkLYkDRMksokHIRrTye5MDNMMv6mFPD2gebuQo
f/42IymjBouHJpZldg9KJYWr+x1Nqv1yEIweoQ+yHtBmqv9Oh4NhzD8dXaAKVCWoe/yVbVbbF9XI
5ly55lF27k7DnXATQsWGLyi3zat8Ov6q3pl3KLAz9+UzfRduJ+mJVF66xQ/Z3ezHXn3dPm0hCsQ+
Cni3JchOqA26wym/FG9lVDc2oxagi9pIDaZz7sEP7euO5EOm4souk4Un9D28OVQd2q4nagNB6xaP
8Un2umA9p87mwBF/Hjw8uQfBv5tGQghFmCuFWdhHmzf6YqCeuqAIcnfzEE0M9VP7lJzo3Lp05gMa
ntNVctuo9Vtf86u75A7ApeTTOQhVV7gy29GByb8UVyMEKHYybnrQ3W3X1NUj1WV28C6L5rD1mQIM
qOl5QjidzFPzgFrlXflUnKw7JH7C7gRppZc5EveZOoknXLXAcOLIXGw41qpreoOWhhlMPbeLl/h+
UpmJ+1adUEzzCi/nYxV/sH9E3uDG/jNjU44U6G7myV78oTusq9+GoLC4DNWTQj7B7QLF3UPmo6LB
98T7+LKesqAJCk9wqNKHU1C7qb/4XbR7aBaeJ1cK+lD/0p8Ht/IhWHGVU3ExvMU3giKSguW+Dmfe
tTxWD6mP0vkDg5tDZPrpw+LSFA6qE4wkRTA7KNkFmwvPgxPb+Sk95SfIFD6kU3FffJffra9jiPJg
MLi9PT07icNMlg0vh6edhsvi67cmUv3Ynr0iaEPRr9w0pF7yEN+2y+Z2ruiLLiSWdufqt/xRvFTf
99ej434AJBxZtjt0Lu9Et/e0O+XOug5R8dS+1F4XrR+iPzpaZLjMofjZfXqeAzlkVDJCes2DJsbP
r+pVc0sk8qJ0gpfOzp6MeyPq+TbLob7oFP5e3NenzNXcPMhc8ZMatif5vHxC1tDdXJmLNb3xPePn
zRVD9bE6K9EUWjTRJce8Ux+le3ZiEHuZX3od50Tkd9+nc/ki3WffOD+8Mn8woi04lEtPaiD42a14
yq/5RT6VF/3anM3H/AozZ9Bf8ig91Sf1PPxN1qj8bJ79w0v/46gfNaw/eOelQdRHbzrpujmLN8MH
6I9u64JLDSfbsFuuoXc/PsYg82HA8cqojZBg9iDIdEZXeFYiqnde9ZbeL07p4Ffd0V882YGi0X7N
3MxnDs+RHdmzTDsLkRGOOGF+EUqhAcvMe+ZB+OZAH+h2juQqvuFDecnzVtjl41lNTlVQOCt/Rjtz
TBdxvbB50M5SCO+TC7tvkAXZD6YhSgMaMmf4sX+rXuZwPBdB8WLiqcMs2G5taLH7i8aZz4+CYzjC
q+r2/G4MkSH19ag8qxERq9u8mF+SqxxJd0l2MdlLV/3GhoySSH7eH7VHwxv8+WRcKyMEGHJKLuV5
v4v9wVdvGly89yavjm1Iim3pugaaI7G9UVZ3Yn92TFvi9x9ItDpvX0r7HZklb+EsbLbmQmV8Yrbc
/v6R8/7F5UzyWjg+HcbY7Mrlk7wh0k7LJQ/nAJTo1bzrwtFfXc2fo5JROpf5MV6c+ZB2b6HFfoRv
9RM7zm2dN90Wo8zZHUSFuLjv2PCLGvBQrsK5vuw+/UJvcRpvOlv3YIz4W3G3+0zseOajCg1kYLEd
5EAONNdwYfh1Sw8iNAfkbiTcttPxveV1+5bcDlYy6HD4ytxr/NTjCERdyBRNkISit7qFDb7H7e8Y
YHJLR/fgD3BURzoXHprRNmPw/mLD9OVvwYSrGTx05uzJ/kjwCICEPJJJt440l6ZUaltRzqu6UHzs
wtwxno0viduz/bLPPZ+uuUok4IEEtnHOrZmO4caPRjTZii0HQogop5ue2pfEnZw/OP7/IgkCiv3n
GPwf5+j4/R/PEVBBOvKmeO08/brjyhpnCAD8uHDj1pwLkxvefXg+He6ApZwc45LyJGp81cpSWK7g
PjHR6k+exo8Zq/EK4NnfvMr+XjvwRNoMKDpxgJKVbbhtUJ62cDpPHEPY8/zjyMIs5q7uVzPQA5h0
PJpadu7DgodXHLzeLxf72DaHk+QfXAi7HTDB3sy79QDi0Mg8xRiq3jcx5ZB4cYTFr9OpjI4PHEKd
PQaL5N3qd/yUYjQ7b+DPBC3V2QwmDyI75/gVO+jt2M9DqLkI5PJ4+6h4VPmgzmtCiy1BISDIo8VZ
udnjwykvRnCThsjo/LyRnEBhZncXXuqabunu7EoEUwP1ajqLA7f368TdyWwfnZtha92xaDhxqI/Z
uTq+f/Wbt/yZz2ddSTGc2NM9MRj9nfWUXPjc+AN6w5VPfB7LzZ4S7suX2DO9jkvaPngsDnUWZ/tG
2pg8xcxpvAznjr2jBrurs3KlC9A+qnjOxPrYztWveZwW29TygVwhQYbhM4ORZ7sdG90VvdndODib
I/Bkjn871myyOWBB4qPHHpbe4Rg1NvJio0PNaeTQRXTX/GMrN57F++Bw4ktQMfeI+LUL49tu7MbR
cTtHqDT603kLsQQ8vY3dwgLxCsE+tl4THotXR/tn87qcNpZj4KpNnj3xRBAH7SWNhhPMUyy4Hgi3
40kb7hbW2ACDDZz4fVB6vfNUcfXQG7LhaucDqU4bWW87xSowr/5zLQBxcNEgYn8u8sjFMyfO7pFx
HIoPamvnOXM5oXweAz3UwxGvDCObZ4XCGRt0Fu6XcAg39vHxXXAi86wWJ3FzL/25MSVcxcKF5k4b
9LojRAhh8m2yZ3Dyji1RX7BNYXnsZKyLyBZLMR6x1wcjS0zc4cAC6wze/nn/nEaNx+xiGmCuQmZ1
elxdHsBiiO1C+hhsSCDilbtvVqRFvS9zZuUAhGUocIqPnZrdmYF8mn0h7P0wdpazFQ1hGhzHYeQl
tUO9FQsMUSRhSEqoi4l2hDCNxne0O8/W5bBVlKlYUpktfdzqZGduzYoqbIPeNdhVMmvJ9KPHWfTE
B/NleVDvsGk868qVrpV7rHfLxahOERL+unyazZwuTwQ9W4cYye+5jjoAwG+LTsZrNu4fcml2wMJz
We4k3n0YfoX3IDHJSUB4m4O8OTOOgnNBGC0G5lV71zm+4sMWIByL3d3c9k0I4B7guGMbvOZ14ThC
FMmdDDgXUl+2NLLofDPQYV/mSZUR8atD2BbGbu22PkPVTsJ3SxGaNG7jEsw5JYs8+iysK56Un7ZN
/LnDV1/CYh2e5zitG9zRP61MHXBSHYX4E2gGt9BfBo1NwqwEa9o59Ddc6H49yR9TlpFw5/B6XMp8
SYktIEmwAbg8pt+bu2Opu5PGhZYsA9aTf289i5DcDPLnmBC7vVVBR6CSugr2qQv2865f61v1sP1Y
wyNQGIlsMsKVPsRycNTjQOJl1p3F1PaZrMQrOcfQYp2AfuS+FPLXU+1Xp+KUnJqg3C4C77ut5+46
XIcfkCDamw9LmV04BEEgP16gKw+ykGvxBRtWcFv02WB26i4B5A12diUrsksbyhWi7tbPQvR+eBXR
iJuTUmR25fRERUfYJZCfAEc6/vijLX4XnIScwXJa74hbWo8H5IN8v1svupP7pjt6cDYHI4HaGraQ
avLxsqeQldDUYBzorg2VYPfQsnYLR4zas3YXP8OKOfKD+GTA6/myISF8IRDzoI2kQBGgeetoga44
ZAF2xrIAV/D05xljEo3nOGpeWF82iurKt4kspD7L9wvQZbA+L2okE8EpX9Xv5rN6nwUsD6/Nn8Cu
RPqX7Id115/1+ypIvJLOqE2nOfGSxEkeBE/w+rAKcJGEmUccKgGh8JJA8DruE7VdJ+HX4Hf4GT5I
Z3Jj+30MCyIpLeAXducM9j2x6Vv9NqBOvnnFJbsklJycyQfH7rceYV5I1UDtQuD64O6/ahpku87w
WX6KRVdjn/BD88yLifmOxyscSR9hGFQv7GSTNYTyjzzM+vncLD5w8PM3dT0LXwlP2YDCcInDwTXt
5JlukxxlfbQHCEw6gHS/SOyH95WHGL8v7uKv3hvFNIwC6ui2yUnkGg3H8FRbt+FQJTlr2bsjf9vc
IwydCbvVn1EjQHy+IoWcBlFlci7SS7hlA9mXpIDfbgKowI8BszrCV9qgWs/lyO8Uf6PeS+92zV8/
Nr/3Yr7uiG5jYJWkX/ALsLCxLXNsTb6Jq7CtIDFD4UH2GU/3j8sYiZNBtiffy8cSofJA9Ruc2xHW
EQRh1mL2dBuSiF4Nj92OWU/83KtcnfMwkfPB/07gWQf4HB4ce9d5Gx0FR8vFO8ehafn2lrD7CLoz
/wi2j829n3bn5SMPjnj2WK4jBRltUmi+ZMNFt474ScBGQeh8KrnuHpd9XBQGxWa0gnsC8IFBIjon
EYCql/9CjI/3KfAulrvZwBKw79Dan3MHp0YyWmPs3ByfCrvncR8sOmloUHsjFzu5jPNzJzFG/ggH
LYLoDH9o+kyRY/ytCD7LoOfyd08Ijlfifp31pnEDamid2EfPXcR64ZQWb3jd/YLYA0wevjf35sAM
W7INHGlw1F/oix9m2DtWmRQAo0xYcJkzu/mAc8YX/JYvyr0F30LgYvMGLphAyk8j8ZTd5dERYyPa
mvmyTQaiuis3IxMjtD9ItfEwR7ooEFX86/iboY7/pmJ1/P4P4bd5qI1tEFRcCVKJNIGvgiUK8Ove
d+IUT6dghA+pFYcEgAdgEFkt5BUknZxvE0vVET5ZuDrNPsLc3U3C8v6It9YIln0qHCkGjvoUtSQi
UxsK0Jf4Gl/7i3VjONGboyWA7yhgfgdvQY2JoHo5adSMhtfyefOScIxi4r3F0bHYItafQk1YnYZr
6c/nPqz5v+5ihLzsOp716LCIk28+zUfaxhXOn9ZPq32P5rNXBcPLbte34Zo/DT8ONyA9H/6tonhT
eFoo2Q0uYHgwzqv9PnO4K/zBYaosm9I0rh87j7cDVIh10EJgyDv/PHOMDqtWObmbOkD+8Qv4FdPt
zwLWUHLNk/6BAAp2JXXbEaOd+zWLR2GJIt3hUnYSy4UQle93qJw4m1/yFbkL2y1ZzeGUVs7b4mIm
eM0Ro8UPq39ENxqFBqJmW37d3SM2OMp3kLz7KHfwaAwHXxoIge437v7zdlKCTxndG3vjiQy4ERXv
3ET7qVYeBp3jbjeUsmYsOqQbRNJYcoSy6mCiQDT4+hO3jhlg6MObX4WHnYOmeLQuTxmpvobXnkMc
c7BhLxWPw0Gelfk5sZIZrMQ/vX/EkZZbEyEeMTbZAvegkNlr4826b6/ip/yhasNMJNTLrwvH+zAi
4BwTx6kIwlonA3/MFgRWzZ5c+BnUgnjezon/AqOxM0XoV2CmN7t8gAghPdEGsPPwSG1JrjmzYI1I
ATEw3nI7QkR0ArwjxAOFLPoqFM2n0hO5oCMwXFm4KcK1YkuAkHLpWATCMio5BHWtcjmSEvjfMKmH
5cKOXeL38i65X9wVm3SUHCrMDKo3xLP/+rQyS/ffnNa/tOeroqX7BInNNf4h3dST1diUIY5470V8
3J90gH7X2d/dI5A1MY1HaCn59b1wW6gyj1+0KHvS7sGqBPHD/l5e+P1HcWf4SoiP98yTSUgCAJP6
8RE9wMFzqp/mc3uWAuW0fzTUNxNint2TqXJufhbpBIbjhQSaMIbUOJoJiUni/D7cbiWxhn7PCMPL
fqK+5w4RTtMrTg1bJLtUl4EU8/oF54jpd8W7AoO3e15N0UW+l7+Mp+qCFyKglfFlsT9R5OwoTegh
YIEHM3FBu2x2F4HrO3dn61ZG2HesOOVzKm/KTb6DQTwi9faOBD8PrP+Pxg2ayvzvr7SdfxJZ/p8k
q8wQ9x+24T/JKr8kNGne/shZ8fMNv/ZjFO0XGKTgmaAVw/A5I/6/92NkC9X2Qy2ZyWgVUAWNmt/a
MfBS0CExmCdgdpO2zOGSfmvHCNIvKv1DOjJMbWhQF6vSv9OPgc/2T+cFqqxjJhyUKNcBwPAnAdYf
vdxSbjkc9tYjUyd7HfXZiMQIOCt4pREhEq5b0j+BAqtbRwBMSQwAA/JVA9NKsl426RcB7njibX0B
nddLepYFozyVmpNukgE+1LDQGS5zaWFOokpg9RM06HzcNN+Xz2LZaFsE6nMzbDORASOOVhY/z+M4
wxzfmagFSGJavW16lUBwDKt6d+lUYK5kKKk4HmZY2uf4wdp3OCIB5C31QClYTuu2dQpdhqwFGd5W
lpymHLvtadmStDwfUHynm3W6unD/bVzq0mYVUihTnj0hG6P3UP4BJ3ToA8+5DfNAwxB5sa/UhrOx
g39hrsTKziqp+swIn0G0MtcikDMZjisnleMc9KKsfu70rEOUqCI+SGS0ecAvJzUV7mGSdXCMpak7
IkQN5DSqvBIl9Ay22YybJQyQivD1edXQiqG1VTXAZPB67znTEISH7c600xKPJfHAIipfFRCULy0y
SjB4AQf1zR26Pq9JZJnBHrXNg1JUWY/OHFrrnGcITwbIekjZl0mOi3ctzsvURWCCaYJsWRbriywK
7Zd8LZliyxMG7dwtnQl+mKeiHjVW2qc6G/c3+u7sEyGtNxLaKjvw2lBsrI4Aoo4KgZa78SKPuWug
/gNbfqUUl96QoFAvmh7Sh87okGczQbSAxINq47bQ6+/dnl2fuoWwkvtU6rZfDHOUoftDMq4IFWVV
VxRzJOTw6hTZBJuWv0LTKzFjGCUMZaWZJaEkDKfILk1+gU6U5gg1cgxua81KbDMZukNiAG9XiSyQ
Noguysx0EYq1WSxPqhV0jPJtSH9ICOUIdp/sdWsDAugIe1HRoTawoP0CKPlQIB+WxbwDrQLPCcwd
8JmsUj6m14No/ZvU1tL9ikJRFZSrkH03GU2A2AK17Qzifn1+ZrZDfoRpOV4UFzmvXkbcK+MEUBWY
YqWAFqUsuvjLViRW+ZFUHVI8tgxP5BQlWcLusFNzpfuwT5puIoJgWcVVKAsTavEJdMUkAnpAoqxG
psFEOPBWKruie8mOcttVGDEHTtpM8+eeOYur1VQSRJLQaid+LdWZ5hmVMI8OMNCe2CqDolauzPU7
wGQkQbpp1OTXBCgpCaTRpmVYS6qkRfs2bIHS5uM3SKCM53TPltHZh6p8AHk0LwialzANNCbzc2cG
EqYMQK2whnIrM3rQT1aWA65c78w10wty6jYP1bLoF9DAyf68QD9n2FsLGanYJsWdFTMze0VAoaP3
p8BWNcrZ8gWelh7T1VnT5vVymr4uYmEQ6MpGpTqGShVp6BqSmTQfqWqJaXtp6rzrHptFQURI0dHq
8BCdbL9o4DoP7OusfElrPf/UVRD/oBSwKhkAT91obDMW9ftFl9l3GuJFbrm2Gtp3lla8JBZ4ibu8
zWG7762+PPVNZrbBvrF9/dI0oLIrIS+nwtSmVRFI47h9tI1Sr8MF1P6E8IihFI0KEzhCiY+QrIGR
ngAwQ7BaNjemVPTaTVAoJhDd0y1zzXGqrvmkUm1eIcBTA6XutlsyFiiAxJO4dL5m1QoI/rgfGHfW
zFzko7MeDSE1zYcHVUx1ihaZusHmZsYDESC804MrLEOVh+jg8jlo2PTz17XXaAwNs7li6pEsWr5B
6qFSGx/T9b3Dzn9mmsn4xiiI9KjXKa3aoRQh2lvRIrpvtFatYemBpC2EgihmTLPMrHcNbDwVfWMv
lpM50jhkfHWgfJWWeU0iGM8t7a1O20PJmqEx1eKW5QDG1Sc2l6TrXl5M+9fRqDgSBsT/5OdJ2dSu
DNcr7AEMLE/euilC4suDmiawIk8dihKaBdC7loTxvE+FJCGuKy6vLZSApi1qg3lSjiWA5qiHzEW3
pN9hh/872/KfgBj/VaTkDcvbmNXZn2Kl4y2/xUoybJwguJAQwu7KP6EHvwJ0FZjQkckGowig5YBf
EUX9FiwJDK8A9gCYauoM1sAHQ4jze7QkG78w9w5ICyukE+UwPPxvcKFLyjFy+I+WNnOXIsPtOlOY
cJswMPPXCUElmREfh6gAsZ4k6Nr2WV2FeXPquRa2AEErBLXhHfeshLbpNOX1DTm27AwnbPG5FAvr
6yqb27sATVXBPJWMfzSLTo6aNrvNEyTAG4QowOJHuPPy9JOpk53N2TdGohVfy9VTPUKTqMSmV830
KUbtme/SAsxYJG+9P+nx5E41Xl6ePk99dw/JAPV9E5iKusqEVHP1rEzQ+ilrr74iU0QDQ8zBmSbj
WIleLGzzFCg/VTHySo6/95mEHBG8I2XztKaIWzippM8yVF6l+dRUZeqhUJrboqAlm8PMbneX1AaV
AcRL7gWtgohL3tZKDsyYiTpIz7QueZUxddOzJAwLpaau3zJvXFJp/q52hwKQMMzz6PYZ2DNHQbpT
gEAghnLTbiUphZN3XKRrk0owWeqxwL1Cvzd/mlRlo7SbG3pAv3QuCVETsfbkHllZO2mn5CFVteWa
IttLVc08ZF5bZYldWdnMykOxL3lGXLab7pS1ngJYwXoBPnEzuarNsr7K8YzfsvTqupQUJqXuAa30
HbJSSJ8TBMSOgfQhlBfINdg6HuwiPEWsP+i/3ooEEXduy0McdmbmLChX1HnmougYojOo+ilSvO7S
GeqZuMdrixLum/w89pTVjC7BB/RPljBSap/3/QGya4rfQvZp16z0ioPLgz6zoMfJK12u3XFTRcK8
DXqbTya6p9VLKlaQX9pjlTZ0hxNr3FyhVpWu+DXn/res2b+Ua/gfm/cB7f9X1uz6Vo5/Svt+vv63
MTym8EDDAERToRg8BvF+T/skKAMYgIPOiUlu4O3HWPNvpkzRfwFLB2wFM/bTyAGF+M2SkUaawD5B
1RwEBEfW+O8Ysl/hx/8wZHw+ePdjEvCwp6Sl1l9mq8UlgbAWfiFIvjIbcJQnLyowbzgq9Omhbhm6
2t5GRbmXyrc9vTenl6khs8ttfUsfxCkPFMjD1vxCaOANwxMwRsjtwl58BU8WKgVjE5WE/C8iSjnN
5D00pYcdhTZd+7y3V3TjYO6gkNY+y2swIk41n4X2vUldS/CkLUxe9PUB6JnRU2Rwqxly4rWORriL
Fepw8oQEIKM1TXjM4ettoMdwQaX9qeFXRgkRWRYhQeX2MnTI8I5k/Y+yyt0eMyIO98SP9qj+gOVY
r1Lo+vunuc7dov3YFw203uetRYe76r5J8XYbxS0SoOhQC455Evaaci1EaMqF3l6rz2bxDcfjZE3i
GBmJ7STDA0TZh6462UQPP6tYvMstYab2JMZ0d+e3VWleNSjQ1njxtW1H8mxpwip+RT7Kl9rEr5r0
nHSpZyiJL61ShE4ii8j400/SESqHAtMyUCouzeZK68e6VMFMac542LKvahfN6WqrzZcpOafMGWoG
0XBBK7W/q7IOFjzaVwg+LtDOQafDFC9SRqX4Q9rfzf1ZsN6gA3SgrPOkilGM7Zu2Q7mXZPdWnD5P
ZgolYohYhtcXRSAiHLEan8Vsh5qpc6aWjqiKXI42XuOZKQYpiMmZmVQeVsm1EOtMdsb5kum21iy5
2jnysPqFgnZYqgTbjOyrzsRHS3V1be8UEUJh2ZXkxhPLxUvTwV4E2ZFMvFX3VpcUFRiSXmDXEc/L
nJ6ydAjynUmtKXfnLTu3Ikw+sDkSJ+bfa5WGeZ6QzCyuOkarqdp9/1VcMzihaORrlEPznhxR5/kq
wTqwvzVaKFQudOx7zUcpyRDpTN00ortadaAuxkWvZtBHVP5j1WnrLNhNiLQ1R6EECDdiLcOXpL/O
AAggyKvKa0ncPcE7XXMSjm9MtK/SNDl4baeqvxRM9A2w7opKlGfvxrp4Lbz/s7K6qLvTjqR60O0u
oAR7TykNx7KjqYI/wJaJGnpYQwhcWQw50X7cpdXNRsYUlPeqyMK6ouay1vAn1eg8p5vfIVOpL6sL
D7pTGvd6z42Ll1l6aov1VsV/0zYxjnrrPxkYTQSGDOMKxay/DAEqBhFbOmYT2pYf2eLCyPtSLDzL
uPJ1CKrk+0ShdS9I7t6bF7XLI1iJPQnAfruvvhAvAeUmGMBbf1aodCToQaj3FQrxxOO8DekJ6VuN
UFxJ1uKO0Dsyq8Z7JLrPwG5VohoRTAqcUz3kavJ8btJHiMFRfXYqmcaNKR0cpbahfN1Q31RW2xRf
LeSOZE6zPkOIiuOE8MfcL7r6Pc0zdGyFs860DtjMEr7W9I1R44M0fC4CYXkuuYj6yN41Go76DWLM
aqTv87cAlT8Xt3+z2n9Y1L+gMSZjo6ihsqh7+SKOxT0CYSiPgXSGGh4Svw1p6lr8rBssSiDREt+6
6m+eq/JnNN6vlwCK9EDm/ITIELz/sV5Yz4JgLgOq44VkIEx38Dqhne0mwz2FpFz/tjPqwXhYanha
74mmA3Glqkc10EAjWmOvaG6YClF+FbMLp17YIoQoEjMoLUjZIDfXQ7QBMaa3Pzjm/2KK7s9Vzp9X
DW6SGXZQ/gc9BLXWP161xI7JJKukO2l9m8bSnURmeozLVux/sz7HB/1l2/NF4FMU0hcVvOKfv2hK
ppKsu2LQlRFVKFxof1HoWoPMDJPu777L+KfbYswf/ClxBPQJkB6rf/62xRRXQY4htuyEi1nrj0Ys
RdmwhKjTh7M+u7W6uxBWA3pRPi8tI5KaAu96VDTewQVbLNeSkfGxRnMQ1dQXcxBtNAz9BE53hNE/
iQlTbPj5FE5OaOfDsm6e8qRyF+U15fAu2fhd6GsP++9YZRdlM+D/w5pPMJEld8vwLqmUg7Xtfpfc
wVyuq96f1psqPnQmbREZDe7toU8lG8ZnVGU/Ng1YsmJB3sX8F4KTZt7b89ba4m45Vtx+Bd0SNeJ6
WUtmCMjPl2X1jL4M5eS1pAwGHXjU9okrpEII43u+f1TCPYqip56xqYFpEJOOV7zCHncnzdD2MwBQ
yW4GeC/DIZod1P/xM6y9lGuAE4ZG/dAosMobLUUwSMKNwe5ZBuPLnPT+0n4StNfDDRt9EWjbpxRN
FaVjOq7aQyvtnVl9aqHVzYAEbAjDrBN6Kd8l8VKYnavv1NaF5w0m5K78ThJyEivyFw1989kurA9T
+m6wBIroCR1JQ/0Gtxpq6DdDesyr28zEvRgV4yNqS5gqGq3CJ/j5XLH76QGq5tM4WW5nMvKHaA6y
poiZXxaa0lC+CdtgV41glyYz1OkW7Mrm6mnr6JxWlaBtNE9FwoAVvAkiGuuCzjjtcNTcuXXLHnea
vrsSISPwbJa08xMT/5lprjovbmmo4apmLuoAsLWFGzevFAyi49r2aWJLvcsd576UzrvkNZLiWFmY
9kFCVpnHUmBs73nauTkBj8I5aaiRJ/i+CUEnhqIT5gbUFOpS6u6aW6e6BxN7lM8xIqavcDWfFv0k
D0GtBEPKFDEQ/1h/leIE9rguNPT7cVIx5YAucKmQT8NtmMOtjeWu+1AU6EOWumPpd1r2PZ7oIKMB
UGqcmZGyqIXOsF/Jn00meWTK2uSTIYXoINFM5AjOs0nwuKUnLWeQr6LniRBFoVGf3RE4imu7Hh53
WXsqlZdZm6/Kof9j6CcKrnHyYqagD0yGWhPFGejrmqVbkLJW8WPBnZjCfRoz6DE9dNP7siLa1TNd
cJTexNOMusHMxMvCxKI5nBA6IIbJXbn6mBY48k3dg9z/sVZ7r2yXSKpo5LYfkA3oIwSAEDkoUOOh
9aEcHQIGEQqTmvbnjDLthrR7SWunaeQote4J/xbzx65XAM2I6yw0fnGR0mtn3iZNcqnLoUl+rhSc
eGXhqIVnLfs0rc/AKyPB5Oks6VNR0r2c0caoR6eXb7EoAPDpw2l4Fxqel0oTRXVSK3W3ZTmlcfJ0
hJRIRsEWdPRAmCpIZz9t3+vhU1u0ZNr4jOIGUt4fJxiw0xd1Ldx9AHjfJR7xnTKESJcOlpeYr7OB
p+xTJ0s+5JZQU6NNkTEkBojCpD/MDBoB6TaK6K2TW9AEWlaDrXpfFpyXlb2yPcKkiYrmJ0O+HvzB
w/wplpg9AUUHXh7KQaYHdNmpIQHf5M+NeBoEr9U48/Pkpk1UHwwIwkhP6h4oDVgQFbHf9LUT0hO0
ZlR7gNQvs7eg+WRSeD9SCQSVboaRoJy++Uq9B13FSG49egpiyfOkulXK6C1sx2sJXjAebp1kOom+
hjlTgKUeKT1xi452qM4x7r8mPSN+VRfxtABOv075i1RD/5gTQ0P4DOuwJapRvBE75a+DIXp783+Z
O5PlyJUsPb+KTHu0YR4W6kXME2cyOWxgJJOJ2eGAAw7An15fVFep68rUbWqtZFabMt7MZEQg3M/5
R2dTPtXz74C1h5qzw9xI/ulH6iH3w2JOeYNQLUWolPcPlnrsKnMknHtFiM4qBNkOi0NhkD0hmMho
J3HJuzDevI2hyu21olK1HmpqtM45cVemPur43FmfDoXo11+F1oqNY91XE8mK7CtZhhSj5zcFs48D
tfKD72kK4DP42tIw5/G0DgTaz3Lr8s91gbXjQdrlTLWZgwaKe4gO+VVM1UuGQs6NXoPlqSFfNlb1
2lTtqYx/O4O5Hnlj6pyZIKD3rjW05CSvo6/YnHRymHy6N4MbcMpzOrxU9mEk7EX3+0oftP0+jVyb
w4XOcVYwfAT+nRXsZ0IgpweIukIfMnsv05M/XLz5iZRcAhtqpoLYuUQ9/oehWQMwHlSHAMD6UfNb
yu7F7HONllQV7bruWVaonsP91H0Y8Ute/52mvm368sNKO5J6u48wRsU3ol371bUo9siFZrrfqfm5
j7Bx0oSneWgTupqJEFgJwnnG+a4K0MBNeAXI76Xy/dZi/x7gCUxuVr1uP+LiUGl3Y83deZjKbW12
Pjtstc3s+dlpj214q6t3HX04LnYjhNK+86fxGANRfhClQqTuqp55Ts0uz9HDEOVucndjPmbdryuz
A/lPWYjy4uiNZkVwJtVgq5FEQR/nk42SnbwgAb22EKifPBg+sNIUaxJQNzNtMS6PKqEepF8fahmu
Sg3rxiVDM3rcD7subdeRzja5c+o5TAO5bwbvoJ0Xk/gPbhtsZyJDsxAnT693M2pFmVivcGurqdW7
hfUql0/wMCOm5ii5hiPLi1M/KW7lgbj8eEK/Fr2x3N96MThJ95LOP5a13CqvOVo+9hcXq4yq/tgF
RQnInSjfEWCHbcsH8255WCkS1JYFX7wa6Z8tbpImXaUzB3FFdV3KOv88eVRSNwHwAvobj32Fx1qG
15jkYH19/TExXzi9V44P+2lTwt5le6run4u24zS5XnLVyfR8rQdE2jrdlvO1zX5lCXdD1OKabO+G
98c2iNZ52MuGc4R31+MVBiniUyNuXKjIMEc8yBVT62BFSvO6lHTMJc1G2Iec+s/Bxp4nl00Fm7nU
THLtWSMp9Np1XfkMJ5gTimDd2POtxXc5B1cZ0j/d3GyUWx9ykW6C6H5OTpLM49i7ymevnRNraqr3
mY9+D8incoM93udV3CKLa8zFY+O30vJH2wGN3xC2DYIWTx58hTjHjm/z65TiqbuymF88aW8KstGW
ZrdQBSRrnh5b3vhZu2lTWhBSlI3jrzkl41CVZJ/zpJYrbXmbsJxvYb1J9G1u5HCH6309Nj3UP1vr
LD7dsrsl2fbo9lW6avKB1ikGifG34sjUYX0atXPMQvTmPjV+Wb+eu3sDvA2LtitDc0wYRPOEhT7b
RmHz24sQ4HHsd8IBdPlQ87xzZ9Lr+RzbGjFYxO3QOOvKZfrkPaK6Ya2tHYfxYJ89G6WbhSKCog8/
fG/ip3Hw1+SJcdC+8TT76dpZ8Ac2pOEOVzodEV8GyZ9+KIfJxGoO/sKq3JrN1JK3aHbC4/NGEC1e
WApcqXY28loiXzjDdr38zOpoL/RNY6y3rK8wZzrnrnzL4jeSbtbWpPfTcuPRErlKVH1nTf0tpTpH
M3T7wp32gHCkx5w0o1Mjise/bXX/JeQZCJD//b9Jjf4CTO9/2tvP5kf973/V9bf5buVypR0G9a9/
+zH5FVcV0F/+D1raYlgexp9+efxRYz38g2i6/pf/tz/8bz9/+1ueF/nzP/77dzsKcksef7KiFX+l
zP5TXPrjs/n6a4cO+Xb/i2MjA5fssoBYCfrwWFXZGf+NY3Pdq1LJuwqCbHDha+HdP4BpK6Yph/QR
fs5/EMCosff+g2Nz4n8hb911UDk5INdX/u0fL/3vmznvGm/i/zn0gzafK4Tw7zs0kgV6L32SusjC
Y78lrfKvW+0gF2u0/LECu0kHfHUNT84pca+mTFcVggyuPA4QYnD7ZH9U78yv3ZA2CeFAhZORE11M
0fR79soFpWUssu6UNLY980XTRfwTiNEHru2brMlvazh4e23B6be/iiRlNuCrksxHU5ah8+Emc1Xf
N4E19DundCybKW2xH0xaedkxsUTFdJeaXNwQjOv1G59xaNw24/TmSyGWnbHGJaaAtW46w7e5ahB1
uqXDAC6G2btWo1FMcnbrJkRsSsUeNR5NxvT7kDZKVNmqoCmUIs4uzOLtSN1beIhyUpj2oeGedLwu
+2iJVgcQD5ObYtD5s7Ecfc4DWz3NfTysfVnMb52q5WlJBJzhqManXhnopLR9Z5cCOiRsoI5q1NmL
M50n3lwsBz4+HyvqPiObtxjugBGPxtFD0U39PqDz4Ma2xzur4Aaq3ZHmlqZBuJ3kFD/ks38genA8
K1WJTWF778tQUAkv7fgsGhXdu43NneTbXyKssT7Y3XgQcxRsGRpek8jguQ9Cfcp9W/zJ52A4pZQP
XC9rey0TlDKdklRxwR9jeIiGt4AEkJUcFmakNp26bl37g/S4yiYi0O8GyEGXyWiQBCkRrl961Qtw
ol52FWmWBiRI2u11ijUmeZ/yuFJnzmj+CJ2lpYu5pKdJBGEWL773ozUFyqIkD7zP9F2pCxKIyuxM
yoE7HfoKgc5tsLT3orNZOuNwlIgtQ7B33Y6VvyJepXJXDulZ7JCicyklk1QKqXl4rsJQAnTYmo5U
eMfZ8sEUI9Kby6ai77DvtiLRHZrnzOdPUIekrW3c6zh5LChgC3chTSc3qrQYhBjEr/OSiNaLjjvv
Kc9JYwOUH/W77tPYP3hyKIglL3OvvFFwMwh7SEmMmHGiL4pF2AQs8o2qU3AVx6wmj2up5pFpQxGw
FS3zlO3rLHblAZBDHupYPLim74hLlsOPCQZgJRLMflU+vEYpF+deBGiuxoW0dy9EgZbQxnJuYkRy
rt1HaoOIUNABgsJoN2ZXvIdVQahvRfwpJHeVK1zAMx6nKSrN2tKRQbhRLz0a5rkKsQ9Qh4OMNpdU
LNG3gX8E0cfF19mj58rbbjT13i+HH09Jl7WZNdttO4/o+ilq31RsuvYsFRGjG8uxq5O1LKn4yroy
J0ug9iV49eLX4WauRNCd6yhU/aaIai7ddAim8lszKCRre2R6bluL5i6C2NAMjeMk1r7Q+HHQmn0s
1zDvTbtE3wX7dKWVvHBAOYQ0GOoT0HB1IZaojJqn47Xi+tWfm5PP6xS7qRrtL70ILwSo0X2B6Zd4
p9+cBRL62kR1jPCnX+gVrKkb3dGxUVA3rN2p2VrG0+pUJEVX8kwowwAm8v5L11fAIPWE1W1JWi1d
uDbKoVakkAfthhsjxSfZ6bzc0s/EciGBTDJ0GpdBOM4DX955GyxNexOF0biXWVHuBV3D74sPh78f
wgkXvEZQZ3tUVpYgBaMHx6GAjo65NZJPpCfzgu7ujnUOq5gn1d5FvblbxvpHgJSduYCtHYKq6ByX
g0djTe6f/K6wvuOxYG3vqYpZqSDs7KPjjwvGQ8f4mPs7/HhRMv5UWZVsnKpYPrpBvCpLBzs0dgt1
XG2761QSnR3sUotped1VgLrNC35PSPNu6FSIV2YS3ZZHw3+d7H5YiaUwp7DI8dM3mvlctzM2dM+/
1paEkWFWpw6rFvZPUkArcN6mlyQ2kO8ppVmAmuAlPQn0ewa9EFSoxeYjQ/NRDlm7o03IfPhhVNSb
MiWyrqxFffSDsHqIe1+cShqEncD9M3dNRZpFnOKRoE4AnrUD5ZrHYdemIOqViUcUpu2056SNj0Wl
s1OsZfrizXW2DTgGu1WX+2A/i5ruCq6YfisnB05SuMFnpYPkHUAh2SYI5+51V5YPi9/tffqAdpHT
eYe5LsShskGVpcVILHOBbnIKeRMpL1X8JlF4mfVwLoo6uo0m9SzoP8XXSQU7xloT/Inz+TEIBCCd
tDX52uklX9DjEwi3GqBpW+l+SmckykjdW80IqMB92XTCfnIBlFNRPjSsn1nsrSMCHamdXKazS9/S
rpR0w+XecKB9DWnbQpeQqOcBWCfYDZA3NBjl/a73l0caQFGTVeGm9zsITWLKfMcQAWBHPjmGE3/V
NGBPQni6z4sou5nT2GZSdzgt8jo9Uao1UGJkZV8+bN3JGENcwYIoNtdRe+PUpE20DVtOgjGtDpbv
TGfTQzyZI4vVc68WNg3LvQtkdlhkOz2PhabzswBRXdZZbogGGf+0un2oKEpLFVv/4H2ovgduz0+q
lTSFEi5VzvFmNvlr1mEvHu27ondOEQV6qyFEXVcU2U1Zg+F1ffmYR90lKQHQYlNuCaN0Vt7Y/nKn
gArvdh0oy8eI2JWnMKrOJWK941xJQk4KJZa925oX+gqv6xZLUxDZ9+EU81rmHWn4WAoXTIH8bu+h
p9DHzjrcBAOpWiv6jPNtQRoq55JvP9JUkjxXSResjS6WNwqesl9xJwpr7fkKdACC28Vlrgm738g5
6r1dIoshP5pCW129qnOvXhNsW3+6nrkjk+q6hzaU64W9t4m1Ap4fDV9DGm/zb3fKsP4PTmsPN07F
at2No0Rh69X1Om+Wipw4x+GwruxzbtLmNZ7iBawLKfLSG8gZ00VNQUhA2Modm6J3jJfB50ofmztl
xpxSKl+OxJa25r0Xrr0L+iWpESapaOfTSPVASjtgr3ImA484IMDZkxc8f+oFNN9aTa7FIEkXkYvr
cxEdEHhVeDeoqXX0CpXZITYeKMHZFlpl97SiDXdGuTjWs8K7G/ugpMYxW4gWnCggDkElNMkGCeXF
9JNGpPB4jrlPysW/lXmHIrryqi0EIIYrGlpW88iH7jZOQnRGuGxUWvtorAr7TmaDjWzIB59pSpIy
fD3+ojq6fqDB6aGXrnVXZfT7LB7PrmHa32tXLudAB/3NEoyPhTW/d0HMg8EIvvapVmYEnC/+SP0S
LHkVbOBlxK6WzVOmSh7owZFrKJxfdjgD1yXJxbUNuXV+Tqxl69sbMUXZHVMLubeRgC2yp7uML/S6
Bai2C493PzU/WWh91pGTn3KAnS1q2ANdF0cVltMnUtZuQ3EXoivbwO233bKh83Ek6WAmlI2PVb83
+aiwPSffM+aBne5kdWhV8Cot1d+yAnnHCTUXPId4oq+HKwzaAqWDVD39MpyuyNkHsFbjF6Tu5Sa/
0F7fEvoSoE+mjMO777vaPE0BqIsHIwYGHN/UzkIZcziT5+JxlwSgcM8N8rlXJ5XpfgpRyPmUwGy0
LJLdXC7BNtEWl2sy/J5G76FoZ/nW2BV2hsb+8Abg3XCym4c0tSTSjDn7Tko3ubSxsd+C/ErCtMx+
hCa/FbTrrjORxY9mFk92IZo36Pff1mwf67jM10lfLu+20rtST8Whzhr/q61UewosOT4Oo9NvRZ9m
X3KIoq+WyLe7Pvf9l6TqFT4MSvuYVNLgieJy9BxhOzyNtqnPlBEj3fZ1Mv4JFmvZBRY9apVjo5gY
Iu40V+Gyc7voY3GL8a7uwHqz0CYIqy06a+v5GBmpp17HdTs/2Xo6EhxOMoL0ne/ajslhil3r3a9n
8aEqdDEtvP22okrhTks7gdjyG8KuFvudREh3Z4d1v3Fj8Yp6wiEgUVPVF5MQNeXR1XyxbMs67I+j
n4xrGbnoD1ODVicyBG9R8bc3yin2nS6wEWDgiDiRkj49oz/Ue4nI+iEZB2oB6QRyabq+pkXb5r4K
ockWfyxOVmFVL6bKEU5lYbDni/oIMa9OYJoKMDN9yBELbtp8cDZz2eJnjvLgPDPIb1qNabCwuqMd
kc81lvKtINTzYegxcdtNd5697CbDYLOqwjHHKFMQmzbENJsTOLiVvcR04WXJZ6Ag8uJ4fI/9Ob9v
nCw8S+O4T47yyITh6qDj0yMFrcj6bZsuL2mbnMDap0PZ5t5jyYi0oxguQf4915tQIBCf6x56JAuS
YrPQ/f6MHSYnQ2x0IGVGgXzR8Vn4Fi6a3yWc25bRtrhvmy5/ZE1nu0yjRN2GVfddVqDiY+kh5g7i
PDt3rZVcRGph6+0Uqs9kpIfK+OwciyU5QXxzX+gFTRgNYZfR6R410dJg1A67TxYAA1hNcFt1dXYT
l2gxM5Ys7keHJBufxr3FKxLyfxXvxgQdXLgD/nbcgY/iOv8U00zDniu/7SjlG9o5m6JKiGFM6QUi
NS2MjtPEnepKbI8eSaDl3BFXn6MOqoYJrRlh/Yel9rFbimJOkHj4P10m3ko7d19M3hNf0kHyVc4y
f/F5BSdr+NuiXLwplv43Hudj2mYFRFqd78rGJxNFa9nx8sPmiFunJoIFP8iGZsGMkCpAz03dJzYY
rY0nJshpwaTV3Dv5VRkwRmcI1sPykumYOIgghamwH10XwVOJUPR2zOOXtsCRbLfJUSbxjQcvBTAZ
E1RRVbxTInmgHp4EuBGs2HTFJzhJw60PuRsulX9GjnMAXjarsjNHO6uh4H3o025Q6k4Tpw4RhdjK
gZteGGPPKSw9xgYT11P9nbsiO+TBMN5AvocHF7DgI43MtC5qyjfnxuytJTnLsZdPVlgWX/p6Ow+w
RVDW1ZPKlksdRvKSOla1y/yoQRJbPQMcqV9qTKa7kXtgA2Hu/WY/+Iyldds6ApIwF5/TrPpLvVQ0
kHrlZB/aTOKytgVgtlWpjeeamCBVubXoln3NbRof0CqFn6WDOnGefHJZ3O5SI6bDJZLQV+4aL2O2
9/rDNGjn2kn84VEXvhr94S305988IuhaRq9F7O1ae8R99qUQWEJ9j0Akry13wVD7f/zUn55DQB3S
2TRyhURHqxZ7Hfx4ihahqObDYHlkeNYdcqRGoVHrbNhuRzcvs64Gzu28vy+VHI6sbOGGi9eCjobI
xeMWQMNk8akGRdlaCT1rsEhYM5qAQILWtjaB3wGl+ws5AonTvdAcK9bWTPtaLSbz4PpAtLJy2YDt
P4Ys713i2NkOV0RIIkJpqSe5mN+UN4PYL3CsStj9jbAa7sq4a1Yz/bXb3oL3JHxS7Vu7I5Nq0fPZ
NYm9R79264TxZVqiV8YjhnKQ6VvZyuZI97V/qWOYg1bUGAWjgZI+UbAAJzL/Q3ccjuM46jZKh+Iy
lHB9dOJGl5YXt47lsrXzgFBwuLCxx3Mur0h+MiYRl65HypsSMwJeZ77F91MfgtZpNl1j3kbMbjtv
GaNLYcqGf9r1f6wstdZ2Y/kPGEQwdtsewS7Z0KA2V+QXsv6ivS/cp0KgKlNkrwIpXPc6z0zzeozZ
CTtp9fuuiH32as74iD1jS7DvQyenfNP2tosgKG4OS2pw5mIvOzpD4tDq6f4BgYpZIXDeu/B39RQQ
vNK5KT13Yn7QVU/IC/yJq8vkLLQXHhqX2kPXwcfT9VDeTdLfh26J62tx7fUUIpAghJ+aa+an2wT/
HFyagv1rQuCO4wTQuPFBNNf2RLAG358A+aEYH5D4tDvit6HnZE/nX1MrbE0x01E6JZRhevTpaTXr
dRQgPZM+Dd3WYrYiHSIIB6nQTwhSuWgK58aztq6c7HMcZe2Rvh9v15TB3SKao8zj8uxkM/RNmy+g
pxGzI+cDu/2AkmLxJ7GNKxjIcgZZ8u0Ye3WnSONyJeXfNGtvm0C9tNn8a8lAFoEX3Y+s7r/qNryj
4LmHzAmmX8OQqOuzpY6uU4x7QPC72fRkx4T+j80tux7avNrSuVTtpBXRcl4v87oPp+7kpkNxST2c
YFKU0X1VlyCvmd6rbJ6OJpuJLRoWEEQ//5x1mnondvYhPbsLXlnqD6kX3NO5WumLO4TzU5dTcrmj
rnc092kGEr9qytSm4lS7GbIP1wmWO0Xt+KXwbN7ZMKWFlNqbTqXgZnQX/eoiiNUqTWH8lqQsxdus
qpAN2p5RLMqwid8mo1oUV4C4r7UzyedC87ytOiGt+YjBk+9On0lsVSVCHBa83LFhmZSnkDjSjJqx
V1LgqndRIznylF2zpUxL+SRtlTk/1gBc9xCF1B6f6K91LS49z2vMin9+cB8GbbNwlx1E7sZJqMm+
8SYMkafO6RLWxmRw8rNE1EUyltNX7YZD0zEnqwxdvZmype5P/sR3CZ40bOZLE9qjtzJW6t4NZbT8
wd2FTXPSdic2sxpAPxGojPcg/8khUsVyCEX23BhqtfQSMqbRdTxGL/W1wlPVAHD0e/SPIgtOne98
pVcpQlU7w1Y3lVrZc/RbU9vxiwdhegG/LfehPdMyGkJTvDpqwadaAnXQbTDv1GxcZBsVtCz16vIm
KZWdiXVbGHEdy+OO0Mpal1CKXT88uGoUPA89WewJAenEVqZaPBYASOTRalE3T6Kf5NkGEFpXCthS
9VnzWo2U1q6aSY43kzTQErlzcC3ErCqvCLRxDaIZA1s3a/1Kxc1z00XpZx9X/uNYWMGjdBaxdvPl
MruMiGEXivfBRzhgDcHTnEnWAg7JnEPJJWJqlOK+GXJ5rBBFAncCmf8yKo2OnoyDXVcW/ZuLtfCP
R0PmPqLKfFl5MiSesU3f6pJIomyYCR/TGcW8QR4cJwfLc9KP1rLOOTFiOINWORSu9hIP3Tw5v2cU
GhwhRgbLZxMujXtoCl27W0bxLjh4I868PQ99Uv4qCoWOpRjaWR2LnGoN3NWy673z7JZBsQ0DJyVU
BdU+C4QL8cOKHLaAuIJUF9RWOim3ScGBsBKzVu2uaiNy8mneHcVz5Qf9DKZWFdyqBJVVzTgvG3zh
xnSHLG+EYizKomm6xB1uy1ilxMTx2ewGk6AgMqnZmtG8znl7DzR9wvuzrNzci6iub/uDY0BqG7uM
jwJKiZUd57CZFvsER1H4VKuhN/IDMe1DERIqCI8KruJPmHqrq2cxvkmQdt3Cd6BqzIme7Pu7mk4u
jOpzs8eake2qWoUHu52tuz4YW3xh7bzWZWzDI5ScJEgkdHfE7h6rlVSNexZYej9Mk0dvmU6jS4cW
c+tQAvORd3F+moFISSPOQWUDeInL0Jh2l41JfIi7OTshzG9GVI5DT/LWWCizGl1ue6QHFalyPDL0
R/tes41yGzGRK2wHAUH1GMXJh8lS5wli4NI4znFacjnugjmf/pi+n/eU7iIeSutqzQguttoN03Wt
BtSZtFmTv4L28k4HfHURMFv+SoJU7SI9eODx/lKA4QP5vBqMtiQsWcC4sM76PezUj2rBmOt+CC/S
kyTvKAZnphRym6Tb3gyUUX9pSRXvxMJVjgWVCc5C4qdNvUZc5Ogb0II+5K13GyY9UUcDOXS6uO0q
PC0yTM4O1rqe+6js7pJYYw2DHVhPFMuukZcjVKgzlNetVtA+A4Jyiyv62YrSW9gOLkWW6Ycu4qm0
AQEfPb+8Cbtip01wKqDzesfjmXdy8d5Z0P9iiT4DCU7t+7BMeVJmj86SE2g42flDTVvRNtG+uw9n
AnDdnF86Sdrt4ibVF+nxR5XoTyGz630BQumF+ONBA9IhIz7Gnr85b5tX3eOG4KlPd6G9oMa+1hNG
Q9ysLRACDNUVKJJnO9NhlH3w5IUJGkE7bTAZTo538Er6pRdTEWCbLD9TmL00gQ39xffuEmArOUTZ
ZDZLbIZV0iS3YRpl95nkM1wV11mhDsYeo0oTH7sZrglTcr+hVMCsUt0QYDV41u3oEAXgOLI5z1aH
A8TnfOYLHVtPddx2T1pXj7iLkN+0vt7FcJur3EGwZ0nXHLP6mnMWNWjvxuhVlJ5NmEVMeMU0NTeN
hSjSSUmcdH31ldHbs3XG7Da6vqm900dbFrhyYzeoYvH47GVjvfVYLw8U0zG+le2vvELaXsWoKEpn
+pxKx6xji8kd1RNhFSFHyFl4ornJBhluiJL4FlEASRN59rOIuQu8St+EQc6u5dBg4WXpjhcIHB0i
sgYquxV2BXYsEL7Nk/UR+cJaSQ6tE95JcndG04hNV+X5s/a5xc7VpHV/uyjGJEQWKg3PDWh/+tH3
Og22A9Ux47lL0Qlq7fjcu55ap9OUzXtr9s72JFk9Esm02/lTeArTxi1eID6w7VQJi/ChWiYUeWyE
efeVRnZ47tMQc2M3ukr+Wy/lf0nH8R/mwfyz/OJf/1Of4f+XSg3kFf9xzv9H0Xx9fk0/fxV38Ef+
7of2/oVyqavbGE8gzkAbFcfftRoBETFUzCQYAsPIh036d60GfcUhpZS426HCrwWO/6TVQONxtSXY
MXwiP0b+8V/RasTXMoG/SDUiugEisms42UMbl+H15/+UkdbFgi+gnvANUI0+HpZ2TAfxlEnBWXgz
G1Na+7wnLOKmTFW46xy0Yhh4+udZtPhnUux5XhQ6O8jKlpryYmqPtNz350KObL6DnMd1YTuPSxS/
QqKfI4VfUEmMPujbV0mUAhzFcYeRyurNWeSZPjA+oT1Ngm/WdHhNqZ4jykJ24zj/su0pWvf0F1sP
cZmh/x+jbtb0py8UP9pjfcRB6xz6cCTdLicLp+TXP/AF0U/SjzOC1rw2PrstUlg35UhESYbyN2ND
ConkWNW2w6LnyzffGb7GID97YQP+advIduOePRbZWDvK5hD7KcFR/nI/ls4uWcRD1BO+7ZXl2ivy
8RwtGQPNslRMXygn0+IPNXyIf5uMy3elWsTyfgumC/yohlNvV+Gl4MT87DQ6NRijdj3b/pPoHIvb
t5rwX2Quw3CM9LAR9S6v7UMRlQ5B2MEYQaMuYtdP0PHT3/BStyh2s9HfTTxMD9Jd5F23ZCPmj5Kj
nHPiqjEdsfUADFYqfUG/tKwh90sJrYf3yWopYq9zdW+SQR6BM4i6s3N158Bxr2al27NlBSEqVNgK
xxuyY2kN46YTmfOs45QCB6nF8N1PMMOYLpw302j/vIS59wEKZu3hLZpDzvt3vMZe8AEWg70NCxev
nhyE3Aw+BxQBHO4GP9plBLBbcWRjW5jSnhuffpyVPU3LAeGNzFdDKX00qQnbfCC1eZ6KBqkxndun
pYyChybGSIJUvdjM3shCCJx7jhcsMvYQoP+vR97D0MUhH6g6+m7juX2Ly6Y5VPHSrI2c3aOPBum5
1NG8Y7rqwG9RDGYYuE555vbnJA2dI1c/Yxiv+jYuGJ2L0s/Ia5dD0mxn6q12Y+74lwkE5xyWBFFs
mkxN4apeAjyWfd1+IprX+yWwSCMeDVOxazi5vS629RrRJH4EjBII99PsAhlhjm7eTTzXcXVu1RIk
zKVcvD4eUs/S3neurS/Gon0kFjbQUk0W/U6O2LRDMu/TsU0+W6G6F8vP/SceHMOTElUbFVTzg++0
JHKSo7HKo0F9Z8a3TnaZ6ce+MhbZo8WraPxoH4iAzHEbp5wNlLmiRzO/UMk8r5m2CXG28IYkiUcc
XoZNYAayITzWVnmzqrw8+tMh8tknifDPUbk8ZA1jjitE8SAw2unrYDzmyb7H+qSIH7id+/Akh6a/
kHdzQOAsniLjSsiJ/DYKwqcyEZ/sEIgROoC9kKyiHiECb5iGq0isG9Nmj772v0yQkd9Y+v0+p5Mb
YM2rnhwrIQXGK5zbuHfeotkPfyWJUyLYt8cDuVMHHTWfFdTWzhWtczvXtbcuLfPt9Zb+mnR9d6VK
EQbvkclQ9YD+K06zu9yYlyZR+1RVD824fE5u9rbo6CUFD1agbbt4AMOMWhIHQ7UNIxuaqf/j+0F2
bu3gzan1d+SSKi66iYqUOmPr7e5iSLePAqv6qjV1BLE35z9pKB+TPLplaEbcMluvbeHssFCQ8IqH
T4VYOmYS7HLrzdITqi3fWrZF0UFdQkaxzUhP0fsj83tY55MnI2tHY+jJGgWdIa5zwYC314rIh8GT
O6vIym23eBwXUcRcLv2n/8neeTTHjaxZ+69MzB4dsJnI5ZRlFV3RiuIGQYoivEfC/frvAdX9XUnd
o46e3ZgbN3pDkeVQiczznvMc0ZHVodqKpVFac3w/1p73Xrl1tjNkeOe4AdMRMZ37Ge9fNHCsqwp1
FXbEBqcCB7OcsVFNcvC2rjUKFAk1cjLzt37+5hI52jkY8tesGZf+pFGvDAXVXpT2MXftKxUyC6qW
aEpPg9FZk3kXEhmUaFP2BYnkazwbe8+wUfzdiIN+fYxRXVaja1ScaqMvYZcc5zq89/viTJgcTiN3
3MZ+cOmUSJ7RwD2la+TXIECkyQpxEw3DfZ6p83EBWqH62E/a4Puk4+SaVHt7NkbYDSSb+MF2tqYa
Tpkl1DtmXY5TaSd2UafI1TfGVRJz90xEStScP7Cb63xcC6fcy1gBqJ47xDGXtDH1jLi4wZFReyvP
GdUDw47mBzOX1apJ0IpX7E65aXXtXUSNPbPe+Vm3Fh0TiZ999bM2u1UGH5rT8LtruyxGDpddt7fw
Xn7xGzUSph/B94JmepvbfsZRLbq9so16T7LWl5uwH6LkfJB1p260FFzg80xKI3Iplt/ZEkWynGbU
g6CPUaZr5gSkMfv4rqr576Yxi0wTNdI9Z48J3byW4kZHQbk1tOLE18HA10gGpKvM4mgvwWoFpgka
CgEW105xycSokXNgbFLl4vv2UJL5sL2rxK/3NlYtEl/1vGYun+7ExIbf6sbxpTZzQCu4jkycEw0S
edjWpA8E/rLx2HZKGps+bvvxPhfcBo+kdCgvtXPRBcTFR8YVpzGJMR+k8xYZrQLzYeW7pHD0Ng7i
sxAOSqzLF09H25p5FKaCDXcW4hfpZ7PGcRn1ZCSYtnwaE90deGNOZuutZa03qoQrF3nAdWMiaZxU
AjfdKBLrrNvcAdbViDPSja1zM5teq366EIhum2A0b6qEEUBUiZNlxTDJTe6sXRAOODNqXiNwgDJI
83ffJEIoS/jVwipGMEyGSUXArMaNngiK11n2kgjcADogXukyTmEzRKSgiRn/2fdNsXw3hWOwqlBB
7g3G61SOybUo22afK+epxCCz0q2Ci+yRQTecISekIB7imsqjLOjOVO2g40iy65mB5hyY+NshNDFP
xoS7GlIiCIE39QcEYcC2sQkIwvQCggduOFymRhidWxQDnjGnBS8wTfy0LT47/gJ3koMwTDgRcYzv
qQsuSrxNV26Tkcj1jORxYBBwTg93d9dL71lGdb2rC9+4mPruHefVrq55KiaXpJEP/YFtmHhOWvLO
CuAV6ZNmYMoRqZ3VUD/ExMXq/I0rxk/pFNR0YqRgEsA4rOOpO1eGePIYeGzNcEru85wvfFOaAZdA
6RN7Yrw0eHX8qusgPk55DXdQSDSSGtfrS41No8NwzeaGoyo3tmo5GjJYw7LWx3YFfZfD9togkMkb
UC4O4TTk89gmH85hexhTbMTFh6fYIpGCwdj5cBu7bjU352W3uJCdyRqxJMdTnSE+o15gVoZANvq7
YcRKs7ND/RRO8URWOzJwOeeRb+SX/of7uce9HR7kYoo2P/zRDDTbhkjGHGcnI5wc67lF2j7UngIG
hn8GB+Ej1LEEBlGHwfXKqkwTM/boTvJrVYQDJm2MFEF1VJkcuj36y/BWdqHs6bm3s0QxGlHF+Mlc
jN+jFTo4lMENGXAFoz7BHh7aWXyEcdSqTfNxTuVUzJbQWI6vxcdJtupA5BGf8BzrbP447TKNnuOH
ajkEw6EYIZOwniFx1xEs/OXQPJute2yWg7T+OFO3H+fr4uOsLZZjd4z3hyN49nEeHz7O5s1yTG/j
qt0wICAFwmCDEo0Jd8FRx5mFDcnxmzM7Aod5CCk95RVjS+e2XxYG9GQe4sWXU1qjQU8aAxGabjpc
WHOVIO/1eWBfeWLqOZnYRtMfHOSZe3yN3qtKclJek7B8SnlmkZDOwUNE8A5AX7GMLGccc8LFzXZK
+iSMDgz1FzPQuOiGXVS0z8VkCJBswscPw8TNYsKv48p+GsLWYArWCLBRQ4GbY+PgaEZMH9oElTAc
m9G4TaOGCS/ePb+9LWKMTp/ITbNgO3KKKdwiWtrt+Y6ZVGAIPWjyL3HZZSvc9mm3qmy8DZuib2pj
X5RlUbAF6EJxKa0cO9Bo2RFZPismvW8b+KZpaArD5s3pO8IsMgJEyo1p9C5SJ5i57wUqfHQxr750
PsvvqiyC5sGPsynfcGvIh7OgCW7NzjLFZp5kPF7i4mnP4rGcrTff6f12z0DAJLfaWRZHllU96el8
7pPyyui4Ce75ionhWDKwZJrgG8nejRof9nPbmXS8JONYnMx6wHtc5BPHYyeJ2RJ0FUongtsykrNo
ce2DpzL3xW1spoDtM/yE3XLPado45zTbx+umJ9wqikRtkwRprXWW451t64M/O+ZJ1mZ6wkzNhGBQ
fK5NFeBK60y7/qyGwDqp0XU/B1H0wLmJ69PSJtYJAljR2ubLR9RUgTCFa3ltxb0GbNoZcDELKlc3
PoInBuVpNF9UJlwgxVSmrtpKdlgr2It/4sTXASOtR9keK2a0gKnnCblpBKUS2m29w6XQUTxSW2Ty
0qDpFHlKv8g2lejTe9xRL11qi8u4VA2xPQu/sO9ezXavyRtab0WoLxlpAo+Okps2JB/sJ1VyzKUe
MR8NRGSbMHmf6qSFa1WmajehTK8HR1jbuobr2vd2AqXR8fWL4bq/NzL9n1r17/S3/0qtuit1F/3b
nX57+TGNtPzW/4cdqyVXRFZIegvr+F/hIuc3lwJx35fSp8PbQ3j6I1xk2WhZAo6FBQyLdJHgz/2e
LeKXqKemeNIyLfBX4p/Bjn+E9+E9QA6zpOt+9Hi73+B+34lVYYQrGWDEZy+xzHuPW+W24Gh2LOGk
bmykAyI3fe2uv3uLfs83fV9iLBeR7juNbHlYiM0LnnCZV0swvj9qZJ7KXWfK+seygfmz1amPBEsD
bEBMKK4YR+B7WxYEWKlYQsCmYlqU9/bCUnXEDFUwxY138DAoZmcG6CxrX31AWMcPIKst2vENv218
lAIj8c5JXP5EYtUJVSC6G8NdpTXHXmIV4hKnVP9EpAoALIkHYLDpBxi29VOQoR+4WDsRHt49uWBk
2eb7Xwo+7fTSsU3pr+MP6Gze8FzgFxmgoOHu9p6RvXcxJvjP8hu7ls3wcsKXvNuESQlFjU255Zwu
48PMR9zS/jU2bIsildL8aEFMZV1qxgjj66byba2+qBIA0IZ0U1Xc2HFpvrKlTj7TgFsV+zFiKnHr
x6Vz6Q7+ED7yoxFyDHne2dixt3XG9aDZ06xcK/HuMOqMjwZnyWg9TO0MKyfqOeGoyG1Ei5jdSxOY
Yx7qcJ9HzXhbZWRlcL60PuMVababKNLmWc1FxVqjZo7X7FK8eK9H2rf3cZkbl3EypsxR7RE6WUaX
LupTix+hHJoh31lzU1lnY2hEau2XBiNuqyeXt6WAfRmHeIthdd22tHTeVLHfRfeRzF9tRsTgSwfP
HzaxQtcb8lk8Vws7mXtlaNBRyQyQoBCHig54gs6pQJk7buGwkxmuEdChMgXCVs3IrMrTJ/Ak/edO
MuVb6cma/I2pAiJaRWe57HMN3YBBsB3EoG5MKqhVzLbNc7PLzJ3gJvYQw1rlRuJPABkF7xvISSY1
UHo6jNtlkEXk6VSb12cgcom6hm54jteIx45k8lUzevma63SWK4VZB05160VfW3Pq3U2IbW4tw4K5
Bm4XgvkEA87A4YZ4GvIyA2Fru6FGP8pJ1NpBPlwsM9zFcukR14ahPWJ055T1ZuYjHsPaCRr8PZHn
gIEYqrewZZC6EWZcHbkN1w9uZbPT72eChxxcPLQoMx8GLH/FUOxzl9PTGlpssJdBzfUy+wnWomiq
TIp+0iB3N64OvVuVVO1brlR8O4SBvZgJ8uYqxinz6Jo9m6OZ+/vFMkoDvpymzW3pke0jGj10R7gG
Ici2rqIjNDJbTmYY4RmKdiEPnI/zhcrTGTLlXGTEzx34k2tfthLRaebxUDadAZPi0pe+YlrDwTKd
KB5f5USUCfNB2WQU5owpfUbmko/E+NHc+01c3SQpNmHiB818SRC7/zx6rfdchmr+5ODZo4rGTvTJ
s/z4DqBucTXncK43UzOo934uqVLg3ZXO0QoBSZODr+snF5IwRmsseldWNk73E1uFmsWgU7fkpqZH
LC90FPUKnw3QOZh4WYkStPJ7KKhQRrLpVLq5TdOFYse0xa2SQqWZrUSs/LF1U6y9aMIbduxoqQob
Im1yiZeamGl8gmsbkXmpv84CLzFdCirsuHp3+bLcpV4om6+xMxEWC+XcXSoxWR0Wo9KmPtDLi3Jd
JdANOVyGxB8azeW+xg/YmCusyhxXDVrs4908TTFcgcpj1L4jAuabl2FTed5bLpm3HAnPcXDfeBUZ
OdjpczBiRcMhRFLGbhRztbU5hm5MFhzPwwC9ol404F63xiMfMiL0TIKPTjUYc2JboR77MGu6xRWT
eBacPVlORdvtDJS1kZ6+ofXFq9AG7nkh8limOzDIKYSgpvILliI79MjegG9gJ35ZNnNcbNpm6GYE
nN6iNK7A9J8RyEIeXbnYWQubP+04nX2Vuj5ooXHqBapvlec+Hlq8JiKtcElGzIft0sRTpmRK67LR
jaA4VFQK97jcouDWpQyHoeokuhTb2c8Va1xEmMhsLmQHCORyahWJDOATbSvuw9xyCfQ4WJHZLUa6
kPtKiFQW6ymz8/4+6NPI/tyYVT6SQSOuubG6ugk+oWC0sKHq4HEge2yttNGbX0t7rOwDA/4BVkNm
6nQ9JQOyYxC53Ou8yHxitQveoUBHGAfN/D1JA/+AloVbJzQMt9i2aEL0pJXkXVZjFWjkwtSFptY4
TNbDoShvRVyz0Q3D7miYUfei8w5Zj6Bi/epOCPRwV0decE9UA7LiXFnQZpMhqTaiXKydRNCYCtWk
TB9YPIDQTHZfXrFiGSni3uLbmIyoPTTSSoYtNyGb0F3PVpiBluOcF1a04FJGB2hVLAv5Uo9Bgioo
K0BT+UgCBMGlnL+0KGnTqnU1CIc4zc03x4+ae13gCl473OhIVWapvA3HElCDmGzQ57ZT8eRnlZlf
GsfFP62qLLxTWBFfx5lrejUJ5HDuE9XIZKQ2+oabrmDis6vwJWE0KdKJ1SZKxhtv8P3HOa27jpgy
x5dNFRc9KFFTTs1+LJ2cc1hb57AHknCgH6Zo+8+DI1myymSKcD22LiiuDLUl4JwVyQeM3WkPsaYV
dOMZqdVtFGX0Awk8mcEl88uE3NrgAVtUof3GsMsm/Etg5yVEVO7pDCgWykWYVhBPMvjLG6WS0l5V
8cyvA8uTV9CCinRj2sj7a9tPUTNHg7E8qEvS/SsEKfNcRSNAJd3E7EFYkEH5FCquxCXQ5Yy7UJVo
+sUMli+2OLNgv2Ysj91AmRAwqVzjUzo4pHC9mczDQjcETyNG16L6cczL+swPI2afGDZY0UUzZXDy
U5vArZMJDEnY8WrAXDEL047yqeJmnGZJtpxIdXZoh7J3tz7IWb2fZk/P684JY9x7hRTH2IzrM3L1
ZIF7O0AXjgNNQ2nos+I2g+A0GZE4vGAKKBXcGgPwWTAFPQXdRsSV2nsy8M5w+ytYmvOYfBqWXow1
CcGcHsPcat90Z0hrN1pzjyQOPgzoc5F1jK/y0T0lVu/f9ExhsEKZwNnU6LF+hPUEE04YHpCUqHhW
eTRcup1g7U6yFJ9bKsdnz/Iie+eO/QC9tMsMgoy9vDZH+CYr3BPx1wrw2GmYMa3uxio1PvHKBY0h
TJfuDRRLqExAYzoqG6OQojn8yS+lLAtuUcr5CsoA4gZIfguMCfUVrHZRTuyoSIxnP/GbL1OThJSl
lVo12Cab8Glkt3AKgiG6HNop/cSnpQ9Vvwjr0q9xfYMar94LwjbwtowYGbSeoZmRUcFrOWYjnQUl
kuAeryojbO3hIFz3pZ9AC8rIoWc6txhWDT5jvskwepqiAgJPTI/7lN7XusDoYRKducsSdC9ERrGg
8gGEcoWmY0aQrRi8VZayxNDPgmyCE6XGCjzGZP9XRO4JibE2JsE6xOuPa6VyQuQXr4Z+S7RIXAw6
pHg6iwgEBZbbowjOym7x/MfpKfZb492zQ+M492wYUXYs+VRwwZ/aLHFvVNf5ByZbBFr8JHWtdRSF
IuNSMNr2UCsmMqguoeMvGTuBMO0E0RVjDPW1yEPnOWet6fEzGoLGz8JlUfDYggPUMyYXvzcZeouE
Jj0haCfLrcfvEO/zUifpSsWz36+xAfEiOqYbMQInjF78jBO70LorA4pEibjeWmgo9JAGIdHWofOW
f47dMV7jFKi7vba0JqJv5BjhQs4261iVzXUr0qRdVyJ2dsm8oONk4RXXcrDUU151vbtGJQR2GJLj
O5QAkdxdEraCUHFuGV8LGYTA0eJQ5xdJkLZMz3i8eZX6WUI3kxaRuPNNUtdbn23iSDNJPl8Lc0EP
B2Rne3YCdWgyZOlb7yIWDdzzIKn9w9Ak9SlDuKWx1AkpPMH3mwpwMCkBKgcA+JsVZPFTzpfgAaWS
4QiHG2AFlQT3voZpnr+Gvhw/EzDk7fat0oFoRSJ2hXWsazd8v83nIlLsWytbUozCtuehsa2Ahggj
KE/9zBOi3rzk+aRJnLymrsmTsOlguLXKFPx9m1T+fVZbUm6GBj6M2xKKYy80wFaLKrNnC2LpGue+
PTfiTHoFoCiHkataZ5XJuaerjfkiZI+cb5Wjl9g6yyr2YqNVYh3b2sH+6nQRayuJrNXgRJgy+CbK
h3KoRbuux2WZImTB3TByDRPHouZ2TOPDZOfwprnDbc08NJ507k83ScAuZMs3KqVNEkQmb/JQLcgy
TcKIzp0pmXYJw68Ysc6psDQPEeoXcOdy71gYqlejtEaqO9m6kBU3ewAH0ojGp5ajSLH650ib/5lW
KIAu3yknfyrRYnT4b/cvQ5x974X6+J3fpSUXygwVDxiipP2hLf3hhXKc3yzB/3BJAU8HuwqK+Heg
+jekjWkpE2S6L5yF+/q7tGRbv/F3THg2vuWyTbXlP3FCWT9jcR2P68H16KZAr0Lm+Ymn7vogPnxa
XkgN9i2Gc/4N5/YZd+h7UDlRjTeH7xtgaStJO5KxXuiO+BdQlAUQCNy4KV5VpBXvv4BI+m9nmgP4
85975lZfG7BaP3D3bX7h21ViCPc34UrOHQ5ge1BENmrbN8vc8iPkRxft2sfS7FjLj/4A79u/OUSa
OLyZiJT42LiE/pAgUSddSRiYj9ACDsDV9RPN6Fd0I/GjBul5jinNRQSkAkAQKFuu1R8Mc5rejWoE
KIS95xB56b5aWKwsvC6WKpvJlHeLSkuoe7oK/fQs74GQStolGWmoCBudTPclzuh6euznlD1PvS6I
IUbQSPKuPQtawCCGcaxCGHDOm9s9K4KsI5wdcpfwM5sHrYtdUIMMiWj3acx1MaxxtrKxmjediNfG
Um0C+DTqwA4Q1AfZu1m8S9y4uGNlRKWdfTI6F+khcRReOUa6PpRYFWNz9XKayWxodGi8T4Hqb+eI
RvPY2KaqOycT66Q0bucp9gcITkOz+e4i+AudlcXkO5X1z2/sosJ+J+6iHvciD5g+dnV5rMAtDuLk
ampoa2/360dCw/7lIy0//+6RGPFDOqr4CJV9MuzPvXX+N3//zy/F9xVUZwuxWnBB/vQAtTSK1k4G
utzCy9jE3ejfzSn+tWAtIO+Z99RTrRW3Jb9OQQCcO2W+Y5jC1OkaCXDdcE9dDn5NBkoCYUBQkeK0
G9N6HLlwopLNBPfykN9PupJuunJNCOJCQTwSzJCkc2NM5kqX7Je7ghMC5vKq5LSM285lru0UZHTS
s2Wj5BSc48jXlMbfSObWn99h3gD6dfiOKEdS6fPjO2xieQ0quDc75rw843g/fkkYayr9SZc0qXID
ZyvtypHXSKMKb0pmB7uAp/frD+IvP4fvnsZPa3puCkdMIZ9DotgjKUr6gL5bEsKUZ//NNbXMAL5D
nrEs/PiKf/LRltWilTFD3Y0OhbUW1gUgwhhD/uYVLQvjXzwOcxTF/dIT5k9oNRU1VdalvLOtfR9V
HgmIgLl1QqK62hvRp0ZdCEztHfNuU9/OhGoBMrfzJ1vRberyXlewcgMkvdcAf9ev320anH751JY7
7HdfK7fVZHYS3ezwblL4QRNuhJ5NBBSAxhZLzr6nqMyA7/Trh/3rD/lf78hPC7Iyximoej7kGgat
RzK/JNHSVv0uC9q/ua7/+rL+10P9tESh1cVVqHmoifLCtgGFkD//+sX83SP8tHJEGj+waniEYXpu
5H2r/2Zp+us3S/kezhRiKZD+fviMBJupKpEsstq67qYvWnJ1cL5UwZdfv46//Do49MUpdoDcc3/6
OsTMmce85XHqLFopAAz60Zzvfv0YrvuXV5xPkYFnUegGaPDHV9PiMiXvzhWXN7TYJMOumrjTxf7B
ns1Nl4IowSiIhrvS+bCLxXnrEVYM4e9I53EMAW5V8t324ut40PBnqwRpcnzoO91SBIOx1Ir5pz7+
qzTozwyshvn4kAARdrNiR2JlXUTRtUHMltkInG4P7MVb2A07nOgrrearTn4x6zcDsGwqq6NRmUec
qz2FAj6TH68Dzb4YaLeG89a6DxZlkM2h42ie4BGjUvOwuAA5nqKu8a0xFHnFYhfOwW7IcTTO1SGg
rRMq0iaIadyaYVJbR6cHa4KDFUNFVZnbss2u7OIrlAarfI0b+e65/aPw5js/GG87uUdAHuLxRmfy
PQE5jwNj3UMRCRLzLgLNDnMEjNewayN5PpdIWBERTq1WLl1jfiU3Yjg1WbgyhucGDpnhOnsPBbfE
v8/Eap2GVzacHC4RworpFVHJi7R+02wh5jN509VfUjQW7o3LS6BDcBfAZ5+MW4x2hcB+/KzdT0Sz
uDm9eHF+CjAbiwn+9kjNBPGkuWo2JXDjhcg7jWK3KOfz6J/r0d4P0QMTjl2NT1uoPd2X4EDqtTkn
l8mEibEDxsXlQqtnHee70Uz20o1u+Xg2qJPYE4HDTgSqSu9iiuw3X487rGd3wxgCHDElQX8rvXBs
+7JkpEh/93AFyRr/I45H2e7H+i6IspWaznMbSlIdb7UNWBj3EkWYKxfp2BdnJnOKYbk94KnHjYcj
GD0UIVQTpRqZZnrdq0HhEb0ceGZpWXsb+UdxTh8lbTD+a0fJkgiHLYgkEEruQWIf5lvmyeiQJC8O
iWNrAK6eXhUh+9Du0jW/7Qhg5CeGJt6VEHpjasI4J6+cbQ6vt+vVfd5ft96wYR+iJhQGtn2dfrWj
bYNdUdlXJXFC82TSJD7XGIva6LbM+53juJuxyjeG0z+BOOTu564IN3BuyjelxtESFjs7AbOpFeux
famiHluivfPK7KqR7ktqJs+xO18Xorwq5+G2HfyLnK2s6X4B/3/Eo0CMPtp3+ot2FQ0pzaNj0Ecl
H/qavQvAlLB87Uixubhf6Lxyx+SskZgaSTUYTUuMsaAib8ZAj7v3pAFwtwnKC5D5jvuhZW1jnr6k
1gqpbglHdH21twQ7aRVfjYaxtoBsMORiir/BHrfNovmiytKzxu7Oc7qxIru6JBj8DJdxrW0baP81
IWueAaIe3T9hdw2gh/dh2MI5WQnRUz0FJz95ZPp1iOr8TGMKtzsi5tUzNMRToJ1tJNxdORDjC6t1
1yWXvn83UKUUQE4GSYBNHt3Rs7ctHVbLZtJu1yLMbpqcHC9M8HhyDjRAbOMGkpPAuG8GNHo1ZyIh
+cHVT+SP7t1tDtjYrccLNcnrzAjYopkrr8qZmC0s5Zwecgnbe8rP5lKsm2xeL68w9bs7lMx9bz/3
Q7hNijuPmDUfTjXgRC9OcR4foiJ/9hvjJu4aIqrBBVzSNaOD/WhcGHD24TOuWkB6drpx+BQ8luuO
lpveY8gW3HVVubN4IKvCh54PBzfIdk0L9zLQhzEG1zj3O1crGnhpD6V42DdPbDQ3DoZHqnWZjtrr
ic7T0NjM4XDhUDiF0r4PUgmvPvykWKAMcO+5/W6itLXmibn7+USQniLF1UT4MQ5vpN1fOfUzGuot
s0XMdZf46rBYqq1Bud9kk7VZ5mHFAVUV0HNKZS4PDnjaSJJH+iIwbkTnjeiviTBezml6pj2b0tZ4
axsUk7R30EfPfn0X/Eho/bDz5FAr+b+gm3xx2fx0Swfi0EYY5MhcxEDxwTUDPsSWUC21wivTBrBN
CjGkqnLECWxA2iF7tnX96DztzUvmxqAO+5MRPaaD/Jun9qfb80/P7Kfbs0zxi7Eha3aADjZOE1yb
AZFraDRe+5jxWeI42HW4AX/9hvxp6/HTo/609XB00jXAg5ods9e1ch87yu5c2H2/fhS17PX+9LYj
PLEw2z6Rt+XFf7fbjWSL4clOeXF48wXOXc9gt627kzbhMxlyU45Q4obhetkAJNB1JzwLatbnfe3j
x+XI42xxM6x7HMNSn9uwDD1vUZWxwjIhwOC7crX74NbMd9xu1QD9xxm8qc03Mvt8a8RhEI/dbRff
d4CPRkzaKTW3jrXtzxyOhGAh1gElF7gszAXt5D6BtHVAm5thu9UVGRB/AJnv7VsxXTVOd4JbuvOd
r3EaniKjPS3fORLpj16YP9H5TFVIeMoo5cgUnAaKN1Q4PEbY9Xw13LSV/TwAR5bRnQhncDINgalp
vmsN5sQ9iOApeJwG8YQZ9HbmaGLaDYgeSsw4jVUygZXJhkn7mzCvIXsQSFqK/biR0Iy+niJn/etP
zvqbT+7jiPXdJ8cSGDQ4GJbL8spkTYyaOxrZFhnHn/2Lnvd4ftRH3ZZ71t5Affn1w/9JP7Js9K1F
jGLW7fKfH6+btvZHr3F5dMIMbax31SG6inMC/Lh7Px7pH9kc/zfC1dEbOAxAdvKlEhZnbZ/v5n8u
R/7H6/Q1/l6z/svf/6ZO2vyl3/O78jffsZVUtmljI/NMlpnftUjL/CZn4xdE5rZMj4/4dy1S/ea4
9IWif1CR7PgA0v+JFmn9eJrDmOi6lmXSKSo9liBX/iQGjKEXDBAOn4lVVWLr9pmgBAseiYnLZ0yJ
/hL6EAVX2AKkaZypOcJLcxmT0L/Q+Lctbhv0F6fps6p5Llv8jWQX45RCdEZC5hSy2kSu/PYF+EeX
5X83QZsl5BcX0HsYvRRx2/3oquV3vl00cpGtOXK7rmOB/uVD++MiEuZvC4pfkcFmQfg23fhD0PZx
zproO4sJ15H/uoRsriEJasonq83hafnRP5CzLby4P9zIBDXdnJ/9JQKOoi4t+ZNsoylbbrl3BVur
GJILw/G/AkNy6BgZoA5GYp15w7HuwNoGJZBio48+Y7Mxd35PQZk92VuracrLEtxuRh4cNopRMKZd
0aOXynUZmNDziE+rk/Y0aPW2x0W6GjoIIScIeG2/hXLs1SZ/pbYlLkysmKX9xSNm2LzR3z6ez9TF
GJ8qBRsY03qXP/Wd7C87V75K5sE3WQHgADT7UjrvR/mQUxZC1Y0GMA6ce9O7XYBbxAj9m8glGGEt
p5OiuqTuWQFtG+h4xtXvDx0A6Nifz2KXWpGyyjboJPoIT2fh+2TWsY86XIw1fj4qXE+S8SsQaTCK
WDau8iW+YtTOeRTo56kR5UYTVaxWFsmWIxP6i9YruKvPgMM3Gfz9TWFTnySKOV1ZFueT1jm3IjYp
WUqcDMbpEhJVJnHdtbEg17fAIMrHlpllMdmbtkUpsEI8pIyCp6Vbz8kvLBFj9CkX31WuNm0dZuI6
74gjm7n1DtfnMsnb4S6s86tGT214VeXDRCuVKZvHpmEbDgEXBn1o6JWYRWodAj/lcScTfcNObbaT
Lj0LX1sMn966rtNq2DV2RI3nyJTB3hC+g0qIKfTRaBr0a7pM52jtmMNMwTA9O7ZNfr/U3jQ8TpMV
3WnldOdNNDzW8YDMLbSLy7Yyk5023erc4207mUl10NSmhn11KgvdbSertjeZLe1N2Iid1bcvaUkY
27NaQrR0iLLepi3ZeN3sezV0ySqDn2szELoupCb8ndrlQAyLS6Y/YiyITiG+EHp1UmcYgJpl0wP7
OUtspri6aj15FhAULeGgRDsyKgQQyN6yfyIckxED10x6iIA6WHn94TIIsgMkEmJlkVsO1U2WA5o9
VpEVkwx2QFjuvGzAAeQlJIYIj5A/h2y2ArJOy5DA60qbroz3rREe9Aj9Q9mEVuKo7dd9o2E1z964
5WtNb5KLhDZmHuxSYxxM2tP1PbQseZ1owMErFo3yjftAvGsFprPOKtxrxx9RFYqCI5U4H+ZQb7oK
SnaBi3BFmOs57vP3won3lVUew6q7WEwxeapeRepQ8EtahAYDdSGtOHh0mamvJuimO7MK8bt7RZe2
fI/iiuilKINuX2Ieyr/afJl2XNMTQak0AW46A9cVXoFklhbFHckl+Dpy1Bq9hggvdTZGkB7Lvh5P
OPMR3AzgihCrwHfNoFhLgMghsOFxTtqjYZv5bdFIeRf25oWwK8oegsqYjrrpz4lHJuelQ8B9VdYq
K1eRBku2ijG4O7uhpAJiopEp281l2e79GB/KOpZmlO3HZG5eQKV37t5xOZOs53Z07K0bj95R2zq9
QdDjxImaWWHAL0mK4n0uTrauiSVVYxUZ+w6F8hWgVpjuZDMQ0wPzjAgu1LR2Q9ffJUYevs/JJFjn
yCrkOfi3eUgFwkwY4YDBga8GN3nKlNbBvo8jAK2RtooVNmSM/H6QjlujiOLbYOxfKDVBF4M5smkz
KydpGNHiEzrOfZpFw1EaPdGn1nb2OaRYZAsftH9ZAyqid69rDnNWKvzwqnp2MTof1f9j70yWG0fS
bP0ud480wB2OYcuZlChqDEmxgUkxYHLMgGN4+vsxs8u6Iroq22p77S4qF2WZQQYx+D+c8525ETd+
PccEgeRMLxGY6oyWPgIG6baNHHeNIg1ANX07rUBI1fzg5FzocfzoNe4o2fUxOU2S2yzVW7YNV0j/
VMF+rVsGs0gAy5LuPG7p+jT0uGrwi7vMB7PBGHoEoIhfPh8SHGxxypiiCp7BCQ4Ja9Rny4sYliIB
R8RGytZL7IoLY1Z2HSZgoAG6ZJVMwR5VwRvv1/bUpb5hDcZcFS1Wd4jn+uwXnkLWrG14KjC9CFud
V4i1o2BTNFm/ayePCUSnBKtTNdwmCPXgW4wXFeKuZv6poQXNLkgNModDl2TbNPUeclYtJwlD+93k
WfKyDNhVVo0Q7zJsHgar1QxY2M0Vbf3CXY7R0/jwOSUjC8d98MAuXIF5zTkK1Y9szr8Lf1R0gJYd
bLIksu80XjoYGHHJFA1EJakEomgHtR4bWR6ywH3kiArgTmmKNCQI58aui+eyEKQjuAGLQ8tubmsn
RHa9gHRdLVGLUCYbxPJRMTM1PXM5lD1on5n09G3JkZsW3WmsoDAJjL1bKuqC3B5D8lbbymZtuTEh
iJAdPAKoFhdcJfPACIV8JeTZnupH1OELCeedW/KGTb0oeiUGIHQ3aVaInOVeuIuscq/RPK0bYcUH
naY56SupM3xdHFM+92lgHdNelJelAc7CjFKSSuO1aZuuGTczfPLa8jny06s/NFl4a4Yl2OsHy4EL
AuiTmK8obiC6JRxjH3OPDJpVuiSb1E39+QncPpyPNPPAjWC8+2Z8Htyd24SqXAdeY38BPYDltPTK
7awyKg3jyObU9+ldqJhveZD14JqSOYj73b6drjQEiSZ5CnwL+25CfneWKSYsuH779xzIAMBWIArB
jlDP4p6ZtXTxRNv63Oc4zm+QVk6Y8qf6NmyEeffjvBW3UyfuICxeZXrVHhlVviFV4luZEYRmQOKv
oyRvcihtTf+8pDlpgAQK33pRRfycTYmYbyUi0xXm9nhPIkpGLIwMn+UwTcQtxiQ+Yr0td1AP92Vt
pvS2SeRjGgkaXm6TpGE3V4T3ic3FIVmIchXj0Kg/Y6dHmhl4ToaCmXl7j0W/IzoyIPqmwtWCpYDx
owsID7GErPf95JEY0ge2i5TTToA7xj2uYF2aBzYKhCUK2fszjGQqqw1XsCdWdGY1/cWtkXgi7qT/
QDkc+B9kWtjneph8dsQUpdFdIgO7XadQhocV608wBsFgwYy5IlI9kiRSa2HGn1rjDmbIddHoWuPP
zCFriReo9SUtqgDUcIj9qrPFzqNAmVZWD4x116nKuxjBQ0uS3SaZsvh2rqrghDyu36WVeW0T4ihq
RzAN5WWakHgRNhGi5hLdMXfaJp+QQGrMjTwouHW5VFX9OuXECGHiJbMKCpx93znIdisx7+pKRTeA
ugwB6QGj4DIY8mm/1AOTEhCGRJVOJNOtkyidAcxPtGcI0Jfl6AWE/YxZIizmpM2hZ6mwUzaPPILJ
HzplEZHlUtylduufo9mMRAnPMcgKq6zFnc1R+ql8Njty0d0ZJDkUENxQmV9nD8mEHJQHYY5PrnRv
VO6IPVeZol0W7nmWKtmHg/XUoqqNN8ZPSaaxKiACWfsiYq9dU8Um36BNHnDAlhvgpN0XfywhRIA2
lJ8QTNmLBJXzkwuLx1jDtAxH64GWgxFsWqZlQA0evfY18TS5JcOvTePYxMVOXXqCRRGML7y5g+HU
J5E4zaodt1UxBi8J5zRBnnYN3BdrzPhpLDt9kZEuvo7LCIm1kv0+MhpNBCnE1pEcDP2RAMZb9/aM
V0p0Tv1tqUong0GifipJFbMts+aUW4MLVzvGc7NfJjXr20H6vCmzJmYtEJJH/7ZMpviupW/mEzJL
V+/LcWBdF1i1tXUimJ/4tuEawVQY8meWCQbZgV/w7wWCuK4rXIIUDl9PXnwOxKLUOVHYkrZVXgJJ
QMwMVTGU07hGr+qWIA/iK8945nW1IgnkSvMNOhZ+iKfl0+SHWX90W9Cy6C9hdqzGmJwtQfi3uFIA
wl6QDuJ6bBKKJlyXADQMCqER5XMweZ+ZKcy9Tmb2NslIxTduY54xQKtxnrbLEzo4VX9lEkB97TYt
48BsZAkVNvXwseA8cw4DUP78tltSkpOKDADzYCG7bFXePGg7nb7noFFIV2lCytA5ctVzD+CEwnLw
CQepCe4UZEHN5wJ3XvfMOQJbWttxG22tSj855GNVp57YBoOPZXIQqg9gDKYtZuTue5PYIRupsb6E
UN19mRQvNmPfN4ZulV5bXRK8KmF4s2ctoQWcE117qTEu3ERRqj7xEQH+BB/hvhu2uf02GU3MGoYE
m35XwGxdF21734K2ALGShB+ppj1aUxA/TEvjrCjkcEx0YMo03HoF6wIpzcQyT0WESCUh1pFtoTNs
+1CyU+TSHF5kuNtc+72NcwmRrhsz4+zzLD5UC7xiXDu95++aMctI4x3Q0MbWmLuwS2PH+4quogHc
rxtdb+y6d79EVuEBitGklTJXxhoHicKDeJVXnG3IUNLhNoU2Rrw4/vsVALfrk1oUxc82Up7eVWHm
vFDBtEyLXHMtk2IUQQaIVVSwUJvAtTUrx0rtV48EUPosQ37Qre3m1X0e1krv0ywqqeJktSsdW5od
3i5y5Ujm62Fy9uSmADqrPfstxDDYrGqnts6aWIWDqUx014K2R6eUpNVLGSdzupvj3jzoCOxa6zlE
xS0y+tmVjUExNXsrP0zskrtloprVbS0v2h5NjfyuqWL+6QMCA++f3dnoqMdHNWKVih21SHZZyjab
qLL7YEtwWpmdhxA6BjWpTxHZJKSks5cM6I6icSmzXR4o0WxVBIRsN4ALeJ3qun3EMjp4K7MQuQEy
11veKuyu0amksyOWAGNqtUlEB4csU+LsW4v76ObmpGM73zs1VQ3kh0ncm7A2MD2jeej2iaIqWM2z
zqdzCdlrBdW1tzdOV6av2dKTIRYawiiOHYGNFL0JFJVcL3F8i5OXJmhsJ0nu64hCccadkiZPgZ4J
sp8aBs8X6aY4Rxtn9MYjPit/OjA5qftzstCk3XdxFmYbiwSS9jTQbX2LgRmD2U3sCPJTylGG67J/
D90IO18/WHCZs0BsgZpR1rQ6sx7mRGNSBJgAkT+cH72W5moI7JT8X2JOsyx174SfeUcmMR3ygLxZ
QRqpVpqIljdfDvEtJUhA9mIsn+CmJl91PBHDHeiA3QVNOmepjJAqmgRbFkIJqELrQAAszUUhbk2N
sMorimrribI72eG8EGLDdUim9K7HBAO7veWS8zrYAE2dAYVhp+6BrVvO/KRrIP4JseDyBi6HLg5h
hhAuThsfGFYEY5Oeq2RRXHqxV94HGODCHNujp1DV9f5Uhp9XAg5mHAr9nBVoUd+2Dc/dxa/BlR0Q
SoYhhtRyOLhRsLXlGG2YYj1ldfVkB1zaUH23hsh+HYmjg3jaPE8VVl3bagna44+y9cNoxwc8fPzF
o2y+DNR7TzWlNp41dY4gD5LeQ7Z6FH/picXKSqR7pvikaP2wsuYh7OpHLAA/Cie7FYPtI/wvkIBM
H0BK0o3r98c4WjC/6nDVd/oDhj1UCF+9WpKn0ajqvg2qh8Ap3llPPKW2dRk1XOEqhjaBbOgK5Kou
xdSRKjPejCQUrEhw+2C9h61bo53wCfAq6hpKIK/qVVKobxBPxHftaLqCPoTW18Yfk8i3VZnfWiFi
Gx0yR9H+tFYDutMeEhRDI1x0gYVBOKelXjmdjtZkUx+KOn22i7ZhDkPVyd3+Y5TcJY4RjwlYVxJu
TqkCcjx7RJR0NlynOM279mjV9DkHO7MrhZKn0qN6Cct6IZSxnge+gu+1bvySLxKqEsRjDui7aEbX
FUoccuEyXVQTHpLFe2SocyafAqOxxy6fuYdWvLccegpiI/Er5HAm7e44QuEjwyjb+fZ0Y3XlnaSG
j3JcsYtnrFW+eGtPQ8zzIPCUNbaf2a8uNmGEa6yJ77gFl13eshTKmzQ8igyVWTjVRO5N3dpiJpAA
oN4WQ4ArrO9fWN7ft05IaoWMbys6KWgnoHgIvWxeml79JF5S3jqzG5xGQ5vL0Ka5sfI/wxzYV8Na
WFW+fwCAxxwNxlfmRT/i0iWVJFo+0D6/O16ebEedH6vUSm+7Kr43U7UfJ3EHQ999xO420n7MxFfY
Q3gquZuPXWWV5GtwNnnkB2z8IUAxzLLhBqJIenSz+S1MWLXVfMFrbDeF6ymhXF1HC9ojp/H34Bzu
WkdNwOuyx0p1/oYmMuLma9LbylKd3MrrNY/oUUFLfsIocVfCpRGcU37NSi/1psjYaQgy5Y7wdy+O
lT0thWaMZOr5EuZm/uzc4OjF0ZcBeFpaDacCBRva5vnCNKFZyUo+Ij1BbFCTVWWydA8FHj2uow6Z
4zq38BzJAyqUXNskjXGfmeWi4CQcRr++4gTMimOI24m3N9z3onviY+ptsPB4XBvqg986H42m+kW6
QCRQDbIQNKB98DoHdUorzqUYh0vARA2ye/7cesWjyqL3IUhqzIzFT6oNBgN29EMzhoF9eSajEMxW
ChK7JmF+jZLroQva8lThhKYa0Ukbolwauu0ImXTTJVKxfrbZ0DbIjZPgq4yam8rBTe4bfKwOogHq
ogHJTIxAuZTvnQVVM06XO5zs3LBOd0sCO7r0xORbENfHRrPR7ZsAoz1esUsBgp0+kpCAaJs2LgjO
bgDqfGDOz6C0VF4MrLUUjf7ehs4IITUPb8muY1t8tdE1dSIe2iSQz96SLbemhH2KA/c1pM3aJgp8
45BV1gZjFf43/H3jgTir7nXCR04y3exvfXRuu0H082MXJQtww+hqJ5oAccJUQg7R+p9DwUCjHBis
k2COp7LmpDEIt7II7FuLq2MdFMkNIPn8GINh3flXhGBfM3zL0lOVV89BsTxIXz7H1PmrZmj8G9MW
8yGbh4OmIMXgsqeaO5dywkjOY7VJUtyHKpy9nZclkGal/+zkpHcwZ7rGEAnyuClSDgHMMiaSJAoz
AcqZzOEUa15blGvHHKLQoehj8me7bCF7zC+2TrocZNGffdBc6yJPL0Nmv8wN+rKurjcu47ObPKmb
H9ZCFRAPV0oizRMRWC7pNp1azcl0LMPhOPrTqSuKCOrvMN/Gcea0Gz+XhKHTQUYy795qRXJ8s2R3
QvqHDD7+Weqx37aCQM3U9N572uhvbrAownYFUMigf1mcMXlmFYQCALn9bgzQA6F128dJ99z6RblO
WnFqmXDWIFuYkxflq0gRhE9D9RkT2lh35WaM6OgLNWEi1uNPzNGHCiSGs7JIUNilLm/aha6RdlIy
36Al5U/NheFRGrp4p2O3hcWP9YKu+Ht2xXHP/b1uHfiQinACV3+nweGAB70qkGL1QfI2BdFaOfML
QgQ66Hh48dzae4+XWO649/jyQUdwRGjyc2D7n0swkkGqlj1a569RWr4O/KCB4/Cdm0bsp7k+urlH
UGN0NiThCRupUdGMaGHGlMS8jZiG+MhCrFh3A25QMLvS3aXIFnfNNEMngNERb9iuRaeB19QXaQ9v
Wa/6bdAEX/wInIof/5TLcMmndNk1or+jLiTfRMIbjAe5RhcfbcqEiQ1/5lPgYdozEZeubZcPFx0l
TNTGvyeUaddU7tnIoGec4LjiQ2c4cID5ySnCsd0bFH1NTNFnTArFGJXjxm3pb9PJw4yeIsS6ztv8
y5hgN6gDugXRJeo29GWwnXprzwTGJ3wvrN6gv3vnkKv8HVla9+FY6s3G4N+RVoPtkadaZ91FsYey
WDiqKN2w2wvvqLhKeVhIaxHHyG2nYluP/ATrCFP+l6mJmWFk2Y4gpvFk4rImJYk4nxc4RYAgiUeD
HjHGYHfIzdK4Cjn4tKkuhqlCzG+sliIKVm5V9dmjWZoJppfTEklCJzUmj/DmCSpSPeuaWZng1PLq
+Jkzwj/bw5j9EMgGyUkcnXR6Ubk2GDsWvzwEjexOORw1VC0OrJn8zN/OTy5J46bqpJnQ7gpmWxgj
8l7izB9QAGlgLoTyqnWUBl/nojjngEmLEIWfV18V1JCc11VGnkqrqp0oc+B+EHvkNbKmvrMCdS6i
0vqWcq/dO93MMIv5TisIhoEjxqiZoKNqsYlA6qKdE1vfed3clYvcar9Xmy6IIUAm1yTKKlmXhNq6
DBBCsuxML74rQf4Rjw5CyYqQQkLbOASG8dJEWYLWPq5wVIbBvpZFTf3NHdbXOxGCtGBl0ipclsXP
xLMXK7vtaZ0FNLgCLgo1hSQSI4u0TzqtWTqqgbK7+vgtqLFr5efLbmAsCv3IBbJWI6X7zCzSsyGQ
KJgxSQmxYvBIkXKjv/Rj/5E+4f9RA+ffqhiWH+3nR5r9KmJAd/CXiEHZiBhsm12GCwaMIwybxV9K
GNf9w7+ydkhDg48F4h4BwX+JGFznD5x6GGug2ePu9AJEMv9w5QUY9iSVFcAVCWELj9R/IGO42iL+
W4znS4VpnyGzg/AH25H9PyRdiZ1w+iY2ITtVSgx2ZL0zyCvu/ukHuf/rz/tnEtiffoLfPgZrIh5W
V+Ix5Ij/VbtFkjsBSKz6tnlU+seZLdbWK688RjGPr7N0v49irA+mFbyjunK+97K4Pky5k394ZKue
mQXG2aaHq3gwKueZ0z3K6DZq/kpjIEch/lH9i+95VTj+9jWvTkflSIVGCXnHr18zJRG8E3kptkq6
SNIxgXcklofxDTixHzHk1nMKomHTIz35X1SRv2nr/rwQymGiGEpXuUrJ3z66JFYjnYNckMSR68eR
aJhXLAT2NpUsA5fB51gFufhRRDH9X2L3rxXSyFdsft0Z//8WBPZ8/PuL9i9uDUyaLrcaX8pDafPr
j5ElOEfsoXS2cysGBSzEznfaL4q/VE3/9jf/Vx+DncYBEy7Ybnm/fUzTOX3hdv20rZKiZQbGCF4p
dv//+V+Gg1OS1gBtT8jfxIOVVzMUJuBnm+oFJ35Swwawo8+//5BfFYp/XkMPP5t9ddM6nuv9JgiK
mpywAZLYtzqNYLR59ryZDTgd0XnxRi5RT2/g6u3ff+ivKiQ+lDcIIiQp8IcjqP3TUfhPokwhu6js
TSRoOMcrKC29XwLB4jIs469wrEnTI/Bp12Hvp/6q1Je///T/cfWun84bJAz4VUOMG7/eJMvCOdU1
odh6Rt+rsPLvvcgMj3//IfK3sA3+kq4rfP54ieLL93Ca//oxZAyNPI0dPPXKmjejSsZz5sXZiQGE
ZnhB6f0ehTNtFdvcczvKeL+IwuUds2hCm7ofoZj6r7VNivm6IcKMDb2R49eY9IgDKK3xJiEP9sQ6
k1lmmhtxrcYJXFwQe5BpkD2UDuzzVbQMsOBIm0BqkZPzGxSdoprLTIoO37vmQgjXMPGM7eFlaDEK
tL0UN12r9MN1woqWufXeSR9d9lkW+kS26uyn37jWMzPgGUjWaDYzlxkWMS/lbdZ45kSYbnnWbQZC
Yp7lTtUtIPNG/2BHVf8YVEY7MVHlsjGat6MNLlyQE3ZXTFXHsG3K/Bt71CHaRQ/wbm/k8n1xNX07
//UpYZvx0vH8M+Cw0hkQSAxLMOaXwthc1877QNQ0oU7lq/H7FhNVo/l3Jte/zYoUB4fXo1Xz4+tC
Drrgiohzit6uqzcBK45dqGfz6kmfPKEMZZW1aPcOIE/HJLozy0fsANRz2w4QnIERqde1my7bdhyq
R0LSzFsndbDVDTFQwFCV2qTedAg8bDGg8Zh0znVzpJ1jJtCXGdMKiyypSlkg+bmEgPqnt6RqzdaT
rbtX9RQfal7iK05p59haFawi0u43yxgYMpEHliB80cd6tr8mXJz7wJe7ZZHEE3tWf58xFmAC1Hvb
3saBW7mY4wQqnshET/NgPcZDPx8bGz4bpTg9bbVbiJa/HZQDBO6KmrELJq9R7R5IQMDREOfDbT+5
IIlgo7GZUId+zqdTlqEjtJqq++oP/UF6EYzzgTuoxlRVIrBA0boexpSoQxIRcvtmgFkFUKdfxa66
Z2L3mHkZMW1xWrOyi8N7rw2KI3Z5SGGVvkmq/M4p4WL6vjQH1xYQgA5VVn3rpb7trOFLGdPDxHN/
IqTxTdWSmJGYX0x7BFo6hTIbwXpshZBpXitPsJrKHYPCBEgchhnCMM3UobViBKkW3B2gFImRF0+V
csMDQhz7EA5hDLx8GXZkK2Ct7h8CMKArkmo6zK7yYgfZHdg0AQjfLbaZX5LWmrMLXok26+5gGCEd
csJjBw59A4F9eewsUkaSxkT3UZt/ToHX7QF1G1LeE7MtMfKcFnewsCW2LJpKf5sWxXxmkAVxGQXU
WtWdOXSVvJmxn8HNfe9suzoEaflWYj1G6qguIHEeLJYVLyG7v3uh7fDdoKzDN6wvLLvC+7JQM6HK
hDQ60AW3ojXfVUNSg8R6KFR978XTvszT79FAvC+uI4xUpIVujKXaNdupl0q4t5WaCA/O+dFC56tJ
wfP5Yv6gp5k3VhnQKNcHh5QCRmNgVgN0JqJ/6pGw0XgtuH+CkUfLdYtvxMfvGY7cxA2Rhzkdo4P+
5dVik2gFASvSMVk2WlsHd/SXu26yvlmwxte6DLHcyUzOl5mib1WPxERzV2VwCrm1+j6ydpPXfUYz
k/XCS/ZjmHxFPnDBmvJKeFxz9nyydq2i4wG9vgRndRSK7VmYT9l+TlGBNH5I7ggg8hoLszvND86i
j06zqF1lEUSOh+P6OOn7ya6CtcjIZDUFSokk5AXe+fuu7U9jk33CgD4N/iBPKh6I7i3mD9OQybm4
7KNqLnFVDwgOiPXKu/mdHNy7gYZz24wEeNutirauLN1Pr7BBiONIOaZ28lJ22ds8wn3++7OKWpGz
6Jci0gV4CziDRxKQASfzr2cVNB2bKbR/xbhZy7zTw1iXO3syLMeU9q0fTHtijYK2nb3hGHqmBdTP
/pTZVCVIppv6PnlM04J7gbhrJ97ooqo+RyYdH5Gmht6h3Cy3I+zv52Gsup8xyd/u2oF7bx863cyI
hbph/jqnYfJppQsJCx3UOoqqMo4Kgg7VNcezLz6k61jDFmq1+lbOlNxpremsx8Jyps3iB8VPX1v5
x8AcB1ZLFeC1c7KlbiBTZoR9zLHfWTug7sUntxzBpZbd3tsqZi8jTMJGeGZ3cg+Yv1rWRUzYlYns
AX8l5s7iRKQExKx5SVh6BFAvcUEOUX6HKCt4ZEu7ZPuAfND6OBHZ9oG5libcH7zlA5DYFHPoqHR5
SGyMNrD3mHFuqit/GLj52PjXeBQENzGlGGmvAN98JmhR9Q08eAP71kC434xtycvMjfriErjZlLGq
KtSLAkOMPlT0+T2tseREUabjx7SCKVjFWoS3FrZ8n5blaiqtMRgwfsJcOG4ashU9sHa2eZRe5Rcb
NHVug8aGoIsVfRe7jsJOGKfCRC3OKa5O9CVeiwynF8TJngCnjOG2laM3rQs7ZSZT14TprcYyy18n
okuTTTqYMN9YfcXm0scIht0pLtiWBAMr7JvQn0IGsKqPDr4XKwfbbO4zTRzcCXJWRpTkASQgjuNQ
aF9tkGcRVg5oIv6u/NLAKEQGhk7OzFW4YcaX/oBUzOu9MJpZW830ZxVoXVIcJNckI2Z+Nnppe6wL
jm201MRJoZU68D/zlZGMIBYADn6DgZej4s5brCK/9VWLd3oFprBzTpoUmRLklD210ZHbAueS6abZ
bKxYpIAEhVm+EDZpXbeSTfRqdcw80AcRCbdFBO+eMq9xMfxqB+DxQDgU1RGJcHLbF9Pw0pbX3NzK
j6anEa8r2iROg3rVqFEgseA+eIBwa+tNnMcF9q886ft1rXLEcAQFONu6XQR8RDu2J3RXXssLHcwl
sQXYkGvurrx98qq0f0uA4z9AjJje+CMB9eZJln8baNY+yEpidTg36p5bns2bsVJFPpzwp2pjx5m5
zLIpxYpMQzT3ztCG7PkxPr3HjVCIHjMyPVaED7H15sWZsl7qERdzMdDApQPJFBtNNsS3LlW83Kxo
QA0GYXDEmqqclmQZJBSPaey3pARYaIwBe2Pz2fEKh62j6jh7tVi9M61N2wEnb7WYWwJ4sw+rI7cO
6I3gCHNRkpMI20BtdSLwbeu5diaz1U5jglWFzopJckyuEAqgPr/4znAlT1oEd19L69sS077kPBvh
3zdjnyyrIgih9FqkPp7b0J7Z54y9i2Il7oKvACOBkfKsoD7u/dxcyJgZcXanhDrsu75gk+xGV25O
m8vwbbH9TN+gDRLDCU0ZwUjD4uGuD3Ggiysyg9Q1o4MPxbjzBUKwQPLuaBtg2ljKfsdrQn0p5gyh
lKmKOt+zDVl4gQ1AVUSPhJ9R2ux/1zM7k8lq5+ZmWirrjjTb6BVsqPBOIXcHED0uGAm2ChH0aXIz
xNjLFA80C+nEiwi02zQeSqcNFe4/eLREarvzZRpF163Z9UQPDYRWjaLKgF01Jc8MKxh/KdYzmE0b
mYUFeaHk4n3n/eoC8axpGze909jBqgtT90kqEyfbmf3F/TISJHXBPuM0+1x50R1TPjdYS52n0PVE
hsfDLqk/EQlclcw1k43nUKXusx6llQJobIJ0k4A3r1fKb8aL18ztZ4immM1g7OEvtOd+eaDLyN6i
+BoXWxklL64bCZJKFyf+9LhFjuTP0zw0AdridTiOjE3QmbXluru+rFBvBAQ6O6Jtv6Du9mMeRpc4
q4leq2WBM9oZyv5k/Eyq2ioQ3Viu2vg1GACS1WN0INYUPpbVIuW69hp8ukvoidtR180DEOXkW+1a
9ZOZaVzWUVB2HxFWgWORB8CUEQZ2wXoqlenXLX+zd2tKFuilfQahjyV5/QKptE+2xtE6XZUjX+M4
1yOYUJkNSu0dgEHfRDORni68alxJ0uLue2jmP0JlQavIBSrSDeLHcR9UMSdnWUv11UYL1G8bRBuv
BW9+wOt2YwhabQNU1JA1FkAKTut9XYa4fhzGHnc9dl/GwyA8GwbXCIfJfIK5jn52djia/DJlOj86
VI56jniPjbJbzJ6NW/6iaRpGFmVTHR99hmOXtKdjbcku5RxApIl+qbRZ19T5AFfXOAMCzJjyZTnm
+N4+ZNxNu3i0U54AKLMr8t3YThd+mrywMgGmVXm5BnIbhKQgiV46BaY4C3dFPqBHXedLwC5jqRkf
QbEOl20zJ+OzSC0m41W3VI/Iw6431rWXCUXwjKxxfOy9QU6bLCiK+5F4LOoNDlbiq3wLLwi81owD
L9X6MzEhCvKKcOlh03Zt9yXHoHEhL9KV69avUCfD5gWSCCieEAwS9fSDaHNIE/l0XW+HaCzoYeKo
5VU6JdegKMFirvCX/LU3Pb3MRGIfvGLLuNA4jNHNvkRMkTx7hUbfNmTJu1U43gQXzDI3ZHBodTPa
QXOXM6x4bKdSZFshIuTAFe+zZK0HV0c78s0UusFJE0+PVyp44rhA5UT4QSfXls8QDKLK2COkteCl
YFDHYuiIOvuYphFtZolnInilMUq7TRQQJPrSRVKUR5V2YB2IHH83osryteRAgmPCATlvmVYieMkU
a1NokL33GgSDi485X8rlilAwgJIXRHRohf222/WOiN5U73JSF+wjH/QAlnnrU0AMK9YQfbURTW+4
pSni9tKEcFTSam7ekW6mJI5k8xye67FbLBQnuDhXbHuu8qLIF2fQrwsMkAVdEa/9ztY7yf+xXwpm
O7tSsCxGgBnRF6Rj8sNPBQfhWOARB0mRsAXFhlkjBbZadJ1h5+of6Ld5gYgcFem1ekGrHrMnubhY
aIYVws/2v5YY/3Yc+RsV4DpqImcR+hhJDfDwMPf9Wr4LL5x8Afp625Fa/gyEP0QEr9Icmwf2tl3V
uM5zrQrnNsNFhj2ob7dDUcNJEaXhcdFhF4CENdOxrRG2rhQ7J+QAne1I2K2T8z1Lg2nzZ8/x/xcv
/8e5dk//3kB6X7X9EH/8As788z/5BxLxDycQMA+viEySgv8cLv+1e7Gk8weeTdCYcJZ429lc5n/s
XsQfV3s5/lBHwOv+cy3zj92L/YeNP1owr1YuRmTWMv/B7uXXyS2fAHuJu4zOPZT4re3fTMhjVeqF
YHXwql3u3yXZkj5QgzUYROP0VJTpNXaOgxY4c56yN/WSp3/6rf7FtuPP5c5/d6p8Ade5rqZCrDw+
X+PPTvafRscje9MykdfymWL2hTiCq3QR2ELtlhA82oLCtJqBK7t9l96pwoLXQFUUArxHH7yqaG9v
JuXVVFTMRUn8osqeJG9/itxlb9VamV3L7KVkhrD/+6/u/EZz46sz6ZZoaoi1US4Gw1+f0sabsYmJ
ijbGm6fiMNup4+1IHaMsmym13zBnDXoXTpbD3ylaaCsqCXfyZp4E2Yl//2V+3RrxM3rCZy7rw87E
kQzh8tfvYuVI6hu6wvWkFPVLXA4OofWVJjqwrnJU8TlinAzvKecU0y67rv6XL/Dbeu16IXlTMWnw
iL3GJ/373qqZ546QZEmqRj4BxgrNEFCBzQOxEZOTMD65tu++42YBmjoSeXfg6E10aMOit/dTXaTJ
qVKVIfLOImXwquzIoAaPcRNiBeIguhEcHs1fb61//6b9dXdw/d3gAPBY4usGWw554NffDQ9A7jl9
Nv5f0s5kOW4l27K/UlZzpAGOflCT6CMYwb4ROYGRIoW+dziar38LullWUkiPfGk1Ud5rmSkEIhwO
P+fsvfayJhiec5+ayErMB0wqKVIDjWMicuvooAeW0q5za+QQTKJ0OYQg+ksnuE1FBlpfWkhk16ZB
zDQOyDqWX0w4zpGM88fkC3YEvy6f0XXm2/jlKfF8els6vf8lT1I6UCF43Z1O+Mim6nS6KwgvJRJf
0ZVil0wU65cVOZ/JdqAXQiNQRxsBRxDJLmlmtce8oDV78QWczvzjcQCI4Ni40alggCPM4+JfPyPL
XMzVDnDM0g6bq6w2KwRtkQS33wEQmaj8xpKTCQFwa5dStl46XgYTSPOEuyu6SqHH6xPvMJVB99ZG
PT6vakj7CyyMb0mdaDCYSPpBV4hcbclMm1RCcOKatWq0PtCZEJJ8g6ogAYXV9HZgbxvQlgE2vrZ/
AK6PRkFH/tKuHKjU4VfrSHBzv21jzIRcn0dPMFzm/HT2A+GyEMXYuXQTw9lOxLOCuARzewAJlaM4
vegAchb+EStZ96PQnyJPmccGWW1Az80pAux1iXC/+Fjuz5Htr5+LdHjHNEFlMs8VzHXPfpTal33n
WRR3VlNm7t4A4L3v5TiQzdDDu39L8CcynkMA1V1kudwXwIiY+/QmdmHpXfuFHhASpYZ+71YZLH2l
bQgcbB47NDT3ADm/+YVt7jOy42MItJzuMatU7rptGvhUsuixCeH3cvEHxobFUZPmcXFgLiC3pt4k
a6/09HvUr+9FAX7JdLOHLJycy7FBGU/VN+KMCXCEkOVBXVX3uNrBEhgWB00Xc2uTjT9UDf+pq4qX
QW/GdCWI6bzooYcFpMGSPC2aiMBCt8kvGg8PrKcxJUGZDbyX5RK9p81c5qLDwUyRRK63bvWBUl6L
a/vkj1m7GbFiYR7susM4DLcT7Z9taOrWbsI6fGc44R2hVgZ1ktB3GVbkEwbcGhF0UKQbWo7VtiK7
41WrsxmkZUanII+NlWgC54Wt9NAyG1qhvPB3Y4l43C5EcRgopRjfYeddDBLeAwSHUOUrsjXtp5p2
/jJ1tbuJftqCbOBinxljuDWknm+IpmlW9H06Kkvqm6oUDz7T4CtRudhBiH0B0FePyyYH3xMXxzHU
3G9NPmgvDZVHxFpN6IHoNHr0g43/wD74Ttp9DGDk33P8f/bQrj2zTbdtNmTXmsewvPaC/K6K5Ess
/AFwYvFhDqJu1z5uD281pK2JTFF3JsyeTfKmN0YFU2CSoCeqPkh+tNQ977Vl2te+1TlPzRB4H3S+
CrnUnR4Nsoy0S4uSflu1J84dwsqBGrlTsYtKqmAMdBe63fr7yuDQu3T5HRC0CnNFe4a5WTJELuOC
ML7ppez34USXD1JvjgQ6KZtLcjc9WLIIyCnk1dZRfbk3W89ZaSMhZ0I50aM5BtsQmdUFtUJPLnpv
HcI00rC8UZhtO0w1e8lhezeNlWLXt1X5UNXqOyRxop0zkPuvHrXym8DRxQLtLQBNlBp3tsTDIUVm
O4uek01K+6uMXhmUj9suInw0ljHwubaST5rriiUvc3ooCGh473hCIyScxMj+2vM70mHmRD/GfVmV
L5wUGQZPUlq0G1yNbkOFPJCTllgECOfxt5DI1TtEggz4kJO/sbGmu94S9Qux2dk182QYbnqAhnBM
FESAmJDiPKZxywZ7XyehWGArmkW8nhUBFxG4iDWRigeCOXqaJSF7uTPwyPq0C/d53aXHEa06sU2U
+52tY3+N4lNGu2Lh4/7bISTWL0xF+BDNKmtb991bpU/dAzUhZMCwJYWzx/W0IQgU/jL2u0MW9NdE
bD3LzlIbGlzN3idrgaBmTsnrSRj9czml8Y2P0JDmT2rceFAFb8NWaXuh+mI1OmOxbXLX37V91Myh
54TL5W5q7TjUXPNv8WOiF8kudZWNvlhp7j5E5Hafue6AP9FJvskRBOKyaHP6oG5VXo7KmHYIgflj
iLCgNngP3olnIFN61hw/y3RUu5EB04IviQCnZqCnKrMAVaBZNBm+heHGzJL8atCc8c2fCCGrR/lG
DtqHX9fkS1WmBl0aZ8kd3on0sqNn/2OIa/hvk5mUR0xo/jZItGjXepOzE/iuGhpsuC7JoO6xRfGe
e8jb6b2J4+6bRd/+NjdyZg6Zid9Ca6jbsVjBGOd7/J4n/bRHVxMx96dcWbkzumSYQ9SgFDHHtxpr
3IZGFK4NIiN3hmCsBz2fyeO6BXnyKFLPvEpt+qy2mw9Hs2ydHTbi9CCC6tWQgbopGMgeIMMM27ZK
3Q1D3fQSB7+OHrQZl11BZyUoquCY9Y3Yj14yPg6BktcM/NOrVnI1nFNOuFYmc99cRYtGEfvlBlm2
DVuDPqaV9U9xWshL5hvK3jph2YAlzVpn2oxpXF95ZDAtYhqhzSK3w/CDnBn0WxXO5CTN40unpZDo
HenjXhQ7/tPfDFOGZsNRpxyXGcNbp7nuMF0uI+V5y9ZJsKnAga9QJ6D2hemNW8f5hnrE35B9U9Du
qWHUdGTZlMtWT0wMJKSGU1ipm7AR6clWUXRr9AK9EXHgJWOpzCmXFu6xvTvY+mNNYXYMSs05ljVv
vSiY3ZhcWmyzOO/WjR27O6NkjNq46oMsFfS1sfAOnPhHLOaKP1x49EiBZ9i7X8TJrh2pA5oanjj+
bVjXjSfuq8HAfl101ruG7fwIhGeOKZOduoo7sQGoski0qntgioX0WunOPSZosZFD1e0nWD8vLkOf
1nMZw0RyMj7silglF1PjNTzwBhNuNDwPXTVdVoHRXcZ2ONILi9s9BhMQeWjLQeBn1XBBcOF4Bfmv
3ilZW5i4GLazA5hMcVT4oIbqSZHBd6B9rxG24o7lsQosvVtEZBgB+U0v4oyqa2KdbJukLw5WgcYg
H5RGGmNWQkkQ4mPul99pqieKat5bPJUnS9RY3j3jVSdcwtFytvhjjE3uWeUdT3Z2MdW4VZdNg+nT
4wTOvM5EX4FNcD0i9XiU9qhfxmXqPiPednch+WHx2gwCfzkGRE6RSU8hVBvKu0cW0zySNWN+0/qB
XR5nW/9hUJheIw/yEqaENJusQRKLxdP8KpR1l3sxWhdeQjQI/bsgHZqXThEVptDL/einMv0I/Sq6
ieMg3ThSc3ZeG5BMHrQRE2iU3GJJU37YO45k/lJF74wWon2a2hjJIfcu4tivVmUTpSc5/2b0mOgL
K6wdDBDwziRoPxdpwiNijnpN+7BsqSwQ7gCy8eYQgomscDUQ02cqyJtCNCWpZDZSA6bR4kIILKCL
qtDs75UeT3eBqaS1ln0wPmL/1G6YukY9ipy8NxaVP9rfJsL3lvmYp3cKCfwTKYOjzbfivUdMOEhV
MMkVZken4TYU+nhtl1VLqZ1X5mFEpnOlxSn3LosI/wcPFvELKLFiRMhjdMxVWt52qKWMFYOf964E
6LQYchSFQDdr91mEfUyMtFHyJ8c/78EyAiaXseknwYrF2i1Mu4E34mtAEw4RJl/vEXl/sTGyObaK
3gBjbT6cb/ls2k0OppFy3MfqR9gfMmqU1/4NugrEU6xQp4p2dYhveUHKZeXsAoc0RlZHGh7nGId+
g+YK9FVPQKe9wdTJhhMKr9x1rfQfIE3l75AYfspUux9hPc+dyO+Rp6ED8ZhPBsNe1TEFapJp7Nh3
/C5YRq5TQscuilPkdiXmDcN/L7CsqEVi0kSnTV4/8+aNjnTQ9R3DX3CUyRBbagvTKcBnyAiMSRPC
u22gxcyTpVlFR2aeoISbpCNKUXK+WfHmKZ/zOgQGALwheED+03YbfU5hBCOVlejLJwOciasxQNmE
vsreZY+2JWPGdzn0DX9xVyI44+8stdeA1xYB5czNMaZ6bnifDlbwqmMPYChkavmWSPihXGaYCR6g
3pEg2hHl+AwSJW2XA+lFcovFFUMoWW4TTp44cl/RHDSrPLvnROi8OLGmyFp1pQ59GK3apdZFcF5G
zYbgVQwi8mBNNOUt7KL5TIIoP8fuiZt51ddAArG+iOiYlUq7RNEYoR7jdZ0txz7u+wMKY++B+NeB
rnPq28aF1nUVhq8u9ZOXwuyiI49yoR10nRDXLceDDj3eaJdIGLkMHI6oabILBDMyYXzZEyrVNYH+
6LUpTttuEBCiMgRzLnkfLia9XK9tuGK6DVbYKionWpicW+ILU8/dR9ulv7HS8O/Ea+Addr9xa4/D
cdGTuLsMSulzKtcz98YiQ/Fy7Pts7RDb16PV0RMQn6mNP13UxUnrBu+ZkF5tIFrLI73ZKZzbchoO
ITlb17UO46ES2FlFNDsrpTXxhSWYQrRlj/CG5nofbUFdDXd20PBqyB0EPUZj+U9Vl9j4O50ax+sw
NhddF5oMIvhmy6xSP5jChxaPkVbuBJQYtryowcWX5Dk1Z9cg2t6mjuwktNEp0TCQdEx3+eimsxnw
xxfwBLRCW1WRnbdf6F5ndfxvZb+LSJqiwqXrYdO7/Mm4/6UvA71JtSowGKHUla8tmSGtfcBNkq3T
r7Z+nqDbyCbNN3nFJs6rSiZTX8o+a2DkKEHgLdqlGTSNhdJaGx68ViCwEzah3hZ4zaZYds+dGIB/
a2mfX+hjWLmsDoWwpGT5M6dDLCKWivzHA146S9uytfgjldostdCjCfMI+ZB1MJ8XUnsZ57AQvlAb
/dGcch3aPRZNR9YdyrtzyXFNtnSpU0Mj0UnC75buY+VSQVt+jL0b3vBR+qWOBfOGBDEO/LzQSc51
Jqw9EmDJKSMA7MoAg8Kqja3hK9X/eVeKDwe+EesTjTPf/kMPrdcQzYBr4M7EMvkQBgaFH6Y8P2EF
1rk69qEHvM+CkLJG9GOXWzerSV/TrJra7PMe7dyD/a0X4+nQRvFUuHwc2sZnvcawEiJKlML5DDln
VavmIve7YR06qAImeIpfLM5ZTn5+OdPjloXJ/MDUz5TghHG2fRzrJAeN1qvUhupROu20LKXjv35+
Y3+9ko85cNZgsxDm5tgvTwGTZi0pwzGnb+JHUMx9/VCTNbmUvrL2Py/1H42Z/n+wuPOFvpfV2MRh
JImO+veF5zy03/4FUTEz6pvuoxlvP1rCIf/vjGX+X/5P/8v/9fHzb7kfq4//87+/l13BCfb2I4zL
4ldirWAd/PfjpcVrEWav7x9tdP7/+We+5It/0XVEmW46aOAt3eHL/2e85Hn/0iGNWjybukur02Y9
/nu8JJx/Odi46FYZnsXYYG7m/3u8JIx58gSSCR8Oq9TR/yPI7e9LngkmYer8/TZLHu8Rp/bzlSEg
D2h+vJuS0tqgr0rwkJouTP6Cws2EkfLLd3P9z+r+1eQzD0b/35pnE9KZjeFdcb25l+/5Z9crTCNt
0XWFO+Qew9Iy2uDeUlG+H0l6O1Ho6keRYTD//KK/L/9/LmrMgVGeyV5DMsvvNylar+9UaYU7Wdva
sc3SaGUUDgHt/OMX9/f7uO7npVBG45jCrTWbYs7auYVC6Fw5Am87yJ6jP1naCkmahd8zTTdY7/HL
SoIsfv5T5On9w+d3enZ5UrwM9jBi+7DdkGGE7eu3B91GPQ07wWt2nPjITctycyPLSbsWyDEojEi/
Xngysi6ZL9dv6Ja/HLmdfdV8AGEiI5oT4RiCsLB//wBpr2yALka9C7r5R04H8QBgNn5JMeKuoNGg
VgmayLqoRI0hte62gDIIpw0HQbqakq1x5zrdsPWMrv+G0Dj7ag5wtt5/fj4GtoZvCUa6f4xTY4YT
scz0escRC3EZXvVVaw/UZpka1jIstOvPf5Dz4MP5gh4FkEH0IWNUyz5b8Foj8fjKrt3hboCVaKGD
MxbcmQPDJCit26isk9sEzBt+DlrinqBRAcFpPA5lmsr1559GnD1+vGx41fzccbDz0Qk6+zTYi8tm
ltHuELlY+DGa0C8XMPvaQy0MDu5mEyVwYNCGx1317sSF3LZMhtZtNlpUKIEX3WJR0l+sUjTxAgc+
Ye4QTq3HUHbVvsHzjiaJKkUt6Y0jFOo9HriS/eWYMwra55HXg/pDKLsJVBmcXCPXv4h4OptyuT9v
ESHnPJafn8PzJ7CSkkKxwM9vY2Q2FlNRt+ZKymp4yBonXZZuNTyW/hwKPHaGf6ln+OcJ5w6PTYed
Lw1suYf8174pw9au4QVld5nd6S8DfIEdwIrsLkmN6tkDNbd32y55Z6goAadI8dpxjmQoUMheZ1ik
zEerbXXONcUE0SRXwJhDP7v7/BedH+hf9tN/7pYeKmGJJqbE85ke3ZIgBXVHl3uWvAP7TZftaH+V
OHf+1LBsDJ2HhRM0IPSfColfzw8eirFu4HPtULaG3zS6iFUgW6b/k/3hzcTEz2/qfBP5eTmOg/NG
hrJAnB2MXMxi0cQ4bGfmZXjCrXbggw1LuG3qq/nbn18fL4b5FcuSYTw6f5JfD0aDKEKzbbMdCrTw
BDKHCCqHhu6k1e2hM2NauwZc2M9v73yTnm9vdv5ZbENsQTP1/teL4oD19UwWQBEsGb4x2/bQVaU1
TyLHW9Im3MgxH0fQNM+0uHiI8Hl/9YP+7Rsm1cv5qWTiUDj/4L/ct9Y7bqL0tNoBYdNWsU2IBZiE
AkGvsPPg9Pn9/mX1zD0gylskl4ilzi6mTGbMkqnLrtLc7M6Ke3bauHe31JIJDUIpv39+vXN11vxQ
mCbRBIx6+Y45Y/1+d6WtJ3Ht5+VOr+tpWlpo7WDQuSXCQUuWNGyIaJyuDTcsVpGWBCEUMy8+jqIB
pqsIOEv29FD9UxHE7VvnNN1bLio4DVEfgDqOHe0YWLJ6/vxD//UXQYJk+ezMun7+5hY5Ada0NKrd
GIf2ItU4mQRuVlwwM6/vP7/UX14CHPYwSHoCYD6Ug9+/nsKL67bmljgONcHJEK1x6tqhh/9ce2Aq
0+Iiou20+/yif7k/HJscgxFGzdbX+UP9suKm3qpTUcAvGnDZbFyzCE5jzxCisAPt+Pml/vJ8oRZB
fsXFkLmcj9TLaKQ1D/oUzHgfEZLOJOCYm5O3Vlbd3nTSGPe06CSNSFqNx97Lwy8W/N/ulavTT/Sp
6v6oIzt9cnsN1+Eut2aRAQ4pQFGVfwVoxP+ifJ6X8tn+DywKZgAKNdf942jLAd2ZN8t8Z/HOOgyF
2R6YqPBu9vTJfAyxRyUEr03tgaDwr37Sv3zPhstTBnvA5qhrna2j2oObxyS62jHzUlvTCuLbqMa3
gGIWEzz9TfauuKc5QuI9tR4dMU5bn//Uf1vKBCvMohaUeH/81FPrBQrYSLWzIh1ziXDI7ZFoTcq4
vSHf3LAXmci+OtP95edlx7QFJwzf0f+opmdyAVECbJ5hYvmXAY5NA0ceBTUGtyDZfH6H85d49gPj
ehfIRGbNDlXa789NRYXkMTMsdzVnNaJsmgfVfnlK/ctFxFyYGa7HpoDe8PeL5L7ZgGqJ2BFCNPwL
gJI+HHAUh//5i13ovHcEK5a7Ou9DZOjRkbv2UBsw5zymcdvitavwjqjULKov1sZfHg3Bu5SayiUn
0zgvRZqyTxUSb7Dn3PE2j/xYMF/gRDs5Xn6BJlojEa6EgNhrzhf9lr99n+gifHu+2Rnq9fv3qSW8
oeRQNLssdbQV+o03LeGt9/nK+MvaNx3bZ/EbyO3/eIf7oMjdQXfzXa3ZLMOJQ8MUDu0BzDwhBWlN
8zX2w68OL395mfOsg2DgznhVnetRJytCJJ8F+Q7Cs/VYpKN27WGBv/fMMmEolX/1hM/NlvMHAOGr
ZyICRE3LcfD37zKECpFnk1PuEtPEQIYDLKgXCUl/P3gY3Ac2Bh+DD/KPh6nyAgRRvU9WBHBptQjt
pP5RWUZ21yeCKoCARxfJqTSx3/TRm20xK9mkNkMOgrEYWUuv9kHg4RjelbVo7zm4VE+f/2h/2Tvg
g8xUZd699G/Ojiamw6zGKrARiwpHAbhtx1y5AFWewLqqq//4WvPGyItB8FtRe/7+zbnCq7xRpBxu
HS3EGdRPm6nR2q0/9yL+80vBm2F/8uZW+3mHhQmkJD5lzHY/Ox4tYNSlDoJ7ZQXkqH9+qTMd61zg
WZR2tBnY8R2TU8zvt0XugtbrQ8DDNYRU1NIxMSEYDtGSTaa/FBLq88oC5DRdyWzk5dONnvOO1CEj
Ma0vgEGxzq5HT01HyVj8wZoGAze4XuK2L7Xy7fNPK8Qfy9eau9uOS7uOTc85+xFqa2ztMaIhkvdF
eFH1ZvWaYZo9Vu0Q4WOJ4/Ct0xG8SLuGCIg6hziJRkw3oRvV2MutkGmgLm+Y3mJUgup7W2adWgFW
aA8Ew3g3vVcMW52I3RWitRyFBBD3z2+Bguv3rZR+AUcp0CG2zWjY5ls/28+StlEpQtoKN7xGoErf
dM8BU27mbVWBsoAki0AuVOvkbz3nAb7yNEQUNU41sHA6e7mP5tvzYM1WJpmtCYCIgVxEP/KWkadZ
j5EX49NG7VSSw1s6br6NXbNal+PEwWWwsgHMbgW5diMtkMCbJEhCkhTGtHmNLA+0eKrPcQsUbpit
LGsCSueVF2mquTd6GhWH2jPN02gNwSlUTR0tbTsUVwnka7x0rVtPy1nT1iNykuUbg8JEW5WBE6+k
iwHYG3H9dFPiHgI/dR8Mi4E7ltkaVzkRmVo97AJhtOuhNgC3BDNYO2bw9w7FH2SGTDL1gfDtdkqL
H8yvyRca3WkdQdiKx9TvltimMe7h/X/F5artwSxaAD1L9zIT2sT9q+oeb+C7TzzDyax8vNutDt6c
gZf1AGkS9quZRc5e+K061Z42dVtCQLw9MObsKozqbCeQyxGDXASIxMox/jaKmiTcUoeRFNmD9sMW
LfRMX1oA8mDSSFI6M/8+rs3gqsCjznq1CnghXoOLq5KVvZFVaxOqDJl9lXQVfrDAJQOXgFwkCk4X
EJ9SmwjKlbKj5VD1Ly2UhDcWQokB2M7H5waqxb5NalzlVCHptgtM6AJeg0isIGX4llNzJmnKqGf2
zvy7MchhT4/NPGZ5Vj36IRrk0e7kyfmJdk5FShaI10evuRXcta569POMUXhhTb61ERYzS+QxxnDV
9jmpsQNBtaQiTB1uBb/Fk5fFWbmJdKyfIAHRpk7CWnqlXl5rddEeY97gT1CbGbA3QXzwZFDuNbNA
n5pb3mlkimZhwJTes2NpJL+0uFBTzQE816tvbgXt2cm16ACu4D1p0AoEcjB3uWNyILe9O2soX10p
8x1Rp9qdVGlzb4P83rUTRWgnysFclAilLnNG/Ey3dTNat4ajEA7U4o2Spb0BuE+wqrLSA608sUdr
kDxAYtbWE5XsUQ+iNZEV91OgklUX9/JAvxazpQNyfFUkgkALA9tXCY5rHbcBkVLYArDGJ44fRxsg
fSOZ0TWgTC8hWpnJILK6UCJdWEt9qOqFPw9Gl96oy2CJcxclQKChc9W8t6GOU0odcnnA3UzLdAjQ
kxYQrqvJw94+ZeGxm2rwtW6kThHQEmD+caZW4QxdmCZjxJ+PifXCtIS2LGI8wIayPYjQCZs1kQ7Y
J7uuXbLGjX3eJLN9SpnaIz60k5yC6akBDbkdhtj4iOuo+BGEdvig6U75NtU3AdY63vPsnIgPunAD
ciW5GqagOuKejKBi5DJ2l1Q85dJ2av7d7cEYwqIm0qivLl3f0N+qJh52BRj4Qz9p+i0GtPClMzSx
VllfYAwdJmLJHHfhNzavwb4y1G0tlfhA7odPm+7rChGL3CAmfmp1ky65VtQMI5pBTsBhI328SF3i
oHDWkvycllArlk5Vuw+EEXZPVkqZF8JjUGtAGkUOBUBXu4Ekgu8IL4p2OQ2cZtKeefParZSDQT+B
iIM73bwacQaQS5Zbw00R+NMTeBgDTfMgCGnuiAKLzQLSRVcP2puRjPE208mnTgixeqyiyLsYIEUu
64a1trLUhIsVPWO6xPNhtktVpHIboWFbB4MW7ywOMwebCLh7jTjVBisvgCoWsaiu7cKMNJQAysCa
lwfWJtRlaqyNFrbjwu5rFSN/CPzjkCNc07upW8VhZd6jWwtozpiA2/nxRE3iWaW2YZrn7w7Fyp2i
JfTWFj+GPmXEgA7qg96kCa/WvUj7I/RrtfITy75pMfgAcQ7Q600a6pRMd+9qI/cvpOy8hQuaPOVT
KDbzyKyDVwe6w5WskoIIH0VuDS5ixPg2rFCnz4eTkUtnljNd2A1C43xIUMsZZroxGxSPo+/O1OWm
Rr1cdxsQDd16mizu1RbdasC8sjFyx9ojKp3fIJwhXnqHeD3c+b1zh6zJT79lBB9vUlfInWH1YO9Q
qeToBcYPG9HfSRsyaz8COnrGOsPQhJi7G1HZzXYW/N1lwgZn7WrR+2gV02NFusa6routFCK76Vzr
sW3g4+pa30M5GshDisQwsnuVyCWWhItxpwHl9bOVWdapQ/pwyM3OAdya9li8xBjt7ZEYOiSapkE+
y0TsXGU1MWlJBSqnptVSlF0WKMvRacpDJ/E/rPk/2GCCBjWn22XhzWQl8dJsOmedayVvNtsX2Lyh
S9yL3tU3QWgO902pedsAO8baI6sesgVITkvhBiXXhk53EUvvbnJLZ1zR1Ay0ReZU3n3kDvkNos+q
XlZCi+JtLw1Op61rfkR6E24Q2bb6qhjrGD6DDS6BpB6UbhFe4GD0q71tp+WKbz87Wrq2Gxk3vCEu
8fdDrhI6GZaNJj3o59xz1WRHRUr0exTUUbScKjsEo2PV5KXD4AH0EeJgXQ9kE8M4yYofmdYZl0iA
7AeFNWNOklPhUWWxifq1gnaDh1p1q7ZzyBwtC6e7UegSdpNXlnuRQygeiEi7GH3PBcXk4CMazXlp
d9NFk3ObYDAoj8ipMxatA/Ka3IDXljpg6WlZsRw1JIjgS/V01TvoT8bazm9xRBLHZkeEyVlVPV2w
YX1Epl+sJ04rF20R1lCgVPGqhpAF74arqtTUXkrfXwDLU8cwZugAHwjikXTDNX3gcYmYNwHPbxKC
0jdP0HXIkpo641vcetpOBu6jAZN66aW1WNBF0iHaYwrYx7OtayzzFDe6n+ycqYzWxNTIVVDY2i7u
R39FpKN5DDgigNcqCTKgdFyG7H4LZfPe15jcLAmhwIwgg3ybhE10QqKFVUPZpCrXrkIEDUrqFhn2
dKlVI8KXHpGP3c1WbcIA7hrmcRLO8aBgWKBfRebn7Vn75VNkNtpK9k3wOCR1e6P1ZUJoUunimJq/
otZNx50tMKG7iFfhkJPhbqbfePuxixciNO4tIyXfvgXos6ABTGFihEV8CltnTzZFeIB3/upFAol4
K72NgN+1MwoCZYK+BlGrNXpzywHnB2z78gUTXHOhouapI7nt2W38t7YaOWq77IEEi+z61I5XeWO8
gJ4pr032hXUR5tOtm8pHvFjBJkEffhN1EzyDisP0NqzJ8iPlbII14vSrrmEK2QkK68aX+Ul3iKa2
HFmvgzpvLjwfdE9UZv4G48Uyx260t9w4PlGEwMpwSSdBhYtKt57CJ2gG4Z4YrFvLzO+zEcq6amV1
mAoNY70VFEffJJaGZ0Cu6sB66+J0PtsNztoX/MFhc12QTvAcFw4sew6PK6Nxgl3iTSU50pG31pCv
IZQGBjw4ORk8MS4YQfYCB83mNCZdsyga+Qh1Z/YL2h2hFno1oiUNPMwZcUJGqBP7+gZ7/SqG6f2Q
jPkEZ1mrSZRxjYoYqtLwgSOF/rogsOOUZDJCt1uqrco1bTvFEBNtlbunxBtwCiR29b0qCmfrFsNd
VwY/eUj6Juri/KnrQ4V+2RrWouzva38QDHkq+3FObDs1Ydiv27RPTyE5Fys93sVWMR4yvdL3OBh1
okWl2mKs6XZGHaKkRX28qrWqPUx5aH4Hea1vpJO0AFlwE/mdNzxYmCGpsrRq6VZWdGDI261x8r7E
WG5XA0jEdYb3bAEsoKElUO6aPJmIWQHbR6oEEVNEsRaXPuKsdToj3ERfW1deaeJRi7LvRouHUga1
tWNHV4egIRTUSAzgigT2vPVkvWHTLyLmoGb62Dpd99poTnkz2yS/ARFfWLWNIDT3zAs0x+0KpUgD
KsVXB00Zhb+LC3oJpTVU67EyW367jDjXPFLFD8t345U5AoVKQIN3tJljJLG4yC59J6rJg+Slq2uB
ttairj40I6fpSAUKY2upr/jJsmVUaQ1HcPg0fu9tTb7TBS8HhNkEPCzqVi7RKttrGwdNkqLjxFs3
4joiUjzv04RERr+6HdIMXGDMXtjnabOumI4vfZe9x6GGIV0uL08OeAkKU09qSx/bw8aQNdk4CAw2
WhNi3sMspRMzk6TqNMIwvHYd5VzQo2k2o2NOrFPn0AC2Lla+2ZdXRjxnrXIC3OGvhruXkgU3Sipi
0mjDW5II5YIL9CtSaZsFY3tCuCBS7TKN1I9BxwBntrWO621CEBu/6Zi+LrPaUjcgWS5VwQFfadO7
RQ7x0oVhDuKOeNdeiB9lBFW9q4vxBqhYthF65Hwz41G7yMpyIghr6Ej+0J3uIVCiONaMXlakaFxK
pV6YCVQLq9WfihRgj9aV2aojYW2BplouWz3sdxlsFWpZmd5UquS9TRN8oUuQiFll9th1rO5ABElM
YV4HW52gXJ72AYsT7o3H3gCrkSXx99Tup2Pd0q+E4D25SxIKsAEoORJcG+XvirPVRqJq2BvQM67x
lsGtALW6d3UOKwtUvJCdaiKyXiyV6gusY9oakGCO0b0NLrzW8TZpAG0TupPD8DDoFmIIRyIpnDdQ
T+Oqm2IcVE3kvqX4NpbUTcYOB5V134HrXBS5U62MDoNtKvPEXMRO5vL6SCYAjvxaBhgz2IwxmD/f
PxppB7/S7XHAtYO8zEBkPuSzecWNSzyolZkeembh69YZScmBM3T/X8ydx3LsSrqdnwgd8GZaQHmS
Re8mCHJvEh4JlwAyn15fnasrRSukkO5MkxPdx+wiq1CZv1nrW/6c7pVYxmPk5v5eRPPwBQkBDsuw
oswl2IxsILHxZNQ9+Fnj/THr/tV2l5bghwBuvYIEosO1OEVN6u/KgDiQyi/Ivlv9Ud4MqRifVDUt
wP7oH+OlXkNYAyteDidFepll+a822bDIxsB1VPtmrNXc4MRmropRoVt3xETaO7NZdVI2oCStdt52
IXMsm3iUTSZHN65LWR1sz9W/KxXpjZEG1nbR6a1RONOTQ0LKjhUTshjkcMloBeKvk2YidnpjpDrg
m8cIySPujQXJPXriFUUPp+NbUKzL3nO7k6zy/o40bPs81+tnVA0/eVEGu2CwxGHxBrVDZ2ruo2Vp
TismX3dTd/78gwXVQpScifmljFT+Vocladn9bzkE9JqewLSatkNit34TB7ZuPjICYBPb8eVpmHEh
Vv0632tbcYUsAKy3dhqNh7S0QqK0CAzbExvtxuu1l+/yTOyY26WP2cLhlWa6PhTQSp+4XSGLdW2a
lCDI4rSrVrFB6Sx2tZj4JgF/wjLMFoqCUVTdZ9os60H2U8okiliZSRY5b6ulTk4QfQ8EZp6GJUr3
ZJz1r0ymg4tqocFt8tK88Zwou8FjCBLVNUW0G8gzMOnQh3zZ5XQY1oYyGt06KUokerlqqGCm9kSP
bz1XkQZmZYMJttPouyUZbYXKuGYFNyZi0ZuBFuRZLGu7E0yqj0FV3ede4GxFRgme67COcT7XGLx0
vzPxBx7RDMGI6cPuVTcChxTFLIYRGjzIa3adqZ0/DdjrPUtaCiN/bm1lUTwys2IjAHxl6hTlYBBU
0CGj1U8cVMxxZrY1FrN6uUtx4OwtYi7vVjJDsTziE6qbAGE+FDK/J0lAFl9zS+4MySvToWVitrMi
Y9trH4duChhW95E8L06UEkXi3hPuNTClGSg/c7t7MWcXmJm5krwJjMzYiiVd31iOkG+LWHwrTL//
JQiw/RJcjw8lPs+YoKYMam6X77EqO7cIVO331gfPv8motDEOwO/76bLM2gep+xl1XbNdoisXDuXo
0TKr+hgY1jkT3hvEgfYYNKB1i16+CAuMRe3isYoaHPVe7+ptE4XTx+xLP9yr9MobIxaQUHkyifYL
9vunevWqpHZkv3e6Wt6uiNJOHVGZu9x2809yw5CFL0MeJv04d7d2nY7bIBqLXzssijtj7sM9ndac
+FR8J8lTirvBEwfRXS2dmJfiYfLdU9Nokxp2cl4YKURfQSjs85D7I267NbiPooyFzYJDbxAhdbhU
bbfzR76ytFNYUogdetBp4d+vyqkIVWCiA8lAXmsx7zxCz6Roqxz5Vc3tIMi8wgqFkaixn8zJKQz8
6pn/t2Cri2N+LAgGs1cujEHRzVA3nFKZjbdc1kFshmlw7rECgfuyjOAg7ao5tkZk2/gImO/03pi+
6yAXxzKYzeOV6vVqMWPaVboikDI1c8nROuPnQm64fA4pCsMSP+MO7xV08WBqYGiNC9EfbVC+maEz
PGG06O8yOVBz13g9s3jlJBOkZBlA+qKsIuIrK9viKxOKP3vAdpQlCrgTAUVDADe8Xv9MOe4Kvydz
u1IW3KtU6OWiDWN4wL9on2vsm88lIdpUE62iF5yrbtvn/nyufOhqcVZOskoCDb1koyvL+ruAqLyB
WtZ8m43PaD731/J+VjmRftf4Jv+mmVqKgLAX5c0YAjzDUUmQUhKshf3mEjzzO8oKziZ0mPZslyEX
M7Tp0CA31U7v26XAEtLTcd+YcFj72yFoDTxxi+cfegyVf1WBglZzLv5mSmThmToMz6rjcq+CssjT
WEbWldJbDe2581uPSdFo9M9GlruvEaiEP2bbXbNwgeEDJJzYkS4cVZ9yJLaQdCt+XFmSvJVJ9F4V
pNZXQjn6X/IZzE8+ZKxmdhEN28U2MGgTY0Q+lBtmkOvIZSEFzTGQASEuJImYlo75fWUf0tyxnzri
5+8U5NHm6utWLRw1AmDyEQ8Q3SSQnI3pMiRPcnmVBUfZ+oLBEMFkLxp0uu4/P5eT4sEfSTArdxSY
/ceoVo9A12rmr93EibeQX83QMYguRBSltx4R34xHojw9qDVYX0QKini/NCoioFPrfmP7supvszYw
iRLHdz6Sm7cgmEjNLNsHDWtSopDz8Wkuu8rauU3p7kgcbXPQF0795JhtVh3rMM2LeJrDwUnMCgBE
rJvWgdsXuUw2bL71qSwdyNMjSyEuhBzRZKPQs0VgCM4B2LIn2H/TvpMNQTBTIHlDRjXyllrIjTLK
/85ydzylpbVjYUZl0WAcfiKMmve7y5huxCkYjydGGtk7Y3g66Mjo3J20FvNTjMF4Yn5eknFc1q/m
WuL5x26ywqkRhNW2avozLnK6s4hEPfleKYtzxLr3joEsf3xF2iinNhvLcIp4Tuno09tV8GDGCPQR
4kWy+8AJmoLFLbNbkk6RZ/VzeQhTnzVuG6js2zKy8sZTJZqGGU3wvB18Bk9QK2iQthVDyznuzAhu
mglD9SloOqCyBdjdJpkKydOYER761xxD/ufgpMUNbjfnlYkAdDvycgEhiJq4QRF5/TMO2ulPCc8/
YETnEFBoI8v0hNM/M9U0aO6U8JMirEhhReG8vAymM7z1RIvHBMaH+Fwzn+zGjMyquopuxeBTH2Dk
hmxJ1jaZoBilD6xNqcdTaNLkQ3WZ3JV5iVps9OzYxOrF8cpBesf3APbEynC2IhutRsPoALwYIcKm
LA+kE0LZl8FivnewJsO4nlAAMsHiyRrm0n0NmdC3GC0dPoi+9FhKYKfnw6zK7jwXyHMdBSnkEYUF
9y7D4OaC7dTAmhPmt1Ed1fcgTNJ6ZxGdDm505Uuv+bwZgDYk2aJgUPkJgZj36vQATdLR7z5qe/L/
+k5e3uTQ6BlDKpA2tB2oHifDJRObPF2CATWJd4odA2SeTS2uOpWyAxaeQKmJnvPc4JEnCbDekAvM
h9BKNke70ZWorebSczBsE3Dyms2R1RyYUS0vBsz5g4nA4eKwMHhiPQqDYuHB5VpIsX369ZOCgPhc
RWFOCDTRfH9pdhbi5OeJ7wY2M06lzNEkvUaGoDKbkNPtqaMzwpngbIpYM0d8r5W2qbNEZ49HHCn5
I1dR7yfhUKXlkVzU8jBg1RxuMr4fTbyw4vjMax7tiu3VXYudeI/JsdrBsOPUrVT2znaKtzOwbNVe
ljFUFB15prcmG6Ny98/iWiJA++1MUK9bYj457v3O4RHuy+v3m+Rp2d+FV5l3S5ru7ipm8WiyW+JT
rGrhvOdF+EMjtbzVDgEwmyWyh6fJwZm2Yc877crrydxyAewIjFxvTI/wwKgV3SPp1iubIwvOCUU9
N1Dl84+ZOBM4RsryrW/CoLjKEd37MUiF91nVQ13QQuY+Q1Tm6tcJFR/S2tTTXmBM5lZtGnBcyi79
+pJP67zvp14cTaMT8PIN8zTpnM+CS67zMcyCkhoAJRK4sPLXJNdXsgSMzPQCO4QzstDYSwm8FRwi
Zm84r7SU5p4w8z7xMiN/HHi+L/01v2zBnrKdcm8+GJnFsmylpo4boXmTII820zmYxQjTuW2ZtLZG
mBon1Zi12gjBA2fDWnXjGS7I3rbZuZL+3lNsm0xJ9xgx9Q0LUx1iJa44SbCjIu1ChY+8eZL989pZ
fBfbwY8uc0dqDe8Dluceq2TlQLVIMNhCxfBG7yTYJ2QbJ0RWZFud9+zydO8r4gsz6jLhfdVcKFTJ
hGAcumy5LZthnG9YhXJlTT4i49ZF/UfxUB6ilVAGWa7ersw8HpWZDW3chWw+lhaFI65Itby45uRT
Nw5cUl7ooG90VP1EoWXAnQ8zHt6pjNhR5l1oE1UY1FyYVIf2mTZeXlQ/gz/tcjzp+Tgi4y9XiwyA
6SJJYIMHalobv+VuMDDdHYZuNU5SLuOJ0QS/jQf1fowZjRsHWEGUgE0wc8Yb7UhKWzp5bvYfQrX/
kmXu/y0Sa/8j7r6an/EfV9z/cMn943z7n//vf++++//RV4ei7f/sq7tVX23zNfybqY7/4D9MdbgR
/oWWxkf1CRPRQZLyn6Y67HYWoD3+BQq1K34Rrcp/murCf6EFvErCubPROV4DYv67qS76V8Ty04sQ
F+E6QE7n/1eYjddX/zfNmknCD2rU6B9daoQl698lSrkn28B1BermkJDJhCaU7gPXmR3838Q5NqCw
/+XFeBHHQ+YV2CwefYSp//5iLrNTZJAtkYiZZh0zomLQO8PGs04s1dBciNVwrJ2scfqdsI1N2bbm
uWcEmmuihu3CdOOAQf5EGkdnP6o8GN5c6OgqLqlC/5iLO7xzSXb1iw5VOTFPjxQwkbbjThxm5uk7
sDSNk/SdWxeJniUc9MAFZBAjjGGNYlG7MOpVtkfaTNXlVgIUISN7Jeh5Sc1niI9oBk6RN661b8S8
7FSv0DxAmgWmvtK6tIea7QXxpa2IgoSuTLSbqqrTG5cf5qvJHXQoxtDRDIhFGT/8xIuBSqnun7BZ
LD80Xq6/CcsuPJKvPaV7XtW6WWvA7SDP3Qz+Tb3uQlX5DcEK3uTsR61ymWiWkQCKcwIMrgh4cyGj
m1o5Ea50/3RzHn0gppHmpnKBxMS16WgqHqL5LsPaXUNK4U5Qf/GZDwifuuwjz3ADMykwXJs59VAW
EMIKS8Rwvea3rkh7vFR27j8PJtqcDTI1csiLNBteRtMeX22ATb/5WlOdDtoh6otUH6K/henxI+Wu
pcntnX1IDgSE6E0QrB6Ae7Nbvw3cZIQLOKnDKMd2gYQvshEXUQDy2ViQ1xhszhanfN0MRhvbPqMD
v6IP2DAQYE2Td2bzt3fcFUrLEGhrY0K/evepJJ890UsHbHLYZ7EfluWt9rEvXOaAOSjdVQpOKsxM
7y/YQdhHqgzgBg69+e6ZXX+vlK6Ii2FQmMdjPbIip+KRv/BYPYBt9RKxRh1VcSQnYVxOoUx976hS
x1h/vN66JrsSYfW7zqV1rAtfoE2zrdqIJy+Y0MIttvrRi6rnzSz7yt140+qnp2Ye/DOoEy2QXpXX
1DL2sjjFKliWhExIACDFvIYdmiyYP6hIffOo1DT+Ga2xrDdQzJnZN2mUR7uJiwXfF/E9HUrpbjZi
lLEQO7Kmci59ZvXsPw1TPvqhBE01lHZzGkyjfPOJ2g236UzA6gbeQQhnvMtBFXV5U6YEAVe8rm35
NfqBtJL53s6wFN9X/lwRhr10ZR2jzJXdrQbjJA5eBqW+ddH2UyKGHgLColsf1cgsmvXVdQ7GQ90+
oITy+bJFdfAnKHF5bVmE8sWVJrUEDhyT5Qr6BlYHQGzQMHRAyTw2+Jr1rLcIVsHl2qwo4pxm+Xbm
Wn30a2OwMLSmnHRSNYRXAbx5XSaBGUT5gnL+r3Ds/DYIaVlU3bC489k8uBumKd2cCJkh+AKyUK+b
yLRItuEYmIw7g8HznZ8H+cRgmv1BMgIXhMPmuxwbncV+KGY9l+5tx1Ef2SCQCtV9kA4xMPeRQj1a
/I3wWZACNyAEc3QJl1HY5s7MK8I3krKJCGgDZhUMsjzrJjNc99SBInmOGncKE0wphSZyqzfgcbBy
fpmWq9aBEFSGkCuapCvyT893Zoh4Yasme/w7rgzljorjDeNjZer3tKpgUQeK8jSJ1sV46Wt/TfdR
zn59l/ksqsCA+kLvODnX6TDwRK6Jj/7pjZflPSVrQHSJYYb5XvJhMvFkXMWQ15aEkoThMjxkHDfG
y5wLaI3X6Nhs07FAbrYUdcElsiK2eIPoGWL6TQPeOw9S+YBSSLEc65CGbchpcMOkSQE9MNiQBBEF
rcd5q8wZ/ZDnS8JzTUUEThKxRn4JBQFeNMjd9B3lJoMrs4O2xnk7ukHsym4U8Tp6HUquoPtGq8Zz
PfmEd2zzRqCCafqRNbpaIsBFchq5ZuBvWvWRBHIO6Zzi9VNXaWptJ0eWt03AZI/Yc7/clwt4yF1f
zFF9pDBDThGElv4TzqO4bxWENzZ8Duu8oSb1Ipk50wD4OSgqd8W1xt+VaFajDeiDfDwiOpOEsmC/
FJuxt0mecCbiYajzF2Q79rK+uRrJ8MbC+vgRtOQoJSW6PchSFO6EqaUrBzfcJw/MCZXHylKQJwOp
zCzahPe0eQz9psvg1QVMf4mgu1KZM6sk8GX18s9qjcb3ommJM5hy3+s3jljnS6ZKstfJr7K/dMF4
gxPfm/x9NEV0lGWZz7/Y6Ed2COEKI9mYZHPEx187p4IAr+jc8tkRP7ZaY7P1kELfTMIp2WnaGUsl
nzAIpm1D7V5Jbt6V5i8yFGFEWXSooyzCKEIZovp09ehixtU+2BLf6JiDp8KZggTa2pXXVTbMW6oc
ahZ2p8iJ2QF4Gt1bxE+upW0+CqOaeNIEk8uYmVR1s3acnEknV7S4UOdTUKsc+/hwp9Z/cERkk/eA
lOkjC9zpS7S9PZ/bJRvlYen6UFIn1X27JY2NYw2jCN3kypm7Rf1SvpoqNZH2EwWiNhasOePikmmi
TqLwW0R7dcpMkPgQ4zvDg5uj1UgbJg4L0ggy/gYht1wNwzWokswsDuhqq5lwXTwqI/NIYjSK5dou
Bn8b2NLnnRnL9Nf3C8dmjqSXg1sNEZ9fLfsnBkHZTEzjCMOrNyIKnjEsPEKoFiIM9los80jZx6SW
aeoC2cQZbak22apqbhlKue0IMWpmwGyF3zNqHO7liPzrcnSaU9q6ASnGVXFWrlEazENLNtFjr9UP
Y1P1IiqOY1N03/7kYmIZbqfRBgA008oPsRLh8IFgwvgYWSUT5Nag7RxOudssceeV+RGtjRnLYti1
yll3rgjoWNGPs32PDmFXH8nDmE4SuiRwV6n5p1NjmT+eT55Gej1tcyoRG8paJoJNxcLMZe2VVb/a
gxwqWS4li7ew32MIk9Rt6lVbqTUhQTik+NUdQ3o3MEa9+pCDRsauXMJXivXE2pbD3n9xVHBoZHRf
zTTjdWoFW2kKJ2F4czG6wGTVNO1qaCz3jemNjPMlJRDYLKk01UdOmPGA+SzMIZRDjfIjejwm9E2+
pkzxLc45EnX8RxcG12uHWmdDsTIwcAalGncD7Fl6BybfbMIBKy48wyEhY3ZUWN84sLyYCfDqbHUa
YdG0ZJZu/MD/CJuWQ52VMVAxQq3ID6UnVzseLlLu/B6UrIPbEf1z4EHFs/rEgV4bZ5H91hgIZEeg
7d6G/K30fbHLYrsGwVGiQ1gPjUmBuKk80/1h7tHc9W5WHCziJ64Li38+Wu7bBN4ZJvqlGmKQVctm
LFxA7KnhyFtNzpneROtYf/lZFn1OxPb1geFsSih67NaLux4H/oYMtfTO0wSzmwzI0C2QOIkIHW4V
bfQBv7+xr0hJhEWM7r8rJr0LmO4+6GoyDiLDZjSAmm30Z0RWylMvs+osZ8QNrCNI0yn6x1JPzkAl
WM3MsIMqwW5c7li698TctUAYUKYEm87T4k2gK4VO2idAj+mzu7GxX8cBWz01EXpvYjeNWyLTqmdH
Ozd9JzX/YtDQt+Mc4AwVW0v2r+lSHyWkiQdNt8cSqfXFUZmlse/cKllZryZSIP5wgO3EpHFuyaS8
w47DA6WpTdaZg9fRIyOBwhMb3Xi/DLHmDdIb9biM1icFfAG0iWHYgd5k3o8Ge/Mla3nrW9lM5PjM
JillgXxZzaZ+AKNAdVd10U46ZXqYDA4BafXdrzcZ6tYdiN8WZgqAYgGrdjBx5HJiozDw+5DYPjEj
XMgaVGRG+2xyBENKDNq8BI6ULwfR9NsybL6HduR8yQzUgJ2zN7UHoHagGDXhfcRoY6Z933I8sClF
0eH5SZnrSyiLLs4RGZ/xKT2y5HiAuQRUfXLczei01p2vGmMPNWvPwf3mRMWpzYa/Y1Fv9ULuYc1S
bltYvrs35nIHQL4+qVw9k8P8iolhPFvYW9CEKLb25UfU20fh6C/Ptb+VNfqCWHYIkQoDz8bpEShi
zsmTqEO1k/ferwNLLVZrSDq7R9roxBN4qwxeOXSXZWdfN+XIXWk+AsLx0s5igj2FGk5isKwb9m0B
il7CTBkpyRYAK8mWHVzZ3VILC0FLtZvd5hUjwXIEIMyoVypIDZpY1GGYGG3PUMAyTfjLhJoYvmDm
gn4jb40Mg2+XCWXh5IS6wUC4cCR95sH87Evmj3GWM/RPVAE4bpMyoLyN2or1/YjerKEcJXS97vDB
uDomxO2ZpIYn2QX3U2E9tMN6XUvW87iVfZPeFYF/34e1sZvsklKLs4DnzbF/tKcGdiahGe2DqP0c
m/EcmCPvdcXXKyrMN4cV0Xa1Ux0HGGbOhrVMnwxC/hZBNOwlJg50T635Relww3cn3Sxe9hEaxgHK
373wQ9JrxolQLm4yz9sZUPPOgw0iGYTMtRmb0VS4Uj+5QfbOLpLuqU+dQ2iXy66wjOhLOhXiXcCE
kgUpETnHekSDQX9g8ztUfsDv1U5vzRjdIK2gBXbCHXO6H81lksdBPsB8F8ZRdu5p1nYfR014T8GX
JW3AULYTELODicbLCvZ8M8dkcNxbP6qmTVq4xxo56gmr3U8RdFAzK/6W14CtHcqQNCUp3nWFAxyj
Rm0uyEBT68O28qtvMDz1QKVXJ/C3tTRWagfqpHMl0OZrpvyJ46T11kCdjgYVUKzX1iRVpf5+GvjI
vYigS8RQxbhghejPQP3OImo+UrB4N1ng/5kM49Sby9/ID9S576ZLaC9zu5lYbp8NA9aar8vbXiGv
gnezo1/YDW4ILxbCb2FXAbwUVdzZmbMf8CRuelR+qIzC8EK9DcwuoLQtJ+PdbvmlfHB127DAwlGZ
9aMKMperqHLfHYozir36kCrzOQyKB63EaRgM3knsjSsgnt6NBcp4tFS/mV5uAJtkextHh+Iq63KM
D4p2PFsPhaqXTV0MNHu+u7KEbVAouyV4VrtbbtASOkmrrTc1yXxLvWZRvxrpQF4pNLsDAoQzampr
3MCiWj5tct2h80ozIQ4OKYeQ8zF3SgI35iHTwGnpWpIIocWlqc32BkxZ814igfjM8lklRENWHzxN
8l2OQc/Kp7gPW/JIwT7TWTTRnYZhMbudlbhjpmcOcT3cqVK9GyW7gZ2aRPlQ0btgrwh786HO579E
1yZNZOqNqJxpOyBf4h3Nk97J7vCmfHfal/vFMm4BCU8Ja07xDqnwQS4IG3mAbyB0GM9R62c3nY+c
QESVfieVRf8AfOaRILzYZZrw4BJpG42Ko6kNeiIYiIzOd+XqmD+VxASw1BZf3+nirLShoSarS1rh
hyai8RDYmHXyMho5//udVejpnc3T6tFF+P1JRKj/LbEPUX+eezEjJZ9uK509TWXJr582n4vsyDvx
WYplzXc6tPcr1seywkvSWuIeEYj37q9Qw6XZvFl1/+yY60K3q/MEweVvj6Pw1suZlKX2spE+uOym
kD95ak4ng3kLxhdI1t1psdz3ypj2s+16ew8Kb4N+DCWpx9M6iqvTzu62ZbVWl0WGxkuk8zuDdUsS
MmLaNDRfu36x+VjmKUQ+3gjnEVYYrTFBHtxcRnOaPXI0LIc+I0eNQZZZ+kHNDes0Lx6cBQKoLfM3
0yLQxRVE4A1ThSVOnYZQHgzr6knsxg7qYcZ/UE53qVw+m974YUorN+Y4kFK1UK61rLgToyEKS/lh
wS03t99ZjnKT/fltjbrRiIyW3rlj2oCZdNq6Nd7NMUSMnkz+UrL08TtiTMPfCqq0jtoxRUxMcooX
oIFWwcLOhukMIzyLjKyo62/oQ7+4NgPW8sYn910beyMvzW/j2jcmr72JWvIahGVeJhexZdrCJ2T8
UMCqRUmJppPFXdQjd8QCoKPGoktH2cVX/sCaTOygUl+PgyHLz7hLuNWMcesNRUKB9VwFKKeSJQvm
7LyUWj9mtXOcK9KRN6uMithz1p/A78HlhvxqEEXu0kEggneno+2tz1geU/s6eA0Sy5vxTolDo3nX
tOMxR1a63c+tpxOk8ASa5P39Yksg2/OAlGUIeuMQsG/dYuMCCE9vWSWlW9k7KC3csVN2/fFbvJLC
2SIucJPZSr3nTnNArTlRKm5UOAcgxToJi8xEoa20uDW74qb35qdKgbJd172wZCIcX/1ENCnxODG+
2KBqCrcZo+4N2Qrm9Zfix/eYL+MKcuwtB8IOiLVHhbUw6UoWxuuMA1vF+GueRfmpegvY+NBorquV
56xchv5gSPaCqY2F3EVlnfSmVzOfbMyT72SnLgtoy3P9a7ZsOm2GhtLdq2h6GxnT3XpVZrzoBUj9
MrzO7vwH++E2SjlJr20jp5JqGOvZFji3kM8EU0b6PHjhI9uNEA2C1bMEFcCLcDSSiJl38nO+8sUj
o2IGseYuo/csOodLRKsEg13QxwUMa0uJEm6kN0ErHRMNOieF7X9Fa6jPol1+0RTuWnHV5wHpOcoo
xAxTTz+t1WGVXKpncv728yredJR/Y+bRKKi7Q0rL+KVsyqkGpcHQWRU2I5Lk8KDqU2gGLwA+jwMh
zVWnHdZzLVzU0UqWimGlkV/1yURNPS8edNKaetDtXCbz1TuHA/O6zHrnk1Rb8rouDRdwrWg0V4fk
R/IgGW8TJ8AIoNzb03gGaI6yqCwRiU8O86msBmMOBWWmMWv1ObJz51QhPj/17fCbRhOrQxzn73X2
z6GXzcNNMSMOrlTxSZdmbmdlzzh21U2zjO/Ay1QSzTlGmjoPH5qqW25bbpVhYWUNZPYMLRsFR2fl
O411h7LTv2jGBk9iUGfJ/vsOokeOSNySF7whT9jM+Bb3QsRXJXEmucvbSD2anKms7u8ZE16KMadL
xI66v+IuXoFf/8qyPRDlFytlXsg8Qoaju9de2GbMAUwqhZRvThch6oqatyCcg+MwY23iCDVZUYh9
OYzE3GAwUy5nzUTHRDoi4dzZdMx8Pg4nEstLMHeMqli/IQfz0TGhYkWq/uz35OSgSyFhwjKqxwiK
/jONRI8vU1sHK1Pjbuidh352w3Mol/4SdNZJ9mX90niu+DsODvRhG83Rps2rXRH1gt6QHNco97+4
nlvcqSG1jClUgxAhGImqLi8uCZjE6pmg3DxOwaYTU7vBvMco12u8/mKkFFQ7u4r+hpiH6VKNg7eG
2d1iDhZj0yjaNuxP4qYuUAjh39jntrZAv7OnSFm6b/UkcMiWa79nOPlKAvCCDpm4bRKFiiQKl79K
rNGNv9oSCnqfYW6up8+mQ/Qag1wlV3mSM9vwdN4zJujQNaWnIKh/HL9GvLAcomj4Xq8J7r0/jq89
vrAqNkK6mK3X2TNhumPYIxpJHXObY6BGVqJ9otdJqEakS1DFGy0EQAu/4R3rM2pNz1gNTVCkETZx
4V9tNQKySc+V/q1MEy9ZKRRCm0XHi+zVE8onQFiW57lnBiyM5pD0tO+uT8+ddmb/R/tL9lLaJrUh
o3MTnx7l30JrhQBRL8eBZpenSHW71DD1tdKvWNtN15hO7j9JXMxQ7QureRJhG8Vlm3+pylFZAgcC
X4jrrgvqOVZFRexP49Ynuh5xVQ8sr++4mYc8qkmFyQqes1bfuNyaiRopNgdvqH9tHb6XluXEIiVM
Bczd3wlWO4NVJ3ZyIku1PzXPhEF3SWOOxSEvkZBnepxObh5lyRyo6S8uB8KmcsZ8wCumx6zTU4LN
erlbXcR9tJtEnE9NhbM/zUjIzto3MPvxaBXfURYOyWCO+8yytlBrWeGSBnKHOcQ6EKLi7WcjbY8W
IZYbK9S0aKq1Rias2Pt2sy/Sp64a3Q9rIKNyKb6gzT9UQAe3hLmOZIRlh8FMifNmRYpuwbbOa1D8
koIpky5d/vip+Mb1UO7MLHxC+SOSDlPjczam2Wdq5c+sBy9eVj7UZe0TVqIkmc96wrjSv7Ik5IM0
9LEVzmVe0XZn6HO7WKb2m2idNwZvY8J884/G+sxHPO594msxIPbhV14ihesxvnKB4X/y1msu+6q4
Hz3kpQ0hM7fWwtbPQn2b5L38xK7Vb8GxfTeVJX/MrvP6WLq5d2wX6ysk/YAvL3ANr8Ab0sMC9/2W
1inKb7IQSwNxLcWbgOA0luXjwBYwwZVq04fbV3dV3lP+uviwHb6ghIdKhQLRN+7aedrWAQlDCgcx
5oBdJZmENubOldW9xBlzH6ySYWKhq12wOicsKvV2NRcwWMzvRt6jI4XfcR79C462Kp4GY+rhoxbr
64J4npCUJSLmFWxc06OtakPMoUK55O0MncnhngU7IOnnHlQOIcDO71rmjwY5R4nu3V1ZuFRtWfhI
Jw83/QqUdkY/J2WvCc+WMPZr5BxFIM99lYk0NlKcCgiphzKW3fwsK+x+5lQc8dz/N/bOY7dyJNva
r1LoORNkBO3gDu7xRt4rJ4QypaQng948/f8xM6tLUqdBNdDA38BtoAdVBR3DQ0bs2Hutb7WYntKJ
gf1gXkZZeHTCaUd6WbnDocOoBoHRAY2YXDPXcdbA6+lz+czyyGKVVxA3DBzTfT9+TBlIn6Fo52V7
xDxBJc/kkHzKKKmZLvR3CfMU9PeRfO4tyZDLc2qUVa1yD7pTyn3t5cj2u73taTGx6oV4wBUQY8oE
tY/DadYWKT3O8QrSUEB5UeFYtsNHGajwlDZif5WritOfT41GM1cIa4sWrLris7bPNtNMjH2ltZGh
I1A6unX+yW0iYpzAB1PI2MwK83WADJEp+th4HFMUZUnp9MwGfIQ+izGdfAc3oF696EaS95wj5zM8
6cLRJkzIk0+Vy8E7FzDtMaIexrFIzzTBtJrdmLZcTQITJNYa6xB8usVU1+YXkvCCFU2HJ3SMFPXA
pc6Qd0HRUYnm3DSl0jUWC0NukyFwLgey59lH7Nr8JKsIYIgzOtlnry6IOPHnjiFBJkFu2tiqwS0u
SzdwVkVunihz0I5NlH9uJmvZ17JbEu5mc/SwqDndKCuvCXK69yzBED51wjWRozsGgeyeMqBg1bPs
uiX7nPJ1iFGNc/j341zd4vUfHmHqZw+VOTxOJFvRyyK+EVugsA55NlHEIY1i7e/iEQmBHVvhaTWp
QlF3ITtYmO4E1SFJtU7fiNTxH4uh7u7qEfP94HvVA2ZR9FVlgQMOL09QMvIwzStyeWjSCAbTzsoL
kRMz0ondj05CCsiKFO3phqvCcjN0dNPHsKKsNRRA4GXR2fljWRLRyMkptjmnhkR2mkX12ZkXn3Ya
tlGMU5qQHvejXprrZGJeKPDO7EhUp/Nocv+sOGto6UpPveg51IfIZVmzSU31hzOrbrV1gxp0mcla
HUTim/fMnFD51uM9uUbZ+RQE7B/Q2FkRpTzp4gB7iFa4/EppIxeiSa0HK9exBRp1zcRlmG5UMIQY
ivVyhXCPybfPTvaIeaC+9OM2uGjt6s73c5aSiiEwFhKbeFYTTKy+Fklv7XSSQrZI7LgxS/T0tugM
eJNeMLOB64Go71EP9zqLPpV8MW0Hu/ePkny4ZdZPWI84h52W8JzSKuFgA4lwb7rcfTE+wRWFTnKi
NU5JAzbxb5CRQBlOyF7Yx3ZZnhqIUw64EzdmTdBX1FFHsVhHO5EAG1oERnvrpMpg/g6iw2J3Wxe2
9ilujV3V61+IWmtXUgsuw06vaOjhuAp1rPkrVLnqYzVgHOb2nXsTmcNZM22Dazw38YoKhZgtS+jX
ieH5GLW1rn5MNKT8aV4fVTSKM3IHxQt27uCBWt9Fbi7ymisQZlu9FlC78w7eQ09QKAVfhJDSt/vi
FhNYs8q1JNzDlgSF0GurYI7vdhoX7ytGYDpJY3BWTSiLBAMzq8lONI2xmMlaTOh1OxUvsmm1JSP0
DttBqhYG8VsbWVrtkeN5tzRQGVOYMesm725Ti2S8TTC7xQsW1oogr3RcqSki6hCTzLnruP3nWDDG
skImQ5VHNqOfE91NKlL7qcQ/iGlF9vdubMsvWlkPS5S74UOAO+2ernz83Ardak/i0pmWdWgMN6hj
rEOcgDmcIUThnc96thscfMtlMbhbiMPFrRuZU7yyAC4s0e8kfHdPL5d8gNJb9n6El8ihXXDRJjlW
1CxhMh1zXKTnoEFB8z5yQK5GlrhRv4JilKBLiL7kicnvlQOiXcfSnxYSoMVSDoD6gmhIlq0m0y+5
MtqnbkzDXUKtt4DbJc/iHhKEP6JeMpsbLWucU9zgzbqjG4GLMaamcCepfORKw5weNCKhjeomXk8G
JkW0vJZ21qJOuPFQ7txqZsTAVSOMN6b5OrAXTAa6Jd9szoZ2CDOGzL64C/0oRoIl9NpkaCWSc82I
Rp57BBBHiptJp7QbGH9G08R2lRW5z4kz1PqDbvbWoz1587iqSiVnhzA5DP4ULaOQ5YNQEqhz8Fg6
HDn2ODEfhIAVHpusUddVXXDkcgcPKXFAODPGQeQr8CfyadUEJVp0Y0CTzCA0DzcW53Tb1soD2oRI
X8paUr3a9adUDf15WBjD7UgG2SJvAu9Eg6K3tvEk4Fbv3c9G3HVH4IYT2UptyogV6MgiNAVOMEEj
uiStQ4jgXu/H5rTy6UYErXuBhsLDwUYPjWOoNsLiMNrc5PtM3jqA3XOSgL2HMdTMI9SY/PnYFgXq
kaHfiyJAN57VDxzZqkUzW/hGsn3pFNsH1ZqMD+lFYikZz0M/ucJyVx4EnSEkY3ZO0848R0S0wiEY
0JbSbBM7aejggnWKK12neyds8NqYYIeSGmNy+51WFiP7D56HBb0/ufA7jlMGvdxllbfe2rIacyXp
cSwhXH+s8dci1xLIWziy3TGCqLc+eUNffNcjyNYkPjVbuBokN+7wJHgKOfnQRHFTE3dSeBObDf4G
j4nKMvGRMcz9HqylqU+3exw95iOdso6MWTPsXqaK0XU4wyoKW31D7UkNiMwEC8YUEbWJ/fEeVgX1
VT9IouEkCrQbza+HA7JnpAPNrBQq4+hCR7m0rcgCeALvHN3bdqndGygkzKXtTd4j8974TDcxbLNW
6N4dPVyOQ6LqzsImMOhZpDOYyWhMYls9D11H5PfyULupcR8OIryychJmNFPvyZinf/hMi7M6BkZi
n6fDHCFV30YR4gcjNF4S1PK7HhUc5ok8XTQ6trLYqO+cYlrjeRIrG1WZ2hhMtJB9yORTzxizZNhE
z1decR49Nm18AjuLsezsWlt4Y81B1c7GleXWz4HpXSva5vsJCkNHOOxZ79BKcoJnvCzdR4BNz9Jo
vIuoUexumI3alY52jyFZvu7CeG36MfmaefNAceZcTV2pffRCo2Xjy1ZdBUnXBYmv5ZO+cWP/RiFx
X5vCD3Z5PXFGkbULGwfQFUhhblKJM2xc4ukimcqKPyW+TvhOpz1OmfySsXHt4SPNmWvjXPLNIbnt
uUri4qgIVXUHRG/YkPd9nYFpEzJEKBsu/NY6wzVX3jujddRgeEXtcCAMmybGiNMLQwkiOWTHIACw
xiETYhjJOVAoccJhdJTLKhnpmNBKphFA6hERrgZzT5atneUxmPAUiZwxCXbDkF2NQ3gNOmtYEc28
BRXuWEtYrDzIPvBsuaRMyJ8Gs58uEqys6ObP2dPz56Q2/EcWFvQzAKbiq56W6T4OlLq0VMInFplh
F/TbgYCR2MQaZMiGRlIiI+cCRUecbempi2OVpGw79NW0fjokua9zBOGpWOiOld+1lgRBU6VaeEu1
kB7IRftSk661sf1Mw7mrp5IkZUvQ4i0dMZ4TPIQTmP7VA6Kd/NweQsNc6H1VueuW9ue0aCNQZ4Dz
OPTykOvWaVNiuhNUeme9zJObUkQ15ZFtsf4SB4RMmPT4YY3qsqGjoJXHKKxXEfpUrXiQavadWEqD
sMfJRHGGiCd10aj+DFzXeirJW1MtkkAlh/FU6Zl1CHqnUqeImwd4Ip5R9UsxFCGNCIAa9SZw5/0s
1PyxoQEQY5+omxTQEosq46sg9bvPkTZw4HKLVEafFP35id0Dqz4/PcSK7IvSyILcR5wuONN1k95d
WKFDxlniS3VbksN7GbN4Wh+lyoprr4+aW5Ibo3oVdOEkN1ki+B260QEQj0WwKtf4tPPLujNbDXiA
n+fP4FkI02PJtaNj1OnA9UQS6d0+StBBbKApTP4+r5XQ114xcqrgDIbt2IwHWH8g9jHcVPHgeGA2
VJOtbLSd+UaLbCExdXhecZrXpoGlr0lsse+GDHtPOJHfciqHnCZYCl4hpJQwQvcOYZj9TK9fY6sv
zYKfpKzGGySDjDSInsQr74VJ3bxk7EzslxpjN9phABrx43eTQZPTFtnGHgvhrqqos9wjRB8s9Frn
Ot3HqWb7PlVJml43wm2vo6RizO9WbLPsNQz5VyanbuNop5E/rpG3C3kDL8YaV4gjXALUyqQh9TFg
YrQjAdzwLmlRNJwp6NLjEw8bpHO4S3gsNDTjMKpco7A25D0TtRi5QSKeI6lZd0gxUzbBfNZIJr5B
2i8Jp0ypKnqAOhbxZBwZ6pmcWmRATstyCFrv0UbaE50mAUcaPrGZPcs+LE+d2gh1xK4acYRtUNB4
b+H+f0ljdJGoKtzkotBpjvKYTtLeJX0TcctNI3YCYuBUevCq6mvHAMIQks7R4sSbtBw2ocKJkWBQ
NEq7SFdBs7AR/ek7wuSccePSTKrwFid6eT6UmXFPTHPElHiIyYIpQB7R9miBYGyBcIzpkpsIuxAr
Re2Cg2vwylO/ISqVkaHAqfSjqHH2kLBJOgOYCBRJkR3YK9WT9PlFVRUtIqeRyLaysO7tm7iIS9qk
hoxOUtUKe2FxG4h9XSjwcEyaJvTgcsxD1P1T1h6jyUzUSnFys89zBgjaeRpNY73zREqYdM+8VLHY
FDjPy95MrB2C1wHKVRnKOt71UrhAfRhD0lzMIcku4rL07hvZORitXVsWx6gMSnZm1IcmqC28AUeE
oz2uVGwllN0UvA/4VzM6dLGBFzJlriXoCKSJuZVRVDV7L7GtYGs6sG8Xk4WP6dnLiD4ikBIwoXkK
NzWo7iXRRuNjA6fPR3lUBSd+EgzRHnnjNFxTABRU47HvtrMPtMuo3Bz04KvAzGwLH6NuDRuNPVNs
Oy5ZfAY/suXm1YzG3nc+2aEnBZiYT6pvDWPTIHYi5zGqNAy4BZK4eySv4O3tghEP2ytCtCXVKRYQ
FY9VuqJNHTyGHkpmBJBMxW+5zfpL309VCnBEJROMBHS9Z3Ecm+OJzQG1ZzlNgo80TnJMuYUHLUg2
hfOlc43BvHerylEUWWVaXIZlmOT7RK/0uaeNJBNLncmvYMGZBcfKbsStGSGpguQASRuVbxGbpXk9
48C0LQZIif+yVECLIG6MBNYVDSno2PvMYM08LwvP05C1gSZxYbX3KgV9v6LZIoZDlRLZeaUkSj52
WKaPFIcD6l1aO4whHkYbhPStQvrW7+Khq9NTMzdRq1iYrEkkRYVp8Rugf90OmS2wjhPbgkfZDepn
y/a6YVXrJRNyrQ87YMKRW8t9UCmzX9Gu7i8RRw/VOg4j74xUxHo4o0ndBiiGCcbAKIzS6qXrg6E4
GqCrbpByMzzjWlLAaLpNWkwYRL532XfTkG6dyUJtaVuUIsuOUMVwSzspGdckYpIaCmmfoxQS/OZp
aMFMcGVnEWoEvw3JD/op91AFPqIyr2ysO0WRFOwGXWtsGuUOIdVhXTnmusOx0e0spdjG7NpgkxZo
+Ps5lbflBmHLtZekco6PIRrXkgBFPZFIH+Ou2SJGHtqNRUateYiJAjI3cBNTqg/N8gkSwXNAi4Nh
8QvnU1RQeTs0isg5RXK11IPps41wN2SfBsu6MhtyXT3Na08LYSClTNPSKM/G1pViz31MVGxTF/aT
aWUyXRtxWjfUeqnR7RRH6c9cpqFkPpq4n4pRRp9NKDrIhU3NukD2Y/Is817TuRfV9bb3etmvU4v0
0vMoxSi8pvXdtrCBg9RBJDhwBkEtKeQVFTmr6j9mD9t/wOt3rl7y66Z6eWlOn9R7w9//j24+gfHs
53a+m4rQpeen5z+e8uc/bopPgCreWPvmv/7m7dNs/YNJKgmzTH0GqhrWP819mm188CT6U8cw8Xhg
a8MM993dZxgfpAlg2+OwSaqdMDD+fXf3GfoHfmQdvZvUqaYEFro/0wL5/cegyAkaJHcweCm+//Pr
CLu3fjsLBKVjg/PmhQA+WnDV3/rtCIQIOMBa8DDw7W67rpZsRUOzenV1fvAu7lvuPasgETaOS7yf
JaUudX0Gi78KTKl6lHU27mDmA5x4IgS+wzqtO2iqmEDCxyQ0NW0xRhr2bn3E37om7R2CFXrEAdIr
UT6bybfQtNtsPMzcpsKuqQpaKippN1SySLmHEyXN9jzryhFtp+sOn8zMR8augVndBrjp73AHUJ+J
HJTLqivFiHILatcjeu/qosI6FxxJG/GhEFijvEyjdjZ5pDQBl+gqxgpODxqfJbCv2NpjR3ZbeCll
dxHLOuWc26nhrIPBAOyvTDzGIvaIBQ4MIKovgBNQ/vOcUWUx+SEIFJOvN9Mapy+90+M3E3FQnEOZ
iO4i3TDnk6Td3pWCmPFlZeYRQbtaPp60qRPLPeMGcy/ADB1G/EnYIzIGhkxNrLLnVJGCinAj3YUg
Rlws2r6EUQ8LLmLGzjDzG0QtE0xwy7TPQtkiBSx7K7xUpsYwBWeJv5F5TkfDh2foLk0imzinM7jt
cCUlAjJOIj4l86wL8dzgPv/6Nnl3M9o8C5bA/uoAR6Y3KN+ZP5MMz7MzVtoS3TKcnbmp78F7/LZq
/fSWN2bD6l8pJNyM89sQ1ApH1iW942uu3Kubccx9t/HoMCDjyvt9EjlXdWeIVdGY9dGVzBMi3/eP
RoxUk8c2PiFFJPrNZ+Ch/5ePID1hWYYrPSyA77D/uIZ8kFWENDtWWJ+mQyV3UR1Rd5mhggJli988
gPOVe/+VWWT44jyKLCrv3g8J8JCYaMeXKhvU0iTzd5U2zJvz3DG2v/4RxQ9+RQcbH0reORoCK83b
Z71UdDFrGhsw/fJI286H3gdt7GzMWqHWNPRfZyGVVsR4aG2rvigCXX+BfxqBGk5jecIZFJY+dtDu
vOz43Ft/wka0gP/EuLTH0rr0ZQCjTPH4oK+2Y3c9kFB/VKgpL8Pcc07ZIKtv0UT/ia2ue0EfUb38
wU5X/7Fp8+enBg/vf8GmZ8w/5c83vcNT9hR9JjzmW87s/vl//vH1L75vdI79gZaQEDaJb0SxkgP6
p4tdc9wP0p5H255uEe7izLvZnxsdNnYB5pIjCk+9xWT9r43O+cC9amKLt1kVmDZ4f2ejM+S7PchC
BK0bHPYdHGE6cS/vgvhEg7mLei3eTIbOpNXGLc5E35QEV9AzhB1b5MwJasszrhAoJoBt67yErpTA
NkOdM4LwMvUOpUaW1WpY6JoBkaENwejkaeicNCxoGdpbO8ZyI114X3aKLJCxEY3Vthtvc89Dqw7E
uRWsPF1yrxpC29aW4RxCP6RRxs2vlmXj2MR1By46h55ZqInvHZszDqIB/JIonYjmD94ef0G0mrzL
aLWiV5YmoQKMXx4Y+niLWvk2H1AQfOCmRU6lnnQIWTW7JYi6tGrjou71zNuFHAfvQJylxTKkIYtm
IJkhQRkHUI1ZxujQ/dXcM4BgybBC0jG8BAZJfmwI2XBL8a/vOHunAEFwIe35x6xldx2Ne7Y78ckh
mRg9k+5ETxyOq35RiiQwllZgCcKvWzHEa2Nq9bux1cx7aCMZpF/i6z85UVkeMUhYDmyxHOArI/KS
JAlJujuESle7MUhl1aAV28mDRw5Av8/j0WAYRVEhkf+58YNCMkW3P/Rw/k60JcWiNObWuEOcJnpB
z6AhCzTGQHOPQnqDttpdV7JyngpNMF7PtKh5EJkMP/s+9ycuXOWfi74wGIDR+JzxKF7z0SjZHVDH
gIzDR0FUxwk+yvhBo1pAEt4xR4yMJG4JYmkseu8dwbGVqSn0UJkFLTKyPPkCSx2inkClDDkE0cSm
rq3ooRM+BwM8gWKpmaO04QaIPt+YTZIJpiBej7zc5wS18dvOvLRrOdDubML+AMOwbwLeYGKVf/Ws
/6CEe7eD8PRQn/J/iyfVpFh8t4PERW3rvG60sQTd4YgfccGDLTaNZ8W/eat5g3i1WVGU6hTLVMU2
KTzs0e+AE2lL6khl4K1CfHOhOcwDUVBqS9eqtHXNAX/VYKQFPh16F0as99/y7v5vpX+1bpu/hJUs
n8bsKf9jj50uf65fr/fz3/253Hsf0OoT2MXZxkQyYrNw9y918z//0FzjgynmhCBW2xk/Mh95/lzu
+SvKLp4wl6hQxqivlnvvg7BNyiFi+KRNP8v4O8v9+yqEysohYQ6nPSco6iwYKG9OHDkn3zwH0LGh
0m62saC+FtiSh8lwNkY9BJtGGtEjDZhntxfBhaMP47aa6pVewnJXCe0tLyi8nd4w0wuqEd6tilxi
MbLJv6hNCmuji/et3T2memJ89sLR2GM8yBa/fuq+psO+eRb4Gq6wOO2xgqD9elcSE3uTRKxMjO0k
0JwguXXUyLSj7BP4q0PYno3juCWoEGuhCBX6F/KIUBeCe92FSRWdF2JS5OgM9kmpzdIxPWiWKIgQ
NRhp115XbqKuhknd62w3v/7o8l2NiwBCwqTjzGsakqLgfbQVSClakqwm6Ax0O1wbZnXj1sHwWEB4
UEsP7zl+aFUAEDXzK1X2t2EZ6ac5og2SAfNMLk2Zxxednqm7uJwARIkaKfnCxm2DfDfrX/Dbe/s8
bB7HopL7TA+7J01Wgrn8CCaCA1qx1Gi21atBRzKMfxGYQzhLnWHAFgszBcc5htG9bqekptqm4cNF
Gq3QW8ioiT99vRr/t6q8WlXobujEZ/5ybbl+yoPXK8pff/NtXXG8D6aOcpc5sS05PvxVRVJEzhlp
REfqQnyvL7+vKpIFh+YC//vGT5oXnO/dEv6TTgHpUZTSMLHn0vNdd+RX3RKWjjd7kybmMHiXXs27
Q03vzy3sJsJnIIYHTtPGCnl5uW0qjKVJgLGFnjLoAobfh2hiYK50uHtFrlMGBlG1pVpGWByk6Umq
yX5VjnGJM4fMh1zmHyPYEnMvGBSrq6BIBT4jL83PNoaFBHbgOLtASWjv6OwFS3QlA1CKmvFLnFi3
tAI/l6lTYSUX6ixlUJYuEq95ilCdnEp99ioNfrRRAPbKhVPZ/aexb/RDCwxwaUKKOeTM8iF9Y/7v
We6RdXTm2i1VteGXJvyA8RagbH1WstsW3v5+cO1LLzFrFAeFfVdGgiQQFK8MUQi+GDmHrfK2D8GO
AzJRHg0T+ALDPqKRteg6da/FXnNdQD0HHVSOd5E3YF2PwvHFYXC98SrsHHDi+2WupzZdEKbRWRIL
5n25tbRT9UXTjYYpWglkhXYbMJUWP0rhkGBg4quFJb5sMZBtQiuOboJ0JAWHYYS9NJwIhFMFXZ5s
kHUo89N+aj2+RAnTsA0AZ0CdZOzTTMFz2qjsYxoHzpWb++PWRjhyimqxW2lNNZzkmCSRhBbaxoXe
cRi9aJfb4sGFqYSeDq2fZZLnpBpm8p5vwmrGlHXIMVKJRVIlzqYdJndr9MNNWMZbd6CvlBUJXgiz
min73dLC3ESx32m7NBjwaCCMkg4A1yDQbyasxPiy/D22yAohjIVTwm0y3NKggcoOoHfuDsGOOORL
orkgZkV9ddI2eXJpV/hCQPYxLW9S72MtGzYJ1cpDMCjw/Uged52vq7vO6dU1Gl9C+YIWanDC+s2o
CKkXKDwOIehqVvEQVXdoIFpa+n29JmgiA8ws0vv/1Ir5X8OIM1lNfn6+vq6iP06e8uTNCXv+k28r
I1WV6zgStoMOGeUbC+5bwcWayV7r2ixNLI/SoUb4vjB6H1wJTI2UavCmjKLm+u37wmh9QI9Bhe2A
jvToQVt/q4389nTAkmjRjOaMYHPakTauyLfVFmx3W/hdO6yNqrMuPURRx8Y2SgA1cdZvXl2VH5xE
3tYV39+L+GBP101Ko/dx79GA4IuT4UDMfEpKMUSB00mpbOd3KrhgsTB+U8j86LtRxLpzBWazMb1b
+p0BdzYRA8O6Lmo8GD1FXpZh2pxl2795q7fRlN++mkOHhDY534/a9e1lNCNHq4Ut+rXp+RxutLr6
1Ppje+MwWTMWJfKu09kJPtPiq9pZ//q6/ujNXcpm+q+eoHn37jck6syrR6rEdWLl+U5ClsLEg1Dh
PBYRdkTLqC90wNd7PI7x51+/9duW4bfvzSlCt/gagHbnm/71eIBAIfQIjhjWvhZnp8LOkp1UbbT6
9bt87fD8VUx/fRu6vXMXimIBGdi7b+ikY2qNBYxVCuIEwVPTnrgkH20VvohriN3DGs8ehjEmrskF
9C70OVkzAtzsCFn89Wf5wTc2hMv9RK46Q/SvPepXPWi/MRswZPqwRvaT0Ay1tWVPeMtvstu/vsz7
b0wZ5VD7GMIGg/b2wkLrRlPi8psKt5+mTWYkxgkLOcqK2NTGj0yuMigxfY2yE1VLZaP9coMbw00b
4zcXn5Xm1aH+27U3+RysOi7L0fv+AYhAr4tAlazpvNs7F+L7ndn05lFrh+Bz1HdwWx3hXf39qwxS
l0WJn9whePnt13fdskfsl45r3Y/5cb3gxRi9YPv334QfUAKmZZr2L2/iNUA08MZ06x7s4QKVKDYu
pf6NG0bQJWX156jNQvTul6xaU4V9Mt8w0guPbRbEy8a308Pf/i7EUqMV5WTP/enOv+Kr21KgzLc7
bLjrIUmIdnRDNQvPvd+s4D+4F3DGsMi5VHWU5O+ew2oG3HLc6tdN7cq1YQTdzJyJilvSgtDpD0gm
bIhav7kD51d99yxIwUZnmBBVWWvefTfsA3jtqpor2OMQ4viHl7ZjzdGBHP5mHTfkv74Xd4JpuDx0
/Fb2u14zpF0zz+qpY5aDLxzXeySfYKGbGM+nCtW/MZmEFw5Gl0RbLUXDukT4Er9gt6vPQyP28Z8m
yEwIYzCS8Df36w+ug2fZNMDZ/rmh3j8UU4yoIBAzHcJqjEPWe+Q5Fa13ILI4/M0P/YP1hx/SnAPd
OdWxDL37pZuOcW0x9OOa49tSk2rL/nITad3B0IMTnCbhwoqddabCY6IR9fc3b2abt/bYTVhhmTq7
757+rvWN0XBBBPSOxcFJ+Nm6cP8EHv90nPgv5Qizc8mGwnvQGMUR9vaR6QYOLQ1UVgBsMqaoLkeg
RgYCqynot9LV1r/+UuAx399bNrsXhF9HcESmy/KuHoGvNE0gPkkyJiKvWaYDFLclHCerW9Rh40ti
qEPxrCDHYwdNBji2Rkqi3U5XDhQu0jHQpgczmX8jbH0MDkJv8SgOpd2SS2wItfOarvjsB2FmrFp3
JDYmTXExcxCrUcvECJ9MDEi4F5fIS8hYjaI6iBcOSZvRxs9Dp9yacM6J77IUqU2ImyTpvtVEGhey
wjsndnGUz/ELD1mbGrStIjbjFQZ2mGeMmynfasAYxjpGiS1uq0obPOyZlhuDDMfVh6xTxOFFjs9+
PE45uJ+LEhqqXI9Y1TtGOXH42VBI4OkCTfCIonYsdrnZYdclJai9rgcjvk5cHwgmAw3Gkb3meNl1
3sVRjaOatCwFhc20glXpdiwRCjd7AOEWrC6nbjvIOWD26blb0VZcTKAFLnJdaqSBt3b5lPrkfmH2
jnK4ow5vVISlHy59y4mf/KbmlAasbHyBXRJDytXT+gXZpZjW9BENHV66GYZ73yujE2RxyAczfmtr
rUkxrfAGWmByEjchlidpcWaeiRYq37FEClWcWI6aAHLZLudRfl0skyljm8rUVy0iC/oF3pzYMLkx
Aedpy8axcixlwC3gyU/2+H5rkvl8Lf9oy4bIQMitMCYUQOJPQYG0c28oMD7rYsqiDRJ4aCkmk/Uz
IQfnvmlUhzEMEV28JlQ3dq86jzCJg9MI7dLVEtsggbyglkJly0zERYmO0qCi5iC/oSH8a3DrtiPW
rCTsvXAD7wlaZ5tuq6GBPqKlLqOjjtaLduiSEucSnCuiVvLG8JG6daN/HDtKPshXKYwiLrKCmxyb
GOMxKBHb02kEOgmWHVJq8ddeJEEgq4MmSgS7QCfMGxyXQ3Fw87YZ15IYrgah/6wjoVFgrgLszMFq
cDR1nyAzBhWQBqFO/uQgzqOOXAug6tCyiOfLv1ADjPcsdmG+jZjqPwZjjgsZWRton0a00p4NnGWw
rTI3xkQb0rlpXCcGc0uexxMSVQuj2lxcL/wpq76krADebDUkhR0Wz5yDWtIJCYGexTugsuXGQrtn
Xw9S0yQ2TDceV4LOpr2uzMYZLqZhwn0Nw6NAmw+P1Nx4CONQACirxgbY6HXdLqEfa9ZKhySWLQXE
BdIrTT1194Vr99zILArQc0RaamfNiGLzsxOUYXYLJxYfkWe36lbZhT08hEFeXw6dq+uLhlWQtQKM
Nfev8id/o5EEn/LwhaGHnYqFC4yvBaSybS0ISSL0G1zyjQ/1SwJmoLBJ3U3rkWr/deH8T3Rg/8vE
amzkr/aQ1VPz9L0pO+P1/+cfuyIP/gB0Evxx/b/Uz6+m9/PffWsuGIb5YT7d2iZFGSEiQvw5zQFG
8IFNDYoucpVZL8MW/r27IMSHeVbHIUFnXiOZ9v2zu8B/MmYhD6wbYTvz3/2dtuvbiuVb09WZ9Wlv
t1aAQVlPFpB+DKDXonfyqJMAB7+6GD9oJ/zsxbkWr0vdbqzJaRK9fuzh+NltfaeiYN95Yv3rl59f
5q+q86/PPleIryrpzmlARCa1fvQc7CMaMVrRb8qbt+f1v16Zq/76lV1dxdChWv1Ykl2SClCBA4Eu
UEDG4VSQIR11L//eV3hXxIKsKmHw8UaVe2pUJ475uwLtZ5f+XclUtGISEXKRIxhowrdh3WjeEtPA
3zrM/PMCoRt5c4Ei6XYa8FouEDBqxcSMjts/23I/uGPmh+FHv+n7glKLsWOAhDCOhjltTGhIjAgX
xLVtegd6OcGg7RznN1D00IVli7lwKhCuaJdYeU8GzzoPDH/NjnYkDu40hvougCrZBVtgr3a//oxv
j1h/ffd3h5xCWfBxCl0/Arh4ADGMezBEwvLFM7ODYXW/OUr85OZ25xL11c3N6NBgc+UKG/lHSVGJ
luPXH/8nd4Y7//tXLxzk6PbRheoAIe9wfjPi3GTub5oiP3luZrXtm9ceACnYOh86a4FMyLUDOD82
PjvhuV4Rd1b85is4P7tL3j35QcOgEWulfrTkiz3UR9ottN6jNYZuf2GR5J1q7kEWcMaK9EDiwYaJ
522W5Osx8ZaBy3EFg3GgIcH3fWwOaoME4pyYCYxEySq0gk0WaGsClU9jv4cGhD/V7yvE8FgVRbru
lLYRjGwmU9tWgbecuV9hdTeM96ptNuFgHX11mo+IRERC2HN4NtLha7Hmw+zZFCRwJu1w1uOLDlyM
7yTlFGKTgpfG4EDDtdqy8Mx0rX2NXYiI5zMNRpdHUGL1DK8JDcu4Nmkj+c7zgG6DmnAJQmHhmsBz
qTlkdfnv3Sfv1sC8h/LgTrF+HPPrsvpoxiegSBa/fm3x9hD/1zP0bt0DNVhxNOEZIkUT9VWGBZZo
8YyCaMKKA0KMEIV1YF5EJnHCnJlVbq3l6GJVCY9qgEmCgxzs6Y2sgp3btAcg14eRvWxFptpyJB3p
159zXs5+sMO8l8lA3ClbVXE/M1cj2Q9gISi68SOO8WVRPUyQTDCN/uaaWPN3/8GbOe/WVB5LlBNa
ox+l69+PxE3VUE3raunTzJi8/8fZmS45q2NZ+4qIYB7+MtrGdjrn4Q+Rb76ZzCAkQMDV9yKrv/ry
cBI72hF9Krqqq5WykLakrbWfNdMKPqXMwNLSblowjHC8lNxYN0I8pbsRaoL6NsbJXXzGE2gM1DzY
YJjwVNJgdohaBwV8soJsQKoCo3pWK0/wCDCdLNtZCp4t1VfAFuykE/YSAw6MfElohM7l1RBnZdBW
53mHkuY6kIcJRB0TLqn3XHpCOjVSIJMANiL/nJGdZXspYb8SAI1FaiESwAJDiZgYykDxZ0AJpJFz
/qsuBCz/nX3GMoJLuI+UgoTPGmtOkqBsDbdz5P3AlbFzcDUFYCop9n34Vkpv5rgxphymlGCX40IO
+JStT88gL+E/0rC9SPssvQXO0+kk3avkNrkwH9Z+/2ID0OtMafDqPoZpO25iFbuZ8HH+969sYPNj
1s8obQG7GwGmh60l2UMh58GcDiifstlIpXThfDA39dtcXmwEhMcZnsexybQCduynnr8rwuf53q+N
yyL256SEtcmIeWFZeJDdjNqFDXdtVBbxjgBwBqMJtKsjjETAJ0LCZDd0a7bJRqX35zu/Ni6LuKeD
XtJLDH+ER6dah4fhh5795xK2mixbG5fliU/nqNmIRzFMKMSqm1Zzz3dZXYlLs0HWz+mCqmNkHftB
DAmoAiA1BlXUevpYuJVoIbdobo30lTIopuhjmm1RVO6AV/DAAb81SAyDBuZKENcKSNyD+rbpUWZs
MW2XqqWrydSPI8XvpyYQwNxowJNOqL5NuxNLh9veOMrgk7PynamVJ4xbPLCTlmwhz4UZDYmf1Ti7
cKZbGbxlwlboQUobwUkMDSoA5gK6gnBly4tYoxPUkqRpOV9S7rJxr4Cyef67rMzXpfoOJQAFDLD0
KSwB3+JglYs9ZBf67RBBkVGIl77+7wtZX8SKBhhAQY5yhMokEOQtVS8shLXezx/ixykUTrcZVhwO
APlckhHvp+x5Gr/GGCATYBTOj9DaR11ECqhCWi3Noiks4o9OCiPgT65reBkqMkq4XGKnpgkQmMg/
XejwSnRYPmlw0A4MI5KnUGewsZa4i9LmG/jkXtfrRYBAnpsyJcVwlC2smXof5ioXxmOl39oiQsDH
KKrF3AK/I7pnoMSoIBhpvL4wKitTRVscBPDMHKt0pDjsI+Ns5A+DeEpU+ORiz5b53/Njs/YLFqs0
BZOjM4b5b9BNqz4aOYM/ln7hB6zMw1k693Oup3VBkVDFSoX5T4M1eumOv9buYm0CrFC2Zol2u3dI
S4ESOT8Wa83O//mPpUlaU0gbMIRCLm6S0Ysm97p2F8sRjzgxDIbQ3Ra261y6B0vxfMNrH2+xHAUZ
+dZubjiGlZx4K+EOpvynNun/uql+n9V/jAUS4Xg35xiLimwFKLbqu/NdXhvjxVqULZZBhoEuW7jX
TBtNu+7bLYU0cD204hb+KGGVBMYdLIyu6q66WIJQSjHaNGgWULpUcfopuK7dxbLLGxwSKUO7ZXw7
KG8N/7yu3cWKa3PIBCBYReQ33of8kAAvfV3DiyUnDhzYwRox1BxcPHMm+ZUDsVhzePGYoqJXp1DV
7+Xpvr10gZ0H8pdzuLpYc0nKx8poMRAZudXz9rZj4LJygHapuR1ggnXdqCwWYNzOULUafwVsP3sU
dvUQXxc6v8+kP9Yf6VnTT4yI4ZR47bgdhuv2wuWLMrzhc/yPggldbGp4NVnXLRRlsRN2Asm6RkW7
Iy4NndPG150ilcUCVCYJ74054gUvd4CwR1deGpTFAuSw68JDpzWEJXe1ajMKF2bE/Ht/mXffhQs/
vpuZAAbfwMcHDgPvnH6peGwcodmFUbJr0Qc1bvy0PV01+f5V0SxRVBXAZxT3ZKSSugep+nO+4XlN
//YbFmsSJXrEaAnWJGwCcM+HTfiIbUDzz7e+sgN8l1L+GKEcrqCFGOOsN8jQTheqk7xd1/BiMWaQ
aZDKwND31NONTXSptnutw4urK+z4mgq+hjicGsBq42322g4v9sJRQX0RDjKIfeSklNuuC68aiKWI
gypdmRkJvl+VhAVkMMl4qf5mZWbIi9VI1Zgp1hw9ICm3DVxsO/lUxZei6XfF+C8Tb1k8Lxoyj835
ACZlb2xMTsCdOyjRH2EHBOmyZ2mPtTQXkjInBn94hOteLN0VUjACbY1iTpA5N2kaX1jJC53Rf5Nl
S8FsCtEYSn7QG9bD7K3MbZV09gBCf6vaFlZGm6VOZ9zhafq6mD+/hv48f/awfSVASo1hVCSnhtQ3
9ELQX/tsiwU99FQDVha/xOiCDAqJOrqBtcuFXq81vthpAcfM0m6ebSh6c1BSBnLWfYrq0vNzeVGs
9v+/wmJVF4auUEblIZQpcik9qqKb2K/0ufQV5rXwoAF4EQj0nTx2IcTPdqnBT1hJ4UcCAxtioJBU
9lFce6wrOC3CZzQ3xF079he6txIbvnv9I5hNusT0kmMJJyJ8DLPtgIq+8z98reVFcBgmoylwWEHU
GR2p3lbGhfC78rnmcvmfkwzlGBED/ge7hrSDtYCtoiJcRGnJ+V5/L9VflvASBtEAeVrpc0zjDOqt
rPDzEVIPzclhOWbI4DODAW9lz2JveVn/pzIeVDnQ4AeiVbpbNX8LqHZ7+EAS+MyWHmO5C712AIar
m4H8bcF1h7AnTbg739v5VPxbZxeHACpmDLZT5RgSuMfl6S0DTwlWzQ6KDq/7it96ux/zA889XcMU
cQzruaaq+Brb62K8tIgVhaaRJIVPTijibQ8Xkyuv1tIiVExSnccjQdaO451EKLNvP6zzo70yo791
rT/GIgXGVxoyjPZYw+bMqfoLX3GtXfmfM1pBJRulnYQAZOh4WeTQUV2ZSPsW/f/oclOUpqQCvQta
oj3BnvP5upFYrG2rVwWmQ9EVoiZYPsXUu6pZcbG0Bbz5QpOqjiGvXO14dbOLTd/K8hbquGgI+4cp
7f+Qgn2c7+9KKBIXy49oYC7SFg+tPd1kwusARyywCa67OIiLm3CXEQjl+DCGcL7GmyG97pC5FB3D
2cVoazC2wyEF89ZuruztYtkNURvj86FZZa/dZcN10UdU/rkyOFxqCFUxIarkpBnGWwEb5wtNa/Nc
/SV2iotVR3Xlf1cdbHBQr/4K3p8NfA6Az74+bYUJNs4svhVhySzAL1wDfhmeFF5ifjJgTtuaeHl0
LwjEr+vQMm8xcZ0RDxzyQ06fddCoxxaK4wzA6bqC7W+zHVBjUWUfnApbTRo3ZrTRuruW73RzQ6xt
lMHeCJlGFN+gNJKqztjAHF33ypbZwJnbJXiBoCQDnPtIxZfzs3cl7IjLawGM6qjZ8zGEbpTpTkTd
8+1+x8PfRnYRHQwLfsAj+OMhyoJ3unEfJwBxS6Jf8pdIuBXTv0XxKZT3DX/W+rcYx5/zf/f33wOj
p39OlmSAnWXV4KYNWTlqtICxvK7dRfjIUy5WqiUg4/De15uRBtc1uwgehjXkcaTNzX5p9Q4i3/PN
/n4kMJcFgNjxJJjM4qtG2TMQu1Da3+n6B/ybLhyQ1kZ5sW8r5RTrpoJu19ET4CupeiEVPP/sf08a
VF3+8+vpKkGlMJ0GPG0DhCxG+Eex1Qzg89e+vHQYX+v8Ip5YsPjACRxJQAkOE/DPJu75Qf99I4AY
9J+dbwyR9cDX4FuWAeoTgLOzoIq/9Li01uvFQs1HEGPB08eQQ8BRbznZnu/1d8bitzFfLFTAX6Ep
azsc7qK9FCu38ghMtupGI1yoHxOIsSawTsVe84s6O6UoshSko2QJfgpMesYaWF/QjaaOOzDjQEHO
PZh1u2Jt3EqQTcMUtwWMo64+u9ll+0GE0BqOWQ7HA9AUUzhYDRdmJKqUfp87S02j2ku9CYgkktFM
d1FZ4nVEdU28OfPmbxZJTo38EpTteB4unUQ0PdjIgYMMIOmw7QvT1jpjC/t0m9FjTzgkaZVrqp0v
6MUmx8ZOdVDKJ4h5YqjU4FIA6RaRKzBy94MGV90aATsvPEt6HNS/ChwsshymCsI9DNqBAypv6vyP
2D4ZnewxcIySWAOlWQdIEOZ/KA0Y1Q9YWSaJAEWL7rf1KUmei8w3Vdi39JMLRrxtwl9LxJqYbnuw
FBncsWqQmqkGjLX5CJy4S4f3ouicXnwtYLTIgBpIKCggsFESRnidw1fPNAVY5j5O2smAUXmUG4GW
wygZ1GQOHKT4GI2mU8aw2xG1o24+mco+r63ZK8G1RsszeCCAd5hk4gl2Js6gCx6VJbsuv1D2DM39
m9LmJ6YACNiw62Lut3zwx7l1AqW+brT5lUVx8ELW15fmyu+SCNNYrCU8KpvgJeGsTchDbe7Nv/We
wsMCViCTT6RNnG+j+sLyWpmVxmJ1pVqcQFGIm2RU7FBuhfqjQG8uvkyuxMultqOXhK4GVxU5TkGy
dfpu4JgxfhXKnhQPRb21um2k3LZF7FjGB4vva8J3BbsXcn82GW1gn97rFPYWsC9TD7g0bcyiuRe7
bgP7eZcbiWMSYkfmHY3rJ1gCF0Xh6Ez3S1lyZCiqBbgskjyABo1DXtd5ctVAnMZdVd4l2VNq3FZx
0BqBQC7pDldi4FLm0arGEI1wJAwtFMVEcKbtb88HwbWGF9twBAM9kOwxjnCzSMcT7R/Ot7vy9Zdy
6CnRpbSZEysm22d0N2QbYbig1Z0PNL+E7WUdKuThjTaCYhb2uQqp4N8G2CKU/MBkM/N7ROwRZtHc
vFQgvnKgWMqZI7iejDwahzCPThp7oPlB1Znd9hd+zFrz8/j9WOkmCPdTX2MPigDmhmO5R8Y3Bkdi
oDwunAtXVspS2oz6KfAK5xMLTARReGpb5jZiO0xd+Bue/9Yrc+gb8PvjN8hVK3RFiw0aVzWl8wvu
Xdfu4lghFWmh5CgTCnPNhwdZ2V6Igmv9XQRB8PJBR9GR8dRh8yY6sXbhErj2LRcRryKEShWNxxAJ
VZhBV5BPgwmsnuB3dUk7tTL3l1JbKgDqZ87PrRzel82bKhxpzm1FZHjngf0enNZJdelgsTJMSx0r
EIqdUGVIUQ1t5cidGUBodl3UWepYu7GBK2DCxhAW6HEaZpdeG1fmujF/mR8zEcBJZUzmV8G0ZTDv
HLc1/DibTsLoFDtRUN3zE1OZZ+AvIWgpRAVYqe0LGdHNUPYV6NSDsrcMMOPF01S3zljUAbH+gA4h
QEtvphsFMFCR3WgoZeewgsmAkWxHP6KSLcI3ggtpQFPLGQjM9prHSm3hBwqzj+ozLw/wzrWFlPrg
RZu66Z/v/0qW1zTmT/5jnAZ9qBSTYmXBh6gYwXkGXCjrcMcue69K/mQlHKfB5K3xyNCQWwAuC/3W
MP9QuE812OoyoCbFKXflvAkn5NUEy3L7zG/jHLv8rZQ/wSupNC5F4JWtxFjcWoZBMKnV4sFRzV3e
un2gZFclYQGo+ecwmKimF7p5k4rBUkERaEa7C0F3Ze0s1YdRi7q4pJkniPlR1SeBv57/ct8w3d+m
nr74dPBVTLoJAK+Q4rFEpjOA8C7nb6V0Qyvkycb4LcaLQEHebjWbdpprqLuCPEnxm9KMqEjInAbJ
DmMSAxUmpPH4xWE3J2YvBW8cVA1ApvYq8dkD3WNNkMGURxXgAGj0jtxqXm+ooM9K9hCjsGQYPyNh
X9AwyfZieSeRg1aGpDqI06HQwnb8bOmGqL4kvOr5fTqdQJhCtXj7wMDBByB3PJhSfGdQEzOdSs+5
muN+t6P668hv4hw2f+ZbS/dUh0PQc1U0qRMllgdDT6+cvoz2Tm1h25YcJp3DJg4XFBWKd81pFMMF
icOGL8ohaUVI4R6M8SElJ5k/NPxu6joXlpVidT9V+ybaisIxrzZxuSfNzdjcZ2qoK7spNcFwhSlq
Emawt7H4DcyJkD1+zNWQKH8Z6nZ1aZeOEbw655JlMMG4Bw7bjdmw5xFFT4n+nPDeYcItuq52f89/
+bUZtVgFfazwphZxUENhSdYeU+HKNbDYZEGus8p6QLtcRjHKYboUir/flH+JkUtNaINikCROBjQs
Rj6eRW2hs9wkuo1LwU60x0Jylfwle36NfG3aC8aroH1EsHCczK1lPuvppwZ/MEKLWw0G532+SYx7
KaO+httpHaPA7jphFFAT/4wBqFcHmkWCCgMW9XBDDsX4wlKd82O//P6ltrSZUiXLUBkTTvBGRjBM
mqAfHmFk3IvubOZ01bRYakxTeKh3lLU4vzd4P3dxP7mu3cW9wNSrSjXIrBTI95nhFr17vt2VvDMY
8P8c77zQ4TE9C2yAV4ElV+VZxnvS+zK2FNibup10B+aPYnw0446keLVhncvrXVmNPqUbY0C9LErT
Dfi+o8QeqJQ/dDwipVGYg902sMdUXbU6CuyooNRd8lo5scWo8FL5S7ayTVV+CibZdlV1JDSyC2mX
D4ITmZMfp709kUdGb4rIa7uDEd/A5VPTUBevXfmlFid9S4eZWhnhTt80dyAtgUVzZcOLHSHrAdpW
Y8xgSfb0j+6SHcFKwNEWAQdYEwUwavRXFGDWo7/Aku/KubUIOaNZEKGD11yofAixdByM/wXyr4pe
V04KS9ErfHdikcP4LWTwx4OLMbr90A+XaEvSyunye0r/ODUlVaKIiabiKig0Nk0MkMhRTFWIMFdr
Wz9WPgEbdaJqgGE5sBowoMVxRSxBRM+OLRCPYyy8GVX6aQnidbF7KZqdIF0vUeQwhsCP/lWeE0X9
e36Vrnz7pWw25lGuahKfoFwHJNOVLx3l1tpdRJXYlFOiULTb4TibuMnndd1dxJRUwHMVgKdTKOvP
VNxdKUo2l+TCWilhYwrEJ8YXJBK/u/j2MW8uv+wN6jw+P2ZSL2YdSYC4CFsQPQz4tFj6o1kCI13t
c4D14/4Lji7ITbtZIzhqcotEpgOILIx47yrzI8k0lPWOqPeVb+oMVSjFCxn7e9DdnbaIXOwyUYmK
PikYTMkW23rDZiDJyyQfp/oEE/Oi2HRSMPW4rbc3nL3AwW973YdYxIxMLkR4dWHA1DeF7JpLdMe1
abMIGGwcsimdMFxCfhP3gcgurJ+VBb0U6Sa9kkmtpOAdX73h2gj0DKi7VpLhWcdMcLz8e92oLI4Y
MVdg79UmCEty5fZG6zPj4aqWl6rdmk0ayE3zeho2HXMvMidXBnyp2hXqKJ5qUAFDSdx3L/xSvcPK
eC9Fu4OidPFk9FC30wcdtb1VjTfSxy72anZ/3YAsIoFSy0QX4w65wbY8dAwp2O7CcW5lb1mqdbVm
BKsOZkq4Irw21WTLyp6a1nVbOGy7/hEPFK1SAbRC45PmdaPPxAvtrnV6sR5logJEneIMqmWvuvVV
4DmFGol33VgvVmUa1drAZUySBtXYEfxPLnR6bfIt0nOGiHOzUUP10PrqsKlIcF13F6twsMZC1Dt0
14jeY2mvxte91SzVupNAqdWAtxXiYqiIXtdc19+lVhc+h8gEiTmCnuSCW6/933CO/0+QaS5FuiNM
AphiZMg4B9Gpf7xqcP+ttdWoOOlotN/DE/K6CbbU03LgUadC/U9PkfY539PvvPcve+93bf2PvTdi
Fe4A0jCEHGTyLDehMCn1P1zqHJgX74qSOVU0A4r9rFCcHBCatMTrZxXjFfFEAEOymV4HNW4Y2a0A
sRosgpvqqSQv8I7ewE7aTWFglcb8A2I5rwEkwiiAXog6R2vZ5BSKvGNAHmjpo5meMlSc0K3WHxUZ
KRT4MfRBRzTHoM9F32xLBenp7BUKERDPJ2WbJxrkr3ohOSJKYxwYF9hCTLZRXm77mu2SBHSJYSQH
1h65XO3MNmiju2FAQiVM4g0r5EBmHbOlQYbUFQw7JC5dEqWnicMgVvBGnW9k7ChwTua2Wk5bq+Zb
y6oC8O0CEPT9ilsPVqprNklifVMrxXXXgRk89fMwVMdTakS8xlNR7sJ7gagX4shK8FuqpxoRs3ww
cBtI2z2TX3SYpM/k9fPTaCVILeVTVtylpFKwOon2t5Pvx/LhfLtrnV4EP0ZyMWuLCdUVow+rWU/t
Xigm1fnG1zq9CIGspHzU5BjbDOoY4eyuXnj4+L3TAHv98wvScqSklzDSSR/gJA4Etj+fos53+ltr
++8FayzpwDQtAKjPsTk2QDZOiuS2FWw4xCea1PZU9Q7tBptJsVuWMpiUX4L+QqB7zVkUqH1/q6qX
OCe/j963l8XPeZqZ4DxmOgK9aL4I9VN53ZkFaNh/jl4qppIVQ+0QyuSJmTdKd93Xlhebv9Sxocw4
wicszh/HP+e/xu+DYH7jr35EzxoAbSWxUjwK+fFhvDB/5l/67y8MjOc/R0BlxGq6PhlDY4JBLnLa
E5zjC0GH9u9C1DdW/sJi5mtAnza8QWmGEul+BQwS3KbdAqf9lD0U48tVY7OU5qeQlapDhgEvts3h
yjeKpSA/lyJdzWcNKEAPjw3+ia87Kn9nOX58SYEBi60iDx9mauuVyh38hS+s2N/DgbkUzTcdp4OI
CuSwpdtuUPGEBFl+dqlEYWUGLpXz0PfJg9Sh3xWDKOdeRBXa+c+31u35D/4YENmYxiQeEB0z460R
pluzAHNULi7ZNq31e7Ecy6hhvEoxO5rpho1HcknTMwfZXxbPbJL4s9vCWA/gI+MtNTIjh0Clhkch
J0cVTRnl8DgSXQpPPXqp/ntF3WouJfUxCMN6z/AqDJ/1iVhuW78NyLRp4hDwggUq3GCBkvQIbZCU
xatMdwIs/PwHWhvBxSJW4LbCWYrYk9/hyeZCZFhYUv33PLxU3dMMIjOLIPhUZhwmndfmtd2Z2k2F
jHoEQHIzUjCCNY/g7DSWtSeKsFIRtkSF6qSqgtEE0VR6RQsOr4LcfCrFm6ne5THqlfunDE7AMapS
IigII6n/w/v3nN3nbCNO267p/cGAr7v1VzAuoSW/Cz1+mQ5LZ62sVMZK0egUKhJyPTsVivGalB4H
Ag0s5xAqHDXfjvkNqhdKNvOUb1P57vz3WQmyy3qALNFQ8pzhtlkmBzgbAVW7ZfJzYYXcvPJddVkV
MMJlpMU8gCTkabrL/fP9XplXy5oASjO4NCvmEBY5vqXh9eOlNQ+A/bwM//09jCWnVOXQ3MBnE6db
EKhbGA3Vf3S+j8UXk31wqAtLZRP3NzmxnMp475MYj+5wsx/BBKVOlxswRtok8d6EqagePXPj2dR3
XHrBjLXFUghMqXaZgFpG4NYs8SSxvaFsFfy/dKcqgqJeczqFBlPdBQIEfrW+Ad91wwBDa5OdhX8K
/Q5mzjtikVCiH4bV2ynJHV2B++UA1or6WWtsKxsPAoXVZwsVpXpEit0zNTMYRBLIKSgQder29Xg3
DTIs7ndtdOIS8PWm7kZV5IpC5FBhExm4WukE9d+m3cFhqbYaN4ZBEJ6cHZTKuzS7K5GYKCcCpHDl
9DG/S4joa8JTRT6JIeFBG//Ogqc9IM9m4cnRfRXvQNQOI576g3KaJlgxT07VuMC12oZwqOtdr0qw
Llectv8ahb2cpE4tbdQs9ilsWvSI23Vde030KfJ3WCnZ4MXbo5R9wa9zo/edE3fcE8SjVW5Ennm0
qTe5BJj5SAebiGB7juJ2mFgwikAaCp+8HE4jom5TfTXiLm/ZRjHf+Ky8TWukcH0NT16Z/FyS0OKf
qbhl6ZNcZw4c7JBoTNxROA5mH7BMe2LRXQ4NP6XlnVai+BcL2MJTdszhpzm5PNddrfviNXGrlqBm
UQ5E7WRlnZ0qx6aYbAFhyeajL8UWjL9gmWDQGbRuCzDdaq0W/f7Is4NKpAB2PQ5B9YM0ENdMJ1c1
7pE1Q8bIZnCWikb4k6WFY+GdTpZDSnO7zz+NJj2qE/BZqObkyhEYadtk8BO3IIG23oshgP7Y5VQP
pkSyja70sJFCDcJEt7E81cvUe00+MeshHh76bN8Xp370B/zbdv7fNWHGSTpNA7LkI8mP+NcK/9o/
WEHnTY2Pl1NqeU6euBny5iVvkTsPmExtGffsvj/20KEkeL/TjyUNG/mlHRuoahCIAeCWX1n+obA3
0wz66HWMXqXuq8D/DR7XOdB3qQH4eSEciszLikM0vUXyJtOgEy5hBHEaihtSHOVii+O0I2BAJStC
7TLUmG7ED2V5oKnHxTtrdqFHJQuQ2BG0FBn8usXxBnkcPxaaTWPGLitf+qzC/oJKKZwu6FuZbauO
HiJYGOb54Ity5bewWB9Q9JII1gZujJtSvYEg2GmFo9YfuN46bevxEiXV5bupPVRj7RqscEfaPQBZ
78LMxQEl74BzktdKN2WMDrMdnQSnzJ+nequ1g9/HYVfLrh43dqrtKEyAVUxSAQz5AVFHgF+uNT/M
Nr6MQGSg1i8zbKbmkGRjyHmW2x2zkBqBwGQaHFNmwOEHSpTbKdZUUnQHKz1p6o0hnkoTumwXgnS8
iUldAnbCu0FvYZO3j1X5biigQlFUW8ifMuRVJyidKrzt4p5uVvd5m24sKrjAR3gApFYC3oehwi26
u5L8pQM8eExtlxW1HSlZoCh3kVnaRU7tWgAkBA8kA1OgNOe2XGq4j3auxR8sa7QJUz2jedVpjspW
6M9J7Lbx8FggmdLV1M2ke3B5bU3lNrUeO5gDz2vPjFXXSgaYFBxzjIAFL2z4FMSN4YCZP3vROwJI
H/AkEhRtr0PpX9NHVYIuj6WbodhqqDs3ehf1BhBa5S5Vniz9PpKfupQeZaAnY9Q7WpB1yArxIa33
CHuLe+RdKvZCxeGPBEWfYQmHYXaWrqZiZmc6tV7aEe02Mz49VtotxY2pz1GDIJLXGhL4YmhsESKJ
rtBcYs7sptxX2cPYVLbVRf4wdi6dUtgmaH42wu21DUnhzy4LAlLEelAN91OPstTMq7qwYC9cvema
J11GAf+tUD0jhSqQnYYDD/4bMKu3FeGtSm45ZlATWbi+zcjYEj5CXp4rNxJmjNzdxzXe5OXY1/sg
oZ5Z32QciaqnLL1XsViSqsVT/S6SrRCPY05lZa6evw012SFYW6g5E5QEGToR+mvJI+JdL8lBhp2v
Vx4V425iEFsWbsFRedY81xFqPa0cf2nL40Nd1Z7aqEirJR58pB5S5a2iOwnuFEpC3FJANg7lZVBp
gUAr8DdG/mryVmE49JFtrd2S+EOaGFbEHhCdTdZs2uKP1O4ydKmOdxBLbfW+xYkw7DXZjrIHPgZC
37lj9AQFkVRLrqXKNiG+aEB7lX4MKLKz+K3G3JjdW80LNf1yuIHrSSen27a9Q7IHW2gx8o9JhfMj
zTxZEIJiwix61at3hrtUIlEk6YxdjxCbEQAVsq2coar6UFUSqAo1Dl90E8MJrKz9YjzWXWY3FaJX
4jLpJOV1UIEG27DJj4zMluIYjs0nFANui/g4IYNdsA0XPnUwDCHaEWusfgmJT+ogTYibkQZCH0D/
dlWNDikte443U82ciLUPHTZ5dlvm/hjfqIo75PsEZZZGGogKPBih00chXAqL8MIVpXcRDuFyqKmP
U3cjqU9ScVKKDs9jt40AARcKmDvVjuSb3jR9CW9Q4GBk2A558tzGLoUHGfwuo/Iu7R8F7H3UBEm9
JeAfTxTJW/wNlH5YVXwTx9BSZ0JI2/e4F7AwVZv3dCt3kZtBWFaLXm/hQNZvjLo7mAWzaVs6qolz
wdTcyBSGsE10LEq8Q+DUUua5C7ywE7dbhOejQcIO0akmxEnj2EksFghcc2SD46gFrGrVezJK4zty
bwmxn/eHjLPAqgQQ8jrbSn3UkZ0SJK8ShvQsnn3T5EscD7kclvUnUJGCdCqSXdvdR2Vna81rO0Ve
zE5pgxg8HEj6NKVA4k7UhU9Si7S1mr6y8jmT/ZwDN9f5HeprzBwRLMb23mW+AVZLzUUE8C+abVCo
5KRViklkwMsJYBREgOHZsh4KYzO1x0ar3SbVgqILa6s8SoQf8xg6LYCBYAYHw+DebaG3F1LsL3Cg
wM3oE5XLwVAz2PU2DokiN52KIOnJRzs0m6HzDPzoyKJOHTWwruQg497icIhQYPpQ2+jFu1zW8ItJ
3bEVXNjp+ZL8APWPXcFtZDL3vfZHlrZlNI+rcmIRLEOxhlibhy2GQMcNI4UzVNaDJx1UIvGr/GPC
/lbi9DLhTK+YyEFgEis4YTdK4vNcc+Xxj4ANTgcNuKPHMX6vcZgWQagwks2EUa4a5iTadNNpcPVQ
1XkBWEm3iZl1aFHopGh/Dcrg92l6sYCqsKjatqNoKxSGI5g3Gak3hfQ2VMTVixYHAUc6SDDXiDTZ
o23qS6nu9WxDaeMOBYoJhZmFscu7Q65395n+paunSL/LyxMOoC1jAa25N+WhFUNeIjVOnW0AiXH0
DrYHU4f4jmqU8lBImguXG7vUtYNa5y5rcDas5U1JRptNZVAX2NiaImANysHgKaLDcUNGeIZvT1B1
MJDX1KDX/nILrL8RDw+9QZ4V46gMj2R8wZlh04v8DWYQ+PNKGEu5g7oUBDcO/dbHSAIx1rwMqdhJ
Pw69YcMwyBk6TEYcy0nTn9KycJh8W3HmmrBY6UjrCDhQdfoAkTbHhWAIJOM5KRV/6qp9X2n2mAzA
OzW3FLTKhEonVcOWwzubNXkoKxXuAoYXZ2HauBFyEVZhOaw3naYEJExXkRGubWvC6YaaDksNxxC3
DcVpMUcDJQaFMlfL/ckYQJUmp7G7aUjlk5wdYCHpwHRoAxm5I4B+YaJRA/qMjAAUrcOTpzE3Csn3
PYDfCoZ5Eqa9VUE/pmqvBQIqBV5HwqFokr9aFPrpEWy+6nLL+FYbCqdBBdFg4YQPEI2sFZ5SDnf5
xIMKi9Ose0BYOrvHSR62sSdTGg7T/3B2HstxI9GafpdZDyLgzWI2BaBQniwWnbhBUJQI700CePr7
Va/61jSlCK46uqUGQQCZec5/ftNjvqEZstuXv0yLrPJk31bvnRb6xINzeAnPnLuNRWiOGp+6Co2T
va8zaYUJtY+THr0tOrcqwNp4FX4STOOF/fNgOhu5KdfYl+81Z8fvkSsvsREH8bx2Jl/TyFvEdmjU
grmwf6cjVjlO6WfWRPirV18V04dB9OtqXvfWHQlbKxtVXykgqg/Dqakt3xQPqjoHPRhQJdsrnPjW
U6Ke27o4ND2EyBYKq03jWHuqGTMce+ppESPzOYort4EcT+WYRqFvR5WfLBZyVbEd7ebTwht8JQhr
Y4frjnV9wb1lZarnoUp+Fnp8P7PToIIsmyBZEhf6QlHgi0w0rzJS3GEHrrBrJ91UbguMZXqtOjn2
3kAnhsEOicElmq0KdrK9CeuHrj2KyGR3fE2cnxjz1asaI88siTnS6ICSHgo/uziewNqgnIQNzrO0
kUtE3lqRKy9rtaPAY8BSNHKP1aBenkrUkhEHryEu2Cj6tY1VeVg9CmN6JCneH/LMZeiDsDHolCDX
+YGLtMqm+eBIwh+FtSYrAqKAO4jQb+JhZaaPSpR7hCO680w/QSMp0sUVLMEpLP1hebY6SoJCdwvT
3DipwoHuSEEJCbJgq8x6vPfb6d7ROF0VpfcaI3xe2swtjPi06I6nyls5y+6d5tNuiAtCwNlpk7cg
T17gmk+T7hK1RM5wd9Lnx0W7K0W4X3rVV2vWo7F3wvNCUx7HfRCSJI17mqf2ukvOTEAWGPET46Gu
9E8dV3pc+pvqvtfWVnmKlB2e0CtH+aEmz2N8Hp145fQH9i3Y7G1ybFJgjWaACb02sdYnqOxRilM3
DFU3q/J7xlzUD8RD2XVgzs5ZS+NNODvbPouOOomzRqT+yqhQzTE+COt5HhumVVQMTgEEs6ySVls7
BYlgSGPLjM3DlAJiFXcyVKxunGnIARjwbcMcWl1pGg48BZHe9BIMeddmKO1D86TRaXQWw2TxOFgL
+TS0/daiBZF2HE0EuFcv+2pa5Wbrq061MuzazdjtVF25S6T4KBgZC9nTkYJJVDpFhEZJ9SSVoIHZ
fJvsTyeP902XrZTkZ18mT0xl7kBFMG9QdmXMCZcP1snW28euDwPodnQL93ZV3dXxOZ0ero2pW1AM
JwQ9p+KYlwyYLfVoitm19Z7ybKEv2kdme6rJ3ZuXd2wRXavUVmop+Yv9loIpClYRuBF83DxmRD4u
q5wJcflW5cjWr0hO/NC37ylwjanrVGa510SfpF+Aa0Vux1rrMKqftfcJYqTK1Nd0PkIrvthkfVJA
G4O9MQdalUY7xJnm1SaBNlcpTevHhREUjt9yZ5b4rCxzJXXWxqhPII6uwqvHSjyI7E1cWmS1jq4j
JWsT6E0fdRp81gSxAL2NRnu6bjxbLeo2uBUZ/UtotmyynwsbZ4/kMw2jUyGNm4iiNdfoJ5QMBnJK
JF3+OdWkeLeca/r5CosonGNC7y+purGbE0M3VDBYm5W/k+bd6cI96eeB0nDuKPM9EVm+lX9KS2AU
xloNt7mtBRPpV/FCEjxfbapRf07GxqB6oDdWtMWPZ2LXhKxtG8umr628tIg2RT7el85bqQynCjTK
MLTVMFKrR/Jp4dZ65K0dUQyJ9VosO9l6GaHoRNLvar4H1pjti+Flvkh+tap9cECFMus0d846o6Yq
RYbK+0013otwJ0Da243oy6DT1x1aZCk7ZlRyY/ealtsKEEMffEM+hklPvFdDff6zxEg5jc1VzWJq
E329LJ8TBctCdzlhxq11h0wRfgNAnGKqZCB3Al+Dti3uCiG9tBhbDll5Stmnm5zwhCLfxuQm5s6y
UlLoaPW5HCcvI8quoi9dJq+g04b7fYhG+2DF2obkXA7paOVMb0U/7OXwrk4SlPh3VWR7UjN4vfOu
dzquWckxZXQhc7+RbPL0x22vZ3eS0VAZfxb2SIrq6I8N1V/Vedk4emOUkOsTAlc+kV62cezAZsZl
kuqTWPm+aJ8Ju3adhdqqMvaDjaRGBsntr32kcWzieed0LroAt7XgppuFK+VQS7rCneGpO5l+qCc2
caddmXHnV9UE1KQgfhBuQVUwNTqIHURUAleakQ+wUdC9oFSmcmqr391QPlvR1Zo+vYtmy5eJtYxM
xzOa0CtqwV8dvDht3FgVB2HzoRTZIZpPBLg9pM10304lSns2sVRa60oSjFUIDoC2vxSbjK2qtd4s
M1s18F8IZENPRxlCsmGssm+YLz26LEVSzo3uPBu4uoBOPKHSdfF6PzaL85SVYqt3yrHXx+McTkEH
lVYG2ValbZFjuw8Aef3rqS5RjZe+NaWrfJS2HIfq3Mb0mJRj0Xjs55/Tg91r+77vf6gCKopKFzqE
Yh0R4LkyKwM9sHSJByA28g1XCuCIEav3cmtT/bYLBzyeDNaYbMTcfshOHRTEJzYykr1C3xWK5PeV
IQWieFtCfW9AN5gNoksyXyXzEAUU4n8CA+fqx9RBim7mkxoqXjkeKkw6ph+aNa2y8NGIXqPW2Q11
tsfb7ke8sHM7ImiX2TVSFoj5Yo/E3SifzfjSkM+hxxbxoITo9KEfZ7VfqOKua/NpZZnxA00J7ABv
LGnUnde4t3dECL5PAuquWR3nxtgqWYujhCxlq9TqGUkxh6IREmxEWQoPXvB9zb7QJddqDpIiDlrL
M54v0Xywpbsp5ZVturiIXTl6Im21MinznZ6YAhuvCrUyPd1oCXNZZLdpzwYeboOURhRRhruEp4cm
WT5rPajbmigVCfSto89w2n4t6Ptj50luH6y0OktN4zuZuiu7Gfy6WXfY+kQabKjp4lCudo2za2uV
3owvzB4dDIPqlZm8ie5SAFyEjrqTewtkk8z4vjWomZbKk/RTmm0jSNtXtG4dtdVGVc/6corh4ttC
eBUhDb6WNzl06gcjQsYylu/2VdmYDevYURmCDevrvxMWs9aYVTX8s2dIcP33q1Y0rBZ/oRgUir2q
kan1SXnte3BL4sLFoFAi5nhK6lc+9lbGrkVrDj0FQ7fEZ4u0RMmIwVKNzymscBfCiqYrbNckKnQx
75EzehljnWwvCkCYllJ60tpLV1nBJNqVYOocTvI6GsCfnLuIaFMZ0ssgN24/DxeiXN5rB/1BS+Jo
8RYycp0+jfbRCj+WgWNSstYErAaNDhyM18dY/7Lqx8baFc7Imdv5rThOcbnuhsTXhjvTltYWf71e
ftMd+6NR74ZuCDpH9zB7RUPhrCgA9v1AjtSxadMgmt/KeRsb+0Il7r48OOZzI3d+LZRVtMieBGqQ
yr4to9VUVDcxLaT57x3ffg3EqzBjUx3q8ArAeEZLocD6UuIgkdrXZFSfa2HkLEcRAH09FPZOqjeZ
Ffmi387G8i5TdhL+idEUAshoG4pN2DSbQcLYs5TXcQJKNQzrUDHWMgth5mEP8a8pK9+TrmCF5Z5k
Co7aX/Y8udVkPycaNpOOlV3sVHGVDDK9BP9sSdUjhjDrKFOorXej2HNsbPnAg76Vt63CPpCNnya7
VNXVm0V5jIguMbn/hqc/JwMQY2h5s62/9/0IUy45O5G50kbOaKPETasCQFqWclOOduFZsu5Ny5mg
IMV1gPumafZLLTng2nImM+Yguuxgm8smTtRtKMkbubTp6vRDnJRnBSJX33dBSE8wFvq6ycaNPpI8
wthCyY+R9pQRO5p+OOlHKt4jjgAFb5Ps0GvvlQBq7+8i4yTM80jPVuIVHIFEAphIUu5ny0favTjz
SzZ8TsityvmkjxswfGiCsr0GQdViwzczZArH6/i6VSIkmPcMFJW25Ar3kXq2QWUceSv1u0mcs/YY
1Sc9PyrxMVGO8vwxqVc/7wufoTfW2XqQpDOmoCVb0yKnbh4iTM7E/Boj7Oys02jc5dcT8LGJs4fZ
pCFtCj9vRpeH8auqPlpjXWvQGztOXDLKQ8efEpedyMbBJb6Y1LsGIHwZ4/FJfq9WuwvUFAwCd5ZO
A4ZWVtsRjHttL2fnPpPu2gH0qDxKofawaO3B4EiLdEaBG2zJGb0FnYFsmOp/uTfENiw+MSmFbnEY
5A9FijYaeda1OKap30nPU/LUTkQK74AKSlyjMnH1qen2qhHUmuMV1byj/c/t6/veD5Z2kpJT198Z
OtYlTHsZpkWgl3uR7crB1n6kixqgLtrn1Zs6OQdteNC7CS/mUsaNxnkfquHOIGnQc8Z3Q37uY2VN
p7WOnITEQ+Kuer/sf7Lnn5fI2eiSdrza4+TD2Y5figFi+/AkJc8F86L+YtdeWts7Pd7ZlOYb3fol
iYvxo0y3Utv53awHnXxSijuk/Iw13C6wR+imkR+FGPZ02uNcKG7OfizChu/2pOXjOclOVhf7GKQH
uRr+MONzzI4gGxj8UCMyMKDxs5NVaQXtlnamMHV3sC+DlG8ljf5H5gfVJDM9wpT05QFUUrrU0a8i
Kj6cpvKX0TnIWrQ31eWg1oyeu478WwtuLwasOXW4k9i+wfadNGuT4SNJKAkowCWjJdXLdC2Izm17
e/DbGN5SrHnq+EQuID7BHTPnvdx/qK1Yw5taqUAfOUCGUcher0iXqf6F/KrpwDJq/qRMnwZRXezh
osh/i/n+b56CdesRpsdR1w4ComBOqnDJ/P4v3mNfXfeGmZRORcX5x3Xtbt04x9r6FjPeurUFk5NE
royZ66YMMoeN/F3C5A1dsCTCTK1tGGBzi5k0r+gvBLAvBH6Wc0MwiopGm/pC4lDSzG2avI3S6Cum
whnLRFbVgylr3ChX14Xzm5DwSx53qxr8NXJaL0LyXv40s+wv9/LFO7n19ELlb+Tp9XdsDEZTXva9
V31ryzNmwrSzilciF6eZURYD8O9waCz7ygn6eH9Iyqj7f/9H+b/2YjpjUhQohgiGT33iuv983f+m
hlq39juJ1tpZqKJv5rApjSLQ7BNt+yrMl7+Qf/4hmf4HQce+0gH/deeJHPXSmEgCF1PgusYdlj6I
ampshuOjsrVSeTVJZBBq2paOcZ8Yhq+rL+GcU4belQ6zlZF9GGRECauT3I53ffEX2+8vb+36cfzr
1vIxW+Q4gnFcgHoTF4tWfYP3QFTXh2z4xQx62wybsn+C7aObxxoLdRMXC6mxsHHIVjk9BJ0QqYCH
sHhUje/Jd61bux9eRwWY4GBTW3hgziSl/vlVf/XJXxlU//ptG7sYuk6G6dozmp3V38P3fNmvedP/
68KiaiurXbiwHkj9igyf793vzW5hiUzRJcfEslF1ZY021PvWdW89fqxWzxqRtNzurHoR7EMDGOR7
l756Ffz7ESNUKpcBJWLZ7+V8nUzf2+lv/Xxi4gTKaJznvfKxvFS//nyz2n/zCa3/z80nUSXLmC22
Yx12FjSP0bi60QKfTITDA3zfJYVGCRieHek6s8YYpGW+KPJDrf9gBCFJBz3dJVQTdUoslqpvmUSs
M5Jym+VXOWIrK6bTdTqfyE4wKq9y+D42D44qB6b0GEcjhKidspjYD7OYCuXhz7/W9Vn/x35j3ew3
lprGigriv8/FZcarRLQjWQyd+KHVzXtS8yvG4fS9T/TW52fOjMLMGz4lK71b2rVlP//5d/hiqd5a
8milPpSKnrDbR4cqvfYKf77uF7u9dbMFmPpQ47XJsxmlio2YFEYpBFiySQD/m0HsP9/kfz3/m91g
TGVNbgzWQKrG7lKey+og64/V+NbnDihjyAB5O2qHrjpY+VvZ3XGsV+VLI0kQ3bIVKCbQde5WzUcx
vjnSJbReEvUH8ermDGBLogZJ6N11ailhsxMB7VT5ump+a8xJScI21Zrj/CnJno3Eg8u8shnZpE6g
YL5kNbHbW0d1CCxxL4Mjyj+T9GwoH87yA/TZHeM7ZbpfzGsW233ROiep3U/pKamgHVQNQ8a3GnzH
bNr7qNTgRcLgiR6wM7TbhYzd6jLpslcXz2O4a+BnO7to+Ivq+wtOuGXd7IQmorA+HfAkunpz0AxC
fGJUg7fmPAH0m5AfHdeIFBI3Kq+mE9YB350o/pb9HMmy/3tT6yankgRCr/3UHKNwI/5Gpf7iI7/1
XFSrSI8l+AP74dN+rP9ypn+1qZk3hdKcSJU9NtD1y/HFIF4UKijwmIvrlh6h/O2A44Z2PUWKp8zm
SpYXEqaZSESWV3fbONvS7Ys+MPIZ0JCHzVTDMtRjVC2vctLdOXoJ28A822Xs4SwYKIDLU2Juo2VT
RJobF8lhBk/OtENBNkui/U3Z/dWzui7ofx0svZ6LcskUaoIdDgTiey401q2N1tgxzW5jLpucmMYl
f3NM+W+lh3XroXUNG8iKgi8mNBjL/UI4sTHbb56Fpva/H0XSiaFt8J7bJwseDH6R/qVQ/eqmb/ZG
RSpQXNdcN44K1xlBOiCTiO9lJ1q3bk0ycR2FPGBarnwwHf1et3HrrdRJatnlE1oR6zV8NH/++Yz4
4lO79VXKzKiTRmg6V2+SLvW6b3Zct05KpuiqUFyfwPK6nP7m9PHFgWbcrPZiwKddDwtqOacJWgc+
OhwkS4YmYffe957HzdLTUzYUkWvTvnobvPL39y56U6SkuDHLic3H1r42lg+K873LXt/pv7aJok1o
uivqRFiMjLmcH3++7FdP+WbJqUbUSkJVaeG0YWNBAC6i2rU6LdDyvxnwfvUjblZfpuKtacPExVee
ocTv0TynBNU72V/iOr8odW+diwY5jTVJ6dk/Z3GYonHl5GJvA2fO6j1inu+V6bcGRmmuC3PKcM5V
C2jmG6eP1n9+AV+syVsjIrXRx2HuFDT1z9Gj9L0P+9aEyNQrBrYyIwJDCbeA+mja/3y3X+yk+s2i
NMMI681rt5JkmwySE/VVFZf+ny/+1aO4WY6qQ6RwgdrxitaKcTtr33waNyuynlMDZJxH3HXr+coX
X/35fr/48m6tiLAwaFT8w2Yi4SAF9xjXZ3Dmzs2c+qG+/OWHfLF69NsFamZ21Kf8EGDRK6+D+YIO
60vrvnfQ6DerUzPIC4k6PB3MpktWpq54FXTDPz+gr17oTb8QGbaSDTYv1Ahxg8P54S9V81fXvSma
bfzEi3nmnlXDEx9SGvz5dv/pjv+jv7n1BNJ7YTiZI6a9jCZsxhMwhZM2RYcUd1Zp+rVEI4xHdEUd
Wo258aRJRsK1NeFcyurKZJyVV7C57kzVhgCMzKOJg7TWGHoWgVie9HK+Tvr3sa26kCWv7qBaHT85
he7bsxlUC6isFijm6AGYuToWGmH586qOkDIZqsLbQpNFmsPBxLBvWvK9LvdQNS8d1O7EZH6Om2xh
vTOi9xW6rAioz2TkEudlsOTTVu1bv8ffzy49aTEPeTRvnZQ/Hn4bDFP7p0WJ1jHKpLG47/DzD/UH
W4WZUKjoUZ8wsINd8PPPj9mwru//v57zDZaCVFhRqE0Fzt09WtvncHoy4BtJECgr+1LNPJ/wTaRS
oDradnb6dZ+1u7kzmWHsrH5mLi82hXUsQ5zL4afqOJdPDqPyejXav66oRFbtWgsxkVoFVwuSSfMz
aACRvIMqGEQ6gh3+dF7umuxXqr4jfUDh8FgyOCz1zcLseRrWkw6PZYmwN/REU3gJPO9EfFTovrAw
cvWuW+WQha1pQge00ZV0nTHdWCAl5QzqjV+kRptirw0/xtwJClsERgxIAkN7/lmpP1OSSiaxTeFl
KHd9vpYceDfMbBvFbevtpH4C07vCHJ6yrryrpX4/ZwyVRiaViJQ7rXJbKGUhHJNMwwNWPM8dTOnx
foYyHxU8ifRkMZNDoAZHChe0BNt9aXjo4gYOmL7JY92dZumh6uF8vivKvBpoNuu4WmdL9jyR/50n
z9Uy+VW718x1JTOrx89xUFrP4g9F8bwQhSwMcZZQkDc6/7OajDBkJdnTIIwPs7piGdTmCR+s1VRv
zLpftd2ZAA23TAZf0z/y5mDMhpeapasJ5aXsGmSKcNK5qzHRfprYuBM1tUkcXNfFOKzlhWRrNClF
3D1MTX1lf2lG9zCPvWejpBhUyYO3EUzJPbxpqyj9HINyS1JckYzbERZ+ZOUusZJLTexEvGwlBFb6
iYA9L4eO7hgZQRm2q3ALBj+6gckyRlCxrgNGX9VDTw/brRJ261GYOJ06OwWppxNOaKoKP7b6zcCs
rU9iP4eskLVT0Jif/Riuk8TZlHhrqrH2UUZQpxFoRQxo7UL2zUT1yvwyt9rVIsY1Jax92/yUq78S
635GygBI6gKHQE11yM8rXNsatn1suPNVd7iEkIlec6c+2wueTExQjJWEHkGSjk7aH2sGv83kF/rr
TPzukhws7O+GDY3QPXjZnb2Ig+I8KPHvKUKtqUBJqGG2G5U76Y+yEDsnC0CUmIuGgQHfgh+9mqI1
Uzo8OFwHDjq0IKcjwuEoFBm6WAkJs/FFvjwONoKgBtqorK9K3phevrTTi8yXCDVqYkgQjqFbhBVU
qWLVRZLbzniQEPuyONZKEy/4HndJ7GYTEpMCZupSrIW2k6E5mH0MnY2pZQ3bN0cE8F5lGrLCbZNq
q9jSyEnE5q9A2dgeknla4wKF9aCfZpessCEO/B41e0VCjdLtpBJxOjjRNPLCR9PV8AvS5AcD1TXC
HezDVeyzOuOtq4p1zDTDTh+L+aGTIZhHjsvLgGO1V1EMOyV8e4fvGDCyz16kosWZSEOLoW5yYZ8j
w7mM1h76VgHtuU52AkfzelqbrXkc2KCt7lXK0QRmaEWTzpNrzJpTSisctxibwJ7N48zP+9fJYH0O
0HRIHBm13zg2uqqMAGvWvdp4b2C39tNzP5WBnFjMXs+ZjW2mvYEcpPSZO8RkR17Fj2O2q5Y7hSNM
SV66AVZ8+u6Y+qauTeiG7caxZNC5cVUh5cyNcSXJLDoEP3dmca4yPuPJWNnw+mVnMzvH0CKurbNw
jK7csX+yFdibcOy9Kot/y2m+i+JLwXydtXQ9EIUBAcp60UXJFln6Sx+9hEy7emjBhVMczejNjqDC
88H18OcE+TCrGdJQzRKV7ecUpkdJhE6VLfdmIz8VcOLnAnnxVLIvp85bIbEjxlPWBvlkemY/ua0B
9my01Y92NLejfICUGuMWg8cD0mEcSM1yrSX7fvyptMckP6ryD1tM67TiVJ4YSnZXy1yxV3WO/V9z
32y7Wguy9AGuoT+H5ZEOwNV5b6TBtNnFqPFkRgbYO/Bre4ZHYbFRLOfYqsex/dkwkY+E22Neb/b4
GEa1P9tbo51WjfXU229gS16ajF5jPhvFp2ZexvQHuWGejpQkougYyp8WOoaF5B21s85tel93xKVE
l7R9LpI1KyoQIVcz8uQYZfO9IBMskXaZsODSsQPDwcVb1WXighDPaFZZ2qEJtnddKbuigDxQdKk/
pA9h1e/HEp0GXBwTmncDd9OkMqGZMh3nRzg/yFkJDxcCSxQ/RsuF2/BkSEeyPf7UxvDQymdJfxJJ
0IMJI6WaErHNpZ0Vggk7x4wRUg2J/WqXUszWx1Bx4oy/K7R5yZyvi2E69BZSN4f127yGjrKdYqas
HcxOiY81l2X0MuHKYEh3jbSVkolSWFCoPRjD3xz0vvC0sG493mLCE0MEMWLvzKe+U7yEvblrUYY3
n7pIg5LSqofokrQlIVDI2dEPkP7rR6bkihjtW/K5qMVDFnK4hZe2KLzCiKjzVK9ieaYVuKO97YcR
0hWC96R321jatEMFK9xBq3lxcpihZbU2e0hVEIP/XHLpxhcl8z+Y6r/gg6qPh6yOR5DeEb5ijuod
85rmHKvDppMaL2EzRmm8EVrQ1MvBVn609i84sCs1Nz2rGlfxgvYSIVYNy2NKDRTZdySMrBZkEWJB
QCr5jT7soRUm0zmtc7/Gct7M7ocS0Wqq7rsrl7CmQGXU1+uo4q3azcvHTDn3GB8svfDsSvPlcPbo
VX8ViFCdbFknEa5UDA3mM4Hp6wohZ7IV6MSS/t6AxaTNZBDJTyPWjBZikjQ85vEHVFqjHnfCfEg5
p1JR+hG9pD1YxzSDkQaaH1JZIWBjzlBlxCQKpNPdDqcgZVU0CZLydYvkXjCdbiEFsR0s7dvS7PH8
oRJCrmxVL7KE9TVQ4tWGdpAORhM99GxcM0qAqVs7zdExTm3r9clZrZaNnG5n3nuHmiuMYBVL1UZT
IxdyGnXBLqyDMN+qonNNM/YWtjPDgs+J2MLWIWcrta/bdyWbstwMK7Wv2MWhfCIk0t714UEUDzH6
M1DY6gpVJ+caohyOGU7rrJOMAtQOJBOdmiYfkvy0SG8cGTAyhadROdXjw5wyJ43WcnhcODzb5mIv
thepgTStxIPVHZtpWYXXWYu8j5azWj5ayr2RtT5hxyudIXkyHAfrtUOXmW8ntjWTctlQ+JKvvHj8
BDLe+5K82ZhNZMj+u0sonmX5HEc/x3afpC8h2uqEb6Hg+9OMUx39dFq0VFw4faza5Jp4Ta3Bhmsj
3WekRb5CGNn3MSqcyYK3TBCaPyBEbAv5ccrPFXN1i+QBiLa+XahbR1XWthk+EMrtZ86eIAw7a9d1
Df1eVQ99FW9Lup8QiniVmzCneD3OzLigea66tyK8dMmTUjg7REIYAmqP4TS8SnK9z1nSlfWxmNN5
JPuT5AVi3ryS4LMO/GmoHvWeHUJGyBBXuxD2p5bwAFBLJ1J0geDldshER5lDYD5XRUhU2bQaw9NM
emcN0615D5WHUa1WLUIMx8K/QH8yMKgtEtSycnbQ66cxD4bpNc1mrxp22JVdg0IpW2Fh6WyMinYs
WYpafSZ1eMUiQwOPjpnoBhb7u5I+DJQXMm/feULfRe5IL97bcK8xFVbvgUso930VInG/HA39kIxT
YNuOhwNIL+9nzo9Cf0tROkzOs27/Voj0M5PKj8bqwdKjpxKxdoLNCB4oPTbw3hBCjY85gTL6zwhv
74D/qOSYOsxxUCgfYT/79kQZACvcbfWNHgezaFCy7xWGmLlJ79u9ZGmFIDqDNzcgaseGYeyebKnb
yxWhMU3c0zOb4WahvK6G7jXGINt0BjRYcaA7GBkwJTLRII49PM+i9yNUB53ePJqDs8VT/yRQ9Vsz
rNbcK0zs0xSEd4rjCiJ20msrLiiFUP8P5r2B+D8OT1cVDeYpob3uJ4fZHNt4hFoZY4FiidcImhp6
AHEt5ojVc6RpHUP3LaPJsxFNWN0ukQ9q9TwBoGn5jFBkcbOQihwth2LaD/VCTsj1fTpzUI6bbtxe
DyE1bz4TPd+koeYiOXftFkGEfpmBEArQJglJ1pJHHoIPLCu2yQAN2txM065L7TtLLxDWJkdNwyQ3
h1TY9H4cBSmmK3ZXPISKHvQoYaJ2OIW6tsM3LZhjqFOCsLd22iy6vbUGed/lfI/sSDZGzML4ISH7
CUs2qO4hguDftm9jG66tAn7zI5k99Rwe5tK65JnYKDbMQ4xw/nKcfYEf3ACFKJd4GGim9zPCQnTR
cfv7zxf+x2/uv5CJG6hQKKMpdLWZ9vbQP7GZnUJseiaTOlTDGIKMqJn63y4gfdq/sWugBjFdxGX7
RVLussneyt3yHNufqROdnPDzzzd1/dn/dU/XI/1fR3e7OA38eRPbsFxfZRRBV4qyqCvvz5f/x/3t
v65/gzDqmT2OTc5Ir5Y1r1/kJxHtSpWoIvGZSJdoUBjMbxUB07jfCc7EYU5PuXVq/hq/+48h33/d
wQ0GiUF5ZfIN8huCoywo7NW5QA/S+DDJdqFwUF2QMlndTeQoJCidO86qQuWUKQ99vYfqOuGqYKvy
97B+7Qa2jBGCJRmD8X0sBYp4WpK/4Iucrl+8yhvg0jJL9BucV3vE96uGjF3QOHSJG6gRF5pnxCHl
ngKIKI/cLZn6l8lHk2NUr3jy0l0qTpQl1r0GkRpnga8jlZ7QLeQl7e95rH9okb42zGGtL/ourkc/
ln7oMMQrzb5zqldRj+4cJX5RPDeL5YoMNVy97bpDOD+XfePhbuSgiFX6uzZN3QJTkRaguQn/h7Tz
WnLkWNL0q4zNfc5ERsowmzkXkFWoVmzBZvMmrRVTa51Pv18WubuFBBq5mKUdI9kHrHJEhIeHi99/
f2e4Jxdrik3bFvYrOv/K8nMsWtJrcNs0fAcayrDudU5DUDxtneILVCGJRzfbqelg5BY7UCBt6uA8
0iavNZ8DDOVAx9GQp3MmYetp9WZmGSjbAq/iaxzgLMYAdSHQSBo6QwP3dWMPj5oJon9m6ti7ySsl
9jSxmhPtiuWbIH+sR29rkSKU5CEGI32IIOKKCQvyhmZ6/dEs4g2EbvSo5uOnqMl3VRs8QpgK09YX
x8BtDx/j8lSQYmPUUuh/nYa/stx/Kmj0KQPw03QxwtAijaPVv1LQVefMNaBE9mqawjdVGPIa47fz
qvZ6xF1Jd/5AB3hPO6N/9A6+pcM25XDUtL4OXyJTvs7yv4y8fEjccZe0c3f/qQg+htX0Je5xfmz6
Bm19T8i5LUJeHNr06uxjF7+W8WuAopA7edFBjd+MVN+PInrvND9V8N2Uwa7oIY9LHRIfEbFWvKmk
2A7Zg1a8b5xiNxnFX32dPTTaRMz2xTGfAJLT7tq8Sg1jD58Jgby5hVVp09npu4lm8p5+o6obDn3u
kUBKXtHw9jxh3A+SLy7AgiDJ923xR0yCuJ3bKyFSdKaINJLzlOpvgul1g/dYjf4nS/s8RtWTyn46
AV21VrobjHI/0lfQ9uqNGRinxje+hQYZCIAbSvzUOoPeY8Zq1Ra0tQWD1j9H9G3BLtYWBwW/Rpaa
7yJHrNRBflHMkYs3pYyjDpXxeryOjqzhh8EPdpoLhCSgO25aQzj8wpYveblha80kJEL9UxN/Shkz
bNWvFG2tty35L2K8JT23mjKCFDypp1w8RD4D84ZxLX68brfk4olwfD00yez2T0P9uu0+8AKs/OJf
VLeWnLi2MvI+c8iUt9BDdN4EMxgkcgw7zsTa8/aLYsMzQvjF82k5WVLHk8XB0slRxA0zBG3SZacI
ypIw+hSI45i52Jlwq0x3e/skfnXMCzufTbpwxnlZVfDVcGbPkJ4+KABu//ZfbNqSLNeNgyCdWs7Z
twSTyJ8G2dCACgld/+O2gGelv/IgL5lzI68BSWsZvID2OFvqx7AK38SF+U33SdIzmjfEsjb6d6cb
CG+TN6n3h1sRksyT8Gi4g2Vp1xYQh/njQ1wQ0Yr8m7LTx4Z+S4p3h6rT91GUPGV40yvf+FenvECy
CXv0hVcMlBrpMLQDygp2/qpPPsTBl774wx8aWNb8LxOUXCakHyqG08fRoDRrNloPqqugtbOmGcnN
BSWlr5n2PYIE/vZ3+9W1XFS7ai/SYZdzySWCO+QRGckP3v7N1nz/rp3TbMxe6HZJHKy3JprQZNG7
1BqPZervVdM/Sns85rSlaXqxqfNkB3E9LD+wcWT574oGIZ2ktp89uFG/jew/9QgkZW6cqDZtvABM
arTNnW9+hOWOP5QzUQlpTV3HzWAmqKBDuIcLyq+h0xJQunnxQ+02eyP4EntfY6vY0x/3UIzx7/k4
PMTAjZPwnUExP2PMaqv+9DxzW6tjFkL9MA3fzMF8z9RosgTGyq786nosLPkYq8AvoeR/0pOcJEiy
HSAMZtgbldx/8Ov/eTYuq/7Xf/Hn73kxVqEfNIs//ut1+L3K6/yv5r/mH/s//9n5D/3rzdeOxvd8
+d+c/Qi/+R/Ju6/N17M/0FcWNuNv7c9qfE8/etI8/3r/Zz7/l/+vH/7bz+ff8nEsfv73v3/P26yZ
fxskmtm///PR4w86TmZe4v98+fv/+fDN15Sfe8x+5NnPOvx68TM/v9YNP27q/yF0ZRjSdWFElbN1
6n/OnyiLD3RBBGtaTCLR58cvy6sm+O9/t/5DCUdKpej1tQXGkbtT5+38kabz+4Rj8KEp4IB1IbH/
31/u3d934O8TYTP++fO/ZW36Lg+zhv6Z2Q7835tCcw0MKcK0pXCFbgpj2dBgVa7pWa2yDmnKndzZ
ug9/i2QqaPLUF3qRHmotEMObnngnfSgDQTOfyyz0aeVh0M8jgL+/h2kA2YL0XTis+fzmBo6gc99r
zUNnJI48BjHv4Bthd/EAvVkp/hoz+uwgUGuS75Oh+ELWGOY7kZTBhxend2VDzm8JX8SxDMuQpqRy
x8648vyL0EiqaliVzIMs8++akOJ7YsX9F42x4PtWRWvtExf7jziH81TChgDbdeYX84XF8qSrNfA6
mYegcSR99riggWTgIxWfgOZNMXTgJmJt+uZkuvVgm5772+31nlvhv9frGLqjmyZF64vOiFoGiV1C
LQylY6IOKmmT96Zfp3fZ+n+kkH23XMMUSp/1+eUyHYNu07HX2VUqwp9zm9GIftJEK7Dtc/fiWYot
LQHZrGQ3xRIimaO8vt/DR5b3NcVYUcPoIBJarIdmrYnsctts3bRt1mJZUrrOQk1qFY1TDrSCgCCJ
n6yqtknfivDj7cO5XBB75Vq6NG3X1Y1lF2HW64XqKq079E7U7O1cOKdGM7uNR4X0y21RFwtSBixD
SjmGYfO/JcAWTpxYSywy1/FIZApXY7oVQ7E28OJiQYqjsW0lDWWaNjp/rgfGpEbLyh3vUM/odVpj
y5gYnhmLdNiHrv7j3jVZOjfY0G3bsUy1DAB4sF3V2bp3iFpmhG+70s978BVN8+l+ORbWWCKL2cDL
YlI3VLndtuT6CoKX31yRwNRlxuLz/5+Uxd5VDnUVs6iZgDtTCOSxxViXMlrrulyeEO8A80JN18YY
Cctczmsrg8iQHSQr5C2L8bXfxR3dM2YGmRpInNsLuiLKxRRY6Lbp8ALNn7+wfVHmp3FUNf2h9hjZ
OvhawixM0Yo/aBTM1i7sM1jt5UvHwlxTtwTL0i26P+cL8EIaIH3IsQWUxdlkhMahppQFI4VjebTo
djDemHYlIIrlb+YpSgNPPpl1wUCltk+qFEKRFu41t54g1gs9AdVmVE/FZxO0KpQZUZG1v4d1npcf
ahd/a+M0MRCRFJa4keJBX0x7w0kKihsaI6ErUxXNY1M64RcdWHt/NBsTtE1btRWJhXTSs6ewKJT3
mIp6Zr+2VHtkNJ+ePva21rT9Ju5EVT6MMs5+l6Kr4AlmYPcmaQz6jW8f0fI1dIWp88YZlstfQi0H
5sBsy6ICrT+MThKShB/eRGPxw5sHZwfiz9uyLtUBQQZoIRtDZ1lLLG3bejLyU9EfUg8AS8mIv51Z
hi7l1WSt7jvHAee6gCiai6SLr2Eh8FwXRs0NMl/C9RKXOmy7DdvsdeUE61ilvROFmz9ppqHe370+
vD1eJkMatPUv30DDgM0vh97gYMea2IeMv6CIaXr6g9MW6Von6ZXNxJxbgr8UEpdDpWq/zgK2eAAV
MrTbweuHx3kfNkYbubu71yVdSyg5W/X5cT/fzDqWOvTfdByNmpoBnmn8xe6H9IEZHsaKiswmbnFu
hmkhhPeJ/PXykRKe3xldMQwHzYqIWsdEnYremR7CLJWvcqHBOtu6gAfkGGl3GytpYBUtl4MHf7Z0
UKOuSBw3zYZDlcL0tTNyqvpU4spx2oKn67v9vZvKVZgff9YLqnMprnRVJfO2gwiPeb/EkvZv1QSH
RBpn92XHHK61Ybi8xXh/hCIY4/Pjs90wpFaopoNsrR91AzS50cZ4xY5cqiNCWAjm3p4jjoW7hMNv
N2rMxSEP4XcqK5uWgTYAaida506H9nk9L0Qt7nZe24Ufjqk4FJ1ukvcNiuOgdPtudWBBeDK2zjG5
jr0IqvEBUliJGPc9jWlJqb5pwabRiuIFdr6yd0vPjAWZYrbDxIjGrIPnB0R6KZr0MhQHpoYakKiT
girM0lq5xZeW3jB1WwnJq48D8FyiefE8wo/fiBp7eZBRlDGSwu4NaPILEX6r9LHeG+MEq/DdOm7q
SineZCkFN+t8YbxctkhLW8B7Kj/5Wtg8MeDwT+nU1f2HRYiLx+nMOv43COjF2qx0rCHjacXBzsLx
Yzf67ambGurqM3z37jXhzAhUgzurM7zkfE2mwUyDaZLjwfQhNnjwA6eQR4jaKzBahuEND7fFXdEN
YkZpQx1iWa5YtuHQFKblaW5N+IQK5uMKau8+X5tidUU1zoQsYvPIFTI03AkLoQc9LR15qdM3DH6u
HaePRhVnK3qxGDj0bJIQSHqZIM7g0BabmNXFVFaOnA6VAX0dNfWk7/ceI4EACOqB3QIHyix3Oyat
5O4VFkMMQjMAguw4ZfLB00X8ZIYtJNeCg/L+HM2q+HLvvuOR2Xj7czRrqWXYPhp+6BY4doc66iEc
q4s/bGMwVpIil4fLb5+zEI5wdIm9OdelipGcdLAzysN0RQn8xvE+8n+tcW8skH3zbmNb8AV0FsQ8
refPX9wOfTTLGG6Q/lAxtqrb56FstW2cRvkEpWMLlKIL0rw/FkWd5g/5WJBIHtKufF2JSpPv/Dxm
nknqVApELRz2VffkxzkUpVrmQVE5UN2lYFRZZrpvhYVuqtQthseIExwfjGwaqGbRICiPlWEVH2Jh
Nm/B4zU6jJZg5j7GZYwjsAn6JKNE0YRTBmdwHHY/JJSSmgt8pqy+E2AUgIyxbt0GRyQC/+jHa73b
l0+YqesGu4TJci1zWRDzgdrkiWPi5rgmRNu+FzHTxlRbaYo1UZcHjy9G0I+51xXx2OK1LEqQ+mXI
zHMF6P84jp3clVZobW7r8EXOzcWBEtKEUhvorcnjcq5fMmeAUdEalKSd6FsK/+kPYHfpwfaVtg3H
qXjlt2P+qm5yUH5ykG8zka1+ictdtXUCMpMd1fkWyxljvWO0sQ+h+yEZQqrckWo/B50DqaXthXeh
Y2Y9J81JitMi6Tovd1GEim1VpmmddXBute1G5DjC0JaNK8bryoJ4y3iKTQcZpG7ON9WEFDOLShZE
NJMxZ2KS76eJeEZGpbyr6fCfBcHGS66Yl1tZ81d5cXEh6qwbv6gRFXXJez8JO4gB2+yL0ABO3daV
q6uypcRC2Dxvzxb7hSjX0XutCIvuQFNcfYTaM/2jkJb1xvZ1UOW3ZV0GZ5yTbdnKtXFMlTHfjhey
xEDRXFlAtkuqLKEeHtrY/aAa7y38qzkzkE1vReC1xc2Gz2FcKDZiOVdtcpx2VPYsMIeTlYg32WeC
hoeMAOvufSS/RraQBDNm3VkWX8vQLMdMlx3soIydchOwmRCk0xZdDGssVIptOo+VXEl+Ei+V1IrD
3TrfRlU5bVCUgzyAwaK011sV1KkDnmq5EW1ZahvenJw5BHIM34z6RBOedM1pvDMl6+Lb2ZbgkrvK
xM1ffIupMU1NunwLo6Sjjpaoadq4Y9M8Bk7frWzurBjLFZNOt5XDBcelXyiOPSR+02cC4veG1aQG
s5CERsPIbfW81BZXshZQx6QQsM3z5y/UExqChDF5hQRvUn1UbVLBD05uBH/GP96WdG09ypwtCck4
i3t3Lmm0mqCAoVQeBh1MTGIzHM1P3PBwtxRXYqfIY5uUg8xFeKFnhqtZYQVX8zwFwy8seZwzxXdH
ZcogUS4MpetE0M8V2xe7Fjq5MWk96B8KPcygkbz/cuNreZ+vbNrl8SjDxiNG5eRcd1s4q1ZaKKab
+8GxzvLwZFcmnRz8jZlg3tpQ2ktDhSjiCgpnJo+YsdAEuLUMb9Qm/2iUmQSqPLZ4B1qdkLukeqn/
3vZ6Gx5HBgWsLfJSM+bi3/xqK3LOpHfONUMbYk+ZNjCrCJ8tAh1ShszzKsb8Xt0g+UfaDwXkyMhc
LVYYBzxx8ZTKQ15rw36c4NZ0PMjM79RAHmQyslLHKhJ/XlCzSAaJODUZiGywwbWb/bDtiblXwugL
e0ghF5/dMRxjLrUti0O4lAwSz8QAMU7c0FyrN5Ax26IRGT0/URc/knBU2s9Gmpm9LRIJznOw1BSs
QXsutIbvYTx7B4Z0DIrC52fXFU3ldXHC9zDTV5R5adm27NeJ0t/1GVOrbFWv4WIutIUrh8kStqlc
c/a1FhKJ+BtYbsXBGOgJ7UYXcurB8O9Ch+KN2LwyBjEoOQSuhLOQYmedntkis49tWopd5jAmrej7
bEUjL643UlASbh0LsVy5eE/CnP1L1QTbbTsGNOm5ADdl9SNL8jWuiGuSHEJ4cjxkePDHz3etp/k4
zWhhOTqp/GHjk3zOnTrfRpPvrmjmvDNn7xZrwr7rlJ5tnYhyYYFLLaikqhPjGDCUjnF7TEEdLIZI
CrgfPqSaZT8ZYixfAdu4O1vxLJm1UfLG+C99BOYQR92Q58ZR1nZCYMOwCybWgreNmjUKwnkRF4t0
bAd/bl6itVjk4MrJaAWigl6PX4+qB9hITelToJXJyZ66+PudRoWgj5ymzpby7NhLGpRm6jMzskqa
iQ2toRkc0m5joKH3tpTn5PZiWRhgMgzUTqniL+kKa3/oPEk7G/0wGo2UdhE7cx9LOUNGs3Q0NmOf
BXhfCfN+DsIvrTcTDBOfp9BkiJOTptKFxhzQ7FYHCvA9p7Xep6GZNo7NIGML9uWk7tYwB1c0e3Zh
MIfE+9j2RYhiGV5nUoalqykFB1Z4CTMdmaXyZNWQI97enwvTwykYxF3c1rmovAyaRxWh+lMvj57W
JqALxuYB7nPxeFvKtQWRPiSHjVEwgbGcX1VHxrXUGStEIgZQVkvL/yZjqiykq2H08D8QNZs3InSp
y6WVq4mI01BnUIHqwKXT8gcJX2gwJUH194arbB3XZM6D4UCT/zlfVNBV1eDJ1DwmuT2dSjM0t3Gi
pyt+2bWtA4BEFgAHEL95ISWK0wArq0FZPdLVQ4PLjE4MPGaUJtqKmXvOJyzvCs45rjlxsbCW1Zux
bute1ZFJ26dNw0xvq30zjfre9HUosfWBkeKxkb9iRET0McorGBMC+tscDbPHNNRpBu6Zu9vHecUq
kbznIWaPcXGWbC+upkbfw80CHFiHb01rsL8kWjk88Mz422zSmpVH8ro8m422JeZWLBy3TCZ6GfuA
tfWYFqZqyt60jrZrQ2ZvR2H44/birl0+x6F2K8noA1ZZvGCqVa3Wab51DKiJUWQPjPdNpLyVJV3T
IPoG8VRMS2BOFu9+GEPXB2MCl8+q0jfdxNifgqztg9b5+oqoKwtSUuJl6Do4OvBx51fCV1lXjB2i
nKSxj6mWoDuQ4K9EEBcOmu1SyaTkguFSFkpxLsUsosTS5hE5WexUu9zpaasOwpShZGn+mAdm8RTZ
+Vq974oPMNdBeLMUDjBR0rlQuiFckVexfYRUK4Iqv22Lby1fpWZoyMBA1ShxmQcyjNL7yvTX6ctt
TblyhoRkigfTIRfsLBHUuUV7xJCa+G6yIdNeBMWH1NbMY+BAkXJb1HxGCyOggDuClbEwAaCBzhc6
5PRv0YhhHzlN19rX5ZTa25hOSPmUA9WRNDp7NERXkWzf0fFbwx1SdPEau9jV7XbRViIO4psleXnA
IN8mHxmHwBQf+K2jxGuTXZxMwWtBzwOdpk7ZvsdJL3bOkBmH21twbbc5TgMFppJNhut8CwAxlpHm
FM6xa2R9rKuCMRiabR80Y4pWdvvajXkpaqHLddc15Opq59hmlb0V0yAhOzbXWuWuSXFJaxlkD3Aj
l4Fw2DPgOaMwc3S8aIT8J1FMEYYI4Pa2XZWCD8Ff1qw5i7WEqs9qN+HMYIhizrQR/TGnrVYu/5qQ
+exe5Cl6Y3KqsRhs+IkM80D7yAcxuf7KqVyzMK4ie0RZF59oSXJr0DRZmzO2J+6bV9hv5h7G5Suy
YsHG70P62BkndP/eKcJfOCJ1UJjLWycj5t1VGcEZOODwM7n9+FVPBStbcfeuabYC6wyAlgLeRYqd
YdChEYUJYkJnONlE0Zty8rRDIHK5sqJLUbyeoKPnNI8S5lLn4CWGdVWgc1mIMzEjencpeavNNKU/
bu/dVUn4KxRjcMdIKp2rxBA0w5DGjCIKZV/u7UzTdqNeOrumhMDstqjZ+J0bRxZlAhCao2nAErPi
vNC+xNCnaOAlp+Pbrj8N3DUmDOnerm11efDsJrzbcUYekjCEOrmyJfo7ySt34inFGMeieT9XCHcA
2fs3HYjgFZ2/vFjPlSwBRgiIgbmsiziElWmS5qhGlATMiy20rUryta6mq1KUJF0Fuktc3CxnKkRV
TywIirrxoRVp97rs+2Sl8HL5hpHjkAZGiLAZD2HhxUWRMOo5Y3vUJ8OAdxuaoKb3u2MWhf0h6Zl2
3w8w5tVVLx96nWTT/VpCKeZv5AQZuHkTXmiJ02hkap0eG5VAj5wBJ9yIui0ZnOiVR3eMvRXH/fKx
VFwy6eq24C1xl91PeZXmOcGQdbTcCgjPwJDIBFS+H/+oYHPTd8Ad3N9A6XlvaqoOazbl0ljO0gGx
ATOw8NUX/qVOx4RLCw/XTzEB5jFWdtU/0ghtpkevYrTJrmmV/cMZa0Kx2/t8RZnmsruDY0S5l387
3+c4qW2DoUbWUcrM3Sm78HZiiNfq71fMi859d7DLszOyzPKbUUzjRRJYzOnNmTk2gOOQmalvZdNk
K4pzTZRBSYheE66GtBaBfxfklUgsRkXJqHeYXpgn2aOa1PQhGKE7u715V2XNLh4ZzBnBsJAVximB
YJXax8Cbx/NpcfIq7HnyinBYax65KgpAILAb0MRo6Pk5ZVoxY6ML+1hWYpiH9RHIlrhXDvmNFZW4
dhUM2yHbA2RJmmphoCsHEh1pVHg6jTO+ln4vd9KDDb3rXfOTaWbFQ5kaNFUXqzbnmjKSLcYbIB9J
DLTYz1Ewk7gb8ZsnEwqGKi/TY2SLcmV916TgDQNvJF1sIe98K5PCScORSsdR7yYGq/Y1RGU9TDW3
deOqFEViSJGHArS0eFGJKtqgTCyG+1VR+LYyzfS1pnfGh/ulWFxecieUtkAwn6+ld2ECwlSbR1/z
adEQMDbYsahWjOMV5bMJR1EHSsc4dQsjkbWFoXJhRUcZO8GWCCbcOiBvUQEoCe9cEE8a7oeNH2KR
lTYWKkAZNaS6XEdHlSfeRvVBdDCyYS1Re3E4SDFNHjgdZwfTu5CCiy950JzgiFEqH3pnjHZqctfY
qS+2DSmzIzqXUsF4Ldus/FqKrHJgvMHx6iBGS7zme18yVTcJRX13YXgWRqccQSeP9kXWpevjmjYr
gFpwvuTf03bOsnfBsFbZuUxwgYxg16gHSrw4fPtzjcs9u1NxE8PrOGeFP5Vu5NBvOoYwIP+uGcqv
dqnWROVfReE71kYfoUDbKquh77/M7WF4sCZPaIdo6Ozw7WipovzjtgLNnYvn/iVZPtxL7AfvDLWg
hbKKPm0SrUZZywFO0NSADuynMTqVsVPO0Okwx5RWJz5NXKmZFkobow9jJkIDOq+BruBOt7MmWHmU
LtF+zoxTwF0CeoZyPfOwvHBnyihSqXKj8Ah0Nhx2bVMmzNjOPej1SBi69vvQrbvvlZda+udEi7ry
j8JyCnPry9AJXwHphNxKC3TPPtEzyyhT3cmLNeD5hcfHd+SbGTOIgTTNEjuklW4b5JYIj37VxPk+
9Hy927pWVwyMyR2m7J2epRaDB8ntdUD72S2oYXuhdisHOHuWZwECwTXpWswMMAdw4QubJmn5KKu0
i495nDfVLgvR6o1reF7yxfPbwfmoDzLvjQ0cPBGsITIzrORrnovyW5mB1NT3t7/PRbzC1yGbizmw
wcLgvpwrfBwKzYjdPD5Ka4TtMlA6Q7wmT3+rh/74umm8YkVZLo0Txdv55cWjoPS9TFQB+mjdwuXt
U5rlv00bPfmOpt+dz5hLxHSoAeTillAdWyxLBNSfgyQlcQqVgFRpBkejaFYi2AW9DxVTatGgnMy5
8Zak33L6WR5NptNkIjriA5JVhHHNGTdl26UjNBthJf0HRlb17tZKmEL7RCqsSB5NLsr3Nium7O2Q
SmN6YASMKrY+3fu0JMmgTXeyMbpyH2k61DF5H4nUhCO1cao1X+HyTlDtZY/m6vJcQFw8FKPTerZV
VOkxtP1cbZXuQ/Tlp54ltp5b0GtCEtXp9ppM/HJPI5FkrqgxMD76tg5eviTErSCLqPyQyqPAf35Y
itSzOeLXHluLAWd9VX8vlR8xBVWsRSJXtB0w03Otllw3dYNzSY3opgiMf3xMYIP5RLcn9DIijT/F
crR3U5tpKwpyRdldSU2YqMdE5ZeJaAbLlAUDl+JjJILgXTN61rS3I31K7r/F5Ibmqj2tn/QlLdZF
/Rl2lIiJiBY4kv0oIF7cRHDpvRqiZvqzS+K1rOTlkXFUFrcLz2kOn+eFv7D4WmNkkokA+bGE2OnN
YIza3kooGWSqbu7WDmqC9JXTT0aBnZrBuaheKpR0ivIjlCPB3h7nwfRTDs+b3UXZva4gyATQFWQf
DJdGjWUnTelXne+mYX6cXEhjR5uZ2I1FZ2NDILnyEFzbwZei5rv5YgdTTZtGq4rZwSlztpmEJMnp
ZcGVE9bKDl5qPauib4IbjsOu5MLGDwPhQm5X+TG2EkZaWskp1jtGjDUahFIxNIG3r/Ol0s/ioEqg
BQUfSi2U0axTcjhlkR+jJmKwWg3Cnwi1XimuXmKf57N6IWZhNdoJn2KACoLeoCrY1X3kfXWHsdtN
pg/1OkW5rYHH1m98OxpPqsuaP/s0uY8OZ34A8BRZKkkxksFy2dkzxnqrUXNEYaawfZuMoOBHTXQP
lQmp4O1tvaYwAPhgo6DoAPjUOFcY2AsBanrxHDRG72h4rY56Bcy6G1y1YrWu6QugRanAROApLXsr
S0FUTNIsOU6lzZx214O0bIJiXADph5Lmx/3rAm1NBEH5GokLdVENRSS7SNOj1llwL4ejznToNn1o
OhmsbOE1zXwpaqEyMYPTPDsP5veuxfSPwFDTXVd3ib1iR67tIDBWC7wtz429TJ04eqVk6vrpkV5f
/yOJhuqvBnqOg9TqYWZtsldObHYaz51Kk/AI5B2wZMqryz2cYIel5YM9LBKR7zRg8o9O5lXvaiX8
n7h401uj7bpTETbWSiL16pZSkQC4gfoBszrXysEIo6HV0MpKtc4rYwghHBl6BP0Pjm5mWaFtFMw1
dfdzOVOmWYEFswgsngzxNh0PHGoTjSv7OCvAch/xzUmVEvrNrUXnUqoiJwGbOkjBad4ZtWV/HLn5
7xnuoZN6qPWntHDbcHP7BlzbQ6BHeKn4QNStFzebgTUWncR2ctQ1IJQVhcx9RQj98baUa/aDggSF
fmJ2nNXF2pLYhBcgZm1Z1NVfrT4Zkq+BD1CJKZI2Y1BvS5t/23Inge6S6TLpt8FanO8kN0CUYeAm
xx5m00+wUiQPsbKqg+fl9WeZRvJ4W95idZT753umK5L25pxXX1xtJwv0AZ9V52lrICrXqLv4DBjb
trDb33dcz6JIVGKB59iJION8aTCgT2ICQnQyhnbcjV3CRIXGWAOpL5QCKRRjyd0QIbGmi6yUJYvR
CnxDnDqYEPaVrwebBnzyyjFdlQJi4O/WSkC152sJQl0Use8yhCb22sNYgtExmmqtH2Qxsxqdm7cK
fDWJVxwRY5m1GKfJ1L1uECdqs/5wSKrGDP8aklRmT9lAtHN0pjg339G23JXbqrKK4tBpYVftXVcG
/dtEtMzfKLKidR98MHXFLrC8gCGsNJ/OkHrJw/67PmZxuhedsvmBLpucXVTTPrG1oChM7lYBAj8O
has01zOWLk40SKBdXT2ewjQafpet6uAlz2CjuFepHRNogz5XzGcPeGH0fHy6pBnbkXEDWnYQONc7
xrS4W8Mvp5UX6/L+IGqGoisy1AQq8+cv3FGOxZvpp8aTbub9JmW05G9BWugbo6zqd7dXdUXnqCqg
a3P/Nc2hC0NkFmR9GM8wnkRd6NtxLOFa6Vx/RbOvLIhyDA+GJN/OmhZGNUxGn5d9HE5NPjNtVJX3
kbcp2OZjk364vaBLUXgohsNKSIhjYRd7ZzH4u4WKpDxhGuSbJBH6n5EajCfQI9qK13tNFMQndHsA
9JsNxPkxqTEcyPMZ1al2yvHB6qOZPd9qj3qxxiq1eAq5srPVmetm6DhauDCouEqBjNqqPEk5eNYm
9lPNZt52p5WbLGGq3aEbdOYrkQ6M1mAiVxYJJkCnNYK8BAmBxSLB9bhWy5U/QdSnPwLwava1pjsH
Js6sTThdPFPzKueWwr8RW/xj8Uz5rqnRdmxXpyrT0ofaSdRDo2fZNm3Tbtu1wr7PXUIexCjkSAkw
AaZfFCTBKll9m5vpifxU+lgnubn3tTtf+r+FcGbPLccGha5zJekZZ2sy0is9ZcArvii/d3YjidtH
NmMNE3B5VFSZ5noke/ecRDwXpSVtKDpXS0+ygaQkSEprk1Sez+SAYM15vyZqLuRySFTvMFPnomKj
GkTv9empta2fxlTJB7+0/Z3P/JUVX+JSKagDkV//p9tiaTrUKPOEGl156oEPf0sdM8tPkbTb8SD0
OgpOzxRSK+bqmkwUHt9zzoVdNAxPXghU0LKKkz8F7Uf6PZj0kRrhwWd6y58ZTY8r8q7sJuGqokLo
kHLFKTzfTd/KmSatZcVpgPtZg3u8cEhZlqKMGRwhir9uW8grq5tZ3UCkWwR5oAfPpXVDj9cbRNWp
SLT0SEoy2ZSuzpQ87RFGouJwW9qVtcGnMFsvFjYX5M+l2WFvFsbU5ieIusvsUDCevtqbRVL5D71v
NfqKuPnXvXB15+tG4nJuvEdrZg6Hc3FuW4OHTML+5LvJ8JEOASYxF1W28shc2UJaL4jHQenxzyVd
ST+aTeQ3XnsKnFwddHJhOEGFdWxoVnuM29S/+5WeARu8MErHOl7wI5iAssTY+t0pjGp34xOknKzC
X8viXNm75w4q6DAt7IeS53vn9FluyKHuTgNThg9BqupHJo+FD7cV4vItU7zOmChiR/R92cIamW4o
Qy3uTpo3Db+LiSyROVGIbzwKD8wVr19ro6Hfa+rRCaqwNts4swAs2xgpukUMEWFpfaUbH0JpBO+q
0vlye2UX+4cQi84IQjr8UM7rfP/80Q0bulO6kz/27sMYRek2i4Nid78UG6wEySeagKlanUuhSjEq
Dd/85MYw7zYp/IWmmtY6cS6u7XyJqO+SAyJxYoj58xcuaBP0Tpu7endSsMq/9YMwO3qMvnnbZ6l/
/9mQscDDcWYChQvljgKtLdO46k9arzF3TKi0GXbBGIz9igd/5XyId0iUc/6UG5ap18bUek4+609c
M/ODo3WwnWjt8Onu86FuPTc/gC3A513colylDIypUDVr8EemxwwtcxUJze9MVCis9/wusnNkXoEF
LbQNfreu4SkZTiG6vSN4HF6lNDiv2NMLPUAKVo7WLxgRSJ8tVkOWUXWNUYmTPjI6bOrrYJN3igFc
DaOrbm/cVVFcUpx2ur8uwDKRb7TjqCfiZI8V82xS1+twcjkgHN6gatr9bXHzPTl7KSxrzi2RJpO4
tzQGnWv4MOWZQ6O2OFUa0w5E3Wp/dn1rfmzSMDgEOCW/ARsaAHB6PyvPVI+3pV9ZLP4FLYoSX+2y
ZlMMWjY4qhSnMNDNJzt31JMPH8g2NMJy5fG4MLgslCI7lws8zf/i7LyW3jaydn1FqEIOpwBJfEGS
lR1OULLHRgYaOVz9flqa/Y8IooiiJ8gHLnuxA7pXr/UGE7b49UAz28oGJ+9wp12wRliq4RfQVfQR
8+nsOOWbtTzket58aHSieOehz8x9hTzf5hJOjbo0gD0xte0wN76taH+59DQf1NbkC7CZOt5ePJRp
+m7vK3UxsozPQH1RDJGe0Dnhy67V8awJpzu4tG6XC7wCm0WnO8tf3E3OlAkPEPlQaC9qVUV/T/08
nSuMBAJD4Fv06M6gd03+gmANpVx4QNfLBSlnVUq3jV4imKsNPl+zdVZbPHZxd1sexGTKKZQvclpD
krFFze46GGRKjn8vi3iYK+k/NijwF0NvhvD+kG73A/c93zRYVxqvNKKuo7RFNJtllDsveYph3iB0
nP0iWmD3o9zucxgAAHJgqaJH421rqvh12fAuc/tFaVKcHwHU9r495e65AkbyHA3w4CkYrAc7Y2ds
PI9NmkGkm5Lydz22Ko77nHaA82IIY/LZPXWomGI5GNtNwsk9QudCBqCmyrJdRxlNLeknmLEvRmPo
Z9vAhDWjoPsSG4rzxo2N+tE7mQyDRqTkNwD34zq7jpdQ0KjICrpXA+Gk1xxx8KDSouLX+yt281Vx
P3JQACdDmJGEaRMliqoJ5cmEKHkc/dEvZuV7ZTu9mYd1OpjA62Xie5JEacZB91/i87e1VRBEkTpp
2nARLlgt37NnEBUzMjxH+h/XY/oRCC4WDGlokPx/s1JTFfE6WKfx0oLeucBnxkxrbNI3aU0R9JHp
+/+heIU4BnkTme31IhlxlgBuWpCz7g2kaIzulxp0/Ef0hYP7gfYmT/YfkTNhl7tbQea4g/cM5o8x
9VTxJxygMVg1jsBIsmbwvwv5x3B4GtDpJxfkWt4MJxF0RFAzQz+rN+PXeDati5IaXQC7zw6Kzos+
2DWKvL06HLzm5DbbBOY9zEXF9rB5Z222YVOna6bPyXSJNajHVj/ii2v0Qg1VG6veLGvUp6hXtUvM
TX6yCzN+qI74feAyAWbPIBMt+T7X69h4Q5qtK/H7SqkgKOY5LlHV8lJWInu+v5IbdOB/YwE9oGQO
cJGr8zqWUMzWSAuBAnHVwoGJsJ5UqnYMDVTqT0iVrf6grdi4Zp6K2GfloBhVQtBxsbmytLl+Gsq0
Q/I5dz7f/2E7WwzRHAqMUBjp329rf0nersY0ZsxBjwEXohBoZo7VERh3g9j8Mfzv2jwUCgC9bZda
S3I7d6thuphtX71UUa6+M9VEylB0EX6EWM7GoEtQmAQ5o3SiPceenp0zp+0/3h/v9YH+3x8iBVqo
PKIQvn0Fz5gVd3EpdcGROPULz1VemyLXTgp0xssIVPTgE945lsiWoHhJvhpE3M26xy0itBMF64ud
wof1Yhpxg1YLWnLVkdzebSiJ7iT5owQP62qbU3TrqimzZjA0a6LXXeTel7Iu8nPm6d2RDPl+LJpy
Ug2BVvvmtLW0esmSGQUW3IZ5a3WKM/lGnoo3sdOPX+4v2XdOwPU5wcCoL5GWyUr8tlcy9YOqxUWC
4nS34otUjG084E3cadMlSZze+HXJXfu9ukZe6luTmwcWJhNNENNIFiiexzpPJh3nP2zk7v+y248H
I2kSAw33Em7rbSMC7QtbgDueLpFV5B/cosCbz/OmA+uy3ShQayQyn327jVKYpdL2HlHWqhxeDBvF
KaF6/elfjIUigLwFAM95m8M4d+JRIsxmlIC9fypzwLrenLODbEC7/fy4M2mFojoBEAsHhetjsOVO
EYhCLhdvynAFxCslaQJT1GuPnXmHYKMjOnv2awDTGCGqEulTCCNuEd7Qm+5VWxa9PA1qkpvvyUVx
ls17JW2fO6Asqr9oY3dUW9rZ6Aa6K/iowDWigrVJM0dEcHEMMOZLObsQTm0dEv30e5Ya08FBsbPK
JC2oxoPMJAXc9iuMSRWF6UYzqUuNg1XZ5UEZzUdRduafNJ2SN+xFXDK2IPVJa2a7y1sMAOV30q71
i6OWr6iArj4A/gPRPOfmfmcfUcmXXCbo+FtJhbicSciFvVyQOCgDZ3D1yu9cYz1b1pK95roVX/Ju
TH+/v5E3DgnyiJd4XowsZB+XV8nmWh8zyAsDXfxL09fRP1Fi9V0IhWbM/NprNPzuc3X6imVz4bzW
6TTEfuaMuXbxOi1FqNGOzf8onr6YwVAs1RJ0eWFE77LWcbOzqphdf9ZgZsa+piWD8rc76OsbGkzF
135t8v7FrLO4fSqtaorOjVq6r3qpoJ+JD5lRh2mk21/XTNpiztOU6L+UQqwd7f01SS/gmizxpA+L
XX0qIzHZL8Msllg7G3Ne/q2a4xSFUWkIwddhpUt78GXebj9X0umorMuG6o10Qqavox2tmnFRHeyk
k7VsAh7D68OHDA8BwEtgxXn0ogdz/fknZp7Njr44F61U83f12GOLrQrz4Gl4m9CSNEMExv0IHBMs
oOsofdNqBcQ251IronyPr7RymZR4eZfkS3Jq2zH5PUpzXBnG8YifvhNZArMAMFFX5RLeVO3qrHAA
stvuxdTGJxtfW38Rxp9WFz2befVujmyU1aMHK5Ko60Agpx2C05YJ1+kGOqVVrj5XdmtdsPjQTyv+
kJe00dSDy257EhIFFAbve6TRwDxvS/kxR1dMn9O6aCgL+ArK0X/2Q+nRkLaSh17B3wdkckYhHPz9
jy0WfhFtnY3UXy5qLlDJLubxtyVz1z/uHxTbs5ABUeyhxE4KY3hUc6+3STxAJTGwc7lkXWvZ2MOs
7eeonvLJb7rZ++ZaQj2iPO/MoQS4QUykVkJRa3M0TQXWtItd2CQM6+QPaYuzO8fMGYDLEXRqLxQo
N5D3FHZBg20+tdGuWs1ZCIUM8eBnqz4GmerGfpKtj8Hcvi8XZQsquRgvgCPY5tRWvILeWXv7kswz
ZhJoVv+Bnm/jY+4bvZ/W2jm4KncWjh44J4jNH1Rl5N//qUeyVoUlNImFyM0pDuLGpN6k5QveJ213
Mngt/ot4JF40pUmrKUJu4oFK14oI7YFLk6XOG6JU2JGsIrSdYTmXmlJ9vr8xd5aO5zjERSRnyXa3
HFkTbDNnG/F4t1a/1k0xPCMItvzeuuJIB+zmXcpH4FA8483wHaq7lWrQpjYdYarh7z6P7W9iEFFd
+YUzlP1vUJQK92Nvuq3lu0AW9adE62bNR7/Pm54teDKvNVfGGAi1SNSTXmUm5JxUbeuD83x7N1EH
44XKHqIxJhULNue5SeFINKbiXFJrLU7msPSncur+vj/pe0FoT8ECI0HiGbXJTNFIoEUWdxzdmTee
ECtToD70R7UW+W/5+SkjhyJrLVhFyYLpNsoSiyIrR8O7FMvUPWMtg0R9MqjnGaHo90sdxc/mivKe
M+jxJ2dET+zRQXInUpuiHcE1jBDC9ZeTZ0KMxZDFYTbxBs1jQ7sg9ffn/SA7e4rdKW9emh+cP9v7
V6yFW9feHIepsshcBye22C/odqbYc6/eNy1qoTOPU+9pH+HPqFKCHv7ogs20CuMkrl2cmvop8/o3
c6MPfzuDMWUH3/TtctNX41zkOQJn4UbQWUkRrh5Mqa87o0BhZKUVDm0pHny6sWewtpQJKX8hJ9mc
901k1ka6FkmY9GkTqF2RUApP6odXlSh0Cck4pDvYtu1DA39xFvytQsNFCdueM6RgqRv+ixmjSCYd
1ehN0EO73jvlVCwCEnwSlhTE+aNxg9noj8hHN+tCrUQjR7TJMDiXti2LcfYihJ1aomheeu7A/wYo
S5SPjoV/s5SBpyQDtf5GfhWmaSKyTElCpbCjF3fwlD+afqm/3f8Qvh9MV1/79zC0yiRxW6MTeD1l
q2LY84BRcKiOpf3P6s3W+kV3EmH5JBzx+ybyivYFbbtVfZMJ0/1bXfLOnshEHORHsK6G6t/PICn/
HOvG1S+xp+WfRGbaZTCWzvg2jue1fzGSCkP61VqtJBzBYKfBIrIYwTWjSjVfVePhQ+cO8WOq/Vz6
jA0ZFWDmLnxiAMDXY5OVSTviycTYGs2vTLN+zatsfVHqXH808yQULXf0GjQYrcDsrkOpeaYJG3Fv
hGIw3BZlL/yUNoqfeWl+sDG2T1ZGRSVYAggorXMHb66aKnPsaeq8NBwbyDcJ7zxrtP7kOP64VPb7
wbAOzsqbq57Omay9wg/gC+aOuR6a0iSAVk20EKwMltE69evbrohcX7ZtL/d3486XRcIpgT/knmSh
m1CZh0xtljdZKHK9CD21nU5WblQf/kUUCGk66YR8BG2S6tY0eRHrfRYqWm4GRoUKr6N10aMPBKYN
eCAVMUomSG7Laf0pAzTmfhmVjPJUyuvvPE2a9LuOjwSnt685NoNsTZCJSTYpm/w6ijVbTZOmWhaO
DsdQY1bma1uUWud7ptJBqLa68e9Fs2AzV2V7UMXYWy3iSrFr+Ylta551OcXINhKb109z8iZ9OSl1
Yx90QHaj0ACRBRp6WVuqZ91MdaMqTgYPP7FOdTICNVm75uCj2o1Cl4HaFlkHdbTreSwKI17HEoJ4
XkKqdlZsHNRV9R69BcliaSNBBKFYTJK1SeDyduhHLSkg8a9K8uSVAy/wrvhyf3vLE3tzonOQgzUD
tYyt0zbIlJrGMq5NEfbNEJ2alWpMb2DM5YMKSi+OaI+8X28PCKoytkSnMiYIWZtj1inHCEIIxSMr
6cdf1gHDdYzUmv/YeXFwFN0MjSSIggkgOlqNMOnkKv70TU2xbU5qq+ehNiud+mpOg5b5VZzM9pOp
0y9+M1cjPJMH55OgNBDIj2jJYEOwGV48qAKJAg4lt4nn06JOU+hiY/mh6XuLqWUV/rof8GY+ZUCK
UEBJYNvzZL0epYH3URQlQxYWsy68c5Q4II/qxHHDHg3WI2jV3pxKLwqwOPSl6RdfRyORjVNHXYgm
ksXXtbH/gvOt+ydHtPE2UuymPN0f3m5A2Sn+/iC/oUb0NuyV2OTYKNu5eatEmvZBAYb+TbQ8yrW4
LA8S3L140CJ4hdM0cChfXw+wp4Kcr+CBwmpZsiawZ2U0Tn0fZ0/l5EQf5mYqnu+P8HYBKQ3xtiAT
5YNgnNcR46goEFmKUE2rVrrCEe3EHO/HX5Tl0DbidnCEQt/ShqJOqXzbGO9iaFzFbFShw0I9UxgT
Xy0npW2Rj3FUPWmLEI+WYaFFIPsHI0jitmF9bEdH5Sk1yx7Q57DE1E68L8DluoNF25lCSVbAgpHr
k3HJv//Tl567rT6n9JHCWeNB7SsiSt+PXHafYY2v/9xfrpuznwGB0YF/xKGJCMTmVIEU1EAIL+uQ
xo4ZoAys26e28ZQjsz39JnOTgSRMG5w2u3E7c6aSjDq7TyDIW2SfJjvtuiBa3XR+Ih123kzL5OV+
7aZN91K5aRe/46iLvwgndRfAL03zy2DnxvDnaGfUZ6MitgzfVKEy+TUKX9EvIqvgaRVJO38FlYMA
fzrN8foCJW81XhaQ3bafxmNrnYdG0/6o3WFIKp8CwOwhUGdO9aOVdLlRePShgERORydns4Zeta5L
0bkQxme6ZmMeaW9Flq5f7q/eTQa0iSK/kJ92ClAnNANzo2T1vOxEFuQGdTnol7Es87Ob9QXzmojP
VXOouycPjquLVkZmJbkaAMJSRriOLIBSdFiB8SFUSvpk9M18jvShCbRZ2B/dTlueGi1OP7uxzjto
REzEvz/y3fgQ5kgAIe/eKM0KM56URiuqsOoSPPywVvkjUfI5KIVSvBOdngRWbqINpIze15Rr/wCM
ePvZyEoRryouZKii28LBAILEXqucTzTK3WfbGNdfhpw04/4gN5RUHnH0DqTrJnJ8hkS2b9a38woa
cAXZhetIL28VFVXLT9OlM55ptIrFt3NdGf9KBkOJfbV21vKZV2mjvQicNlS/1iYXhqliJ0j3WLmS
Bbmpz2Ug0Gty/M5xZiHpUGoaTIWZpX7nVYv9bClDlb0ORt7aB9tVbvrrTSNvWe51Tjfe9dseKjPk
ViUoGyrBY+0vReGg2Dh8xjpjPd+fudurQRa75XnGgaMjNX69Pdt8apFyAEo5mquloSK6KG/qyqzC
RkTCN9CDWQ/Wam9sEK6pIlBjBz29OUi1fHLXOeIgXeq4OK9Z+tlrFeSK9OQIb7Gz9yjxSO9yoCRU
YTYPxRnK1MDjrQ7jrKnP42SqF1WMR740t0cLRSRyIwBg2MvSWb+eQX0V7jokhgh7L/qdm34MzFE7
c46qQQdEKtBr5f3SmAfZw866ya2OTw0kOirJm6h5Fws0LWeB/OSSIlilL0HbjHVgrmV8HldDfL2/
T3bm8ire5hgr1yUBPDyJMHc69Xk1Rs0fedceZNE7ewPzVnIi6Agk0dvdOLgkQNm0iLBqGi89YVuA
Aldfq8bJyTInvD+knSmkg8uhhIQbZKyt8VOdoDmPhYAIMdwBtTZP/2DC9DWtqr/XPvrzfqyd6ePw
p3nFUQjdb5s/Y6GoRHlFloWDcxvEtVKfStM7yh1uo0CUozYiYXAuu3vzPq0g4rsZ+Pyw8JzO7+ay
V3w0EOtH4ULMFxkjwncSNkW2Ij+Jn27TMStz1xHEGfVO8xt71Z7suDBO9+fsdjNQEfkO7EWegW9Y
/v2fonQJAttutfbofC96HEQz1+Z5tHQMS+y1dI/IALfbgcavrF6x92hXbREl/dBmQ2fOQ4hQYFX6
but21RM5Q5G+i0ST1+9Fp7WPMW7lvSWb+7TAGCdaX9s+hqI62Ahq6kKV2K5ObpsqiPMYGrXv4eiO
vJ1Oie3SSChpR1OAlInCT9NJ/0yojaaoYdQjHZlEaXoSpds99xCyHvIFYVQkc1S86TPRnYGMs9mH
OZu9mqmKo87YzKc+bpqLxEweXCQbzSgZBlIRxnFQKkiWkUG7HlGrRUO+us0aGlPV/qrZHPChVsVp
FyT5FJvnoTLb35bI1Ps0iLJ2Wt7UWt3hcpyDX40Pfs3Nt0exgU4U6FPoTqTJm+k1y2ZSjCHGiGhY
qyDqHTWcXOOoQ/2d/HWVGYCPkG8d9qjUoNtqb6DQWtsq8K1wLK18PXe9E7fvMnNNqxM9KgyYUzsp
en+Ysll5BQ/qoXwbCy1/01F0W3nxzdqgfVHTFm+4cF2cZoQb0i/Kr/2gQpd3Kdqanyrs1dZzs6aT
95qIGoJM0YCvF03dzTwG6rhfT7mjN/ofXro6X1vQojhutgNyxVIfv1xeKaBX76yyqvqvpZtBEB7t
SQhfVHbnnIUQjfbUqCAZXwc10/LzOAp7eFd6AmR9U49ZHDSWmaP+1SS6+E9ddv1Xo+jMzh9jK2nD
Juu00XcbBca4EBqYgMCjEfiypEvfnWLKdxXMJFO4T66zRMWHNU56mzQ/WuxzpLVR/2VAA9Y58ZJK
p7cdyAMPE2Ib363Vcvr2XFVF5p1mZ1JWSjnzMj2Npo6IFc5c+hfDW1eVr6ZPrD8azVH+ETWQ7t9K
VcTlt8iICvVN4bYZqj/RUEX/uX8m3u4yyW0jmyfRABe2RV/PQps7RGztsPM6cbJ7LUa1fxJP96Nc
pzTfddBoH3BdSY154mwuew29BKWNM4rrQ6GWn5pyqcWvSuZlSIoW7Qq1jlaP+dyNa5V860Umjqpp
18P87w8gAZacM0nd3xwg6BFyli1DEdagTF7UrBPvoO0fqQztRZHKG6RioBMAUl+fH3Gu5CbA+TIc
TPHNXBdUMIxDOsd+EGBNeK0CFtseu0bO7rJqnfetyGE8GJGrv/BYjI56p9fH+48po+cPvIAWHV5W
mzu5NlA4TvA2DXO6s8HMlfmap7rnd2mTH+Seu0OSECoeKHSEt8V2NGYVJ+mmMowdA1e3rK5Ri2ji
uI4P9uFuIG5kWu+8FW5qnPNS0VPKELni8IrOSlzFb2vo0R/u7/a9KBI9Ra0SfvwNowG4crHg94jo
GW5WQZ9k4lIZzpGVyG4UegdYIcs3yRaWDE2qqwzqMGE6lsk7K8aqFmc8enQH99B1GvNjHyD8o/E2
IDOjwX29qRucpLVMUXnAlUZ3KlWzGU+paYokiKk4JD7KA8pR2r43NirD4Ji+w5i2gv9m17hTLhBv
7BRdDeYhnc55mpuXx9eJ+qzUSwSbBU7remSzlZLGoyJLoxapZUWnpDVV2pH9w4bh8WMCaYnIsg12
57yOr8OsRl6DpaVy2TrDm8Upl0AxPfzopk963H+GdfE6jOZLbVhP67IAPTYy72AJd6eTHgk7H7wQ
3MDrX5B1c2eUXKChYZQ9jzlkPvtEOTrk9w4MpMJI1eAdghvcpNfl6g6qV1AYKhjwBcBU9040GOrU
dnYEztobEJ8Wzx6kNVG13Ry0lj5n6Pe2FWgdYftDazv+nMQPu2lINC7pkezZunzKm+d+C+Q4Q3GM
nd/lrhUkRpT27+p4GaJXZbGqvx/fjWCD4CiDIeWm2uR7Sw5RtEordFGRR/TFmLZvqBYd0TZ3F+l/
UbbgR8p5vDqgFYSNWY+XVdPnc2HNaWBDaj94e8s79X+Z5Y99T92ZGiykYQtQ4vWuM8oK7W2zqEN9
dLR3Zdr0ALTpMfmdoI9fI2P/ic/iyCtkLyrprGycoShHg+I6arEY+ZrmShUKQ6MU28991n2ux2L9
yhvP+2NBU6r150HVmn9x6pNFU7uRDwmSjOvAhMkVFo31y4ohSHEpGv2B7O+xt/KPaeURBPdCNviB
ZFzH8ZJ87ckk67Bt0uVU5HF3xst6OFi83VOL44ISOl8yAp6brxmDz1xxjBHucFZq7wdQ2mdA9k3Q
eJ39WSnjJZjTSX0uhDL9biZIBdfruIQ94JeDX7K7oD/9kO02StQGC1O0pMtl/C2Op9JXPOVjrrS/
9vkEUSadvz7+IaJbjYQUrD/+sxk5h8GYsYHq0BRNcpo6dfStrjkyJt07wiR1izwRLD65z/UyRmnS
2GB1uXxMZ8aOPP+d51Ia3h/K3tf+c5DNnrTxNrSzKqZHrqfReTKXLtBQMX1qHa15CHjyY1vKmq+U
1Udgc4vowjY3TW2Ng8WwFXpzbpf7hh5lf98f0Pdp2R4qP4eRu+WnokNsNpHQClleHqZv2moHQPw/
eWr6h6N250aJ3/Td8Esy936k9+8KYzpVyj+1fSRruzuvMhmS+Ehu1c0WsZVFR0KiJj9ZpugVWGz9
rI25eBnG/kgSTm7v7YB5/EvSBjJL8MSvB6wOtQWgW4XtZfT/qMao+Jk6PmvV/DVrkiPs524wEAA4
0ND/AKF6HUyzIdgmbVKFq9N0me9BuGqeJwXiSzBmqT4+ZTl52UFSvjeZ5Jf0QeE1gFHZPDScdnT7
VixSdnldA8ed9aArl/gcT+pjnPsfm1Te5oCHVIlb3pydSV/owhxxNChn0WHavdZDG1hONSWX+/t0
d0wOvCFKKvTJt2NabErAhZXJLlXaf+jMyYDJUNfBYiztwfm4d5BIN0FKqJT9uBWu1yxqHD3BdrgK
e0o3vlHFyoXetXXQdtsbEHebBuiKI4tL/TpKm3j9OOtdFeYjCfM4z0mQjkN77krlsX7Oj0VCzh+o
HAon1Gk3i5QhwVnUq6gANTaV6cdghecgHhuMUPTZxIji/lLtzB+TRvnyO0qYibwemZo3SWK4QxWa
ecSZv9D4cCdzPXji7swfL0KJlGdD8DiUX95P55Y2rZPj4oaF1QMCZr41ADN/7gbkzQK1nfOjD1n+
6M2pgeYipADKepJRtjk15jGxynQds3DN40J5ixa+JLjEeSsCu4mM4l0tPLt4anLHbp/A/Lrd4zcP
EpZ8YnQpOCe3jZfYGpYk04G/qOUyvO/bZX5OFceFxqdqXx9eQB4C3ysVNBAArV9PbQUqS1fwdA4b
SyuT56ay6l85O5IjU9edJcRiir43JSyIAttK6WR1peHkGgi3BV9qB+H70G1tI8ji+EgReWdPEorX
r+S4UADeDKnQoEKlhVmEs24xonEun6ANPGyFK8vd9NQQHeWlfQMYKnW7NueWKFkhAE7nhhXg7vgY
ffr750wUMlaLCiBd6M3nbA5zK61PiILr4V9YrpcABCLnn/ubYG9xEP/kAqE9y1t7s+GzwR7UXkEk
PSq97BPGNK4BsaIdngtliQ8yfTn7m4+LpI3ckDjUzLcI1IV8bpimtAhHqxNvkqrljVuzkpfGG6Nz
r/E0NAyvekxZ4PtE2tKyXNIMJUduM5GTI1220hzfhSKbgi4TWVDRqAjgYE+n+7O56YT8NxaRZDFT
+gZsjqvGqKpuzKKCR4b2p6IluD4J+9tYtb+5U+n4KxYa77TAPLhkdrY95VnAA8wqh/9WdRREVJoN
y0x5rhqdy2orUliodQ4yVfnbb5aPhAMwu4fNz7YW7CUDteqxLcIUWXHwttC6Jm99TicKaAaiUI8X
X/A9g/9BeZ1dsy0KO4Mz0iAEPaombv3eKW0zDRCN9ebz/TXbmzz25HdfK9h/20r+hDEZePkacwIl
Hnw8/upnfJn6g3P9KMqmSqGo5kw7BFCTKmrjCfJb/mrY+fRQv+/H9pO1MpIAKVOsbs6/Mumg+VsV
R63gLZ130GpTa+gOdvnOmSFP8v+Lsrn5R3vmp2sFZwYY5QA1TjvI5qk86/H6oCkARjAcFdRAaLWA
LqRyf31HjUuVys6sEWb1TOU+bpyvlTG7fz26BXgakd1KIVNYQlsAghj7BKHPTg/jki2QrUZ3TrP0
6BzaORwgIeFdDayc1gCliOvBVO0AFVhJ6caqpl8py3u7gPfZtz0UR/AcevbWMfOnzi5DNK4OsrXb
jxcZCPqVNCvBYwPRvI6txEmNc6lihAUeDsMlx1nhq1EqqRlgg1a9RGUeWwfb5HbLAzOH0gM+AX8R
yjvXIXVz4PkVExI2VP8Evm8+l2vSHySI3+/B62NJghPYJDAs6ZBt97zrZfHg6WkTek2GOaMns7Kg
iIcuDxN0eZITkLWiDWewLlnYZ8PQnox8iFqEXYwiQ1M4VhZfTeaif6kLZKOekrHOVd/s9bx9MkEj
xmf8eTvPT518bF+zVG2+pfVS/zMC1y1PsTLzz5cYMXQ++W+7BElbJQmil5ohBTf0ort4Vdbm5642
8r+EhePmAfpWu71YoWQjHQoTU3oLbSuGA6kb4DdZ6qFblwV0puv4WWmsHj9ooNPxKceXcQqadUp/
6Q1R98E0revnKAfJdyItiDFl1KYiO2VGlfenrhkGsKpmEWuv0Vg7aaCXRn8kRXZ7isgfjUEL2YAK
nFdun58ye1OByBhHHhVVwK6vXTKlfjWOyUXVhiMO1u1OJBTbgwyAtFrdlv6sHv/QqgeU6BiNOBXD
OgTtWLYH9+N+FMlntICvaNvGX1FPiphbpQ7tohch2I/+XRKJI9GE3SgwoXjmwa7g3rqeNm8ElGym
bh0Wcem9WRBPvGAUFB0IrewujhT6hnZLJrMdi5GhB9SujAXFxSWo6yoJ6DGvfkmN73T/8N3dvJi1
c8Dz3KH9cD2gwm2qZlhBf6V90b7FzUT71IEAOsfWtIRAS4wgTbsjUtntO48dQR2D7hX3ClYj10FF
2YBGdcB1jtOsf7K5nJ+6ro7fwSv2/FhVustQ04P0HMV6uj/cnQIxT2Z5BAMZRFJmW2hvQIQpEX7x
oQ7xQDzlXZ3HAe1vailT33S/mVZk/V4mfDFP06iCmFmKKLPP86o2TtDRgrAPEqDbq0EiWdCl0L5r
1m3z4950khkQbB1q7VzofulF2MxqVf+FQllxmUQx/3F/Co4Cbt4c8JUjPavYXKqTfxjGyvoljqbx
o2rly7s4OlKK240GfteVsGsImHKr/3TOCD2y2nZgeEle9R/Bpw4fTLWyP4/qcI6KaThY373vE9sf
9rPsZNNmuw6nrWZSVQnHmjvW0a8dTmXBlKfjQcay932SFJmSxYU0zVb1Ss0Ww41UjhmNLuE5RYTu
Uz4b3dtlVuLfHl8tiEYqCR+kAB6k1wOKUmFiaegSqhXTf7zWrZ6URPV8JtwN3TkuDxiEe0OTGqlS
B03eZnKCf1ovD5nSpYmbOhSlXbwVkaMHVVEbZ03NrIPcYW9rSGwNxVOSMsA816GUNBoVy6X2ntDV
GLA4hFAdDqXjzb7wRid+UWvFyw5u670NQj2adEUaprrblDZBdwz6Oe290kAj329LpxWvk6ouR6If
e6MjyeBINUD8o2G+GV25TAsAdhGCAiyD3I7jz1aiFicFIvtZAU9+MLDdeDRgbQ5U0mhns3AIXzbR
qPOhtdRS0XrS6XphsQHAFifAl2UZl8fIcPK5w23OvnQpFEsFss3WTJZ1XrxKbk08lvyo8RYfg5G/
Bnv5MmDP/XAKzWJJyUAk+qRowaaOAP0NLvzUNeG4okwSOO1snUZvcf5jKbn7ZYa08P7+l3f7JRBQ
NixBqUAI2H55CKcIZjJrQ6NTzLPZqd3HTkztKZniI4T+7dpRbiRVBzNJ2xm14Ou9YhudyZFsiVCA
jvoUFXOfoyulmrWvcyM+O3nWHsF8b78DiDhg2+D50Z0B6XsdsmmRJUkbFs9W8vRszWZ+WufVOKgi
7M0hdS1qddjOUhTcRCGTV50kA54f4zU1hgpSVt/KRnHXU2QY2cGC7Q0JxyqgD9J2kDb69ZAqqyzG
ke5nmFSRE0RJPZ9aL39My+rHrv85yuY7c+xkbDOo26HR98mpMlPjlM35EV3pNi0DUAbRVFLWJTFy
823NIFnBDM/sdqPJnvNF134dtBRqPByVD4sCAhvQTzQfnCG7Mwi/4TvxDjzM5sxKJkD7SlE1YVzX
TeNro2UPgRXjMn96/NtCpff/Am2O/tqIjdzsyyYs+6h4qTtLOQ9pPX71QO4fbMHbXJOZ5EVAhoUm
GKTF613hDDko99EWobVoSXmuc2h/s9aZp0pT6M2Y7uBehsLMQ2csjzTNd1cRbjKPf/5HkeM6tj1i
5om6dBNWqfVcGurfMVxv9HP6sEEpLI2nb/endXf9foq3+QKGwfHWtCGeHYnhhEHM4ud6lBycxLtR
qCvAJgLjTU3lelRjVfNfh8UbUc4KqCMPIPhQHro/lr2jAxQDCwZWis6u/BU/JSJOuupGIUw4MNUQ
P9Et5KiKtfFTS/Xt0/1QewP6OdTmlBrQclxKmy2C4VBmBQbIjSEoGzP6/C/iIBxENkyGBTr1ekia
1TrgmIYmLHiY/w7AMrdhIkbJkXDw3nVC6iGZpLI1vfVuwukDaorJEaXWzfKXMiwFtbsCXqxqN06o
tItxdFztLZaUUEDjjFwfItH1yGJIB8WosyVcLIifjKq1noDHz696p1sf70/izuCklgtTCE+FE2ST
BzhpZGDXPLdhbQrIjZo6dm8EWtvZiT5z/1dTR/3jvVYaZ1KvwTWlTdsW1zmoaUGPCNxeWc72t2qZ
0RjFY69KDo6qnRIl6RSIPZkz8hTaPsYdFWsM05yrUMkH76Mm7PTcwnB+NdUmegPWwP2ad012MWfb
DYHdeV+tRUmdg1+xs5aUAngbU+HgHbV93MSGsYBvBXZpg/73EUWtL8uIcZGvRM788GuDAf8v1paa
WEV25tSpxsxOhhIsXm6TR/Z1sLbWEcNzd1jfOycSdXzjZ4lyTefkSQffsqAe2lp996zHafRFKkcd
jGrnPME2TbaxOR9JyTcHpFGvQ7FmSx0Oqd6QwkX1x/n/cXYmO3IbzRZ+IgKchy1rrm61ZMmyZW8I
2bI5zzOf/n7ZvgtxQBH1wzK8ENzRmcyMjOGcE4UTPN1tYNbIT1YWj0vYGqMVpi0VvDYyr4OVD98y
qbN3rtvmWjiLtIJA7aN6Pr/Zw2TFmh6zFsPqENK0Pe3UWsWejPHWyYcCDZiGQ29RjVy4Rj3l0xQq
h07v2l9HQ6p+UWnu0nsI3Nbs72XVn3vU0F3FlA6TVjVPlw2o52lglQjzQaYvH5uqTisoM5xDKemY
EBMWvXPUk7bYU87ZcF5EdJAtRE6B6MzCT/YN8sl2DbIN/FdwceypPCW1bLsgx7WbVyXPDxhHzJwU
RtDOdZLspb2OIjPE2QzcthJ/F8MIPsOa2pufsXFGZlYWH0+G5VVVppddgs4rTm1fdIcmrf597Pe3
jKCXA3GPyg591sWlapNBMnLfyi5q6amvmdyZJw5D8nQVGaAVqBrBHYV0s2zIlymzE5IMV6+ARHnp
kiZ4NdrB3Ak4NmJSoOZ8EpIvisnL0UTeNJkhBUWw9RAl/oqjqPumqInzZwdHsPps5ZpUMUkhtl+I
bHvn8ngjt84gM6WAeNGxIOtcnAlP7yxG7EI8TxztJZs8H3r/8Kaq7TdIgcmOsa2vBg8LwRUsIWW8
cFKWkUVA80ClhmlcvKRoEt2zWon2lL02nDvVayHNiNg9oPdFkA9zqiuCLqKImgXjn30l6YdSTuJj
IIfO8zkSZSM+Hfg4OmxL4JXjdC0zwDjs+eSnf0L/UW6pYRanxx9pa0Hw2Ymm6JtQXVlE8lJqJGmU
IFWjNKr06vWVcezRGX1LW9t/PpwnJBXj04QcH2CUuYcvC4UyooYpvcxThFjT6ThB992JKkQJY94n
pNpG/RfengDu6IsSR4AQcxZ4TgbJzO6PgxMeOs1yEU/6aFrVP2TVkUv3V3OdMXkeyiBMw6IntBK1
o8VeOkx9VoKCL1bUdXWolE79U2r9vXnZWyf9ZyuLbfQRKZuSigUmA6OY3DLUwxc9Sv2d6v3mPhIe
oj0l3JOxeI+zcgQYUMQUTbOiB14gj5XbJ4V/DoN2+IRqTvBm0rG5J05H3Kibrb1zMjd8lyjnU10X
+qcroZrGbJUxCCBwDXHofMh9JTp1siT/Mla9+SELIY/aVm5d+J+dPW7xxqUAk0JhG0l0Mad+EfoH
oZUENfL7SExY1ZsKaexbqgzGn3loPjlpTdQ28Y5ClVpM7mK355eikoyyZBIFmFFknU5hq+ZvMtOS
vz6+5RtnZmZl4bZqPw40JQYEO6HnxdzC0jeuplNU/vl/sIPzxV9B6QLFNV8Nc5G6Oi5ZTdobjatB
+qhctPPHvVrL1geiZQn+ik8E2Gtx04pCzu2BRs+lbfIT8rL6ye6j3+FLP48aos1LYCMQQ8BGllN4
FHVSOAwYCoMMbnZdfvRQktoJsLdWg1wKc7RgAgk49HzXbMKAsJ2grGoyV6kp2o/mZAbHtI3GH4+/
jzhNC+doEp/xL0Vgkr/F98m7sVPzWsFS2R28FrbRQUPt4xS3TdMeEsXOxAypYrg9Nrt1/KjNChyj
UH1d1oAZ7NriS8L0EjHFzbWVIj7qamo//74g4oimHG0eYt5ljpdMTpxKFuh1I0qjQ6mp/Tm0diOA
rbVQjgJPi4wENdPF0UtasCla2aQX27c81yrb/FOv+fFOgW3D+1JOYawteqtCmGXhgRozYV5HI6w4
SfcqjY1snAzIwd/8uM0PflDaXyXDZ2BR4EtoZ5TRnnT9xpmksK2iIUkPhGqE+PufqmJSNYkxJQDa
kQvzT2kLBy7WuuFlLHd1JTZ2dGZqESfmhhNpUQABFO6fhSaH9V3jBd8JC7aNgFFSec6Ev52vp02Z
YN7QLULcJCnBstffO9k3r0+fc5wEZSmQSmgULQOAQqlVIb9K1iUHAJV6XguFKP/02MrWp2EIGcMl
aRqJZ2q+FC3VUtuP2K868bMcCakGHTcjaV7DSuq/Pra1tW3/8c65VJD2FslQqJV63Suky01T0ld0
BL1M9osv/4MVmujMBhGaLMtmeimNVQEYg8PWR7blKjo6qfEoT389NrNxqQD+kX0DAYS8s6TFyo0+
IHXXEetGzfgJhSWzLV0UuSCs6rlZ1W4qB+14dNq6LE9xELQvXev14fC8nxI4NroeKIGBLF94kKIu
piDvEaKcBv+vMQqVN1sJ0538cmutdExxgzA2Qcst3pS0lsE3ajxcTqsFLtM07YNvdb8ZRvNLoGqv
WtR96Bq1cWNl2kEpbx1PXjIuGusDdbOINXpI1J2SplznwrCOpGPyyW9yMOBlnOzchM1FvgO+6bmA
i14sEoL/VCgmfCzPaH6UyXDMa6s6W473bbImZlEOH7VW+yPV98R8N0LT954EDQORxS+FcJrW88s4
hnTmZXWZop3iT39opVp/sSupsr4EjRyZZ+aHMo6QYsI47TwOmzvMMyqGZIni32LZiIEwhYDJmxfY
JaYL9FLqmA7ADDkDBMqehvpGFs/GgvAUvS2Ck4W3CfU8Li2NWFgJZeNoysy+gXPUaa6vk9pbsWHs
Vae3fI64HqJwQKq9hGsIAaEp6YWEYS7kGkbJ6I6pJ2uN+9gdbNohWbOIv3nQl9sIBa1FwgclzE5x
GJ1ldtOBSRN7s0K3rcDkfh8bQM1x7q31ttBYDmBfhpZOB8koGHUYDcrOTdiyIu4cwTDvNdHqwspU
B7nacCRySY6PSVj4F1uPrc+Pd2zr4P1sRfwWPwUFsVnTZu9Q9XRqJ/qRF4hPOI7v/5l4vfx8PQc1
RjGS3CLWYrbK3JSRSm1BHZeP09bOsS8L/zgB2H0+XwF5zjV+nwW9YnHLnp3kmcG20dGNf5hF6rlm
bmv/PN62rStEJwOmP3+oxi0+DlWPgMEMuAuAM39CsPzMuEHnkFRS50bDHhJiI8RnSZTCDBFUrVQ7
YATIdoKexWXs6rfALrwPUmqOv/Agml9gCgDy0J4bTvWOVCDuZiYGPVSBHFsc8bQvLMlk8sSFjlZ5
QEbIcItAmQ4CcbxzZ7dWR0UCNJwjVrnseARK3JW+pPK4hG37JVSqLEHs2/BPtTd5vzdolp5QE3n6
dnEEIRY5pBZYhu8zP4xT1DFs2EKezrLr4qMWp9YBOfDq2TuMFbJmuJ3ULwVGdm6FklIlj62eXltb
G5I3tWCowydmZST5TgCyusYYovDAtSKDgQ+2COqkDgx4HSbJFRJdBU9VD9wmdHI3iuu912Pll2wU
zxC5gKUiiHrLbKkOJbWPTDu5Rl7r2K5MWHKuBk199oZRJH1nm6MaJgQfxbH5yTHRTQLvXgbxlaMT
3LPe8P4YoqZGWzYzqkOsmMXx8ZVebyGVKeIbgJ9wzpD3mxsM2nowhraMrkYQVJ8dSe7/9sq+vcF+
cHYw2mskMc1nYE2MESO3FdOA57YyY2TAdVRFV2WA6asNRv/SoT/6sRvl9o8q12zGS7bOi9P19UtW
NPE1r7Pwkw9MaWfR64+Jq4RxJJRy+JbLZAAFvNoz0pRF92lzl5s4P4dRpOxYWV1xKvhkAYJSIiZL
L4sFXTAYXVPY4bWSVQmJkMH+3DvdePDDqf2rGuTxU95P8tO1W2GVPipYcQqGXMP5JttIkVA7GMOr
3I7Vl1aTh88VVeZnkWNYwQ5jQRA7WtdfpD7ixTH08FoihnaIy6Z1S4oWOzu4em+EFRG0Ma1LWFu4
K9tMC8XvjfAa91b6qdIC23MzJ9ATIO9l/4+hAxF9fB0WA4vwJphEEZqchlMqdHLn2xemXcuAYKbM
TWqshL85UhV3zNarNO2jROV4utpToaUHLTLS6dBanf190M3KO9JPkb2TXMRV86LS95cuGp8Yvfe0
aWN38rohcVu8otpSsI/y9KPc2pFcuow1yaQvnu403pvSO33/kjBozrwrTSyFp8gLu+r2eInrG08E
R4tE7CelwKUnIx2vJlkLpAui1X2O+G8Yf3fKzAdya0X1H4+NrRIMEfdwwUQujLD9MsUPeq3wSW0i
lEiK4mxNTfEyZXb10c7r7lVPPPnHCBCMmrHTXR5bXt9xZjHwrqLnBJYM5Mv8Q5q9UkS1KYdXRUrs
k1lnAECiKnv2GadRwpMqhmngPElQ51aM2C5NpTa54wywb15IEtX4DLuJ2Y+A+xXvCK6ija8lEpHp
6ckFkjPR1uAOcv/EnZ+bTjWfn+1J/tWRTE9mIoOkHpOex/bZR5ZJCWBsRQQGvRvm2txOOEihaVQT
EvRdbH+iXFRkvLIM42q6BgzR40WtbjzGqCQIagfEXTgJc2OlUPMrtDa8Msf970lqoHWNylvvSB8n
aW/A0OoiYMvmAUCUh74M1ua2KmdqkVM2g2uuetWpSTzzimsuXzzQj+fHy1o9BZQ+AQYhKUAjj9hr
cUy8HNXbtElwZGOkRB/qPjSMz32s2t8zqwuCQ9VK/uRmjbU3nWRjjdQv4F6RGgIYXhoGsawygzoI
r13dKQezwk93DXOvB3vYk6JYXTjWyLND7OyA34fosdjOoQ9oPXAV7AjpuzouKtdTGAL9eCe3FsS5
J4OnzSsqYHMrqM3p9uTH0RVuanBKfIm1aHJ0mmJG3D82tV4QmwZPndyNwI9G7NwUGq5T7oy6fy3S
oTtNo618TpxqD+K4XhDRP6PdSEf5D7zhuZXULP2psgP1kjRx/Fdik7c7WhF99Ss6vo8XtD6FmEI6
Qch10FJ+p2X+FFxmxHmFbKQqT5Pxa1r596INP2eZ8mc5Zm91Vez4/o2VCUCX8P64xxXzTw6p7sJq
UC5F0NhXrx2mQ2SoxT3x8qcZ3kiJo1pDOqVD9EdafL6JFcC/APi/cpEz69fJjqcbWPPYVaQm2HlW
NhYF34C2jMgCcIuLQ9HCzIKXrCiXZEy1w6gzndksTJnxEeCsHn+utS8k4eAEoqXLJ4MKNl9UVo1J
b9qI1+Z+1xxaSDBKEv9tR9KxoguwY2zjsAt9RSGYBACKeU1zY6bmq3INoOxS0xf4KIdd9NrI+Xh6
vKRNKyToUH7F4JYlEFoBR1vA6VEuTW2ObyEaOSc5iPay3M1vBAKa0FGo0iwBJwX87Y5SsnJxMvhD
LpxdSn2l44V/l6VZ73VWt60JQTQgVrwni50LbB/yV4Fmean31kHpleo8GU5xTornteRIQYnZCGwQ
tqVSvDjmtaYzCgZYysUOKuMlLLPomo3V0+rGwopIjBBMhbC0FJioQ8eOnchg+zqlv9WZ3p69qax2
Moi1M+KYgQ+G1ApYgOxzfuACrxxsP4hV2ElC5FBO5bQ+T5aRvqrekDEkIoV15nqyFY07R339wQw6
W8ChQURA+1oeDzSQpDCqdEQMI995SRFpcJvBse/BVDwt/scbBeRE4LhAf/BAzhcpDYNntfoAL7ii
v6/YjXFQ7LF7+lYJeAsHAg4PxaQlygPIp0wd22EWgJ/0rhU2hZuk47gTw6zvLgMtScf4VKoMGGXx
wYqAUR5GGyCa3wT9gQRfPRaNvVc7WiUMEMCBWyD4Sr1FpH6LHSsk26mTYYAqoWsvtpeZ/+qtUpwy
Ow//qKbJPtaBk31L8maPA7A+FngMeOpATYmXyI/mlmW5h8QM7+VS+0N1TTt/IiyzylNaRE8jgoRz
4q3CQ6ETQoY0N5V4ldUHUOEvtQ0lFm6uwbxTJHVvY83oySlsrbP4ZdJDM0TKt2ddMAg5onSCUf7h
z9y2ruYT2m+hyQOmeD9CeFMHX23KH09boTBH9IQpAdxceCpLjqzOy1oDySkxQjaw0+5rExX6Xutj
46MBbgJYJUpLoNUWMXzipFFQpr4mhlTJJ9iv3bEax/QYgu157pbxOgo0Hkhr4T3EyzLfOKnNR1/W
A3QSrcCb3FHrfP+QyeNeEXpxz/6zY1p8GVYEb27xgeIK15sDprppoy0dlCDQTwEsih0nuHC//1lh
1guQDPhIhLjz1RT5NA1BhJUqi9q/4XVZ8SXy/K46yqk6/tuldqzdwtE2nhs8jYqB2MafDC8uuM/z
AibILG4Fam5fEkohTJ/sn0RJvFvROcei9SIU9BfLyxvY14ORlbfMIpnLmtS5BpU0fn/qlK+sLNYi
WWWR12la3gy9nT4Eue18ipDQKHcSEfFjfgI7/WcGTh7xkjiAS2FxtffyqRnj8hYF3avZ9F8yVnYw
2nZyhwK9v+cXxctIG5oIF8jMYlG2n3hT1KTNDXEyfTiCRysSVx0neY9Qu3UEiW7xhNiiirG4u+C3
Gs3K4waR0xogVSahG0HbLx/GX4K27LIPshf4xUnLVH28Pl7jxo4aQLgAFdB+Af60cMC53jG6Lsrb
W90ATzp0MtCQszWkyCtXjceM6zhNehBej61uLJjDCGcCdSHa0Esl/9xUysngSbklkR+5sWF6F4sI
gYHepS4fPKWMXmxJr4sdsxsOBQgW88Xo3YqRCIvEfBoqP+6TCbOq1KtMxXLClzSY1M+PV7dpBoyh
aC/xSeWFGafNitgJg+pmeLXXugxR7rSvQTj6e1oom4YAkVLAR7KacsPcdSH8lOldaHK3Oyt0Bx9p
PKkbnhy7IC4drbL3grDgdGnit/gpWa7GQqUoE1c3Tc1fB8lqr4YyeZfHe7aIdjACPV/4KW4B5frl
zY5bS/XKsS5vg9HEL1ZR/9WWJfVm305f7ESdik+e7xnBMcnUfE9bf30HAOWRoFPZgCPCOz1fYO6o
dUPVqbhFRV9/Lookq11J6Uck/yyL+QSGX+dPdj3f1yvwmgLyQXS3zNMNM5WtXmO9ek4gcigp5n9m
mn1anYqkH2+61TVHep/NX4+3eWup9O8IkQGzQV5ehHaV1IRQStTqptC4ri4M5gE5muqEYQg+JKHq
tlmujzv3YX3bAbSQ4vD8iJLLcq0QRxXbR/v7NkZD9VY4bav8kiFMkHyQmB7kubDEmOvJQ+xUvz9e
7vqCiJItWEdxfKlcLS4IeBRzqLs0v/mNl754UprSwSieZEqJb0mtFswQbWyyD0es/6cLAj2wMse+
z29tOcQXSS3LT33z5DhnES4IKwTlJB5QR5ZzzsAZ21mUJPlNRi/sxUwz598U3vuRtDJLAQulxU5g
tLl5wBsYQwYKgPsxX5atJ+DyVTW/VX4fo43Whpcg9Kvj40+0iFv/WxbBCY4FjRoe2rkViCmG3sTI
iefmmB9y32xdlYHHRy339spImwuCriIQ5niZpV+uZE/RIMawg73Rnu22z25aMuxFDZsLolUDzxhE
8eq086AGjLQy85sXEQ/5YTUdO73rP/dVWJ8f793GbSZDREgFuAuluGWpqowMq4YSk9/UoJ96N/Uq
xvEWA8ILymhYr4pXqDsMps3FUdWmkInwIlj9+ddS/Zw4lWFMt0GLrT8NRLjdXLbCz6lj7c1p2/pa
+EfOBZQ6HrhFUMSUBwZXySMHQ1W6E0pX5jEA0OU+3sKtBcEGgMJP9CUmIMwXVAuyyKD7xQ3d1PZr
lFTm58536rtfynvs8y1T4OK5UFxVIJyL8lgnNWZZJZgKSLkPfh23p7HJjOPYZsH18aq29u5nU+Lv
f/JI5GZTScsvvzkac1uPVLrN6FgQCO48J1t2QIBwpXhBKYYsvpGSKZMyKH5+M1NtOMeBYV4qHbXX
x6vZ2jjQEkCN6KmIYuZ8NUzdU62yjJg4kBWF9wqnONMPCgQH76XPbH8vGt80hxAwjXYOubWUb47k
npmZ1sTBG9viqPtOcI3UMnVHNU52LvDW/hEj/sc+FL3F+cpgbiDmUePT2bXpmGvp5FZFUx6f3j/R
FeUZFGUdtJrnVpq8cbBTcmkbqTeYYtI2vyHey7RsKjqKv2Nt47UHgkSATe0ULR1bOK2fzl4UGX6m
Zg6+1bPka5Qiv+mrozv6thsnUs1YaD/eOe4rP0hDFva1AJEJ1uOykhNKMCYQhstuVirJn8zorSgO
hTw1xx6h9NPjzdy0RXuKd4RGFaXM+fI6XS2kyubI21NA1CQlbVWcc+bGlsfaj7RPlWT1O053dUpI
IkgMCU9pFwi8wtxkkRiB7tHAuclMZ/yQUBk+JAz9+OXxwlbHnkBBtHNoJ1IIwc7ciuQNemI3CVZy
wz+oDMJ9y/Mxu0ZOOe64jS1TgsoOrwqMCeyKuamwz+WM6dzBbRj83KX4XZ0L4dqbKPSfg66/S0UK
UABDirjPvJFzU3LWqVky1f6tTBPj6kmy86a2VvJaNab8bLApCvi8+qKnQ9t3uYFaIQe5NRr+zY+s
4DhK5W9ZPIbnx19pdfzEJA9CWaD4kDWp3c3Xk2SJZ4V1Z11VY3pLFeUeer3tMrrk107ynuwP4NNp
DtGgIldGaJ1OyNyYB94j05jicYsI709m4wWJa3uRdyz53/qdl3h1yjFGSUDE0P/hjubGdKXxxWyZ
7BYZkXrMgslxJy3bA0q+F+dnJSQyTCD2tKd4gQk4F48JPOY+d8C33my18To3ydqawfRtmOrXxLDr
/N6gXzK8APBNjlXB6+ZmfRi8lYHSGDtaH6tvKZJdHJYKkBjQzJKobUxiHo1ts71j5pSH1nPkK7g/
4w87qoYPNcIxewOM1xZxylRtRcQolEwXL0EhW16TlU1yCxuz+lZbivcK/zeN73YbW+kR+EyoPP1Z
xdWj6cs5Qi5uyYZ1msY2qkJPbhUMajcNU+VgD/oeUXDlUZBPhoMOmgu8LUinxUkNag7x4BndrR/p
xhCptC6iHNUhn4w9SeL312R+gsjZ0ZUiCxNp0XJFdsJt8OuyuQWtP3zQlZE5PmVQ+1iUo1dmyZYn
WzFaV2Oa6KVQs+yVvM363vuG5YaeHj5JruCWUktDQRuhK/CVK4YuZA4ApGVa3RgVXP0BjlB1K6eJ
dw7r+nqSQwPOeA8jVABQ8+sp14o3DY5f39pOb4PTYGrSve2QM3g22BNpNLkZkwrA1fNKzO1MXshg
1KBubrakNB/T3EjOo1bHfzA0Vz0+9qXrJdHCA19FNZCF0U2em4IW0Ce91GW3PEIs2TUnyfhcq/Lw
62Mz67NJ5AqegBayxRCVJbB4TEqNQG/CTGPqByIYNOpbMtxwQhz4sanV/aY0wEqEIDP4YhL3+YpG
RnnDg8ynW+n3pRsUne/GERO0aVZWd2Z2/fHY3GploMVA8/Lu0TkBqbaIhWq9BMTlaO0tnphrnBSN
gsIlsjs87nsQ4g1TBHjoWgmvjSD44viVrS/bozF2t7z1x6PFSt/aVClf8sJ7umgk0ND0j6nEoztO
sjvfxKDOTMTwIvXWpigSIO9WwMIy053ARPzCMy9CXwsiFD00E+TiCpoxmYXDCO9EJRts/HPQexbD
UOPwe6czeszICvU1LfGoO7dLfJGVVQpxNJWFLNMyt9EGzZFGZ1Bvcqd5pyqoqtPU2OHZKZP+TZma
7sXK9PStMhPvB7oeewWL1Y2jwAMyTqiT09GTl+1ePS8iSBfOeJMqUz4i6D8gMlg/ncBhhfwDXVlw
UJyZRU4PItNmbDu3oM6G7Dh25r9GXarH3lSehM9T1iRUEbq50BEAgC/F1j2I/Uk81PIdZo70seee
3wtN32vhLY/KuxUqi8gKCWWh5YMzENamTmhPd0+2GT/fSb9Wev+LCrzBFRPUQTGfH9/rpRsRBonO
KdYSNPOeLi4bIxmi0UJ6/56k5uD6VmAexyGwXF1Lfquz4Mtja8tDgTVBulDJ35jgtZIcrEqjMK24
HO4t1P6jXkneoQmbcsc1io/+88kn3EHeh0Y8BVqc8bI/LomIGvhdf/fjLP9h5Ip+zIepuwyll1y9
sta+JVGUnZt8N2TfsswALSpJosXB6Z/7k0bzytSwov6uK1F5HOqpPqplXR/5dcaznVr5p3pAz8Yr
K+fr451dOk2xZuIigeRH7IJa5NxylQzFpPV9d4+bTD4BxZcODG6Q3cybnvXPzNSircbIK94v0tVl
ZDmEwFDUNmvubTGZvyJ1APO7VIJfC2vYY/i9/6z5p6TkRAFcSPCLBHLhoJ0mkYOwU9r7oJmRzDzU
KQ3ukVSb3VcexyQ8BnqfRr/afeX717HTgsmthzSy35TOCZSDI4MSuhNU+dJpTOTBPxo6M4p2PO16
7zWqzAKhxqO1pvj0ut736jC0d3hU4D4YHVh87CI7PzttsgcV2rJFXghMgkNMH3exIUaXh1HNRNx7
mJr5oaWU9tqnfcBdKoavj4/U+rJykIGkM06et5/i8/xIxX6gZDDOOVJxUX9x7Eb9OibRk3Pa8KvA
V5HRQZ1FEFCWoAXZS/Pa9s363rWOdwgTMzn4pt7sfKJVLvhuBoQTSR9WqMvOF6NmqgfAmPExk67l
32Xmmf47+EhoNk3UnOLCHF8CJoKc6UfLp7Kxg5sR9PZO7Wrj20Fze1cKojUGu3/+O6SeMQ2RLdf3
OJKzN8Mrog+V2gyUstJhR0Bgw5QYpEJMw4oROlt8u9BMo8LOR+eedFN8VyOgNKUhtRezeRrbAkeC
o08DRIwVZoMXgag6pU3deal9l5NCcf2qjs6+X3g779QymhFWeN7xcKJBjZOb7x2HFGAQYfw9sFr/
zJxmG0hSlF8R1fbOdd3FX3UCnruTpuG5GM348vgurB07JVWIbSIXJE9f9jWnNOsYfedZ9xI84Iex
NV9LIu4buc10Jlooz1OnKB81eA7Hx4bX7zMfT9B7hcwU5NzFmVG9pjaMKbLvupV8C0o00tGwjRG3
TEa39uW9+GN957nsyMvjxUT7f/l0IvBTxWSf1l0KYyQ8/ba/1zw4p8eLep91N3frVAc4NUIZj5LB
sipIbb8EyCOpd1VjOh1ow8Do7sSpcnu0QDHjuJ0h+Kc2tVxB+ri084+Z3WjVLU2rPAQlyctDy7xR
lY9xWlnhDYS693sf0j1wR3topWtd5d6HKcnRgnZhSRi+m4AL8F0IL/We0PX6bIAaJpZBhp2nipx2
fjSpSI5kQYZyp+MDy2T0GlljYNeQ9B8VKi79OZNqA4BBKVFyss2xUHY4puszQo5O84LzSe+YHHf+
C/Te1CB37av3RGFMtcsI1sb+6mf2+Ls9WNZ0CNiXdsfBrA4KtsRcKJhgpkBzLvypRGAAq7WJ7tWU
DJfYCcJzDQji+vigbFkhuxWYSlLclWDjqHu5QQcovuuFFHg33Svb4oBUwpjsvA8bhmAEw63h8LOc
JQIXAlijxFMf3xO7gD0nZ82p9Kvg16eXI4R/AEFxWgTLf/6hqrBqpCEIkzu4DCixxlgeohCdw8dW
Vr6fmh9kJErG/BhwJ2KtP3Vliio09KH3wnveo8hkRoX6IVeRx9DU5MlRhsQgwhSFMYHvgpi0qODU
ScwUcjOK7qCJpqNUDt6BITTWk3XFdysC1wHegsLiUsatzqogp0sT3jFWkpooSV4e4iHI97zfKvti
ObzQAsFLlYPvNN+5zO6SzEmz8N71lf1LE0/6KYlK4zLosv+ht6TyQmtUebI6IFZHWxpolxD7JWGZ
G6UCXg4RQ9/uATNev0PjGL8ndhe8BlYXfSk1s/8UmYhtPj4j4gzMHDDpl6ge8dEE5GNZRJWNbtSV
WI/uqSqlZ68MZVC9eM/nrUD/gwAIAhAMkjZfmjPZFGX1ML5bUaiddB+tS0/R98C1G+edc04YCb6b
Pu7yiQyCIG7H1Irvpdr30YURYfp01uI68A+pk+7C17bMUd2jts5AG96uxfWykAOxNakv7mXle/d+
4Mm3ayU4AzbKdpzs6mWhzIuT5SsBgSU5XzjZfOyKuimL8u45Wl8cHYAYyUcIEWZ6ALusMqo2dAqV
cGtqu4uvFQgAPv6A67UyWATgGjUrEeUtG7xdoRqtDQ/mrnXGdGSnf8g83Yegm/bu+PrqYYkNfRef
pHOxcI2+X2XoFzblHXEV70MhSTrD2C3rF2Jx7RgPhnM1rCl8TrpRpFBoafBuQ61EDWJZIgs6kMxG
2OQkbtNwgfBYH8oBLGBXxtnOhdvYSZDDKBzD4KRjpi9uuRfLnqN4Zn4vFYaHU2NRp+jQq31dn5RG
9qSdeHVjO+m4EipDjOLeLQ8pCAGm1znEG6YW9GfFa8ZXADbjJwvW4ydzSpRPzHzam3e2itHJSPFm
YjIBgToNoPl1Z3RuF2deHd0tUoI31Nq0k9UN+Q2KneK7WRG00ZcpLR3/rUgko740aWrtbPPar5FE
MnMEzrZoZC5/hRHKu9Z3tnRDMy1keLlluzwee53FDSs8ebhqR8y7p1g3X2g5qjRdwsq7TaUffIJd
9xs81ujL47u3ZUR0nkQtnEdWXhiJ1akxSiPxblmYJudsTJqDFiPO+tjK+lxqMCGAiArEAYnN4pvF
uJRA1TP/PipoWkyoVt7zFFZnYEh72kZrUzhNykYi3SdhXELfHVgxmaH1+T2FEjYcTOYWIeRsSEaI
Hk+PDPfjla1PIykMR59xUii1g4eZfyQpKbvRrOzkXsSJekwTTbsn8QS03h+GDyGD486KFVjHovb7
U+/3T0pzcxHIVnkiYH/jkKmkzM2niXh3pXa6My8rkY65rgEb0al2dC6DJ8Y9Mb31acEcxRr4kWJk
5TI/TuC3h42VT/c0GfVrUDj2kdEj4enxnq4/IRQg2kBARakJEcTOF9UQM/TJGEx33zPpl1SaVbtO
k9IH8tD42qv+bVqzKGGxg9S8VsX9ZmDit2SNd0Uu64thdkz5KTmlNTOafnu8sPX28cYx34wByOBi
6NTPF+aEWY+Q/tBRBtdKnzp4FMEP0kGEP7azXpJ4S3WHsJnnBp2ohZ0MjB6ZWnfXvE52GaKYXxP0
Cc5NK+9NldpaEikamel7fX+pxOPUzHiawI/cLalNr7KTtWdfQvT28YLExswDSfHzSQB1McVk9a4V
gzRosFeUuyUDpkc5TMsY0hUwmRtt837ozgTr8h77eP66oelMOMnewdShCw6ZdhFXVm3pBQoTEi9j
HxT/UAnNXqMKcf02KJLXCbHsU5yV0VNn//+NUgulUgm5H27r/NNFTjBKRa6bF42Q6NqbuXJJ4zw5
MP58L+yaf7r/N0UvBj6SmEa2dMqBrneN7k/mxVcgP2VqKhGAyfL/sCBqhJQMiBNY0eIsjkUSIIPj
mVCe/fTcDWZyStEAP2f12H1+fEq2FoQmGuUCMSdxVSIZYqamFJltXhDbSd5Kgtm7B118J5xbWSG5
RpZGXGHg/nAj51+olKuEMUS9dOmSREVAVPKOllE8R7Tn43B10WgRQ5dpbsLlmlsJbESSnF6xLo2d
W7+Tr3nHsDSc86CXe0yZubf4z5RoTwtgFnnv0ivJHZhlxcnti1/13l+ql44RT7QS0uQBPLFzk9fG
oCiyNPwScAyc+3xddjGlEIok55KhdXnpTMn+m+QwPwQNYNUdW+svhS1CNHAE9jshbW6rMn3JrEPT
EcqNReMOdRJ9yUsn2gluts0wBeC/0XDLamZR2JGfcMsuKfMq3NRETrz2vT1i8+bG4dZF/EQuscR2
hZKTZYniOZdeb+Ts0A8APqKuaY9FXFZ7ZKKNJcF5pxImVOWcVbzmRE0o157NkoKycJVyaKmHxXux
06YVEhUwaaSf9Grn3yfQYnx+7nuXLte9+Ojnmf+3ZZbTXltmvXV8Glhz8PepnQItmdtJBrMkdY/M
ixeFuhuptceozKa5DnKs7xRJN0wBaoIJJaiXCoWCuSmaEz3Rl+5cmFveo0pgjAcl9ExahG319OkG
F0qvgAgPxQ9laaqz+rob/dq5kL07rtzpzsFXcmsnlJjHt8I5UKbiyME7pNlNeWC+oNKy26q0Mu9i
0z/zvkV1bssfC13zZYbC9q3ihlNXpEfGU8Q/AqlsveNkqcyVfOzZ19tqim7k/3F2XU126uj2F6kK
kXkl7NA5uR1eKLcDkgABAknAr5+F51Zd9+4u7+p5OTVnPGNtCYUvrLBdiDirSHFf/4pg6YhHxZyA
X4brtufaB6fTSzIterX791BvNyV6L9CgQYiLyB4n4PVQ4P+KmqBCuKfQx54KZqHhDHJK5517ft+Z
E5I6DATQDAiXp2WXUgWVipyu3Ae6HbMm9uGI0bdeji7hnP97Tu8Mhbsd6pdwv91Yqu7rOY242H3t
O2QP1NhwWAb3q3XGIW2tSD4+ErhQeK8AeQI07bRrXze1AtRoqA6jRp+TJn1UoMoBzQVBbPHhSaEw
hgLZVrCFRNE26b8K0KY0g9TUrQ61P36t49rigl9IgcvM//AFDxL/JraE4h9Ci9P7gxG59B7YtofK
V2MGN0Cd+YmtzszndYz756RtXG0krpuwKzo8r+cjZhi9VZZCE6vrdgRt7DRh4c9uMldjJ89pk76z
y9HDSbblA6YAG+P1YIEnN/c3zQ6s1HHq2yp8iPWcnCk6/9nD/x+3b3NCuRk0YuhHoHcLmN3rYYjL
4KbbKbL3iee3NjXJzOvbxUFV6G51wUFItVBmMx5dxZDCv955EAp057SGfEeQrnaSzb5jIegXzgRw
1HfdyIgeUQiNy4cPbic8EIhItpAf5RZ0El7/VGorIvuqag9ebD/3Uox5JduvEnilMzfqm6XHwuNO
3ZjBgIsDk/B6oLIzRE11Lw8z/KDzqBvDIpm87sxBfLObtlEgQwImGnYuKoKvR1ELDBm6YJUHz7pq
zojXd1O6GlT/YZ25muZixY/0P3pNJwiB8NJusF5Ek6f0QR32DTguPEbGJEKehYl1vBz1yHndcX+q
zl3VfyKrV9sL46FLv9VXUZRHSeL1JJOZJkyGa7T3/Xa95u1cXaiStr+hHBLFhd8SDknQySTgnHSS
RYck4Z3NPELYuPMG/yzv+81jiccJKRtuvj/SmMFJatCWHL0dCCPuF15+n5Z170pyEVTV12qu4bwR
fvaG6Kr11Jn76QR2gmOGcXFnIIiH8iVekpNx49GTSVdVCdahpzSllfTSmJdxpkeHHlrNkkuajPyy
6dz5nmrifin9Nnj69wHaErnXHwM/AkUhqDGiyA7uxeuPwTrj+wC7JIgUeu7s3MGFghGQEl5waBsU
btKYdeNdzVobnmlgvD1RaBMDuoDCMJ4CcN9fj4wO/xC5y5Lsazr0bRr00cLTckWz/98zfHccXJab
gMf2bm8r8NeLw7qwc4Wekn0wqeilqld973hjeyaEfG8UxASoYSKu2wRxXo8CGTJOR+gm7qF8Fl0B
xAlmWMM/psHw3y2DIgOODqJU3HonoyBQbWK3Qm60ImbzCitravOOzvac1972F51uiw2mCGQdEok3
vi1zULVdPyPIR9bMM5c6/WUS6SEXzXCuGPreym2tdSBnUbBBVPV65fykJpo3dbmvI8W/hO1Y74O6
c3cf3wXAk21ASJAfoSzxehQ5qhKANVbuIdq6FNwTzkETcU5E6O39jQT5r1FOTlOv5gHWrIi7bcTl
rVyD7qJnPpRhoZZ+DdJKVPx7Vu+dXrCikV+iCopu/sl4QJwkM6pBiLBpqI/hGn+vBzNnnRzRcF8u
IOjyMe2UPzsQ7xM6m3hwtzLKyaXl4YnoCG3LfcWWcR87SuRsTtYPkRD/bxRE2djlIIEgKn39tZqh
ROtR9OWelGO1x/2XHKD/5RTYHefYV+/sdHQB0BYCURpCTKfMbztZhA2ehvJMHXxa5Ozs10goxDyy
Ofz7Y72z0TES+viQUUD2HJ1sQZ/UaEbQudwDKa5S7RKvcHwdfHyjYzpbeAggLu7Xk4gIzPVwqYQk
+6TRQ5iVYVVewYubnlPlemfdIDOGDQAsSbLBxF9/IjzxFuxeVh2C2m9viWjtpSB9ApOIUX7798K9
c6oA8wHMF8E82K+nyGlIZK5Y0IkdtHSdy6lc4qMkZHyIm3D6FkRKnasVbsfm5PbbYuA/80PidbrJ
Fd5JZyU1O4CYMfepHbyY5a5ifp/OIVE/EM2W8a6zAZOfvHqKVLpAK1T91JFWsgDc2hlE2pdjC1lv
z7N3Gm5zA7BXtA5SqWBjmskomqp0jXvjv5hQl99LgH+mAo/tjPpatUx9PgoXokhQ+QjjF2ingNU5
1tRhN6V1ccHQftTTvpoa8iNpwUTGwwaP3B0dJ5YUsHtwhsyvhPZfgtH4EMO2FsLA3jTjF1jPjjqr
bCW+SKU2akQCe/p9TGAcf+Z+emfLo38ImDB6DZs+xfbnf729au1hbIA28yGxrHuAXbHYAf70P7yK
W2gOhCmyRATNJ1tRm6iDVMjCkIOxoEB1BcZNK0od/96F787lr1FO7to2qkIPqSs7lFR897We8x51
jPzfg7xzqlDIAPth02pFE2g7Cn8tWLtEiqG4j61eG1vE0NZPw7mlBYMh/Jn5vDvUpiCDzgwUl06N
vYGpWPy2gQQ3TBvh4hEgxzDQAdjD8Plj3d3tOoeCx8bYwj9QPTtNKCXAyA0PXX4QrOJFVJOpKOdk
3nnrfM6o7+2soHcMa7KtbYGFPPXFbkCxhClJwg+AwnvZPERBkVRRcD+d16N4uyEw1KaEjbgP0IZT
2S1RwowHBmECQnq6SfFCDynVSXLmCL07IRClgCve9EJOA8thEkZ6HP4LpeQVtlyiM3fhnx1b6zMv
x9uRUGUBAweBJWBnb5ALaJjXHnKA7jBElooMqg7LlDFJrYEEYuKcy6hPh8P32d53oBeAH0IAeHKe
bAX9jrBJyn0bL+uUxm7j1gdeNRVwus4mq/rvk3UaKm3DbaIJG0Yb4vKn2VbQu4MTKVTTBijrZmPL
+0tqvCYfO673KoZO5ug0zpk45vTl+jMoDvOfdYVazslxJqjV+UD8kP24UPZIIjMWS6D8Y+8t5hpR
7nTm+jhNZTHe1hKEpgLqoJjqyU1YsnpZqzUmaA7yDsd5/CVd+tyM6s7GzWNb0n7XCnv0QfX+9+q+
8zE3BDoOHBCSSKZPog5otpV+BTvzAywImyRtgW1+WMKhHQsLiuO5q/idZcVoSFYBe0O18hQiPmgo
ldHJqw4wQxF7G0tE9HwEOqWq5501yTKfuStPj/q2rhuPAdIYSFURqL++lsOIMaIkBqyGeE6TWAFp
DHf1M1/v/VGAS8Ee3ZDTJ7F1HA+ynRPo6/sL8ImAUqkc4NLgTCXrncXDoiH+RLVsE4g9mQv1kNcF
Eg4IIUgncSp8qS6Bg6quWBi0MB2E79/HV2+TqwDa5g9h/jQkdRbgtAd/xIjwvb0FmFpf1JxGTx/e
glvLA9X/IABf6PQ6bngyx4sAQps0dQcV9Sq4WYjr7l1dnyv6vnOXoEGJVBJ3Jbobfzxz/nqliaI2
hksk3jMAMB8Y6+NDjwuy8Jgqm3QBK2Ovgc86o//y9nCjzvzHZxmAJfTlTw433CYTt3NWcVhipzN7
PhnXXPpVQPkOUMFxvLChbn5MJQeQqaZKR/k8NWF5Zvu83aTYMpvSKYJ+bJ9TFqrlJKQTa+vDFPDu
0bJ4edR66h8++jH/rCuazrB9Rrfs5OIcyFAGnMJOCegefSmtWLOyk+4NL2X0wbQM1CREQNAk38jQ
ePW2Cf/1MUemnakDi/Ywy/ln1zkDBJjGdv/v+byzasC/bKaHCIBwuE8GcYJJEAWM8yFWq7wjEXHT
PpTn7EPfHm00FHENbzcxiuKnGHUUWAYQTow4tH3A75ymip5hSwl8Jeh69Ji41XpmS743IIqnaHAD
K47i2kme7quwnj27wM8nCsSV21T0YmDCv2hUOe1ktAzHDy8jrkfA75HdbkSkk21RLcB5V2RqDkEv
1c61mh1dTu33/2EUND+gXwXeAqDNr3eEcGbqtcB3HfrY9BmH5zhLHavqL2eGeVMJx9ZDx3JTTgPy
BeaeJydau7PnDx6KKfUspbpZg8aUu4Tw3jz14Jn8Iiibkctp6MRxhqhfcgBHWq5HsZKBIdueKq8g
EEtar+zoR8N9qxe3USlC1g4/OwxVWDAwNZP9NkxfwJDYNgi8TfLDYJ+bzJU95CESPcTD3h2V8jPH
rJzlXV0N8otTTq6fV2G5ho9lYPHuAZs2RPm0NtFyrDzXqCu6snlIS70y9uD7IqxfKgnqYlppn8K9
3LTEHS9db43YMxA3gMSI1sTLXowxmR6DAN3gPBicXqeiHCbnW+lWy1Io1y4jJL459JnQYG3nrBay
vzcJ5TYTLtFen82LRWIuys6PGBpOs3ZTN+gruqSsUZYfZBcN8S9R9Z7JZ0YVvUrmag2yEQJTMret
x8aNqbc4+7rpWueeQd1b5TKZHXvJpJPApRp3bJQb2akxT0jQek91mHRJGmJ/+xk6QRVL7WSWWaej
0G11g1qq51wFztqYrAeHp85sbeVLAjVXfVubPnZTO0NUK5uk6n/NERo9F3QlS3uv4lgvBZqIpL0g
vWNhkgWt7hmgFPCX87me16iYYsFx5/rlKK8H0kZ6R0hI3APyKNs+LhX6RsdSlSEEdtY6sLld2rV/
nCFP7F4NzG3mXTPWNf0K4ezIQmAZ4K7lBqOoZecokqgfBD3H8LvXtSVCD1NJWVS1y2UKDkrXFMuo
CWNpMuOyrlITUW1v4gAtvqIHaQY45yapBtQ28NgyIE+CUNzRafEcm3rh1Ml0XJZxSptm9aDGNtIx
uhaLaqJCD1Xv5ii31PauCboq+eWupEruh6Gn/X3iGdOkmzFtHaZrS8b2UIfEj36MLIQywBx7k/qp
SNB5S1q2DN4AWe9R0j1O0ZTgA8T9ZOeLbtLeeNGIaaFXSoL2v29Iwqui7LUo2bFG5Oo+/7ER/mln
T0Q3IciT3qGX1NWfZhf16Z0ioil3rJmp/bLESkzHBr1rjrPm6FkUwHrEkA2uvJllazdAGSidKobD
lMLesUMzzVXd/BtlNOvmA+Kk8bEjZezt0CuQ7J5slfFdO1YoADGgC0RWJdZDmgcRI7Hr5sk8Q4FK
dcWUaBZm2DNGpaAM4FYq1x5fxYzdWO/qQXvyWzmjeJX2/hyRo0ua6X4NpY7q1G/WuLSpG48muV3h
Ixk/SA171TtnsC4VaSKtwyE7uMYhip+wTkfQDkP14MYxaP8e4Apm3ec2gChx7nYmSVJfN9vfNEFi
K6dcsOlilg4HwdafAiedomWM98bjUQLVFL+Ujz3CTTcdR49/6zs9eZte+zh5u9h32QsqB8Ajr3Ss
y8NKV90Xpq9m+4UEExNF7DR+AHSb0uB+t8zYtqDaHaN9giy4h2iKP4lb3x0I/NDRbqyG3LAhFKkH
ITv7YqHBOR/dFnS0zI+kgi4l1OAUzTnnHS0sBKXljgcgiz6DZk6b7/HiwBnerCyBqwHQCtEv2sJg
yKRzG1u+l3yimfHGY+Ba4JLiYYkLD8oid55AlJFJyHtWeReGJslFzaoxW2o7DvcC3LFL1AFtXbg1
0wZg7FDwq3KBk1y6EuggAxiW6Ok+Xi1BkQ6sYnI9kbL6thVyGU9DZdWa4WEsx9+CiPJJU8Xni1Xq
stGAKsVGNnnEW+ZnKG6aGGbe6JhPMKNcZsT4qTZ8ausUd5lwrilv/OVI/aYab8LF5c4nVfZQUMAx
Ais8D2VNiMT/VkB2PqV+7YR3WFl3PcIAzOseIXwY2Jd50OGUSwPvwjmdRjboNDahhPhn0oZeJvVk
JU/HcPWiJlODBxi/1/FRXIm1nHuSOr3arm9XhkRkgOfWd3CthS5WNMjmpbO1qepUVmpSOY+mXhzX
oMdvg5BzbwSkHIaQXg4lYfq4+k2IVexHJR2BbVtOcRoRsDMunNXt6EVSt91TAnCXuWB0GWUKywV2
0Q6zQw4CqxrseliBhakVGCavpUe/jIlf62zuG4VmtA9huHzVGPG6xqNLbniFHTGngzMn5Dr2VeBe
DMNkqr2MRBy9iLoU6w14PGbEizW4ajzMYol7L50Ngt37MkxKdTslpfuQdDWKR3L1p8+x8emPUpbQ
oJJ4mcosbmZ7NVa6/YIYgt31BhbCEAZFD+5AuBN+CRzXPA9SznOGKv3qXzHo7wbgW1LDUz7P5reA
vv6vElBrcfCFHmq4IxmsIaDYo4MCAcTSvOmmjmDI86yoEdEe4LoqhhrJCg+nHIoZYYRlCkv90ASL
xy/jiXJwoAa8x+2tldAYvgbi0NQ/GzOiJ5F2o6faZwodkzbloVqiLq0rGbomxYlb230PcGf7wBwW
T2k9lau/17IJ3PVu2P7luelEHQ4paXpoi2HfIljfJVJpkzmxrn7IsAxk1pqAqVSMYiLXZPCmOzqi
Sn9BIj5UWzgU1KkYKlcjspDSyb1VBy9knjjU3AUXwQ/whts6M0nD+gdSBvByCELgJa91yfjo5gEX
4W9qBX3CeSLlszSq5QXk5Lj4XSMBmzMJuPdH+62IBEGYhgXNVrWByclWX/k7CRHawYMImU0Xr2Le
ByTM0EkCaK7xwvxM2Im/6u/mxulQJzE09ThdUACUhxaLdz2zRn5zYnuu8v82RUYGDprh1iKEgNsp
wwCwf9HPi2kPHPJkxzbQaIjQNXhYYjk883Bycqgz+PcfnRp6r0jMoQKAfjK6U69XsdeOMpGQ8qDo
LFg+urrcQj7nY4Q9dFWRMgKpjkY/tIQ2Yu7rcQbDHbftfHaYW7/5ZhoIW6S9M8dODlcQ8j+kwuDT
gAe86Z2B8PJ6MBfcIG9dSnaAZRCgVxzOdE8dYuol6wG/Ooe+flPI22CpgCtDvgdF7TfIUbn2CHtp
3x3mCFdhReLmBafSS6GMuT7++2u9SR6xO1C7SwA72dL80y1S9z76NV01HXSJV9InTp3xxD4rj497
3/swRwP6GPBKBTMXHg/QDTqFYoc9V7NNXAwH+lfG5nU8+K4N0yYAHvbfM3uziCgJYVugvIZaIShR
J3mds4yiwp8CYlAvUYHsJHxKbAPSPYh6vz48FMJDoPQ8lO3BFD/ZismAz6VXDDUl2BG1jnkKLTK+
78QHfW+x6+H4iZohIObg86AtfzIrMndGs2GiB+pDPGqG92LO+1amJuDJ7t+z2jLsV3cUhgKTZ3PC
gyczBnu95ymdI6hHN+5Bg4qujsARu9+lM0Z96laVePaYW96zChMtmrXjHzMS/u9EwVwCOAtFWKAP
Tta0pdXEPYbRK2S/O6TgEZ6k8JzdyJuSEOYIuDJKlhjjLSMWOUgPQ0DPPTgNmgGO6nTu1LE6cyWe
HjLUQ1EpCTYp7q1ecgoixpXYD+FK44MBh/rYecN6bHz9SzdNtPO1PLd0pzsf/JetzYLNiMEgTHNS
OpkCEUazbMsDYDDdrlvjJXc8pfYsYefocqfrt1FtoHS1tZYhMAQRw9d7hM8aeKEFpVfEBkHWAJEK
qRd1TsDl7foBcYBPhDov7g3gRF6PkqhOJGQO48PMwq8To1cjtLVSpI73NlyrD9ZWY5+i1IlV25hQ
gJq6rwfj0jhz6a7eAciC3ubTohCDdrwR3/99vN58JfAMQ7CGN6EwYIdOow2GuSRlSMVRLapCWATP
sWzDPDwxw4Izt/zbsVCKxN2EAw2Y3xtJhCDWLVzrIfy7sMS7GPFw3XA7kEsL4PSZ5dvO5d+3BkrF
GxQY9y1qLShGnnQ2anextUxIcxymltPC1NwNX/hQoqKxumV0p3rQAm5dU9biyrCueXCm3pjDR9d2
ozuiPbBdl7AUPtmW64Yvq+jaHr2xZwUPmX6mE9AxqQjYORH6N0cAIAHUrUEQ2HqLyLRf7xekaACa
s0oe+9VUu3kMgzyaeXjmMv6jhX2yrgjggAGGBM4GMjsZpsRPCN3WbY+dRaKayw43c760jhEZCi3x
05RIWh5RsuBD2lk1L1exqYL1tmwW4aPyUK0ORE3j8BO1bKrwXbwFZUSQu3heuqWYLyY1xsNzSYSF
p1pb1UmdJyxq5icZ9TCcDCC80B362Znmp9XXg32ifRyYq2SFHkThqy76+u9v+N/K6+spoyWwdfXR
ioOy5+kT4E4NEpEkrmARJhH67JD7WUccYRbNt1LUMsTmc+D3en0ah3X2v8wQeKY8xX/DvRugHeog
D4PSK294A3jMdQlvjzkLyhnfynfYSu9aJpr6oFEmQh0rgRlS0Qmf+KkF8lP+MA2APRkIAM54yxX+
v8eOoXFb0EgMPDPuwMocBSZGnia3j9tM9ktXF0vpEVN0SDREmCaNY39rdE4gcNm4LdLseoiDg7Fm
tvDX8ajdYy1Hcb3OjeRXXT94MJsLEsRGsIv2WNYvQMSBLFv31U1U9bFfBLq0KuWN4y2XQQPqT5PF
HJ3622iM4vaWja0X3uGgDe3VWqmyhffvUoEPECPzv2StHMjDEiTcv8CdGnWXvhAw7Vg9b/mO7L13
CmYiOd/QBenhETgAgK9Sqhhi0YCUtfpdrzPKGCiJ+knBZVSqrKzrut0xLX2Rr0jLaFFJ69WoAcfR
b5xRzNqWytFHR7SD3q3t0iSZkWX5wpqmlUhwQy5SiMcFTWqXcDE7rl0b78fSpd/xJMgWm51LdXBg
U9fnOO8Eye/YTM6D7ZbwiVizNHfQDQtIwcu6+w5WofObT271sAhHLakOHIbKNEkG5yKoZzumnp74
J45aapKD2j48iGid71RHNIicwUyupmUKoAo2sImlnCO8S12zDH0WtVJUWRNAhTVrXdMkVzUcIH44
LSrcBRoUDf2MKo2/XFV9Ur7UbgN5ftr5fMoSCHCtLA3raI2z2gTjkwx7bVNrIfubOapNhpxSqFRW
KSiZHFKofZn0+xDymP0Tc5JFXkZhaau8qpbW7O0AhuslK33vm1X+2ryEFcxMDyjL9eQQ+DC0fjAJ
Hn44MTouScchSu5UuBpvzQwljH4COdp9atvFF7uGzqijpx3ChvJb3A+x+IVqbPtJcCb03ulqG9wu
FVqpueP3QG3IVeCTLLChjx4kHFMg4kMC1mWGz3RFZuR0a6pJT9B+daF6cC2ZrPVNJ4jzrV2BrDq4
sKQUJmu8KtJ3yayi/odNpHj267Cubs0sh0cbL5Q+SgtoHBr99YIylZjX8BiroZeo+ES2eQ6SeoFh
zwjVlosSNdzfM1rSJl1cbeesIsZz0sQhznzV+WM7XNWR4U8eWR0O4Ad2fuqJpQyfZtsm028OmyvI
wUKBlKUKFrHP1uf9dFNNhoa70NEOrNSHOgwuugF47CtAb6V/L7pSXXt+H4i9Fyo4qHUlG3lOR7Az
UUwaULvz0IFY73rwgusnNAdwGqGM1dAU24tFiJSQkl0HVdzfBtWKxkhQTkZlzCtpklJnbNqiIfVA
D6VdujVHKbs72koPbeGWqOQWkQNWa8Z92Xrp5DkQtEX9HRV+FvH4h0OCtb5EUY8FuwXBJ8tgN+re
24U1Qb6ydmqyZnUnuEzH8YRilK0g0e/ZDUeJkk18CwcSdD/CaAkN7OigiQdcldeZjLsjeku+JqNJ
g6lFjamvQuXlMUDxJIuiuBZHC4ueeKMgeSIdwnA6RHHJm4wz4spU1zzo91PkCpYptEx+ulbRJlXQ
WkDLHNU6kQWiWh85YjtWeJ5ybiuKRmDhUT7cgNqP1TX1pI5zTYYf4QisbeF73L9z+qqrU+6sbZMt
s7P+GFaGRn2w9vHR9aCAWbApiVF6QmCQkmXulyISfV905bp+rnTVuJfeAhXSfYR696+aqFZllelM
gLvYK8OcsDn6PAPnP2QLniWaNrAJvUYa1H7VvRvZHXOFQQnXHe4pWmk/FTfryyQN++JO6A1kKmGD
l43RFGLlaN20uXXxPKBIE6G4yp3gR6149VXUsU2yaQJVP6sn19iUrOAp52hdx+zS4j3/hcvT66EA
HViadv5M0X0Dr1Pn3Dj950CvcbKrx3UFX0ayz3FESlgPzxZ5htCxAPrVNNymY9KiPc384d4f2uS7
9VTnZnPQt5cjuo0rWDBsuOCJq2k+N9PQZB6sH8eUJqXlRSKU+0IbPFsZigRYT5YQKDnWAsopaQBR
lxmAXQBN9hbdgRIJY+TZwlU8TjKEKCsQLm5o+hz+n/qyXASY7HY1KFNxYVKsKthdSz91PxvutP6x
DqmusynsgNbtkGLcQgI+8guvARUz4zyKf0Zu736CAqlD0gpbGE04F7UuvbajAqbNGFzAAyfA2yZl
EOSwaTFjOsEwPEhBUe2/lRpAHZScnfpXMln3a2mDRRTNOOnPxig0YE0fJZ+aaokeI6kbtoO+VnNV
rhpgwBhCmSqD3ABCKAZvSpUSoJi+jhC5xn+0nWL5OnqsyoeKztcgVE9NDq+G5UC6BCsDhife3zhS
+I3SV5LnuoLiVYYS1kjxnnVznGKHOPeDH/Y/xwpvN9BBwm2zUuLxKYaYLPf4cvbzNMqApFSo/tFd
h3pIVYQabqpU5V2Lao7mIoE1jcwdgLZ02gE7vuxacDE/d55fmVRYcJC3qxUtXTRdBlwMBh67BZCk
7EbZqZpxayj24PhiYnvkDcHRxePugaQdDUE6WgjO7MJWy8emV1EL1Y0GnQM4/jA/RcUFF80sUC97
UG3bQmkuKJu8gSjn4xCho5gi+PSabLZL8MBHYmUeWTvGu5X4XZSit+J9IStOCKaue57Fo9M9N0s4
1UVMSvqzW7pYZSDlGzQ/yhWkHKrRwb1U49J+J8h0AhwWCluXpYy5UyzR6GGFybx891qHlikLu67c
bDRqZ482JuRC5tlFT6+GcWydNmzBszz0fqtTvwvXOqOD7C/QZVjqVFmIJmWlQQU3a1DefpgWGDXl
FnD1a/jU6BqF7WCIU6gnOnU+rkPMs15HENdaNdasgIShUFnic9pmM5mW377fBZ/g8ki+tGgf30k/
geiZxDac4CQSrl0qOwNzRmPq4RfKuvqXg/pZgjt79J57KLo0F/CgdNw9M6a/8sYV8HXwB/FqrspH
GyksQ0jVN71sHxF49Z/aWo5fg9IF7c2jjbkvSznIHapZ0WMzWPoZBqY8So1FmTAFsQZhrmgX8hgB
bvBg5LzJC6kaEh50dphIXebNpED91LtauR+NeRusVqSdWeWEftaKRVJqQPOihM3wvPVDh4sa8bG+
5VQmVYpMs34QzgTJzWBuXXpYITzV5saSecDxwNuXeSZ0f7oLrsC8V6v9GiaqfIKoVdLhTkdMlU6r
y7sMHm6BSelIB3ePDMUSloVzsLQH4cUT32sicRqBAeT60Jugtj+038fLNQJwn+TCY4Y+lcscxXvM
VpWHYaj1usMqNe1+bqsQHzQK8BCAG67Kr4B3sOUWgYPoPvsBUaSQ8NVRmU6UmK964OXGe3CfwyEP
HYMsbXD9xu9Svxpxeae6E1NcdI7L24wpqCJ+hjLbgGY63pMfYZms5TO49hYtG1kSWUyOY8H3MbWa
QJLEM3INWJ8/5JWrovi5ZEhHd17vTrKAjNdQX+gqRM5rIaux7sKyduMrHw2+6XswxSMpnLh2k103
2jH8AUKdxhJQsgCsJGGnUEgMAu9M0CW+BjIu55ukqsh6XJfFukcaBctnhf2jPvnRCiXdtAbVqb+G
T8wa3gAV4j+hDOWSAoskoEBVzaXUGVFGJEddmmS8DMcBmY7F19RHZamsLy2hTZyOoLXEVypIpJtB
ZDMId7xGixfPdYdwE+yPSmSO0P18QBARWRQooXGfU6RW9iV0IYz27LvTAvAEEtv4KkIA+mnowFPZ
upwSj2VHkX0Iv4NXqyQsGr5UiN2rJ03gwztmBOlLl7VdN3bPAVjUNEODZcAbV8ElxqS+M2lb9LMh
3fel1aCk0nrpk0sf2ap30zSGNP/h7Dya4zbWNfyLugo5bIEJxJCiJCqfDUqSZeTcABr49feBV5pQ
nOI9Lnth11FPNzp84Q3HdjFSRVfOqsVzbpTY6bIVLYMtn3pa4u+R6FdlVHNdTs+6qgj9TNHN3mOG
J7a/7rwKEPiX2VTFsuv0zMfpPLYb+xE8TdYfsPGz1wfoRHZ9rKlR1f9UuESkH8dSx3s9sadYD6G6
WNWhBrSO+OVMCvuptNphQZdmcZ1n9OLdcYeWnDlvSIZ1+dN2CqRfoOrFqxADqK10jzCM553qSeXd
vkm0/qUfRGMe6Ua2ZDJeMZTaqU2BIj5Tetb5oWvd+wdhLnk6B9pU+e3JqRv/nrTfjVIWNyZQfAou
eIRels0QyMlqdHCqKBvrcV8ncRxycL9QCB2i1wsQt0ZyIRZQMIMSRvXsvLBjZp42Uo+sollv0ne6
u/5Y3YyCR798e/tASBVBnKHajUDqRaE9s7xG17iiI9qncxjjLLKvqWcg8efe431fdgQpAqLObtig
HzdLFueifaBUQZRcY3Lp1779DrqJHxbl8NVvUbnnRjH3gDz+fX121/Ux8Ogs42bIR7/iCnVJQNWQ
qFYRoifubjSTkZtjMt/8sciV6DsS9NIvuPIkKvBqq4bcrVF8LLMsXGZZnjDiFZgXI01wp8Z5vYpb
IR9231b8QXJi2zl/NYoTG65JUpONbbVMb4fsPUoQvT4ODwn2hqR9va2XCAD5yz0p3RuLSTMBXYLN
tYc9eVGctnomVqixiVzuszzY1NbLQHaecU/B7Wrzb51OzhiaVttJu6Kk65azaiBkoiVelsCKgXF4
sb952sfF/vUNclXdp24KY4w3mkItZ+1iTvYCgBXF5yVaVGP8q1TlhNXYON9HD0+pLGmnt3ZjNpEQ
rmyK7vDh2JnnX28asUHQxrWI1rQzPhuctK9gDtpfnkD+VOD7dKd0e/3NQAloHuR6mgo+vNDz8VrM
ZEwsQ8toHoQZOq3rfWrrun5zO4FRiGLhLNCqI3o/H8Wp42YFSoOdIJhRIs2ltLzAlG0KhNEX9T1Z
oetJ0XpHyxkUE4QTqErnw6lO+cDnygxnWTSO96k/9v/zKq96qy4GLelNohP9os11Fdbb+ThWS5UX
OEseSZoKYZIOvGcGLceqL+5ZG1/tw60hs2nSbvc91+TF3djGsZS6nPNIVE23Kyx//Kzr3bCbnMz8
GvvePRD/1RHbxqPUxNzoQ0NQOp+adBZLrsmYR05PQFGu81wHsVNrT7KqxZ1i+tXn4mxB/YSpg9rH
Rm05Hysxe6QvEDuNRiub92hNip1rVfd8dm6NgvGQw1O26bpeepRinOZkukaAOKGI+LuNi+U7SjXj
26So4cehBo1GGEACVHIwfrx4L21VZ8bc2FoUz3Blcul30VjCcQ2quliDnKJ+EsxZsv55/Z66nt0m
X8EzQ2cLeIZ9cU/5BXmckw19tEi/P8AxcMO2LbM7t9ONUXgmWUFQ6cBnLteQb2iOJXg4bqeyPQ6K
wtcginvgiBujED6xgNzsYIMuX7A6I+8svHqILEuMuJ5LNwRQMOxeX7Grd9Leng6GAXNJ2frypq3K
rqC01w2R1is3zPty38/FY5IUjx7g2rDsrXsv89UZ3mhHW0sV6We4MZdOG05mUf1XhIIiH5eXqu/k
0U9Uf2jc2Ixk0cx3wo7rdcRsBkMKTD1AIqGsfX6uILlJfdX0KcoHPwldYYK1G8vxzevIJcFbBVCB
d5Ko93wUFs9Ec8GVEaS45F83M+lkotyS4FM7IYH/QKvE/6jXjXXPB3j7g886cFt8s10XBFaoC1w6
VUxDPDYTPimRtTbLv5o5tXuZ1uujtujVw0JDNAm7Ire/6qQBx9f3zvXKbkOjQcmOh+b0Xz/0rxhL
NlWer0M2R5pP2Ig18BIZOVXP10e5uoO3CaITjuwgbxndsvOVTYu0N2Q1zVHW67QU0Wd7Mju6YIjz
3nsxbw2FNg38JjBQ+NBsE/5rQrpXtQs99zkyWtMKNKX6/eJlbtjH3r1msX/jsxENsCF5YDY3pPOh
EO5oiPNzANd6mf+AS5i0tKccoUJ0ppz6GHdr/F53R/vnlKqpDLVENnf0y64PIq1/EFEAiFheYCLn
P0H2WpHPWKRHcwon4GBMxZz8LDXqcW5ly+X9TGemu8N/vbVlQG9sVw0sbVhe52OaMjPkSKU/8izq
HtoI2VGMtfvmIw8QBUcC6MTuhku6mNlCSSMeS0YRoOP3TdPTkyzlp9f35ZX8G0E3qEYyme0lsKD4
nc/Fpb9Xo1sxRambQszGoYhbLLaXeX2mCmWNQWVK/QPyLIvOxaqVcbA4Dlp3JU56w0GnwN0f47KH
npA27Yw5perTYg9WWs/vCXXwSy7vCJ9XmK3Ne8xFcf5LV5Hhc7utBxt5fkl1Z/hTNlN2Z9VvbGlO
KZcBaEWCpsvEZx1ov6VNNyPoZNfOe7Z04oSFpqpsZ8alkz101rr8ng10IQ6e3WOF3NhefK8kcGOH
gQaj+oByKDeGfRF54BmpXEkrhVy29g6Fo3WPyJbesxC8fjYxu3D+k1RHJwl9y/MVTXI/Q4Y+UxHx
RjXwYbVMD1VfGn6Qdqh5vEtjIfJ3dKOLey7ztybIsQUhhKoxIOjtM/x1SRUxyKclLlTk+r18pLr4
0c+r/u3nlOiGQBuHJSQVLm/C2jQSfGCYXzks3cFL9Wrf4Vd1Z19e37eoyPI4cwVumdcVYEbRBU+a
BaaeJBjcQbxx88Dt9djeux69gzs1gavhtmzIAAa0wcc38O75ylnVRLkO86JIr6caxbaSPDlbDOsU
Qw68p3N29S4zGIRPElmqOQ5xwflgmHhMSKGYbpR3XvtvRj25Po5y8MSDNnHZ76AkCfdFNnrx1UQ0
zwxTLdfLsJJJ19KIsosfKZxUkpwlSav3PAdu+2GZivaLMKxehl1VpC9Z2/sqWOh0d1Co5NTKR0MW
RR1m1HB+TBgieTtqrdU/9PnKKir9svxmpjYtpzmhh7NDFAvkv20ucxP1SK3YdK21IvtMgdzKnmOa
PPWhd7Ax/75C/PljrbI0fsfCqcporJdk+mjUHu99B9F73IlGZNbLWtmcuJEsA6iIQfi6H9d4kKGl
UysNJuVOxp2venUUWWiLeNwi4diqjRdHsRrHOcUayY6E1L6gw2lxnU5HUbTQvsrCCt22v3PR3dpH
3KSUG/m8G4v+/NPame2tk+yciM7hoh8Gt0BIPIE1k4XmmkxvDrNAmRMiIiINMtXkWJ4Pl1lzXy4A
N6LS9hBwaGnTyyr+/fprdhUMMAhRpEXJZTOBvsw+eRhkOi2tFokmdcOx1gfMB2hRPFlF2n3QqsK5
c/avrjEGtKhyojIC7Q+BrPNZod/gt146kSH6a/1sxTTU0eQ27nyqm6PA8IbqvRWUrItR5rTwIaP5
WuRNxfRBgfn6sszJPVbKrVHQGkCuGmiTTdnxfC508NLGhDUapabRPWBMioMuNZc7G/1620GJJwDW
kTkm2L7UHzX8ZGa/pXYE19bYC9pIYanXNDwt897zdj0haDb/FVApZBKpXWw5l5Yrh9+wo15tjQ8F
FSpHuPfNE6IaTHuARJB48Kq6sol9JoZcPTwJVVZ+1vwCxwtbz9viH4R1rJfXd/j1nLj8MXjhwHps
uMutMIHvnVXfedEmlv4NsGL2tSyWe5IrN0chozZNE39ukqPzrVCP3dC28exFo+6NX7spHR91kamv
r8/lvzN/FtGRC4Em5UpGMsqHqX4+jEFsbsFM9iNaHVCt4CHL7LCgQNCFULWw6XHNxfsjlV78Lxbd
lB/TRJO/6gx9hQNoBvysHWyR9MPrP+t6h4IEJQemUEW9jL/Pf9VcYd7ZYWMbOYWeOh8UgJHhobKr
Yv2ygAz58/poN5Ya5CnaUlyLlEiueDFDMrXdrBjNyeyQ82IfHHRudq+PcmtOsGB0ShYuSe6lZcmY
jo1WxIMfzXE6AvnKtUjB+AbIN8rg9aGuXzKUIqlJQT/ARoc09Hz5tniBdjsf1bby6ugRgAUreimn
rNfqQCS29sfM7h7CG6toUWSivgQeeyMInA/atHjLwDWLoxEoXdhqZRVq410np+vnxSAc504BjICA
wyVOOAVjJXUzjqMUeudzk2XFb+TZEcie0EPEzUzdec5uLCXh5Kb/rdNKg+Z2Pqt2VrFlI6UQyWT0
A6FBzdcSJ/+sUXPc+XpvPDbz1K93PuCttUR3Ec9QXCzgBl58QM0epjSec+zGSl5qz5u1o2+s90g/
N0eBRYyCFEZghnZxOS9oJljWMsSRuZa/0ZSZ92nnvTmFxsYJXxQeG3pZNCG3H/FXllFpvVsQm4to
Up6xWy1DHMrSKe5EyTcOFxEUuvCUBKCAeRcLlnawA3nURKQsIwt7w64OFc56AALrX28+W2cjXSya
ZiOgkMSM5LeImbmw/R8TzeYIj41XAaYZqiUoYzHsXx/25gTZ8eiMUo+g4Hm+jEZdd22qs4zllMW/
KBboQziPfbeGztz1P988GJQzh6o+BUjg+BdhCFGwpUbK8ZFFCPLB1BuggPVS7cZBs+/Ujm7sQXqb
RBbUyrjtL5l7a2auICPcOMpUHyOZ0cE3V85bdfx5Ryl8U2XhMYUpeFlRyPzc1QdliQjxejCBWg7C
1hnVw5uXzWcmKLoTXm3lzPNvJEWBxfWSJafYHMoQFQZ/X2HL9tTQsPjw+lDX1yCdP+5YUha4sez7
86HGMZsACa5LNKr0f5aK//i5+bJqDeYm5T279eutx1iboSsbQdtYRedjGR3uXsk0LxEMPhMABprx
aMN7SML499ySr3cDQ20K2KTVyAFd1dsyJ/MK26CSWDpz2IN12mWrfKs65n9dKwy6qUkQZF/BSpK2
IbJaZiuqhC53jZv+lqvvgO9SzZvvccCplERd/ke17Eq3bG4A5evkJkh1rB+sFffdwh/UnRrL9Qfi
nacDR2pCBQlJ7/MPVLhxluKHZkSxTK1DO3RWhNtvjcv6ar05DQKMQA8YUirxBd/qfCjAHLVb9cqM
IGxvsh5YrOuqcN8cz8MB3Ji8LB3RhLs9yn+9GaUzTQ4cXieS9EJ20+j9TEvn3Zpb051b9Xq/EfuS
BsGFhhUE/uF8IORuVrNxczcaUv1faSfZg1Uo604wex1CMMg2DViGhPKXfaoYO8uyaAc3QnmkngKz
FRA8Cmf9RposALEiE4G8Ahi2t8oAbtLrOruCS2kjU16aEs1S6EXfA79R/dA9pO74oo1tfGd210sI
zogInSIfNQX4gOdLGHslyl2tJFRpyRl6peJAdNp4fP2+uzEKCesm0gt2F5fg7Qj8tSO4mdKK8hKu
84td7ya7qcNkACL++iiUKfhzztOhjdTNFQ6IlEqicXGUNAgPXdpmcVRK5fo7kU+u/jBMevoLdQX5
NemU9U9tNZo4mKncuN+o9nfe5mTmL8CrbNC3oVtMRvnOyCgcvfRlK6bPW7NeHOI8Hs13Bh3fel+4
ZR1/JFn1nP2sxbo8JAjlCJgVmjm+AyvQ2gePHlgKQ6yiqKYbDQDypC6G+RFOzrwckf8Y4Vb5lV/s
1zZxrZ0mexv8bdaMwwmtzlJ/shdbOmWQN+1Q7KFHjctxRLpjfXAmvYz3cZla1hdLiPlrNveVDR0J
ea2PLWJa1kNtinTeuX0M8lVbzKpUu1FNzvpQrnppR6ai6BLaQ9XT2lrSbnhZ1ioxYaV0w799pYb+
XdPk9AyNXiZfZoFK9m7S4jV5L2cTh4MKYl2/W7mJVyDZoCN3btfbnzn3bfLgmMKg7I+UU1gQU1r7
2gUp/V65Rv1xMJjxu2Q2zOLgIBHdPYyutc57PysVcitGafnRZCECle/QzS+XoKkFojl6vqC/ghfy
+GXKpuV/eSvR0BHrWNrhlOt2+YJ1JrDWrjFneEHKcZIhKMGZ4WqFtKt6mCyTh4iXC9CIm62YM0J3
mToIN7phVB8hYqX+uxQ6X0U3QhfqmdJl6v6zdEIrfw6tUumjLlECPVo4V2nfDXeF2yKxqxOnxXDc
LoAVCXMG/pydp4d5xq/zgY5vd+qoj36zhwYr57qzEVyDTCUqMCuW8narnPXxkNd4l+xmBL7UUbdG
sPhVR+vklNtW1Z3cBpjmzkY7pgubUUnxYGWoNuxSEET1MS8J9k7C0BUvoMVneSL1Xv6Miz0az67S
If0IUC0/e83uPeoDttM/rG1fy71bDwkSPkbeTminmOvHLI4dLwTom2bP1kTB4cleB308EZOP+dHJ
URDapSBh0AqaNbXY0K8UcgZLa9UIvy1CtWiDdcXwqCpVxOFSWRLdiMZYq7AfY5EE42Dmaqec3IbS
YQs5BWs3IFnTOk4Ko6Atx/I0xGJSQdYWZv9g9qCndgWyysOeN6Vc2Cut1oUE7RJ8vJjyZHpxfcXn
TcDfqXDJPE89+r2zmAdMYBML1bRxlvs5nZLp2CQ2/Img9gdj+oBbdIc50RxrYu+bIL2+x5idDk/+
VHjfU5lrn5Bh8/0wi9u0fkqwOK4DrUSvNJAmLKiwWHv206YpV4WeM4k4WBOICOHUpHoXCrK2mCKw
o/IQx+lkCZ0SGgDBipWpAA65j1EjRZn39SLyT4beik+4w+f5hwQzMf1LP6+V+qCzXxCXLlzAwE5X
KDeoi26ofsC1HcbdBFRN7Ky5BLbbOYk3jrAn7XLpQxUj1BVklaHGY2rO3nfbjefmmCkLj2g9p+P9
S6bYe4KbhpLVUzecrZdSpuX/RrvV2+PUm0sJUlqbvgI7zouXxQUD996FEzA/DBQ9+s8IIPH9s8Fv
vnZiSvQdvCAf2Lg+lxJ+Q5q8z+W6agcfSbWfWAyX8Tsd98h0n3OO1a9l0meM2WqO++OEZiy8VYh/
w9MolxEINxjVJgTXX07HzaXU2cvB1ueAU8ISwsVJ/R9cw3FxhHE29oHcDCMfFje25EOcuv5w8EsP
YGnnOkn5L52N1gvlPCYG2oUrgpFi9nUk6igErk+ubJzyY9Y5ULyaZe6Nj46Yk/U4JpM2H8zCGL6t
sSvn9wlkmm6faW3Z7iY+5QBTc9H7fTW1q3rOiiSGWtgLE2BYkchBw09kFNZunEWNap/dN9YTT20M
XaWiLXlI7blQJ6wUrPaxVIOcowoBLvHeH9vCCvp0do2nYpyhsQymr4bIW2NjeSLots3fsWFjkq7M
yXyxu853vxStJ+pvMTVN7ZNepmMRlaOWDUG6Kns9VkY9POcrVOyDk0OE/YLR22B3oewWW+yceFpm
3nwVw0Vmm6D5h3qkB8kIpZl2p0EKqmAkeL3YJK3G5FC3KBMfqi4u5lANQhrPGJus68Gb27YJZZss
bKwVjuLRa0cHv8tyGZzv3Fiy+bWiTivcsNHKGnZRG9fTga6Y/OyKxVrCsfVi9zQI2gVcD8maRhxw
/aOzOo22H1UvjQe/113xE65Q2R/SnBrkga5CqZvBXIgk/ZAtaOwCaG/tkkaTJdaDssm0kZsj6UeE
LFl/pDZ06CEwllgUO7vn3oQrUDfde5/+7XACzm6+h1fS1r801SfxDrYRiS0W5/of2lekTbLw1uYB
QFiH35jMQBNDravtf6wsofmG/kbT70ruZlqmMNftgXVezfIPr083vfOFJ/xg6SsMJUSV67i1W64U
j0OeQ+PzF/ore7tB+i5AklTGAf0/m6IIppSEmLZY3dBvFuNza1c92m9DA5lrXT33OdEGJ48Wd83z
/VpaAnH2ShvavcbbqR0dfyGuyRvNGoKErzRH0BRNO+T/5JUfBDK3y8FTlDR3Tpf6GNetactJUvp4
tPJZfO0zjDE+uEuha8GSreZ3mSQy+5gLr+NYrgizcJshLTb87AS6X2nAHqmnT+skXP+Tj7gDbCG6
h+beK3uaFcjIo7eG5KXTHFdYnd8wg7KgT/EjY5771DXxbEyEgTL0IjaPr7pUX9DBA4DD/bs+IR9q
adHS5pnYSVhiwz/ZnDVJ6PdT/RMOVIz6LDCsXwqC068Zfsq6X/MNJDS7o8F9nMD+ge5n9MUhQy78
H/xFM7U3INHkL3aKfflTlVSdQXA4tUYTlDNMjN2W/OEtUS9N9jVXedF/rZHPhBZrTMgyKHRpoD/P
5vyBXmMOG2dRq/i0OAasiiDlHftiA0LvXhQJf7er6NHmUOP65blwU1nux2IZmnfzNCXjO1dok3qA
tqg9wWjAvS11ZV6yzKJ/GbTRokOcQ/s5NsMQu6EHskAL4eZCBiG65BdBEq8/JogtNh81bJSdo2cp
+zcS5uy2cUjr9H2cNgrHNoEM2ROlsGl9JDpe+4c2NjL1XHp5X4foZi/uMdZGffzlol73oVo3nUrs
kpz52Kx6Nn0wJ1n96w3eoEe9JfWvYvKt8bcfx52xr7F3WT55/KsumPs8Wb4tlYDaX85tduwITiMd
FQc7RJXEnondcu7KdmxHdZDVikjFYDQUSYJOtj3eP62HSubJRNQTcEUHrSUELR3z2Jpxk+0HTZif
E4/64kHVMgU6sHYWJjeIMnpuUAkLBudoeTlXti8aGZpeItMfZjp75icvtWX7dZBshgg5OdyMbP69
2CXDpukQgHGZqienL6sWYcG8ojbJZrU/Jtbo6s8NG6777CWtMe67uBbWsea2B4bhLPaBrNBEUqCA
9vJYV5BS8bCxsumxsPrCe4IqNDUPG5+o/VM6XVzuB+kJh/1cwpSc3Aod4xJZTXmEfAf0EucHVQbD
aBj1Afywa7w3RCfifZ2lMWqByCtq41OLxJtWBEpLKsQqVJKJf0svLuShkmqlOSSgSB5yCBAWUrvZ
yulJtE3dkBYTClgdV1oTqlzFz2PbWZ+SboDxZveZGt7he1s7USJw/Q0TTVTfUNxjw5W932iHOIYS
GUxwPZrj3Majel+miVuhjUlFDx2XyRrKj7ar4MUF0lGb4nsNXeHJr4p+/bjYjmS7CWVM3yqtRlUy
h9eYhnGSr34A0a7QgqZxMeZKeQqdzTc0+dnOc1yHxG3Ah+PVT3ezyTUULLok7OJxc+5Z5mz12fPE
0qegT/pKbkm+fNl7j+sqt6vY96lAmskx85FRVdIx3y0m0htoH3xsuhSxClEtA1Kz1lttbmiVgN2n
pkIxZWM4XRQ6EimnpjX7OAIyUgWNJ7Jn2CVY5uGW/vx6Ev1f7fFiqui30DChw4xY1KVYn/Dy2e2E
H0c9SrZ5oDwlfyXQMD41EHLdQBpt8bMp0nUOKt6YF79IND9cC5H9fv2H3FhyamI6NSTH3hpuF3NG
01JrAAaKCKnZJlBu0R346PKAtk1/gC49Rn5a4f2QDekOxufL66Nvf/rFKoBOpgSDWhwOdZdkBmSP
Ox7WMjlxwtbuIPvVhWlJSPNtRVcUIZ8KWta9+sXlmKQzYKI3Fg8IhStMviZmZXHvxhHccTI+N+4O
qyetZ2tBzEFq+nKnKnMFTWI8KuuAknAs1MBe8Hv+qsropP+cdnZVndGZ0O3W+i1LLtRcqWGHbV38
jgB9+pE78p4Q01XJcxvZ0+nsbxKDVMDPR86x4BoomFCnyZsiLFKxvIe8jpAz0m4/Xv+QV+W7bSh6
FLRRaQTSkDsfaqBnPNczHUAQmct3ePjVYeqd7lAhlHJMJekbADH0P14f9dbS8gVppFJ2p5lwsXl7
QiXpKdpMiV58K336S3mqHvVx/G02JLOQY4PCQQLj9VFvLCu0Gyri+DkhRnlZZhtGrRRkViLqXKnv
ZdwSB5auCmJcAP4/Q9FDoi66aSletovnHNZua88ictvY26NCI4MFUjX1hOSeeuhVUc8FTUo52ddA
bHD9XhQPHeFapRAj+tzdhHr1hPa7uWr1ncNwaxSKyVTGobVRB7rYJ6LRqppjwhejJLKrIYGFYJHu
dRRu7MbNCBJ0Gr7Imz/O+W5E0ShXhoeDb1aL/ItEm+FFsZLmqbfwjhXz7FGSQcHXeHh9Z9zYjxtN
haaJB46HS+18XH1tV0B8SX7SMH+DR9qVp3xUqKjYFgKYtcz3idLnlyKV3Z3zd70nqS1vuB4f5iCg
+ovWLrgFp1+og5wQtVZhX6Tqy0juHVIwugfyukbDcMbpCCHVB7xzu9rOZxmLBSE7VdQns/OxRcXC
tFA/EzUk2XOh9ZKqq5S6fUrBudsPOrXizwsJz3DovFii0uGYqESwETX59fXVv7EGhsvBZFdxMgHE
nP8ux9w6VYhKn3oNsw+6WlMSDLQiyXMJGw+vD3a9xbjoQDvQsdpwD1fHZZhNjX56cVpnE+GXYer9
YETL5FFBSER0xdTS6rnNq3i5s8euT5BBpROCKB1aUHuXezslXe57bBNPdduJTbODvICo5c0XD6P4
lCwNGsJwULfp//VomUWOhIqXlyekEcSXos7ivbmsI44L8b2L5/rQbDg+Dr3Fam7g/vOhBsyDISRT
lLSbVjvldW4dW5RmuCHWDr2fDDm+ElY2JYw330UMTIkQQzK6Tuzki4FLY4BZXpUnIxfjHpWqOWjL
JX5r39FlFFTdgJMSduAvfj6KO9lIdSAwdEIiwvnHrBC19My1+x57o3wryPO/oSCIboQvIljjfCiN
vIWDy1Cx3xsENXQaPK/45/WNv63KWcjGIPz5mgdfGBeaS8idh4JU33srn6sovQ+oCBvrDuACZeGi
AJLbeo19j/J6a8uTDACOAbfCxbr997824zDozrDMZXmq1Fr9mMdyfXRzJHHePjFwHFsPkha+fxkt
0dDSu6bOylM7ae4BKxJSn2XhHwORtzUV2tvHY0+AxqSKBbjo8iAvvdd6VZZWpyzDxXBdy68Dvc5A
FlPk6/m/r0/uxiEDcKax13kUN6/p8yW0R2eUiOaxNbxd5arm2FjlJyMlzWlNI95PXrtQVevu3CI3
PhygbZQBaD/h121evBSLn8i6QDPpVIjK+95OXIbsSnUvDLy++LecDW4QbBiQHpcRdqcPebGpnJ3M
Ag7sRC3/kNZm8Ti4611C7/aIXGx/YmRiCm/DsHiXJIp1payjLXF76hDJWYMK0VoZaDay8VT4XVxK
ZtoMn7W+HD6Awex/zl07qUiLExwbuLnzYQcFZPlUF4iGBdmc+ObDMvpm+dgXg2k8ePYq8JYh6hQ7
DCiqce9msph340pb4cQ72m4i4RyxQ0EC7XqBho7yeuQ12qy8p1HKX6nnyxyxWT5IWIAVWfbUFRCt
LMyuSU5NLRM3pD1YYVGY6emyR4qCPBslYyQAqabHxYMAeaKHNsxeD4znSkCBVFTfPEIEbu7kwTd2
iM/toJFwo8KLmuv5voy9wWKP5PXJpk/zHeU/9RG7mntupf9l0xdfjf4+ffcNcYRGxXY8/rpBdHae
V46yPqFCZbaPaDZ4/jfsSujOFiul9kAzEB090RCkTSfTbpZPRmYm1Q6++5LtGmcy/6BJ2c9HL+7b
jvrsotL9mrTVLwGT1o66HEj/DzlpqQxHCrBJ9Pr5vbHFofvD3tleEQBuF+e3QoM0pvZWn4QoxPeS
PTiBadP0/eII+81SF5D4SKtAp/A37ogXTxZmVs6ik62eMGAcH6TKk33mmu2Bjpi4M6/r7891hFYw
uRtpIyi68w/jDmj5mBTiuCFWx9yj4TuayBFVc3p4fQGvny0qS1R3GIwE9Qrm4eZ+rnsZV9FKXCzD
tiyxRchMMyhirJqofdLAeH3E60/G9U48TmDz31N5EY42SAT2xeKUp4ZzFqLQ1HDsaKRhF66Hrw91
fbtv0GzgZwA/wO5driLisFUfW0t10ruq3xnLu7qtQ8x2KA5u5WSsSKtNBjS+c73fWlN/48VpgJyI
SbcV+OtUlbi1JDiBVKckK/Ignbxd5pRWqHfWt4l7/s57eWOrGMDvkSJ3SSDBl5+PVm+I4jrzqhOh
QrqrBjN9tNLyzbQPio+Osw1BlA1B5+KgrYhx6eiPtSfEc/CfMqi2Am9BOZXPeeer3ZjQJpO9QdDh
5ZF9n09onBIkkMXYnqZKqQ+Z6ycPcYHFyut748ZHAv/Inw4cDY/rS2CVh+w39LKqPQ3tQeoTi1bn
c2Ap2jqmuLMhbsyIV15zN5zTBrO7yBpUSqjWILN3SqgGHTrwFod0KZdPr8/oOvXaqFOkXCwbAdQl
G2M2eVfj3GHdFjJcQvuCVpZewn2zG5zOlDa3YYFf0XpnJW8caIj/vIPAB2G0XOLgBrcba3Rj21Nf
9tpBAQsO7Er4O0wF3gw656mCdgSaZcsuQbifbw0z15LRG+LmlObzumvtTu7ybroXzNyYEOeWgJdk
kiLsZfV1TYFbrL3RnlYJBqlKOu9TBYD+aI658+YsiIdXB91HYg4f6NJrfUKAF++Rtjshaj3siWj8
sOpyK1x0rBVf3x43NiEq9xQBEMlBYOuyZrZhqMd8arqTiaShBcLdF/5+MbvxXpXp1kA8jpu8Fq4c
aKCcfySlsilHsLw74QCZI3UxQxMT4l4mfmsUHxQz7xYMeKC456OU5WJNvkQ7DiVY7X0qVsND1xFI
251lu74n4AdCsgSfuN1Jl/yeZqgQblXGePLjPHEfTLWg9JxpMpn3i/BR1ssWt7sX1lxPjqCPFwTX
B6SMSLvOJ4d9J93VpRlPw+CXp4lYgUZP02TFnTDjeqdvzqwY+pCBA22/PLq9J/uhUtp4QhC7O1Ck
HwM4ZUMIefxedfjWlIiPHdfnL3AR20/561EcDGekEu6MgBzS/DCZhkJrRdzjvtyckLO995BFeKgu
Fg42mgv8MZlOpT5X74QL0gDFWdvEiUDA7X79RF1fuORw9ma9hHsESjwXt9Fk2vnQAyY6Tc5QF7s5
mX33YA6C5MF2yzE7UX43/ONSVsmHt49MZgDznm4gj+S2af9azNVysKHpVvFQdGbthDX6s/XRanxw
LMsC1umpl/jA7QxHTfXh9aGvY6qtjMKGo7mA0sulioNuydTzsqKPEJ7oA7c21y96aiOku2rJw0qD
/kPvmH0I3i++s9zXO4iXE1lCDoYFDe6SxdKb3dCpqhiiUXTWMW8HXjYju4d7vj7vrCk31/akbTn6
xb2ilN5KkJ1DVGjZpymv8K2t2u9e2vxx7CF+eH0xr7crjJINhLr51FM7uhhMzyzgTJqDKlCfIb29
JsuhIK9AxUO/h/P/j2x2nuttY224eOqJMLYu9kySGXVsWSkSPV0yuLsuBROyQxV61Haqzaxig3qC
GdggPesOI0btiQbENH7a/P+w/wRCqMvASpUZ452ppERAG2jdIRMzDdIpMTfvzLmbwGXlbvLz9XX6
78K7/PHgBygok6JQy74413Pyf5ydx27cSLuGr4gAc9iyk9gKjrI83hAOYxYzi5m8+vNQZzPNbojQ
j1mMAQOurmKFL7xBTwZNVlXQZMkswJrWufHRNBBQOGRZ4VaxT7k9E7thLDPnHML8THZZY/TNPpZj
Cqw66Qm852pq+iM+1FF0SFuqJpk/Rrnm3ldqbZjVpxzlaf3FFCAdTkrtJr8svs7sp4LbE6cTMvB9
kglN80E6JdYTQAhsHAeq2dknHaOJfh/B7UVSDLxbgvFHlFXf316HW/uFIN/iQ6r02NYuSk1fqIBL
zBSmGjAXdcpeiBYs36mq98dAzlJ/w76bqJ8i1eoRRzM3NgYAzkG/FG/awexPGAwPWGJG8+HtSV2f
awf1AuTSEONkbuuaumw8j7ctLIKSh/gRdFC+z3Qne/ftQUi3tPQRtiNfWhOvSVaaynHxXe5GNduj
NRre6VWubdTOb3wgKKx07Slfkr6sRdlyBXCVJToZSEtk32tNn5M9Gu7pydLLMtsIvG8sHB3Jpcuy
NCRQF7t8BfpZK4xJExIpU/f7AqEMel75ja9zfR/CeFreGFIKervrOj0o8tICdVIH2CgNdwjbzjMy
3U0bB2qUmn9CW+nkBq3vehERpuRxISomMr4i3MGQRAi64okRWSK+jrU5IFCpeB1G3kSWw8YnuzHB
5VVBswOpQDLC1U43BimJHRclOFAlvZ9atqzBDaKgfowmU5hgzyda2W/v+VtTdGmRA/IgKLoiWevK
5MkWa5qgKqrqI8SN/nNWuvIhwb9jI1a43iWQ6nhj4L1Q4ebauNwlmZlXeHvMbWBilK35dZ66UOTq
ekqPb8/peiBcFCFWA6xAjeoKJqRomLzleLfCeWg1fzRS0KeRUb17PzIKioToXIAOMte9ZDePKDBb
ZhtgF/MzsuRJy8enoWrh23Tq+wv1S1xMEE7Fg9B1fWlI7HJVSygtXLI2+96BrT6ADR42EvfrzcAo
NKlpyCPjSI3x8guh7wQkVZVdMBRjcY8emuO7kT0ukMStXP3GN6JQypyIwznN6y6Vo2L8Q51gCIYq
VXbAMzD5XsD4794JdMG50AFOUI9Yg6dGpaD3YVLfR+8M2xS8Qj8o2jxvBE9Xc1naecvlhNTJ8olW
y5ZAZXJ6AXi9xBPgqVUXL/umdDcuo6vrAWIqhwaYEG2KhWB6+XHMLPZivRuGIDUc6iedph7wGMPB
RMni04AZvf/22t0cD90FUgo6YMY6vlZVRL0M1GIC7Me8z1TYh0M5jNWfXhfpSdFCWDNvD3gV0DNB
BDMWwtoSIDqr+69WMhwKPGMILDmZhzgSd+Mcfx8H7UQK+kEL9Yc5N7fCi9uDcrJ0tuIy+OWqojcv
1Wq2+Xaq+t1z5h0NxtpvKkxhhIgL32mbD0M+bISR2jKXizBymStFA7IH0ENEApfDYpqWNHpdjkEd
Ad7vNXU/92A7m1xP78NWUT5jitJ/HYsiBtmZ1+ZnW5rmnzG0nt9e86vMkd9B1vj/Ff5F6vnyd2TJ
JMFm22MQFaaNwG4n808K7eVo14ZasVCcCuUTtFyyj7cHvrW7EPd4JeZTJHRWZ0YbO8pDujcGXddP
OHHZvyTg2xp3Sb8tox9vD3Z1rzFLj9iRmhP3J4nb5SypudtDFyPtKCjDf+hwlgDXr9jfw9D68+6R
yEUBUMFY5d5Z68cOYYvn4Yzy54hvwxkvHahsnZYFY6/bh7eHur51GAmFFN4ehJKpP11OakYuNqtS
yPMewPYXp3PSn2ktrY0b9MbS0UWlJMcVvSgIr5ZOaDrGHkWiBtilJh+LKnPu81wJP+p9k2/EB9dD
6WSeYG2hyNJHW1c7STwzo2jUMXATZzgkYT3sRx2GkYjLdzOmKd6+CtiQT/CAr7M4ytOaM8IfCspe
9l+cLOxfCPXijYDu+nDxmPKNqM2gS0jB/fILVYMaxzKNpkCb5bTTpZs8R/Ei+9YbylHrYlDcQKA2
HqNbqwjW81V5CG3wtTUDfD53Gs18CuII8KMHE+lbz6r7ShnNz+/dgXQEEV5cOvrgndbFnyid6kaD
AxfEtMDvshbMLALh4/7tUW5OyCVYWLTUkcBYraLWvYr1aFOA/PPXCfm/A6g2SK84hWyMdH2iQDyi
kgo8jTibm/nye8V65jhiMqYgHesZ5y0v9I0WVtjb87m++QgSQOdhwkqMfwX6nXGQHW2vmANa3l/K
tgpaOp9+Mcm/FVqG/8tgHN0F9cu01rz2OtNKN4SYFnidOyF24czOVxMIMHwnuKJnj2BP3+gk3Jwf
T+kSq7y6z1+u4sKmtIt+mIPRheK3q+x63EkVqov09AYoVzFtzPF6g5gazSwg43w09snqsyGC704T
aI/ADYs60NAJP3aeh+lY7U0bAK6bQ4ERA1iFmiXF/su5DQ3+q+48WcFC4z+RufzFSHA8cEPVG5O6
3otMCrUXZ+E8LE2My5GacgpDVyLjqDtKfIyLzkS7iQrr23vxxnwW+MBSJ6BVh7bR5SjxVPRaZ5Yu
CS6uR31eKz/NHN4RRpfWy9tDXW8LFo3sD7yRS9dsrW2UZl1j5QXqdpVpgUXrcojjmWFEBw3XKJwp
PeX57QFvrCCiEYu/MYJotJxXEUZtzB42DaYdzEriPEYzGIZ2NoeN3X5rFJdLg9vdef1elyto1VAL
MZFyAqN1C25Zryh+qGmabdzqN4ahWLpsumXt6KteDhPXbko0arrBlMXRQekyDI/pRb9/0y0X7SK6
RsUIdMTlKEnhtThYpmGgxZjXp7n0Dh0h3MamuzEX7tfFW4cCOuOsPkxZaGLxxHNJ/Sbxx8pn94Oa
RunGUb09Cptb597j2VgdIJmIWmut1MUCeWofnaz09hE62Buf/8YBWkII8CMkzpTZVuXgaExaB06m
G6gIqCGHJ7VHBEkxNx3TLWHX14fuMmegvMYzSNlBJbhcywrZRVIpUY4whEYmFDUPiF/6rXSAkIDX
7lztW+ZAis59FW/cPin3rMsOvQcsOhIEOKcvAnc7Zfo2uV/Vqdnl4rFV4H/Y+VehvIQyuXM8jOuk
Mf6olT9vH8Xrs0/guFyaVBBIX9evUOdESYezQsi3AElpZFV8Hio92hmViRZ42G95Klx/e8Zjb71W
0zj+q5CBNFXppwQGUWm4I5ZHRbmnM7UF6ln26eX3AGRPYZC6AhU0SsaXpwWblxb6zoxUYFP1AREZ
HYcYXrsP09n7CPYsPRttLR8wxCteyLKGDbW4G6vKyBxWSq8LO2u1w4G9ljZWANGZ7oII0NfAqBjr
xT3xWsyTlGzp/F5T4qhaW+w/GBtL42YtGK02se6gCRedU1dM41/NxY74ISpAxe4sjBa7U7ogFu5m
XhplP8HU/GNZ+QJsEWbmHt69pYCFL3Vgskfe/tXk4y6BY11m4owbqrrvzUE/a4kCawSlWXwQvf3b
wy07ZvWtuRLpNNJ/p/G8hhLUKOTRuRF1AOc+PrRabQbjOOj3nkzkHcDQ5M615+Hb24Nef2D0zKHe
kazQAKEsfLnBMBl0ktb22gAH0ppjHyNGDBHRiZ0AWy2U7NJybrYa19zEV3MlBzMWjsyCWLsySgrF
oo1MFzWIms5VdjFi2f2urpuhObySER76vpyfXc2Qzi4fVJl8n722sw82PMEPbU/dGjUoFe/QQmC0
kHIfiTDNuYGAuVC8quAepzEq1Tuodrn1HM9VWPpdRMDzpOm9Uft2B28okE1npp/qKSuV74VC64Je
9mh1i/92iSsbxub1frDirvydjV3k0AwQTURGV3V5uRchrNovk47PNy6pCvVYJ2v6/KAOruiwlUWJ
+2jBnnpWhtatv1uxSNMDTgSOd7Blp7one1yUPJATqP/U0Hfjo4wgLN6nYd8n/EwHJpnaew50r3DU
cWM0tBfoINglonjTfY7ToeswKiwbXHP7JNPSHfieuTzpcauq/yimNih3WjXPDZKmStV/000yxdQP
o8xTD1UTptpLMnju+CQkecQfLJ1T5APyaBrTv4MR1uJBb1CKuY/mDlnUTMvqYafHNjIdcZ9F35I0
Edopzedc7NxMAk+ikmOn6r1QS5eO6ZhMycjYKQpOzmF0s9g4OqnjVEHXO6P4kqplFAmMUt0UzwJs
UWvI5ARPPtg7bfjgeZnOUfDGVO7GPoZBWFPN1U9eUjnOHdNOu53RqnH1MZzbVF9kRovmpZOZ4iFF
oc/VHX5B4b9Saef8Bcp+9K+NJok4xCi4R49VpblhtTOKEK730GQQ+7OuRMuioVCFNFRXNtLv485S
DyHNYEypy9YwUURpVPW5IchtvwInibQvE7Xl+DNo4bYPDGtqEFZC7Br/8a5EAkYkudMdYrCh8mOf
pf2P2UBD+pE3rPd2AlWgaJ+omTfT0B3QusIuN6z3XYYYx6GxiiQ+YbTZjfcT2gQWug/FVB351Owx
Q+fuuzPmsrb3dTra4pw6STocVdbewe1byZ0ftLK96F85al2y1wbLk9BbshoOaKHm5QfZxKLcz+4g
8ztZOU36oApV/wd7ezt9qnW8mYOyHSXskUbgxN0JxJGfpJDw9pGLydpdGSra596c3PohTlAe2WWD
3ltPOp+dNmCLGsODoyf2I/pQuE5LTDybh4jep3ZEQrB3Pk/Q8MRzjP179iH2ALnswQbJ9ruMpvwJ
BXbESnIWqj2VjhYpZ9EncL1RVbG1b4Vbuz9S5EbQVM6ROHtSVGASR0FjZDqltT2hqaK7oa76RWLk
w8EweT21oMNY1Hiuu1rEXwdLmbQPVlghQprCAsSDtUKoL1Z8PJEmHS9SrGiOo4djuk9ZSobn0UE0
ajfHaGU/lsogX2JqVKHhh0aePFap1jyMQ9kjEJ7j0Xty6tawFN+F6vedVn44lnBIMq/PfCTLuPL2
6CuJ6DMJWBTjARynlbc3I8Vpjg3uqk25OJYqzFqJ0vBogDJTn6aM29kPw7wLg4na+AtoeTdGlsqz
vhFoo/IP4HFAd0j0ur2DZ6xQ5xTS9fYj9Uq5HxWktNBCyeuJ45h2I7YoXokimzPhEqbhe4shtGth
tt3KwQlcbHq9+0EV1b+GYJvfp6iPlT8lJTw3UAzcWL9bU5r80YUZJ9/h/YT1faON/W8YcS6+yQhH
ef6gVqq7U9yoN/ezFU3uqefRV87xiI3Rk+qNkREIybf9bPX4HZyUxHByv9AiKV6i0aIyh+dnPe5r
NDEkQjlGawZqits9UDunyB9VHswJL5DBmiGxtDGaqKJsh91QRdW8d7rRNT+IOR5+g6HsX/qhbdSn
PndTFyk2JBr9Ii6m/u/bT+qNGAb1+6W0zKYFNLQGH8qEbS7K2YA1n6gH+FjjXpnN4hFvIBEYqKue
0JAy8Rfq68felEi/uEi0vf0jXpHQl9EEdAoLTD2XC7WgdSQPiq6WpTCNIG0jvCPHOUrzA/EM3Kmh
x1944nPa97JroP8MORnUV0OTTvVNy5XpI5dRIfdFPHdIfBhzjSU8juIpbtxSd4pEHLCLzgzH52AW
3dl1mw4ZCZAwzR895awOY+F2x7BpeuUAkmbEiBvylnlkB3jfJmnUPOpOApjLH7umLXdVh3TbsYbV
oBcoW9FHq319NHH69u2od37ngxbOH0xa88N7Q7xFjxGOI4DvVx/AVYinIJoXz30Rnwskx42dwvNf
+5xf4Z6mtkL5rLPHTA3e/jZXqQODLgQ9INkkwrRnLmOuCHjdjApTfG4irT/MCh7OZcnN9T+MAmoO
jh50bqrEl6PIairm2THis5OJ4cGtKWWmVmNtzOUqaAWNQba49AaAWpEqXI4y9JgNmk5pEsjpFhEA
HBisovXswUqU5kzQ6gXs9S3fo+sVXEZdAIFYCNB0XaXEvUddAq0uM5AIwZWoB+G14kO0GDfKCLdm
B8MRyQZalHRAlr//D/QwNSgZ4cliBQBBuv7Ae9rFn3ucj42dXpUT+Boja/v7XhpKu5ENXAXmCCmg
HskUybs4fqspWhKVMnYjUjBz/LvLh4e67n95qfNXiHDL9/D2WEtZBoYXEiDL3/9nmrKYrKqj+RzU
8NYQUQrD5hTPqocDhYECAJXq7+/dm0wOAbWFW0Hrdw24QhRusnSFyQ15W+28xe8c6UG5cQeaN7bJ
wqnANoq7cCGYXc5rqGMnLAvdC0obZu8Bwpep+4UOsGxnWYjV7SZ0Get7C7XNbO+Wzcybnk1Q8jDV
Uu5lHOviromtyNyLTFgx9DkPR/KDNcux34dOXUz3pi1jJK4Sp3cDa/FAs3d6mCOopmSNG39rOZr2
UUeq8hnxtwHarxo1845oxWieNWS12mcvHqPwVNEi7jCV76MmsMo0bpE3tJ10n4MtJWIm8UOHBgcc
pBHryFV3QK7ylt+TKdO50mZIt9kolerOCuNkPqCdF75UtpL1vtd5Y/zeGh54rwUoAlgAAAzIpct1
TYQwsYZXkQ9F9Cje2ejDweZHcnMDjnD9/RiH2sNSLgScukbzRKOmd1JHXV2zmyTwWiu7R3Gt3Nom
/NqLl3KZDWAAyp7EQajGX87GIAWAgIDgEBKt410m3HhnGt3WeV5ekqtRkBhe6rgU2NbWwLKuBTk/
exFEUvEiEek9mHHYfioNT2zcydfLtsQdCzeVau4CJL2c0Miatai3iXNlFNmzrvdyPDoxKrwbj+fy
mS+nBAVVR70IHRQVdNfyO/5zbUzm0OnloCTnmS4NfokaZIs9YSM04qY258mv4brhkuUone1nad5u
8EaXD3M5/itlfwEgsjloE16Ob1i4fRc1JT9cAccdyrnoHTvxnWt0z27Wb72n1x8Q92MqJCpRFZWS
dXkcUmhTdAUSPqGUPzU1G44FLCF/tkCjv/d2XFwiCUlouy9iVKuX246wCKaTS5SfxZTa8vxfqxje
DVviX4ZxS7Gf/gRAttX74thlrNexolDUi0lr+pEAWvbvprcxyms1GZcVm0La6qboEseVTjZF56gY
s1/ACcrzaGVbGkfXG55iP8Ugx0OHmhLIapQEnAUJuxOd1TSjTl2UoReIxt5y0ryxAxZ9cq4j2kuE
1KthoqnumnTKxVkphPnJmg0jwGxrPLt9rO/f3gK3hkKJi8or1cAFGHG5tZM26+aiccUZedFhp9Ji
PyJkmzwhOVNt7LbXjXt5jNyFOW8uBxli1CuO6D/HuDYadBw1WLFDUpr9vvPMqvfrouLKzayO4jZw
5Tr7WRdaotm+pqHI6I9ZC3HQEhNqvrPliuyhBXWQ3cs5irWjPRdwzQs8YPTAGNJebFSlb3xvfi6n
EfVxrrl1bgPQuGzbSkvOnUkN8U6jLm3cdXNN2vn2Z7geaIlSADjowGx4iVZf3Dbzua7TKDvXblOS
I+TpR8uLtwysru+xZfnpuJGG0HhZ5wNpauK6gRbDucvU6AnByMUvuekRttVg1qJhGsqNm/vWvEAT
IqUBTpZmyerwm5ioJlioQtrtZmS5kOCND3GYmO+/ZDywlwvOmE0M2n21fnWC96wROzD7qc+fqf4F
0ArkxjNwfVboi0BfWUJKHeGq1ftde9LRSrMrz/pIcr2r3TFB8qvTu08q+Nktn7bl5F2elkVVhTuG
0NWhvaVfnszUmacubuEGu+VkPlWwEWYq5Z2SoxZSI7iogabOfokhL0bQfSOlKO5ztA3evTGXhIsc
ATvpBdJ0+SscJWzIGSjYO40d+dacKQ9obCpf3z0KLxHoAPBSSxS9rPx/boaxjGUe2lYYyCjVHiGd
tD7OAvnG91ui8P+u6NJrRJIG4joPEnCE1YqGbqXm4QCDHGGLTp48eFXTXZSrfeqjODsPd8JFFtUv
rRCv3rcnuCzTauhl51CoITuAyrDaOqodOdimOVBsncRFJnbUqLlr+tCixu+I2hc8Vpo/xJ1KkE2/
dWP49TFk5hZkbCiClAIg8K3yk9Ed+inP8/Lc5qWya/Vh3OnqFG10qW+sLzeYulwsrzi+5Vf85yuS
HEdYqczlOZu06h8UkotiV7RNfxgt0hj0nbXdlMT2P+9dWlDPC3aQ2IyrZi1WMU4ITWtaUZ+hmv+b
1FP1Wcvz8aAuXeBwdpIT4KBh1za2++Xtga8XFQ1JUIRsKTQ+6G1dTndQMXRAPaM+x4aH6w/EwSfZ
lvrGpl3f2cu0aNJhbriUIciZL0eplHF2CrNqzji5tYFwacx1rTYcEz0bdpNpJKf3zsqgXeYRz4MA
QcBnNasuQ74MZHhxblTK61bbg5inHLsxq+vzAAEXLtQSfjKzNTgDjWrXFaorz1HThq2vWxRxd9K2
x3LvZNquV+/iearroO7ULSet11fu8iwu/HOagaSUQKfWojpVZSUdAiD1OexmPXrgT7+cKIuO5iIo
v9fAZSMC1siluFsXeuPbqTdVd0kbjfY5mas23ZEYa7oPFANfCmZIApR4EPwOyuTOydGzpy57nJcq
dOTD3+zFMe9QuXnS4mr6O7eT+Zvovy8p4LsJOr9ROCZBbWSWs1MthUIuArB1c6ixHc2gkmtxeApH
2WHdELXqc0uNnOJ6laOtBFazHX1Eq8thp6huGPkj1sTObghzw76fwswLH+ehtYsjN+pk7RprmDKf
Sypp7rqktTRU4AsdZWd43/XXETVu78kLMd/x406ns9fW8V/DGB3xb2nM7fzNUEyR3IEbqyTNOrwo
UUwT/ZcqN+riPCqIwu/zqPLM+6Ec1XBvyGgMA9XsMRBw8ZruH2hFGM9j6LFuZU6FYo/0gkEnQ8lQ
glUq2/oO0rVozmNT9N/Nxqj+6FKNrX2NfHW+S5tpmu5F5oLlTizS3HMBlO69soq8QPg1EZ7i0APE
a/0W2WXjRVooqTZn3nROUyx57abVnuXcqgFeA+VHWQOh8Cl5bxn3rAMMajSL5SVjLgcDTO/lWU+d
kuu7m+ozYW3ismb19FOv7EryNHhTP28Rca7vFiIlROKo3NKYJy68HK916ezaoWzOEi0y+1QNilU/
GHNup7tYSvuLKNKu3ah03pgjwgKICfIILvaeqzlGYKVwspshx2s8Rcg21r5ikK2lxvxejTWWk9mB
ONS40iACrR5dPSwnHnTI8ZnF+7D0w+SdRErppay8ChcGL+2Ob1+eNxYUlWULuA7CkAty/nJBc+it
80yt/SxUgIggRaHc7SxRF8YhjMzG4+ktrS0NgBsr+qpUw3oijgMh7XLQiUaqLhqnPycuNu5+rKnh
QW1bJJRSSHYbGdH1DO3Xx4jtsjgVrwVerEK4pHHjcCbuzT6RBmNIDvPhBBdu+NilyVbkcmO8RasJ
4icirqztKv4M0xERNF2fz72py8iPc4x8/E6Fs+7PIu9pGjV5uIVXvV5RfDHh9fEfMSmsrssVpYuo
4PzTq+fBssunbCyyU2FH4mfNLb2R+N0aiqQM7SbAOLCuVs+73uitiTmDfkZPPv5RKs2IoDoN/HNt
Fd1GwHI9lrOwZxeVErqFYN0vpyWk1nfUaIzzbAxdQFij3YseK6fBQWrsvQeBcIXgh4IP0RGKL5dD
mXJCYSQWNrIoWUja0E0PRa2nn2e9FQdk7Np3jweSlJtsETBYNBtXeWY5CXTMTcU+Y2uS+IpAaCNP
9WOl65/BsTQbd9irtuVlCLHEDuREFOkWEtsqk+isQWgKEJVz0qO9t0NXoM92WVhlyuewz8IRTFDY
qNSrUwrjoxahEz2aZhmdFBUXvW9iVMvxSO3X+fX2si/LuvpdOso60BcoVtOuWm1cSnCp1hWoDowt
tgQ5DjVHXXGijWo57ZrrcSjL0xSjPgkTaS3wiMJCw1vVCnatAN1ULmKEdzY2CMaXTiYNrc26tXHu
KHAAb09TCOhq30C1m+hy2LL6OThGNh/SquqcPeIJhvqpbV2MEkXhDl/LOXP159RNM2PP3pK4v6ja
aB0HO3Np89KhUHb0j+zqvuqKEErDGBfyRzs0avWYGSKMjtxRabmP9Nb9iCdw4h3CxSjp2aYT/UBX
mLtDR61cxbcBcfIH+islVm0I9A33qWfK7J4ApTyXQLnoJxP4Kzv8qNzn3BnGXyRnYGmminb+PtXd
wfRpisb2DmxGZPiYkeDiUY+G9afJQunegZzNwU4V84AzRFRDP63dTJn3ArvO7E9mYjDxJ436uQt6
YaThnsa4YZ7zEDDgce4Ed7jaJfn8b1nhZ/QBBiPQYoFcY340wFLIX00m8vjUqXnOOxNyOaNtH2LO
1VKQj3nyIOf0QQbXO8LlXa+SIfIRJMvaO5J6s9onWm5+cMqkaz8MsWe/GE5RT0e8xmnkp4gSKEdr
9BBeEWA5XKQKqpAepO2E4b42cvEJG7zCuwe9gyuPrNHAxtkoGsm/ZucbFais2mWEOs2B5NPJAydM
GxMnwqGUh7AbNPWhzdTQOsBvBnomUKCA2eHIHJtMpzEctCKlaMNj4anNEzZ+yA8CXVO0Yw9b6zca
p8qwk0S06gMddyuCOurh3lU0E045qqvM80ER9Mn2izPIL2uQmjypeia/TdjteOecOuR3T6SmJPdP
dHEyci/TDjYWVPXzPEI72jg0rynN6mwC31+qrDY4CY7N5ZUYaWOpazMpTxIbKMrkelz+jLXFfdxC
/vjP6KKwfIhw/viti6S/N2I+r8Slxd5PEd2enWGlpXvsO9X7bKZGlNAYJizemZmpfXM6hXJ0FaKH
ErjFwGFBqqYNT16jTe+VfKAGBJaAkBFVNApu6yKiM7VzZFlleTbiPAesVNQfbEyoNhLEGzcMzVRr
oQlQswArfrlaWhP2qV1H1bk1QQHbcy0OYSXrk1Fs0opuDcWEliR+qY2sM+wsdwRU3ak6W9NQYE3l
jB/nVNP+eIrtblRIbtzPzqveFQHiUtpb3c8yqYk3bE+ea28wH9Ek0Y7NUDp3730FaE8gwocuHmRc
HtrLteMe6zEDzOTZdMLiYXTL/BQTq747cllG4fMQ7y41tWVZ/1vtUUyrmYxEnqsxnj5EUa0Aq8zA
EKIVu3//hAwqS0sNi3vJWC1bHrWKpQtRn6tOyw9ubjd7QsKtUOz649DBJOUzIJhR61x79noKSkGp
NsrzPJYOrza9lj40xUbscB3QMorrEokZiJ4Dm7lcNoUCpFk3MVUjGpcPKBZPp0mDODnVen8vqOme
3r92nFNq/nQV+P9qvNACVQGErj4nNr5bWRkZh0rt641Z3Vo7E6Fiw1IXEup6Y7dTVnSgBpYvFCcH
2eWgPCtnCwN0fVIXwwE04tl2KsnA8iv+s+V4SoCu50nN29zZe9XpvLvC0/pdN5fhxoSuC1QMRcWU
a4HiKXfQ5VBGaxD9xAOfCbzWLu/Fi9snp3nQDF+d1ZGQpDCwX9M+v/21bs0QCUbqUwuFHw25y2Hb
zE6L0NZr6mJJskPkVMWhEm9WwtqtjXhrKBpbpKsMtxB7L4dSurnHRwA3U0uxcERDxJn20N7Jx2H/
9pxu7fjlXl0yKljw1uqisD2hmOOQ12e8rx8dtKwA48UdIpp5zo0RbqXDV21GkkWeDjR+4a0vqsKr
6y9vEyVuVMYbojR50OI2+xC5TneneHgEm1Ph7bOOMFMha34ZgOU/DaLEbxOH2u9h1ObHDlzDLjIg
wHky7XwrjJSNC/rVs/gyFqBdhTjlEqeDGFqD2cZm1DMlwZswzNtyPnpWSkzqpaoX70gTC8Dqap2E
R0uCZvddWQtlX9eW9yyaYfrpzqk9+EJxastPBrMcDpS/7dF3Io+LMdYtxLIKJmL7jTYPoz9CiW99
G9/IT3FLBrt3hsRKUP1pS7HxqZc9s56Xt5T/gQFSPF57NRMehq0KmPYs0XPauWLoDm2OKeO7N9QC
tkLFCHlP9tSqJhALV3FKq2zOU6i3e6MQ8WeJFA+mDXX5DzKnpNDvH5ALx2VMHCMo7FweFcC8s9WM
bnOOcHAAXozxZFKN5icdN+9/tSQMN2LFq6OpvRoMQTvmLuXWXt3ZkqwSSNLUny0X4rtv6BVX91xj
R7mze8f48vbsXkU9L74aoyz1P7T5XhlYqwNalk1oS5xyUeDWavVJ0n4e4BLI3APfZRaV5oth0t1d
DJ/cObS2tPJfWD+WaLSHk60FPKqjcz+1bqIdpEhS+3tfIuLmT6XM0TJu7BpXJKk54bwv27D3zrMI
MaYjFbBjHRQFSH553zfZCFe3RTf7UauVgXwmGjRMEzvReacqz7UuIC5uxb6ZIo/K+gRMWP04jlXY
/BYKKeOfAlNJ77kwSpIhU0WH+EEXdtp9GurW+WNpUfGDkvzS/wImj9pcnKXdPwnvJn720kg9P8Nq
NzwkduY8jSBUsi9GbCa/oAC4X82FFPTRm2bLeujmNhsfqpGy43tvf7g2YFdouAKn5hwtx+s/79sI
fwXcT6+dJViBg+e1vZ/FYPnQ49/igF1vMYZC8xfBlFedzdWWhjTlYjBsa+c8yZKvslCaPSU8WAad
kWQbUe/VA7CU0okQUXuCv0j2czmtaJwwpy5a7ayMpvXXG1oBxbN1zS9oHIpToVXm1o5eX0PcPwsg
Hem7RZt3Lb6hmK0Cum42zjHXhzyM09zEh3luko+NyLX3Cthz2xGKQCMkqaNTv649FTFbQ5aNdU7j
SN2jFur6tdoL31DHX2+fVLB11zNjIfGvcXnhUAFeXX2uGD0PQej5TASpiJ96O3r9J1udhvlAUQxO
Rjj1htg1WiubLzV0m5cZgc/+nMfwg3YDGxz+A1UtjEq72HtoCrOnWlC4TVU/6SC1PNdvlKKfP2rw
WWY/QhKk+IS5ZVzuilHaD5L6fQoaH+3B/awNie0rjjZB2JxTqBLp0GIQFMXIJviVGVUjtJQsSo4A
X6Z037AoxZErZtI/z1MpnL2rTa77qTNlhXpD2loGfIXcBabfZxjDtpyw5oE/FdlxVOxx/MSdH867
vrPgBqmybsJ/hOGKHygT0r6KxGwlx9DrB/WkI6Bu/8jV2DMAg3il8hnfQ9c6KJi9RkfLmoGuYkWZ
ejtJxx7v4Bk/+Ycyc+2fed/l4W4YRi/1k3mElmCRaP9VW9p63BNFa59wCSqGvRdbsRZoRtS3QAmm
hBgihwKg7RMnzxKc09oFrBpXuhL+C8lBM/24tEZ73xRoXB1zI4lj7K8n8RVjdMyU4bd5f+UwK/Nj
VlbZU4Wq6GeiGPyA83nKxCHrFOdHT/UP+l+IXIk/WD3ZSdcuHapYxO7vdFYnaiddMsf+PKmVfmzY
+lj3hor4jS5WmPsS7BFu1mUca/9EytCXB11knX1K6m52d14bq2JXulkGGRvbEdjWo62+EH603odM
R/TzcZi6tDy6WdIlgYs+0P9xdmY7cttcu74iAZqHU9XYane357Z9IiR2olmiRM1Xvx/1Bn6kVIUS
+kOCOEdmkSIXF9d6h/yoxui8YxnPQ3Hw9V6T9osV63F7MJXSw7M54UkF03NKoYXcPw5rhMxy8Gjw
8Q+AMvpl6xoBBHMBBdHm0SG8mYvEbTEYNmJXBQOQlzaNHt4+E64VrZ6cRgMXhl1fT80W9vDt/Xl5
gdIspxCIchrFEW7tywAH842uEpTKQLM6w/2EqXrsnbOZXGJndoYqTgr4D+3RFX1SkXw2WHBSQbF6
BLajKD20aTn2Lzivu8Upt8qwONWKiqnyIknT7GnCWbHf60IgqeWVys8iFJNB0bPPvKPA9LXf5W5b
vCZd379yOeN65nSyMPd96WXjTu0VVf9UV6LWP7VFZvxlR6gbH5UpLq1dlYuhPXNqjeTJFFw/GNlP
clL9tiw7UNeVVqcbuc31R6Opquo0ICCk8Ofq4nGLHpWiJseruMqczJ+sMnO+eDQdw4cRcsWMrQ4d
731SqEqGaXqDoIzfdYXV/ri/ea5SVa5XWN8AHcDbQexY5VgCnl6UmK0XjDgW7FrqXHR0zS05l+Vv
udwZZPdvXGv09KDirK6+0cOVrpKKF/RZr09H4KM4Rc4qFreutLIPhlkaxSHqQ+lspKzXy8wTkoSV
tG7hea+pYSXN/7Ep1eyxqfuernxybDVHQq5tHxh0xlxdlvtKTU6WaF/vr+xbC/dy0svY1MzI0N0F
PHZ5HLx4dDvAhdmj2oU9FV+9r38rrpp9ttMIiYcoUeW3tFKSV/AEoj+PbhyLnaKgNYF1UWV9mOia
/oRe4JXAhctB37vAeeUBoc1xeIo7tU2O93/x9V6gibFo4CzQKEC3qz0J+DnHoDjOH1HJ7TBYr8dT
Rn1+I1xd7wXeKx6tduRlAbmt4a/ULMw5UuricZZKOAYePMZvGjWn5GgnKmbT1cEbx+nj/ald517U
nHniA3iBek+b8fJb2KJVxaCX2SNeAc6hGm39h2OUCnGwTr+btqjeq4WJlQ99dwNC4EJLNK6Qbpll
JAP05EcNqRrhm0RoHFqVLT7djU/2ph+yiKYvtLBVqsxDOC4nd8gehYXI2tSB56uicQuscP3JqHJT
QaCOgDoDyevl6nn55EYzGIWlGj+dNRFNL710xMdJdvJTlif935bajt/e+8lYQJrB1J0ACyLKfjko
jQCz08OoeHTzrDklItJeXXSvfntKre2rXmgb6fn1UiJShyC1tmCC4RssT4X/vDpasifZ0Ux/BPEl
/GSm+EmaWezuz2r5Wy6DwuUoy0b9zyiZZtIbAoT4qCZm/GKDcUcaHV90Cebr5f5QV5RU4IeYvvIf
hOOosa4rQPGQttlsT/njUMjmXzvtPK7UuBUW/bW5y84NdvHh0RZ0qA5zasb1wbZlonyhsJS5u7DU
2Uhl4o34NeUFUPQicvpvli3Er6T18n8I6QbyERPtQEOasjmUaldPgNiQDHimfjYApek1pdlNed1F
fivNIt8VZRg5gNvoLe0rTZHGAY/t6i9FdLP81PVDGv2OcFAP/VDJu28YoY3pM0X7TZe8q+9AYdFa
JPyoo6M7faU1og0mELI4DhpSkr0Vo3shu0Y/CGGn7/3kb0O9ORzCZqHndfnJ6f0W+K1FcSDtxEFl
1ST/DOO/CvLn0/0vfvUsWkbiMgc1RSuM6vDlSFlipaZXQZiQOBz5YHnjV9uJrLOZ6tp+rKcOMsgw
PLqT12zE16vD8zYyZXxERsgi7NUcCzTr3UGwnKPVumdOmHpqwflu3Oa3RqFhgIgVzhRL+/Byfljm
QTmdC+XBjer2Wbhj/xRWqfPea5C5UFxHAHi5Dfn3cpQZ/KMC+lh5QG86ea6rUTzmrbWFyroxF4sO
AXFmuQUBvF2OAoWK9DjrUPrBNsA5JVUtPurgeezz/T1xFbsB5sKJp0Wl0VKD43Q5DtoZA4ocaRQo
ttr/Qnrf/YmzQYunQTdOzpehKmR/mq0s3Lrnb5wwUDaMCeOSP9b4Ul6kC6knVCDgNQvMLIkFNvNF
Q0mg8bxkI9jdWk6doiS5JYeZx+pqmhnv2BGUaSBbx+uPtMr0am9VNiHn/nreGojiBnJtKBSpRJDL
gUSYxUUehgzkYaaN8Ik802pOv71/FIrHbxyVpZyymg50TxSDiyEKOkf5x6v19JDp4RYT6Ua4oGf5
f4O4q+NEfIeBBzqXcGFPPwtPUmizwq4/Q3uO/6qT1tjVmp0RIk1e8u+f4AKyIqGAPHnVbVbpTPSd
WwEZFtI7OtyIfo07+MYr69bmJ2BAp0DFCFbMKiBGSHv0ddzEgeZM8lj1VbevxWerfka33jzmJMIb
07qx6W0UCBfKKUYvMFYudwftJQwvLTUJ9NA0//KMBt/VcbRn/UCDY9oyhLjxAclnKVsvOHXq8cte
/U8y0YwRxCzPTYIpofI1zEh/4IMp9n3u0b9RU+0cUrb9nqZxGm1M9MYxIGihE4vXC+j/K25eqdRS
y9DqguQwnFFx4OliVdHGqb6xnNg5kXDS84a9sG7h18gwtmkC8QxipXZSrfG3AXDsIJrEff98gOoh
EQshhlLKGmhRx1o3dJOTBqPX1c+ZKNVf4JHSjWD89oMv0j98nBfa39L8BrS1vifHllg5VWkKm8lR
8IOAbzbEB2ktnY3RdVBKIobT+JojQ7GiXd8q00jmBOyd3ueojHic14Pcd7pN6W2OB2Q3jdSlsKSj
K6buG1N42mMl4rbdh11LB0gF9/O9cr3y366oeyg3XmJ+mwFHmU9poySmP2NDPDe7qE8t+wtcdrLA
Iust/Wh7VtOe7cLI649lNhuvcaQC678fBq7eZVywcBCAQNNgwDJglQ4D6+cmjgYsVvEjRStHTnuJ
z6A/Kepz0hVb/MLr/UTqgfkSyQP1CLjhlwdGxHRMUmRVAlnCFVBTdGkwNcx9OPtbuJDrA8JQqK3R
VcSBiTfn5VAQGcO6EbCserRaj42VRydRlX/uL991fKN54aHoAM6RvbsWYG3Myg5zBRXUqXCTg+kN
8uegu/mHqqi0PTqww3MW91vKj29mTpebmP1LeW9BBnARrknGrZlNNXUNuA4yy23bzwYlks/6Ak95
UJJSprGfmYPnPWujHhcfUcgSJlBDS6KgUKpqGH/FqbRXvyupns0/y6pXnppsLnV/ZPcmO8rdzVfT
7KcP1Qi3ELKUi2JXJMtS+oMIdZSNzBK2n1rJ7EdWIXPrSxSJ+1McKcXW0/c6xELrX2QEqI6BJFoX
DkQzkCTaTRNYvSMsP3ar9nHSY/VTF7XTd7UX3alt03l4LOJJGhvh4hpgSybK0cBwjpqFRuy43ESa
nk25kfa0eE3E2PaDY0raRcas2J9F6nXZty7JhfxQZ7VbfWbpp+hB67LyHwDdsfFq13LSd2pCCfbz
/X13vbkXpy8o5uQ/VC/X6YlHxuq1riyCzqBeo09yftHQdfj3/ijXpxVWmQdymoYznbO1dUni9An4
LbiczgSE3xdARpPdGPGoPUM/nbe8Kq5j0YLNQGsaju7C3FstNnovujGHHCasg0V5MF2Fdo8FfFbs
5tgeX63MsH7fn+HNIfmsNpuLqLTG3Lkib0YPDeigwdVr1w6qfail2x+rUriHOs22zI9ujrdIFIEd
4lJdkwRtrBIK5MAISuMQimM6xOF3PSuLTzR+uWKShjbKxsV6Y0hqN3i3w6znAK2TzKpRNd45iQhA
SMuzEjfNTjea+IyderPPEN3ZyM9vbBoY6mjqkDeAfl1rpSBkJmTtxiIwp6w5alo+PQ1Z4zxKhOy2
jufyErwMhAuZleDOUSC5XPsW05kzR9XuQBjqEQiTtLMmB1aBa3+bEE/tglQK92NrDtVHYPn0PLKC
bbuz2tYsjolhoLFoObKdML6TQ3m4v7WurwbWgM4QiCPKAdD8LkNHIWWWUWotA7cuOmR5jYMs0vof
ClzFbmwoxuy7QYqNfPvW4v930CVu/CchRRlWzm0IC07F2+oo88Lba2WE8qaqVf/Ddyb5dN+UVCkR
Lj/lP0NNCOsbcGWgupuldiy5LwJdLbo99ulbuidvJen1dyanp5hLXQW6w3paNLtAt2hlEKKunviO
qiAbGRnh8Mz5ZXEbLHcqX++88N+pr9zxgz5P0U/ql2bjh3mevlcL2VsUMej0kcAsLZt1sqrEg1dr
ITR/gVakr7RU0eY2ea8fMqOAEloE7WCKg9VcZTCtYgwxcuFlMMsMo1HLlIA1nfp0f5/e2DKkEOqy
vCQwRMHL72gP5qwMSg2OOpLKGZ3rmcBXzkEXEnfvD3Xj1loqEqSU5CwqaeflUHSF5z42bejftPWB
KQgsuUVuvVMqYFk22LzUddC5WxCMl6NAjpISFQsEC4YaEX5FGM/dnMn9/bnAouPvWW1KiuO0tECu
0O5e18cLr3dCIMFDgDlVPv9MgLjPvwzoDvKDUURlXu1mhev7Ry4zpaDjm4haHtx+1vtdOWEJ+kWd
NQzUMLUZ+4OdxI1CpxWjyYdmUCb93yITxndAAFV6otqGw7yeZqq2MzqrjnZzGhtfVTPn1SJBkrhP
POZT1FztsdbcQ2PVgIlaPBXsc1yOWvPYWLztfQompUSRi3TlxVaauUp8K9USJ/JlDdwz9WWZKvFp
cvRI2+cT2qr7yu3NCiJLmc++01tNDg5Qtm3/S636yTl3VluUQaLkarLTUcwWJ9MaekJs2LcdZLy4
LnZTH4GBCHMgq6LXtfhzXxZOdWhJJD3f0KQVPWvcTd2uTNMp/xxFQLRKvx8TPfFTVR/7I9qydo93
SGiW57LOHft3KfSpgzXmTuIBBc3S/FwgNgZamkav8zu11MgOnLRSiwM8jCT8w2wba2dIN7TBi4SG
SgW+7BHaTjoPybAZqdyj4Gs9mVMkox9ubYuf4TBLitJZjQhpQ9m8PmGbOvyaKO2KveV1tumPQ4M/
uZOYSn2OTaVLPjkTSq5IOuIH2fgGlnz5CTlI/TXqR1jWvp2IdOr2COe2+h9oxEQtdNmQZJV97nzt
utmz0NxtwLCUDfooWVLiR+cWnYMXRmxLHNixf8uLp7nlzX4K1bDQfa2ax/pohGqt7LMuTJzv48Dd
7g+2IedPYD9rh5VCwGkHmnPSftYGVVy/N63k12wkpQ45qDfFAQke13md9LL7nKs5+jJt1sj5yVNj
mZ9atD/GA+6r3JS+0zVwp/2xbtP2IY0qpT2PmuiRdnY8IhV0TzadL4ATFL5BLjccsbrT/wyGPUff
75/CGxFlESOgrLq0qK66+CbbtigzRXAxpCj0y7lH6Tmqam8jiboRJBkHLOmC9qauv4opHkq6JfaU
dZCPGYxo5LuRSJ46yEI+NRKxhSy9MS26lryQYfUBKlk/eiCcDDo+iHUAVa3eq3EdftNh5GxwaK98
d4mUVOUo65Ag4rC3RsubIrTH2Ea2EriGF34CH9P+BF6ufc4BtrV/RXTk5hcy2WI+T6LE8bFKvZot
25edaz0II7Wyp2ly03rnCRrKQcNt2O6U1tFfkfHT5XM7DVO6ixq8cvd2YhY1j6Ew/CeJ+hx18lox
0q9WO6vxCzveaJ/Seba7hyYBsOmPVg8RVVVaNFERCnCTfQVHoXi4v3+WMu4qhi9W0MsOQv7hSnRS
azWvsc0J8Lkp9EUpHAmoNHJpCVoA0ZVMRQy2sMEfqbEBjc1S7D/3f8Dbp1z/AuoHsCJ49YB9Xe0s
C2LEtLgOBMg62NZ+nD3xEkolLfy8CXFd7uLMU3eTLqwPrq2k82NXzqLZG/2ka36VFTQHHVdpDB7f
UZnubKUNu0NhptLeoVJXx6cubJJfXT3OLwVw8y11oBuXoG2gu8utjjAigJrLyzZXccYaerL9EcyR
X1f9vkJSbBfJ5gPZrrWRq9zIqWnWsG0hrGiMu8pVMtR5NcSWUaZy5sa32NV7gYb9TOvGnOdHDtJG
W215cq6/Dhke2GcgXhStlun/J8nldRBXSZcRX7JJfdKNroSrKFtk7vP6jNuYGkzZ7IKMa+2NnXkj
BGDrg+QKBgm0j9dtI6W3I8TqcsFUqTfmqCnu67Dd4svcjGuQZWi10Yq9RoyVxoiSeCgCoyr7nSLx
iJzLRtm7ajpuhNBbE8LrgsI8ZkUU5ldLKTszov7PUJEbDrVvpKF2KjOz3/hiNzYkb0GES1AaMijI
rRo3I1RcFNssEXRx+ARBo/zRme4/BppmD+aYRfv7x/d6UpBjKB7ofCOe2OuShZuKFAU+R/Keb/KH
HKzq06jLaSNvvp7T0mWgPA6KiQbbmrlSRybAPFRXgnLMwr8XmXIgNHYunrXQDNWdEXrdr/vzuo6L
y+nimMF9pPS1rmv2GirhQzZ2gdoX9XjozLobzmXTF+ahz/Io8sELOPW5chxCpCVdo9tlSheGX+//
jOvzTpmeOfMsARZlrR16G1Wf1Eht2qAvU9xEc9V8Bl2s76jFvanTJT/j0J42Tt6t1V4E1rjmKRyj
93B55iNP78Oo01rII0M6BXWqduDUvFSJfPxah+gMglRsGR+/ZRCXkWZhyy+UeTyvQIyvygU1MKYu
g0QTcJPGymcv6RrlG4IUXfcRIlEffa28OZ6AoJXUqGAk424/a52ittBbwGTucs3sZqoMhfgF8NlL
fyR6A2C5wd01+jh0re2eeE6av9SwjRJYOxSFvyVmr3h7axD5+KyEU9Js1GdunA7Qd8hhc85IZ9Yy
JGGteHOPb0XgWlhb2EM+fyypXmycwesYvZSaQNcDjmKnvFXL/xOjWyjaOAZ1XVDz9NqXZAz1LiTx
6X1VGsmrVYz5MULo6bGLnez9bVQG5xGI2xvVNaQYLjdLbw9tNyqyC2aA8KeSoo9vO2hI3T8HNxaS
7imQCOArvDnX19CcKLSKYkaxc8UMjFErXlXRmRv54PVlsJTSF2VbVL4WdvXlXNzRi6oytljIMp2+
G3Y/PvE61M9GhT/E/zAhm+P1BpfhwX45VEysGHRpdkEP3xRZAwhntZHrx/9hFEqQS+kTHu26FClR
tIsLI+4D0tB+HwljQL222qoE3Pw4YCnB8YL9pl5zORedzaensegD5Le9Y6pN8oTXwPzz/lxufZyl
SedyswEwuoI9NFqTxq3bB3PRyE9tryfc2U4FesxSNgoo10NRboLRRj8Q/B+szMsJhV3lyDkdCP6d
Vj4Uppv9DqUOZYL23cZtfXMo0MF4TS2dxrXyL+zSqPckuCieBX8cWsB+bNXUBnplyyH0+ivB+aSU
9rbjgNiuvhLAqamtzGQRDEKZY1Kq3PfQKDnc/0rXd8f/R34BKCchvhIliPQxTPFQGYKu07t5X9BY
OcGzqNRPScSn5Z1Um+n+/pjXlyQZNYzqpYO7QJ1X9xV4e0gHOWO6UtofJ7uf/K6sF+MUPQtsw06O
ilttHa0bEwU1hWIQKuJkdOs+Oi4eqHnA8A9UowXOGCPam+Pq8Sl27fpDWOlb/oY3NgrPYXRpF9FM
pIhXk7SdCUJH7w6B0sFg6Wy8lbywio5p03vvvrV4efMy5sFP+Z6IeLn9M1RHIFoVYyBdvTrDYRgf
YJBuYX9uLSBUDZuuO1pB6rpKaZk9/IcsHoO6au0Kv5AM95yq05MpSHSn+1bMuf5+jMXCfaOSCd2O
ZHLdfS972r12WiPgnIGwDWFTIlqT5Wa2cV3d+liAbzjW6DwxudXHGs0qRb++HYPQqJogi2z9VBpo
2aMYVG9s/hvLSNZEmcRcRKtoOF1+LHui4REKTw2k0KxzPPXZPpau2CUEx2NvlN3GeDemRh2I0Ai+
HMT3uoHXWZVqNwh9Bio+C/9OuGAhIRha5SMPAGvjPr41NySyLHPhFVGaX37LfxIbWcmoZldowVhX
ysEt8e4uzLx4qWYU9OtwUyT5OpDQAKDCBSIMVp++Bvvkcd7WSkHbTM9c61ml5rnXyDd+lFlRPYSA
Tj/nE/pB96PXdVxemqG4K/DWNRd59stJViPYN+yghoCkWz1oqar4ER4Wx3ePwgN+gb2SR5MrrkCY
0F/SOSswqjXruZnOdIeQnkAwpO7f/coFDYICGGMACKEYezmd1sZZo2g41o3RwQHT7PDjrCjNe1Vp
QEmxajT+aSyqNFsvR8GXy0wLjNIC4ZLT8II39yFCzX5Vme8VZudOAcJOmRBcMQTGdQ5FTUqL4RmP
QQt83YcVWeI7o+U7x47F/7B2YDxcwu+i1L3u5uYVFeixVcdghl3ud6GSoQXhbF2X1yd4qeEyCIk7
CfUaIVhKVZvlhIo9213B33LQfCXpx5ONg8Th/q67NRRsfejs5B4UqFe7bnCt3HREPQfCcen6knnE
nQ95Y8hOPfjHP+8ezQSqgRbwImcJVeRyU3g69mEsl0qtykNqbLKLvRwG94hd43vl1NkUwKpQiCdc
gA9ZE8SlyGo5ZIMaNE3k7XVsI3eoW1XvXz6Ay5wh7kleVmvwTYtY9Ciw5QHiWIodfXa0cYtwPhmZ
siXveBWF6OXyPlgqObwW9DVTWzcgheBd5gQuZeq/xzFp92JIss/3v9D1KLBACK2girnwufYvv1A0
mFksGhQym1E2J+r+85PbCtiH94e52nYGjnSEUujMC/h7nVQPXe7mg5JRSljwLEXi4Q1q1JjkWNPW
Rri6ojhKDi9vGuH8Hyipyxl1RjE2veX1QZfK8KvdZ92+zWftNKl5e5Sy2gLTX0+No4u8KM13cE9o
xlyOB7cf+YlcGwIazMrZmPTUHzoRH0dNbpymWzPjPcKzZNHV5lxdjjTV0AAzSx2CFDPqAy0t2oTJ
WB2FVolXM662XsRvlYKLAtASlUiWFul52vHrqTmdOkcOxd4gbONoF8MGf3QKhOq6Kqw+uGC9fmbd
ZD2iaefBqta9E53Q4TQDmQtSHQ/BySjND4Y6bZ3Cq6yAVcYpA0VLjW9tOavCVJw4XdUZyhjkTjX5
s2nM+7Fqq+dYFMOuQXHti5O1W+zca+oUlTBuUAP8EK4g9GYul38UVl1DBtODjtq89zlMu6n4mhtQ
c79UFRSon5E7m/kRZLWpP1G3mFB4aWtXPg4x+s8HGbZWiAVPQ1LtNab24iFGZ+7AW5kz3ewCT9lB
F1H4u6Xc6vpUOXPlH1uJrDzDUnRUodIXadHs4kEm3rlNMrc+dHgElx86jFm81ymsRLonB66kz3Mv
V/4WSFfHflJz2vYo/MSRj+PEZPT7mupUuKsokjbvLQmwOuA1wOctJ+GKQkWNvehJZ4zARQJUBTyg
8x5KsA4ejTKVG0HlehswGEhwCFu81nm2XH6QMHekkc3OonXt2X8ZrVtHn+tmMMu9HllGeWpMK8wD
upbTFlHnqr7HNHkngeQgA6H8tUrxa6v0onTCTiNtXNM3vEyeccoFytZ1zZPs0MDcWbWQhyqzw8/3
I+l1wGai4Gx5WsPpYuqXk0YIuBhdUxhBhWTIDtZs/1DY1bRBfLwONYyCWhRuKODsGe1yFF3MY66H
iRnEkT6lvlfZWfOViqfwGA2eOtI1xTBupJA3viceSIB+MfegWLEuKVoKeqTTwKA8BaduN9toftFs
VEpzJ/RRaXc5YjYRqD3iz8P9Vb2eL9Ebs3NKS29eHqsPKgCzzNZgmgF4LdvYN1VaTXQ48RU4xGVc
hL7ZRHWzvz/o9c0BJGhhHFIkXtx/Vp/SczuAGdDAwTV57oOMTIaB0/+QFu6WMuX1hl266rxneGmb
oPRXl5RhjUlT081AYRPXY0MPX+pcfBtmNPzNPv4mFZycq97c2EXXe5Uy+6L+QALIM27tpr5IeAyp
Ae5lsoF6pHgc7fsuke8FGFIQAS+waGIuIkFrPj+eZiqsNSQmBseVu1EY0ak1I8sXSJVufLFr/j6v
KNIYbKHekto1zF2aOug30bhBoUZF/W878T7YZUCugKzQ63ZOgJ/D8FhEReLswyYyNDTOaUegyWIV
1mlMo0482Uao40XeUWU5l0ZIpkoUl1WOtIrAAqy1mjLboh4se+nyKl8qO8RLKkjAmNfdszH14ryo
Sy8A5yXHIFMHC24F7NBsnw+2ljyWrtCaHY65eNm4CsZTB9mV0bf7O/56QxAxEUZFgWjha64/1YDA
kQOlKwxSteq+R5lAww9Gytf7o1xD5BdkIiBIeshseS7ry+iluUO4QLTDAFlZDhXQMSy3LSvHmajo
KYee8Y9AEDezFvjHUOJb+dHtDNR7JhBe/YPSNf2D3mTKVmXoxvRdyr3YMVmA8+BKXP6uqsD3Y0be
ISimCEQCb2ZP+ENdDO8G6ywcjEXaACTyUi5fHfd2qpJIYKv7iCRsttNG2Z2UGqGX++t8FTQ5A/CW
FqQFpRkqDJfTiYa8wqpEUFigFfzi1bE8CwjMz5pTtI+43bdbpgxXUYwB0SYBWUUniPfEalrkucpc
KpQjzaHznuIWT58TqlWi8qekRe26csrsX7OZJ3SA2Fwbcebq69FSB7LOjc/3Wxh9l9NFUTgLlQp8
BWbvpN8lXVk0Wrys3EhrbiwrNxF57SIFg1Dt6u6tyiKju5pTz2vjWTnmuhlKX0/76gm9udg4WkY8
bt0P13BmJEoR6qLF/tbNW9dh0QvFsntC138c0rHfNWVaZ4eyj71PrjY6mu+6XfRvjuceMD0wd3tg
kcL1saBOX2P68eH+/ta6sdYL8wvHX5f+FTZzl2udSRE7BZlmYNgSDoLVxw9hbInz/VGW/XIRFJk0
mqwL0pgYjL3c5Sij0sPDlKUWyFBm51Yg/tEkoRdobL+NzXNj61JUX1groHK5Q1ZHPyxnWdCp14Jh
VPt9YqcOYioWktTKWOzM0jH2oaZOL40dbRHkb00SlCBsUNgdDL3KMlJ7MCKvaZCYQ1bpCdjv9LKw
0H6X9tC/976HEMVjkXQGsMuiGHO5nkU7SRC+mhY0YFjP4Aecs56X+QYB9MbeoLNOl4jy80JkXxWV
FCRTap4xnI9UiFPS6H9bMjQ2NuCN78WuI84s9RcadKvvlcjIqRKFx15k9/ohkrp4BNkK9s1obelP
me58yXEMOpSRHDfC6s2hSYEXDYDFqGC197GdKZTQiPQF4JV/FAWS7nZWaN/mzu5fVdyRMDfyQpDD
9pby4Y3Ig//TohkD8ooK+Oo8hI3VJkM4a0EZmv1TlMj42Ldt8hMBarxd5/q9roHczjzjQVpQBYeq
uPYTAgSmaYtuPcr8jvapUOpur851ivNiD1bw/lm/tWuWKjg7ho4kchGXe7NuI5XSK24iEaYl+7TI
4mMVk/3cH+VNEWYVUqjXGdRX4Qdyy6+uKDmFNlBmUw/ssHocEVHJhfJgxMoHVY2+FYp1UHvnn9ow
P3ax95fWuD4GGYfOMqC3lrqzi+0tfOKteYMDo45Ip5JX1foHaSPuaGWq07Fpy53dhtljAZX3fH/e
N4IM1+JSGOElTplvlQooIo27WdTISqZF8aXLoiyI0sQ6zM28BW+5tUkXKh6oeRb6yoVNVeuuTh2G
UmHx/02Fqg+MeLa/hXGYPmSh1773aUgnDxgPySTxk5CzOo55qKjm7GZmIIuueKFAn+09FAh3laKG
R9WunfcH0aW4RVkLnVHo56t4raWNFmFtpwc4N8+4vxr6PlHNdwvQMCsAIqCUaBjy9l19sMbu5gTO
A4UaR5Eom2rpftbRRUbTaUvk+sYORJwenLrKv8t5vzx5QjdCaGZ468SyrD8PThSdhTtUG1FTWy6X
1cmjqQGii5jJ++yqs9HXg5lHqhFEc+ud6EeEkCfL8GUqpr70gQu2DfI3RuwrFfyNrO/Cw6Djw3H/
INzYnRwA8gluXKLXWtVubqiZVhXamvnIU4hKqQwDBRYHMJ/Bw5nUTLfk2G8tL4q4JjEHzfKrbtg4
GY1WITEKKjCc9lbq6rtStPPx/ryW5Ha9umBVliI3b7cr9fXeaURq6JEZWNbwxxbK13qynuhJfOK6
/+Im06f7w729R1fjvaE4eMgAduYxd7lpnKLQjSkSFlgE5CpPCE71yQPvp3nYtxQz4n0+p2jNO2Mm
Hni5ReppiPDt22VzI8rfVpwW9oPids0nEfWW+QXAXeLuw7FPlJ0mFMM9OcrgvLRwnpYsNhlxmyjt
XA9aRc31X32eIlREstwlT3JKMg/PRcP7atnzJHYizsmcJM6v7UM462p2mmJpQQ9Qerc4w/vvWx/q
etL/MOrJxP9G9opCnA/nah+P0vwhhjx3D6Outu7eaBQT2CSMJtiwiI+7e73haeCnCiqxvunEOhpb
oxN+58u3v7UiH6N9VhdpfDDCFHVGElvUtAZB3eqYg7jJ/SnMii+uE+p/JmrQw67XzanYjxjU8HRQ
Q+WHLaCnvliqiPSnKi5koEeOKHddbTbf4ykMxc6I1c710ew18nPNO+WnUFQqEnZbmLE/ESfhP2lK
9idX+z47Dcmo/+5DOGM7GEONR+AaUF8tCi/7FeUeLM9aLwp1jwVb52wctxub3wbjT7Ky6Bpf1bXo
2WJtUyBn3PYgS0vhAPwZ7Hl/fzfeGmXhpLDG1ESvksGqpLrvDWz+SNEtX52gRSvmtKUTc2sUbmoy
L97sPExWIbkHPuHMQImCRnbx3uhH5zCG/Za3wa1RwB3yqCK7XERULg/WwM3iuUrIXCy1/zqr2fCj
6LPocH/F3rRK1+d3YY9gM8hnuYoXI+XFBo8hapulibzytDTHnipeKRSuETLR93ieAYyRdkwqO3eo
WO5TvA7/YKApjb2WOrn85gi9+6NSo0m3ft2NuwJ+JFFz6eOqgHQuFyGeKiBVIbhVG23a19JqtM9T
qjgOaiOWgZ9pKlV/ESr6e2qG7EhPbgpoNWw99G99CiTgwNEvumJXFOLWLshlELsN9KbQniHfx7/Q
GrA2ygk3UjN6kyjaoRVB4WKN4p5dU6FkQgJI2Pk9pWF06jn7u7zru41lvTEfBFSoOMENWVBxq8wF
0gEAkzrUg3gcIKRZpbsrFEdu3ES3RnE5iZwTyD0clstv11tWVhJw9SDpNHCEBdy3oSJc3d/AN+47
YK3/N8o1uG9A+bcZ9KCohv5JZIX9BYaZ7hdDMj9qtRRf877aenTenJoJ9Yp8ySODWL1Ruiibi1gW
TK1yO1+R3niuS8faWMAbGwIgKFCxJWOg6LGKM5ESt6ZejUaQhpa+HyLvh6pOxj6psnhjEZdjtAoC
qE1SEHBsXursvstPhUtbajcA12CLA8ZU6tyeDu3kZvLYyzJ7sWvlSxnPzWPahObr/e93YykZmtmx
49kj611iuDxmc7qAQcMD+pATwg/YJWwVJK+pcktxgMkh1EEGRk3ycoa1MqVj5eVmkEfNx9DS/u0L
V4Em1x1dxfrbS5J9qrw6tfJMMPwy0w5FyUb/5IIW8Umy9jRgKz/qhs+JnD61jT3vtHnr/N9aCS5I
0BAoFSysvsufaNAKcfSJlaCdhTfxNLvHKMVP7f563yogUs/nr7IWwSxmcTkMOSPtJ68zgxA6PWAB
s6rRL+5n8yUZMIY+IusZdR8KeyjzJ33OqJ1qOkI2R5Neo0YylDlbD7dbE/9/nJ3HjtxG27aPiABz
2LLDzDQ1kkbBkrwhLNsvcyaL4ei/q/QvfjWbaKJtA/ZChqurWOEJdyB9ggjBTQ9EXYbqv2EVwdYj
kwyL81IMGD/j4lGc1NTdEwPaHEXKT1JFxB9wDTeZqET1zM+8NNbUnytdmOdENO1/2M4U8gFDInJJ
3iuvq9/mkizjHKMaYVKezcWpUe3yycbcfee83t4MkDkkwh6oDvNZp7qjaOghVbV5MQc1OgsXXq2X
aP25rvrHl00OBbSEUiitijWjaUYmPze6ihdYjSxI9W0yfnfiXS7M1oxA54DVorotSZrX6yZEPiSK
wV1nWGaKSkdKRSbKLI/4Nax2cpatsSAS0iIAM6NR+7keC5Ip+HOb/YaSd/RuaozuYI6ucpnbyts5
bbevE3Ei8ZtLJ9KkTL46bMOAav+kWNalGvFftyKz+lCaffkEQMn9mYCi9hvRqzt78Ffl4fo6Z1Ro
GKghUTOgk3w9waToS83pVIvQkczsw0KJ/t808craPlZxjQt5Q+IQk5/p9ZuOSMNyCvO2+z4CExaH
udNF66s457yFqEOkoLzHEUUAzB1gKQrJaCaJGuqzVVfDx9CLq7/SFumIw2Ca+XLIYAktvlF40Vtb
VcmbFVvaV4qobevrXRp+qQe8PX1dEanytHOzycVcTxsfBb4rfBDZyl5NG2mKxOo8+wLvO/Tp4xrP
Lff+IQu5UcxeIyFL7U+dSI3nPMTOB88KrDGmJCneYZxXHe//nNv7hl9BhCAfN2DD63BOwfvSHsrJ
xp2mjY74kzowy2Z3J6/a2mDEjFAOaJxr3rqMqQ84hmStbl/MRJl+TKPeHXDGKJ7DLkkuC9RiX4ja
22F4bkyN7hqNYSgBwD/WnQqh6YNhDQlySV30Q8MG5K0Vpf39/vptPNlc1hCLwTvKIHUNRbQ6YbpL
J8JLGUVW+0N1FB2avYf8fOrnDrYAyyQQsIuixNWfeLLN6NLmGN76iOLmXXdoCj1LfC+ix/wFG/Xq
o1s1evbipGE+Qsq3rfSSJEsZXdKhzB0f+cXC2NmSGzcNTwBVEXioPDlrFMI0jSV/RQ6ShWN1RHoO
T5IejlKFjsbjTwLLJa22ZDvupiWwLOWScQodou3cPjeh1x2VolKesnrod4ba+Pzg1JkUwHvuqbX9
RSNygRXCzKxAfaE+09LcrZy9kG1rFCpKsj7HfAgLrk9zrwpPj6bSvSiLBRLGwPNF6Eu4c0FvjELl
iteShIhe1a9i5W/vtV50ed3HEj9Fo+rc28n0BG5rjxW3NQpdEx0CO50iGpnXc5lrz0zSBNRS6Q74
2iJT+lxX054FxG0UL+GWvNR8Fp7Rtd/jbGYUdzm4lNkLCqlq9tWM52fHWCCTxckxCe0Tfer/3T+m
8lJdXbogo+jTgCNE6GANia8dGzl5L7MuDjc7x1OJ3zLO8ne3LTV0JWI+2/0BN9aS+ABsD7wdaBJr
yqQQBfikVCgX1NKTQ20a6THp7GLn5N6OgmStRA9AnQczsVa2glAContYnIuBRMnZi4YC6iyFs0fn
Aj3CorpBFELzYv3FWqtzeoJr7xJRPH0Lq0k/J5AmHh8FOiaBk2TcQU9bvYuiFZM+h9T7HFmfHMA/
/mVnNEcfngs8Wb4MgAvAvmtQYJKiadaBQLkAB4jepsGZzvmSZV//wyjYwktQpZzR6lYYW2tG7ykN
L3031M+Li61QTKL6cGuHrgs3G4VjEjJC+evzSkQQ1choh5cFarU/LeCWx6jcsxm5PTpgDKBNAyKB
hQZv5XoUe+57rxkcD6JlYiYXdWyNj3UUGa8z6BrtbM6e9/nh1QPVIBN8qkzkwassGMkMrNSoxF7A
rbkvoZqJo90Ye7v69tUDoEJrDCYBKFF1jZ7CImoQSV6El3ipFELGOT2Luc4uo57uuUxuHFOiLFIg
GNSSNbjuPnhGU7lmFl5C7N3+od2YvK+rxt3Bu26OQpMYmho7m+Tu+kN5oVcto9OEiBQ2Pc4XcfOs
Ilf05f7H2Vw2amWybk2Le93pS90YV9CaUXCyC0+qHsVnK1ny11HWXx8fCgAB6Dt5lLgWricU615R
GX0f8kma7qDpwj2UoYO1cp/vQRW21o5rgcTxVxFwXVqy+m7sa5XmWoln/Xt3GZPzoid7Wipba0fP
i1I5J4l/rvZB1mh9PCrEinHo1M9R5fH2xDZGZWM5vNxfu60JcTcAUCDUQtd2tRmEpSuQZOfwkiHO
B4A9sc5OLobH72zMeniuJd0cB4bVDaRGWDK6iUFPMl6yP7Jy+gq6Wd8JsbcuIOSr5OvDspGtXG8D
oZhFkjdJeGlqQ3miT5e916o48ROhFp8ddSmfH186Ci+8YOxv+oVyaX8LtmJEB+sOcN6lt9Pqs3Bi
45VrYs+lZ+sDwe8BWQrHXAJLr0exwfKKFBfUC+WM6bTg2HMxzcX7dH8uWzvOoTdDsxy1SABb16Pg
4U1fshvDiyG05BjhcP0amYhgNhjPnu8PtTkhZFBk0/hXw/p6KLOtUML1GApguP5XVbVzkIBr2lu3
zRn9NszqUmixqUqLfuFSqHr9VU2sD0rlxU+1gpX0/Qlt7TsOkGwEEpewx68nFGkhskedHl6Grv8q
DCd9ipRp9NtK9CfEWHP//nBbE0MylENEUxAVjNWGmGc8VKzC5DXPTOdLN2TNtwqOT34MccTamZpc
pOtwWNqoovBKNoGq4JqJ1SO4Bs1MRMHiWO1ppqL5d2cN4c8inUpTzpDEdBIOMpz357ixRxDGglDJ
lQ4cZY3oE+MC/UgIlCtRGzyVXF4f+8kx/n54FKrovBkga6FcrxGvltIXuQYi+hLHC75oFCROSV/p
j89FFsug2kp9YGqP19tjbNqQygxz0dCpkpfR+Bo1arID9NxYMcAnDqhBrHwobRrXozhTVLsdlj2X
cEkFtqeTerJbp3/87GKfA0KROwL9hLX4ozXXTVZRG7ighDgFbowdRoiy6Y7qytZc6BIBs4Rawd+r
FUuWNEp6rXEuxWIKvxrd8NRbu6ju23OE2Bt5BAeWBVPXOZGH3KOtYY0NWn/Bj7GsvFf6s+4pj3v1
4UeW/z8ca9BBRKp8p+uPg8NLnitqjS2qMxlHtUOyg9e/2lm2rQnBlOVmRdGCV3AVDne1buWewSi4
7Lp+jBrKwRM4h1aYVe/s6dt7ganIoI6D80vw8HpCyqSMuh6zp+fB/TZkykXEzT+RM7wWMyepmLud
Et3m1KT4GR1K6jTr3a30GJEsE1OLS1U/TO4oPruNbr3Ljd453r8U9oaSm/O3V73W0BXLMnmQFHX+
MukjxuuFWz51eZzszOr24WBzY78CZQLA3Q2yX2uapSgyx0bl33qznPYfdKe/R53b+YCJ/rk/rdsz
JccC4SFZ0Dzyq/uhsHPHa2XtLlG8xgdR1J6Gbtm7tzcWjz6RjCJA4xC8rrbgMEye4pmTc6kgwS8H
9IKtgxinSj9SxXR3TtXWYNzJRAlElPhtrWIWBIXdtIts5xJFU+4rgJv8PF/+xqnaePjao4/Mhuc7
sd+pbVzvCfSUvXaMdfcyU5I+qLkjzi29651DtfGJQAnLlaMARZa+uiXaBuuiJl7cC6h97zCj5XZU
2urfh/cBDSkeIyn4QFK72gc89mOS69QCtLZX/L7qi+e80vecD35xwq8DB7I+qQhO14Yq7jrgH3Eu
V0bMyS64RC/tpRxF+qkFwv5lxCTP9ht9RgnHc4b0vZJxso7Zkk/xoUZAH5qw0dg6h67gP9FyjL2/
m+NS64fWCZfOt8dedy7swPpN84Zl+Svi3g3/zhG7U3pfTQylCn28G+Pke1y1WncAWY7c1P1VlFvr
3vRWMRiSSFLIyyWFJhYvLpPoqlNiTOJlnO3lLSvCrxDsJsrySfah65L85/3hN3Y+lCQKybIyCiZ5
dUeZpRsOptXh2OxB32ubOj3HCHIHUW7//fhIsvEGzg3yHjnv9c4XbmjMsUzcVBOXTFeoyomqtUNl
FFr3/aE2tj+BGI1FpAaAoazjpNBNe1NNSuWiREV0CjEPe2INHpZ5pRwBQh4dA7l+YOuuJxS2+qLU
ZaJcjLqdz+5Qw1Nroh9mr+6JMW7Nh7eKaqtNZ5tI9nokYRRFXsy2cqHa6h4FGhoWiCHI9zvrtrUZ
+DBSDRXiIQXe63HoyMR1X8VR4DhVdVyKrvzDcaPqeVmc8en+J9pAW7Dl6EmS7BIwU/q/HstolIWa
bItYDIqI3L2fWqP6Otc6Zqo5fG3biVXfLstPStk/oaj5NZ7mvdrI9m9gnjSiOACkkde/gYijaTWw
LRcjt7v/WWHf/BhmdTm6KMOe89D2fC3swqesaJ3j6Ortmzv02iHlBt/J/3/1PFe3AM1KyVmh2CCf
1etf4vRWqiJl3wQLwh/5wUQTwPsKfTONz/OkpuZfaj6FP2tzVpaXvovQBqmJcLCe1NJSCY8EhQhX
YSmso9I5i1z50iWzgqxsDAPnuEAd0S6AM5Wv0GK8/gPOtU3yebQHZTjavQlFPGvUqjnkfeF0lu/M
TjMAAG7VSw3cQH8PxZ67VA2T9mR5iZd/H816+pq2RpseehcjBV/rp7A5GmGCN7RNGmuclUn91Ziy
neVFHdpJ+QLblTqA3yhNu7zDUDUuviRFXYqP9bhEb6XoI+uiFaEdH+ai9L7EaT5ph1CPMi8w8N2q
/8jnWS0PQJmU0c+N2KsLvyPpzL5asJnKJ0HMUB1JXGL8UsKs7g9hFXvgULVpHM6V25fKqzE6ef7k
1p2dXWbH6id/sgpN8y1FJysw3QHHXMQWjNkf6Z04z5Ap+sj1qQG2/6SqVnhnWoe9R1ilTSG/btKm
tDxUbkG3NFfLbv7ozHnWvOltVZZ/KFM7GQg69M78d2amUX7KNb3VPkwQnxw/BUlfa8c5dcLyBMQj
rnw3SpzpqbMKvCmPdh1ZZoD+VpG/uomX1MdIXywS2cXOtT0t/o0rBpt0CvsEJhT31xFQVBaYToRa
eJG2xgHGMxFQhWjYiX5+7ePVPgdrCj2LCh6Cm2vBAIitSh53tQI+UNcCPTf7r2msjYcklBBv0BLi
BZlK7S2ZF+/DUqvDF8wgs4/3756tueL4DYRQPnpos14ftnoyGkwDvfDiIMl20CiLn1K9GXcu061R
yNbBIiOGL1Wmr0cxtcbWFo+X1U5j93NUhDFt2qbaachsXNkSgkQ9AHgHJXL9ehRDLxFR1rMoKMIQ
YoFX6Z9ld/s11iJ1j7e0MSNQG/RI6Dk7wMVW12XZt8WyhIpyCVWu6IMeii/4NLR7doa/YuDVJgFw
jWwH+TQQkbVEVer02ewajJOI5RVdmoNiR6mflvE7bseXbvKeU9U9kvG8m8bk/WxEL52LoWQ3RB9y
Oz+2wFh6bX5C0PdcFsWffd6cMR07ZQUkiEipDrM6Ha1urvzEMHeetY1sFrimZD0BamCFVi81MrXZ
hKB2FADX/D5w5ftUkZWj0bWvhcG/K/txViAHVjbqqeJRO17jNwuYXfiJt1FgWHHvm4U2vxBpiZ2C
wNZTyQDyobZk4rxu/HlNYk/hVEaB6uJWExbpU5znkMfAClr2ezsUI7Yy7s+2K3E2tD+Og7PzRG5t
PtaUB5KyBOjs1crmdWQUSTxHARwT7Z9EywbNb1qgXA/fDWBgZRODciiYu9WppT6O1drCB4zRqDmm
WavhBxHtaXluToZjRGKDLtVNq2QWyqgtVRgF+WhG1KUqaCe+jt/t8f5sbrcjFRz+QlRWUv/WUKsK
QXlbqGYSqI2w8xP1lxIj1CVDCTDSByf9mI9e/MkoETfZWcfbewk1E8j/aOxTGaO+c30vASjNIcZX
WaBbxgshQvaExKdD7Lon/3Zb+ZAsagkhAp57W8/BKaBXXYBdQcLrLw61qrWFbzZO8tHRphlrTgHN
aOeUb43JLuGgg8klXF5tkiVUO2tpojKo+Yxvc661yWEwe2SrmnywPshM8+3+h7zdMHzBX+JdCBFS
/FtdvU7qGsCLS+QwTG34EdqN+pJpZb6n53z71SgXkM/TCueUoQ91/dWI7bReJHaJINroYb0sbNJm
b3qq1PrxQghMRzjG0iKHo7aOvcs0M7S5ZihMcsLqZdaScHoa+6zYOQIbUwJygTIvhUxVdr6up5SW
bQZoQefRimbFN6w6OVVaPoA50/dgC7cfiTYUGCYw+5QW0bG9Hgp2haItSIoHAo7cT6ou3pMLImNP
DuGmYkDZCFQXNwcQVprUq6NVo48LVnUeA01ZsAZ0kA0zXptYHzO/tKLqB8S9OH1dmqIQT8PYhhgB
1WW7561wM1mJ3yR2ovQjfWPWtnOphf3bAjMhyLGy1uDK9RqSbzDzH8bvSXA1Q3DCbdkuXzV8HdwU
6oiHNVCzejwOUzp/7oalCeJFV77dP2U35xpEsrTSo02EOCEojesPaHpLow+5IQKzsKNvbe6JyAeH
hAX1YA3UjlDEf9jARYKgQTXA40Lt5iamwlKh6stGF0Grp/V7TG1LP1Pr6VHBCYxObC5j1DHpm/MR
ricWupiZ2a0pAkEXsX5W86X4lKAWtqc7vLGADphe7if65pJueD1OgyGMpi7GGJhGRw9EEb35FLf5
EPlp7/Yz8md7lEP5Sa5iRWbGx6LGgxkBgg+rq3isi1ppBzli4w3/5lpXPguhTU+5FSHVZWjxj5I8
7pDos0hO93fLzc0ihyb1deig8oav8XaNU+EOzJsdWHhyPJt6m/zRYpz0ZLXNHhlxeyhufu5k7rF1
2qQuTm/PsRiDIbTxpK/VyihOS56r77Rk2SvUbZxs9O6BXhGaAI9bY2CiJOJoN90YZJVt/KWXvRkM
BPzHx1cPMgi+oxLlBejheqtQYrEpYyhYTBd6ig9frJfk0+bo1O8qBfGg748Ph+ogxR4YYx6KAdfD
5fpUx5MZUtiMJJfY6ZtzHY7fx6XfU1bcOgPIfVOyliRVa61TBuMY6bQ0mwJ1mZafoMHqv0Q0a+Mz
Wr55ctbrtNR2duLmkIAYpcw42Ji1XjutdTGWVj4FEWX659xQW9svvdT6s6/nIsdALCI8/w/r+csp
XaocOeuWZ64lamo76RTYpSh+2to8n6nFoAU2Rt3eC3D74FGKBHBKMk2tlZbG9bdjFKchpJqCXh/S
Q6pwR/tKW8bPA/nu21Q64n3el+3BTY3qqarrvVb11h1Du4vwWeKBbuoFmrUUoqfcGkRjI7DyCoun
vqiyl3b+aQ40L/3OpdkLuFBfdlb5tl4imbV8UoQRZJV0PfV6LFAEm9m2U9NM/QXj+Lg5VAYKFIdS
ROH/IjUSiW9Gbfkx6jrxpimmX1NwKA8Pf25yS34DkQ0QS2/1Ms6N9O3El4dHOK3PjViw21SSv4UV
Ds/3R9pYbBl+4kSnE1oDxbz+2EmsQ4NxkinAZWZ+URLT+BE3XXUu2kl7X4ZigLuj6CdivT2U+Ma9
hyC7NH4nCiCLX22zyktVgyrsRCZRi9Nk9Ol5yMJ2x39g4yonCkUdhVtI9kFW88OPvah59Kegqfv6
VGpV+aF3hvFETJfsvPobu0fqrLqgOGSByFx3apUUkzOljIBXtPY0fdLzrnJ88G7p61Rkynjowrgt
fSOe4S8aEz5oB8WAInXOIzq7Ozvo9rty+0oyPUUdgPjr31JjFaC5ccROVtufpTf8Mbj2SzdO31oY
AD7FZT80h6/399LtF70eU/75bw14fHkLjwqcCBTBAa3BJSIG0SQ7O/b2i5JbU+mgrwu++4Zd5XZR
gqOwfJydwvmjbjrjTzNLm8QP3XD69/6MNscCMSpt4HX2z2qPalFLXINOTICt2XhQzXE6UblWDmPs
PX7DS9YMnS2DlhCv9CpmNBInLyOdaeVhrzzPSZo/22pRnifX3dsbG9+JzqosUCBMSuFldSaI6+ep
iEcymiTOzh11xkueV9EOrkmuzXWoyITQYqG/wsVyw01357kzcnUag96BuZCXUEPjD7WqZv5UxRUS
drtaWtvz4u3iEOJntvb+sJWm19WeJexHXqYEAYl3lWjSHRD25p4AhkHNkdoch+x6l7MR8ApAViZo
B/SqhBJNcPxrgMtG+TDFBAU+KcFLb5ViM/WI66GiUHVjk9pA0A/tgHQk0LCGTvHp/ia/DWeoPiDb
DoeOZSOTuB6lID2ry0obg8YUYGes3sd0PDt0eF77xUCG9B+Go97sAmuRcAn5c367JbRyNAYbWneQ
jKn7Sodv/NhNuvM/oWrKM+WleWe8rV2BvhpvHGEo/9Svx3MqG4mxTExB2NDe92vEXzI/cYfu8WXk
/w+FhrYxl/86djDmFghXrcyBgZCq887tICwec7cZO0YblwQ1Ky2rXu4v5sbkZFoEFBKNf6jrcrP+
tpg0qCmuZEINKISDMQ6b7wkiDuf7g2zseOIiFz0zCiG8KKuSQBN2M9XLVg3MWsNb2I7tN53068Vs
3HrP9+E2+IROJVnKstpHure6m5ZkoQMZtQJksZ2fJztlhMxNlhOuMLa0kE1G9I7H4ZAmSvJjbq09
85utyf7+A1anIS8HLSzjQQRdAzPfSZXUN4QyfVS0avoPH+/3oVYfrxIFGKisFwFRJx1vLzZ8I8OL
9P7X24gEJAyYaBqddLqA6xWdXWfU2lkEmetOh5od448R7qdFN+eHMtb+SofU87ve3tk1W1vz93FX
C0l7fwnbcRSBZqW0GY0me8X6eQ/Kv/HKSEAI4Ab2J5rhqzU0FF59M6agY2LEfSTIjY+hrYXwl6ro
X0UVoT+0jXt8fEl5P3/tUIpl62JqjLTXLFwKV17R59/nfCgDMxX9x5Ru+plHvjskdhd9pHn3MFJU
4l8gIWM9jEQHMcn1eVdd3IfbnOkqVItfokh8d0XdPif0Q3cCyF9qF6v3G3V7CT1EMIsPudo3o12k
pZlQb0nNYnrSk34C/tDmKOwWnnssokU7iNLArCI3u6ekKr2z6cbeUxpRXjCmrj9pkeeeAHephN29
cw6Xdo+a+yuKvfmNULPB3BJj0Ku6Xo56TiHXmPGIeHRf+65WFK+1SanBzZqj1xsRVrOJdUQ/qj7n
FQk7ZnH6BdMNHe21XjktdlZ/ub81tq4PqIdUBajJAYNeRQdaV1haO6giSGsrelLcNP6qL6hBLa23
x5PY3Pqye8bVTxV8LdE/F6pboO88Bs5CCfOcTEVRgXKI8tZ3rd54VW0lHA/pFO+psG6dbJ44cjd6
+pKBdL3qcMZT05kzstPR7pqT1WI75FuTtZg7Xa3NgSi0yAIxkKV10cpWOnXR3WIMXBdBiBSnPr+l
UrZzDW/EP+T7UnmMXJsgYbWJeji2yeyZY1AlNpJdk7kQ0XV9lfjcm9hO2a3a7dGqtraJ9APhs7GK
NxpbVgvExpVFv3nUvK9CFTPHLJnfaQRGO/fw5vRcdqLkSYB5Wt2QaVlo5ZCHIii9Un1vpCMiLYVu
F74qYuzgp3ivBbT51QD2SlastGiUT/xvMUktbEXLq1QWL5YkfBLzkme+GLJqT0N2a2bgVGlSQybF
L2r14eCMIYE99uS4IFd038o0YvHBmKfvSE+a9blSunqnnLA5JHEJgT+52g2nK19w81ISUicv1uKn
dhzKL0mjugG658anjn7QzgnYHE8SKcCKUiD+pR7821q2os2qeCIDKFrzqDbpfK4xknhR7NI+mO74
+f7ltT0aBFYABxKdtHpd9NryIjsGjmoU6LjjZbx8bTqlg8Zj4zfYLerOeFs7hUaJTKIAQlHuut4p
0VJqduJ6fECk/zW/HktqFHNq/qdheDap7MHTX1t5lkOZLl5CB6/t+uxTpnXTBxQ2p//yqcDpcIUA
QQJCfz2ZObbFUo+0RjSlj/5UYjs92a6T/MjHsfo+Ztle83hz8SQ8lUwXLPYa4KuFrTkK7pGgG+cs
PSthj1tFN6rdH/c3xdZVJS8PmcejMbzuu2R65Y1xHk8Bb6d7ssusPiNM218wtrIO94fa3H//f6h1
vhvnurVYJeVXdAGTA92e2o+04Z0ami9Nv6tovPV+sn5kTSTybI7V9bF4mKrUDbsPaTn7eSzr4eR1
uJIKVDJOMyynyO8okZ8enyM5FP1qxuRMG9fbRC8HmCMpZ8zFqOs0dn107MZWf7fE4Cp8hCT3bEO3
MipOmBS0ovGPiMn1gLVVhYpY+H5AeHQsXEoOv18JLf/Wh03+eYT3c8qzWXmT3MTWr5XS/fc/TFkq
QNHf4glak6hi11KmOqd54aoxphui8FTl4IyUAEZwqY5ftdI29f6YW7sWdAC3izQYRf7oetZKaSkD
JJMpGMZInw9hltlvBEjp+yrnmdzZt1tHEZovaDAPpxzeo+vBsrDwplClY6HiwvGl5YwoB1Vxxr2I
b3McabbMxUF0uX4NaEtSkLdbitm5BqC1xK1yiEW7c5FtJYyQN+nvElKDfVi9AmkbG00tGMWJZvHR
XebqPDQY3WA8ky5HrTeql3EpiS8LO9wpoW98NeiJaLjgzUk7dK3vX2eqsxDE040ACMHh8KwDljuR
vyhd8fgGgTDNIgKO5XFdA1WUNsoNhy5PwDJE3xyjmAs/VwrnlJZ6//TwZqSfJhUVgPsA91/dNNbc
47ujJcR44RIhKheNWXVWcnWJL7om2r2i0MbFBhoSNjg+c9I+aBWARaM7A4yCnR2areYeQiKonwQL
mu4Pqjn8I/2llifbzR1zpzS6sT853iBWeY4wglw3HVRV1K4WcdDRDM6eG3T2XqOyynfi9c1RKA7x
1OI4h7rH9WmjqdQqS88mAVtRvGS9Hh3mMtnTL9/YipKTC+QH/oyOgeb1KKVTLGXZDlNQtZb9bdbL
7rUDg/BN6UoGvL8/Nt49UkZqoTQduarXdITM7KJWsT22/eCgSJ70pnXwQgud7zFJW/3oNpb2+CFn
PCkJRuWXfudqj7jelGCDSdpBn74L8XzM7eWdbuRNcRiAjfwQ5D6JXxZ1XByoh/V72l1byysZ3Kja
SAH+X06ivwW2GvSaRmlnFATyuvg0VuiDHuMGG9SD3fVTs3OvbJwIaui/YMKU1BG0uP6YlB9Sdwbz
H2StJxB0jDtlOGAFulQnLdPn5qWu0vqDk9RadL7/aTc2q8yEuLGp4yPZvDr6hfQutN1ZheNjFMde
ddIPTmdbj8LS0WnlrPME/SoErF/YFE9QmvOWCl6xrYNCNfuzFUvFQVW4O0PdQpMZC3d1rjK+HOWh
1VoKs2sx0ey1ILEo8PlLTIUUHEmEjypYpHeoNMzTqRjTwjxQAEIKvgxLRdIE+9hPhdbtqSpsrTAX
q4zrsYWBfnn9bdN5tmMqUmrQIgXoD6kqTrrS7/ld3Y6C9pZkMIPmwrZyjTRvW2sq8nRQgxEtvfeD
0rvPmoNK//3dcnsRgN0lRJPFPXKI9Xf04gbcORXaYPZAFkyeVvzdVPP0Z20rPWb2ZvLP/fE2ZgVn
VdYfkDTH1Fn++W+nsGpw66QHbQbzXM3/Q3t3no+zZ8R7gf1tSMGzR3WF8jMs+htIR9LpmGroZRkk
VWK8CnuI3tmlEr/kadS8pXlondLY0p+M1qofPn8AJ3UpncVXk+CO6xmKwdGa0izboEjD9ORYCx14
RFi8L48upMRnomNOsInTzBqfkxnWDAMWp8rBbtIzkNHxdTGcvVRMbuXrcieETjyJJMEF2NGafaLZ
beup49AElmL3xyJ3cr+drc8AsUyqH+XJQWHN75ryjc/w9/0JboAbGFsK9BNS0BBXV7m61abmUM9q
E7jKCM47lkSRwnXaIyzTwS+rfjgbeeUcqcN7RyvXqi8G2luPf01wqcSH9DN4lNeIUWOkELTUSsej
vCST3ybqkB3spUv3jN5uD6KMnmTIRm5N9Xt1MBIH9FhXKD19Nd35BsWsn492NLsedqHmPBzTSG+W
j/eX+PZJJMMmfqLmTg3hxs22zsxJMZsaOhjNko9grSrnr3ZOs/o4FbR+d+7x29EIf+EgkyIRrMHO
uj4YdIXKglvhV+eiejL6Rf84cFWjplLu1uk3xpJ1EcRnsVmXotfXY1lN5JlRklWBO6bxs22nsE7L
In9WFl3beelvbzQibeg56KORcSI9fD1UwnU2ssJVUKlNd7Tqqf+yDHn36f6nut0ejIK0L9wASa3z
VttD1ZsyjOBwBpmjtceyspV3keWKwF0S5VPRdtoOlmJjPNJmLhZeHiwO1+ZyWbyE86AndWC0vYnQ
f2Lks6+ICHdvQAJZeogsmJ3nhyfJYOQPwIdkoLg68ZDHm8LI7JrHwUHwtl+GSw+84hTWQ/cuq+1w
Z//ffrpf0jHMUbrlQla4/nR5Fg+UiumqYbz2PTV65RzNzXS6P6nbl4hWmBQZAzVtIzi32h92iS5I
b4BKUdNOO8QoDHyq0Vp5KqP5h6PFeeTXTume6Dj/cX/g2zNA5EBGS6ZHHRcu+/XsysjUQ8RXgCEU
pVjeeyRGX9NGm8UHsLLGw6eAC5pXD06QxHCuD9zkjEkF5ZyaXRNlgTEn8aGhVL6T1t5+sP8nniVz
W3Caa2HkvMlAabnxEpTjFE1HKDluekDQfPIe3omQZUE4gKgHeENieb12SThmeCENepBOU/GucGNx
6Jy4+ZhhQXoUvJU7+djttwLtAJ6epjLyJFQHr8dTrCi1sSAygsJWdA8rVaOsD1PYNt6zWZn226M7
A68FjhmQGIoRSKJcj2a1gLBTznXgtJ1+WJAEOEfWFL/vc1XZWciNV5xQiFAZrCeH+kYxux17Pffm
uA9KEebPbqpDosri/u9eh6+OSmEijlXvKEcJRvuQDXVSQjUxZuN0f8obOweEMSrEkkhJFWZ1GBQv
jRX+ZAD5kFXHvs8z5dVGB6vduVJuPyRSV6BLCcik1Mw6y0z0MC0bKxMBakMmTSidNiIoeOUl7kdt
5024nRP4KYoF1JKgz5CPXX9GIBVaMaAUHRhL5B11tR5PGeGJf3/lbjNZlOMkJ5RehiSmrTYLxkup
LrChDZqpUv4cY3eaP/SUA5+yboy+AnlLFUSWrXnPrkP++uvQE44a9RCohWQKcOOuZ2fYjea0VT0F
y9hoT109jE+wg7NTV2XZBwUtxYePIMJuXFyw18F58vZdj9c7WdsR4nGDxXOBHEPan8uuM48JPJqd
0PbmwyHcA6oeAgGngsR29c6JcrJGWDwGS4qMuNBG59yJJHt0y8tRyD/gkRF28YhfTyi2CrsFs2QE
5En/09zG9XVRP/y6MYjEDEoUKVfXunRLPaVBrTOxIbpWcfO1Lpy2iA6pExfJkzZX9r/FUHnT+yjr
s/I5q43c3QlUNtYSST9gwJQGZAq7ujmbKm0zkWdq4NEzPPeq4h4MPdZ26ow3m1FKpEuXPyoeBjnX
6otFHA1ohp4aCNpDr4k5wYXTlK57NdsmOc32GI2PbkemApqV6JXCO/3R1eFOQlHjoGFqAe4N8Q88
fNy3Qs3c90WlZ3/eP+EbS0iOLD8hG8a+kZzrLRKBOnS1YGixZwznHuQnRJ2dt3tjCfH2ookFFw4j
sbXGTWIWITGCYwVZZ09f4kTVDlNVKUccAYuTMxr5+f6sbm5iGjHk/YQJNkE5yfj19g/7ePbGubMC
RLlt75QZtUbVza1B/WuLI9KX+8PdLiLPN4AOikKkihQ3rofz1Mbo+1SzAo+IARfFVsd8HLZS8+M/
jMN9SM8XFCYKF9fjqMmEqiaMq2DQUvGhSFqiyLrqdp6x249FoQ3IAY1Kcg2uj+tRwgama13ndsDB
e2n/j7TzanLcZsL1L2IVc7glpdHMSDsbvN5d+4a168BMMIHp158Hcy6ORamGNd9x7YWrHCCAQKPR
/Qa9Gg6a05xbw9cOed7+eHtKd74UN4xLcsy9rGgw14Ppsd9mvhgdZV+dHaxAK/G1NGtk+9s9ptGd
oXBhoSxL/OVq2aLZknjwg9FdvHOpASj6q7K8Gv+LRkdxOpOUpXYSrTvLSCMQqA+VE9qCW9ieHFOv
cJCHP7vUs59pfnldaARDeXITHXj60Gl7rYo7E2QRyeqIGPzZPmmagAzKdRv/7Ao5PQxaLh/iEjez
aezejShS3SxFUUCGC4rYFuY5uKXT6MvEUNmAxwcKbdZ4RNMGG04hSn0nzt+bGLA7BUuhfM2415sE
aYh6XKQbnM0YBR2ptb9lXlY+9qa5c5DvDMTElCQdVybc/00ekBld4ubjGJ8rKArnOfNH5zh0fffN
HhJtz07v7mAgHfkLgCWox+tZwS0rqxS/QtQo3MYOs9iXf2p9CZoD/Pavdx8zMHSqSsElxqNwM7Ep
TfSUdDw+56YzH2bRiMfOAyKrde7h7ZFuUkaeMJTMLEWlU25rm+gBmL9tvNaIz24n8h+U9Z0LuuvG
sW7n5dDnw3pqkiB9fHtQtVRX+aIaVGkVIrxPmWTbpFvr0sVul0ErzTIfCo/+bZb7e/rxtyea+KG8
RHSFjQIXu/lgGdFpHB1usbX6U0zrd+DUCKiKzguXrP3r7Snd7g4G81V9nko2RILNns8Tv9VkRhRO
jDY+Gq1TP1EQbh6tNU93YGa3q6eGUugQkI/UldW8/1OXd8ZgkMukOdCss1U/xvzLOZQxlXC/Pad7
A4G2R+eRxVMth+uBmsROu1iWHgxye3ksU8d5JMDsmZjc7kD6qBTKVGWOV8s2znc0p+bZrzxViShD
bDAR4W9+zab+5AzBJ0hj39+e1at34PXug+cBGRhYIDBV2FTX06q01s2ydvLOmTG+yLw75M2Cgj3E
t/ES6PIhs3v0iShPizV48eopiVrP2iO6qP1w8yPIU18NVQj+mxMORYyQBU317KJ5h3tH2ZaRSXXy
sepS5DAFQsyHIm2WMPZG+eXtFbizV8GIq3xBmX7xgrpegLzQbGeIhaf2aheCgdEeodWj5tYVe3Zn
94bioyrVCIXtuTmDoktxwl29cw4a/tk3C5cSGi3AeoqNnUh2Z7dyol5ZjSDebmJm3tQepjGsqOiK
7u8Kvs+/nde+W/6RdI5owo0DXIrF26wdj6PBFZh5nYs5LT4Jb0pfulxqO8nI7VwYA0tDEgNOHrqZ
11+ojJu1dIolvyDta8G2YkZ6ZKdi2pNdvDMQCbeKk2xEIMebIw76tx2nzs4vQGp0JCG08oAAoBm+
d8NRmYZwyiDg6bBBuZ5Opi1k4YmTX4a5n49oKqyRHG3jREej+x+GUs8IQPYAR284EFYqFpTsRHFJ
S88onmfXi8eIpsJqPdZtXO2Rwm/vGEIIZrRkBIqvtlXplBXitdzKxQVlC+GGa281kdY51kvSlyD2
KtKgdwdlNaISWSLXIIjp12uJU0FaFO1UXFjmDpv5YDnmPKB2bujbc3s9yqaoGhcm9BhjKC4gIAJ0
fd3sAFtyCJs2K3cmtDfUJhwLrRVdhn/IRXea4eKvnfnRamX/afEW+d7KNw0LDLLxk3UUtGvr31l7
DY8wi6HmBMWyJJ+8sAePuxOI7u4JrhWVbLPhtyBOjSJrLga9uIy5roVYWp7mwUMcxP0gu6F5d+2B
KfFsoW+hWsvbSIHFnZP3jVVcJnLsKKjG5RjHMnv282nvQ92dl6uAFCQet6A4MYu5ImQVl8xaX8oy
P0BTf5ap4UTdGO/RkG/vR4reqvhgwjpVEITrbS7HpfJqyocXsTrpd6/vVys0cTIxwtzoJysca6Wm
EcyjnA9r6e0KH97blQjZqLkS7YE2X4/f6BAGrKosLl2rWex7d+iiApzcEI1UeXaOwJ0orNpoZCW4
00GIVv/8PxndgONG2eWc6QEF1RcSbnGiuB6f3o7Cd0cBykzXGvdmcK/Xo7ip784St7NLNs0BBt12
9jgP416V8c7CoY5MZg/pwqMivLm6rEU3qa0YBGCBslcWeysi07GP0p23y0K7N5ZCjCgMA5VNfbNJ
UmFXZVIu5WVsl8A8GlWT/PLiuF/DZQzEHMlGcG/Wngv/rEV+998aNpIRGZWn06VHEvSD0Jz1X9nV
wYvI/UALudt1+935OlBuxM4IBUQd+lTX675K3ZBaGReXghLXT0DN7XGaNPnr7a9753SCc6L+SOUT
7OS2uJrPWpuh+lhcFs39vbCyRx8852HF8zApzL2PfG8rUQOi+Qs2ADzSZuHbNK1W0dXlJTV98dBK
oWQjFsAeO7f53XHUZiVXVUzOzevUZaMahd+Wl1aLy0OKnHKYepl9eHvp7m0j9JzUsoF5APB7/YHa
dGqyQTblJWusl9nWNJx+ujUcl+T9Lyoe9WAcVOsc1NmWTSacoNOm0S4v2lpMhyrwloelSueHt+dz
b9WUT7nSbVFZwmY+Zd2kA/XP8lIHfXWolnJEnNWyf/4Po3C9EBxVd2R70LlBrRTdkPICUFI8TH7R
HW0J7uf/a5StWhrFX70xE628wPDOomnsyVKHZU9f496Kqaau8ozhDt3WdryEKaYNowxIxEZiLEwi
Abrbb8/lzj7jeQu4gD+0rrZNwMmpNVuKYnleqqTD9g3ng/GDXljV12VOrD1957ujqaCj2lM6iJTr
Xe2lWWa7qLQ+9xN859CvbTeKjcI69Jmt//H+mbkKCEJBk6feVp8kdco4pwuyPJutP5xADRdlaLKe
fxhlOu5cY+p3X7+cVR+V9wjoa1UA2cSeRp+Wemyc9TnNgXoDKRiK4TL6k94cCzfO7GOhla0e+fi9
7iUlt9tE+ay4gUKg0BnZhr21XIUNit18tnFK/+5MaCDmDoyHtxfzdhRYTsioslcCQMHbYm3RzR3r
icmGmbjrgxkv4kk3xua9EC9AxyoXwGNFSXtsc2HNqLs1sSVGjmhefBJYrj9JrTEeUEnfu6dvv5h6
KysBu9dn4Ja5leCnuMyecvArKy+yGrf6ZWqt/VHaiX8wFs34yx2td4P0mB82fnQaafBQX9pkOyZk
62UumB99zGwNXRnIg7nw+aIxA0HvjeOY7pzvu/OE/UkplYlS37w+cX4TQ9hVXuBWNulhMnsphEzM
GzoMMx+o6S5h7rpf371ZyC3Qv0VNx7JvmrqVjB2zm7CjyGZ3umjTID9yEb/bhowyPlQ4wI6qzA7S
5npmAX05r6p0Rkk18NtuZj5asd6e3p7La5i4Ptqoq+EZwAWp6BVb/ELgZ7WeaAiol73dT78VqVXW
iHaLrv9aAaHLnlQ7bwqrTAxjGENvlFO05jaqb06rI0tOZl7FUW8s6j/r6TS/BBnY27Oett4UWkHd
lUfbKocuBNcfOKgOZpWMAPYXe9fWbfBlJmwE1eqGVb29gleEqITtMZO+tTBuw7jA/hcfZXxM+2IV
uyrtd0KGeikBQleKSuiXbr5PLOsgder0vDqzqx8lombtY6AnrX9y494wLuOEcvZ5NGwZfEM5r06e
+IUVFZg1o7qPMm5dg0l2tDayFgx4q9CJlzVBIFGbvprSk1rkL1Zcf8hkZw4vQxFPedT1+qz/mblV
FT+5dismpAUQ+f82DSIY391SUoJ/vI8oXBq02DdB31m6tdV7vTgXTcU7eliyhzpIypeeMtrx7V14
m0hzaUJUouANkprE5not8TlB0iXvyvMQ2DOsr7U8dp2vgyFg98Rifbd1Dah9iBmg/6jnQNzbnC2/
CQo9NtfyPMZdVx1WJy79w4B1xRfTzB19J596NVS4PmOwPRGNByCNJzEy8tfTi2k40qFguAoTjKEO
V9la8ocPSM87yIJCdx2ibR14EG5sJMDCPu+dJJoc3W8+YdkOyiE3ZPbT6lzEa+nU9+5DkSeGdUnn
FvUY7DKC+luQ5eZ8aBLP/Acf2riCUu3UcO4TS0uP7kCt9vfS5DH2oFkrvIw55Wn/4tRj8A/1pjYP
TX5PcF7lovenEgXncecb35wXdBXoeSloIhctvNfrRYBkWueLqPPzOA92uHhafiiCcg8peAuoA+nF
fqUso9i89F+vh+mbYS0sG8pbhz/KcekMhJOd2nnIu7gKxyQ1Q8xu8EOqHQR46C6e+mXNduAwt1OF
2osf9CsUhhLD5jekvahJb4HmI8ZgPhlT3P9mpGn/29uH5ibeUVZDYkohFHnfQCe+nqkMkHVArKJD
FjRuDou/NFFexebJ0dO9zsmdCcHM5GYHqaicWTevGyGsHusLtzs3pflzcAobCRc8Yt6ej/qfXJ0S
5sOrk1I0TGxVYLueT1GljZ+sa3fmKBT2sVk5oofYzhzroLX95DzpVA7c40Sp429afMUS9r2l7d0i
6ttsfwXaJgwPP42ZbqIeglp967nIbVetEC9ONuanOa+mE7aMDqBd6SWnevbLf4rJ1XeARjdRkFeq
0uWDagCoiUbE9QIs1FDtDmO2c5zK72Nhy4+x7L85rW8963la7kQldd42E1Ue39yYvMKU3fz1aOiZ
xraWZcNZE537GOsWtPMmF2jqZ6KK+2iZ6pH3cueve/Hwdp7QOFWfHS09MMRbiSi08xwsjBBAqToU
Op8mr2C6rWmkD2M7NuVzF4u23Yk+t5+VMVU7hIxY4eC2h6XC2W3I4/ncryNZS1lPmv6h7vC4yg69
3vr9hzEeFvGxadLimxD9ujy8vbtvTyt5Ai928jZEsSieXS+3UuwwptlVOkSG870oA/3J1ldoV7jb
7Vzct6cVKXVCLdrLZKm0ea+HIjKaTRIjB1Sa2fTVlvnycQE6tPOYubOiqtgBKBTKL5S1zYToYWmd
XhJF3aVwtAiRL30INQ8Wy7EW49KdsY7y4s8dj8Qx1Km0VjtR9nYbkXiBJGYHQwRE2OZ6mlIadl8K
GKtwSTVVCCncPhKJW2UfIBAh0tlBGtrjYNx+RvXI4GmDqCxaFdskM0A5ELxtv56TYhSHRE5BGOjA
AuF7fHvvhiH6UASH9YQV0I1zfbLOEhUWAwpp5riPiEL0R6s1kpPRzPbO6/c2FOCVSeuODcqJ5LV9
vZLg3Oy6WFrj7JVOjE6XNHvILIv5hdQw+2IZY/0yaUa6cyTvLCXnEGlVKPhgKrboLwcNpGUdAI0G
U+8/Iv4RL+Gctd3nVKCf+PZi3m5W0Eosp7JrJdRtQ46nRNDK1jHPa0UhHZ8II+WZn6JB/NAqd/Eo
SQspP7pGNf2RTMLY6yDemSsvE8WR/7/QxM2R9GKzgLyrJ2dbWXzZC514PITmpxpDyJ1zCbiXz3Ud
2V/rDMpskpcxOcb15zTGYanXZK7OUJDG+qPQxlyGSe+kqxG6Awpsz0k3rvkhMYy+fyJc6l5k9qmt
/V7WWZ58bSUU1LMNeuDr2CNI2ESTu+pomU12nfeHwY/X7OgFSqs2C/Kx/ObGLn3XsQz7mgdqyi76
xrOyi1SyG61zYnuhtLXiAX2M6rngcvcfirntfwMFoUWFi1RwNSZ/+nY6hkWG8APW3l5pIOGOIkRo
j62MROmUQ9gXXSWianK9Q+8uf7eFIz7QyvSKT4adGRamU2P+Ug/e/Bg4pf3UD06cH+JGf/C0YO2P
2OTlsMzXoQ+A4CGHG7pdTLVWbywjb/nxnf+pK5uxi6qgTaY0tEDg+lGvBd6zg3knlJ1huVSWOS2R
lIv2bzeM5OkJ5OSfyps8jubMCF5qf3jIJlBJSMG3oS+N8rdusHjf+eu4WpHHhRoma5ueLGQmZcR7
1ndD5M1+1rFhhYOJIG/sTs7RJ2Wcw7Wp9QU4Gs4bS2ytIJyc5pB5CcfER8kojGN3jiZcQWQ0CPfB
Wkq0I+1aP/hco1oECQ6oeZ3jU/uX5D/4aS8tRp19txR2KAOzqCMrT9P8WHSyl88+OlZThIBi04Rj
sQbeY2kOkMrdKnaGU5asVXewCuRIjrh2JMYjVab4h63PaXfg40hOcC3lzE9N17UK0x5FiKi3dW14
kkZSLw/6Uq39TvS6OVtALOEEUQJFdRAi7OYiWqUzN5g9wkzo/ZTWE7iD38y8z+1w8vT+69uB5OZu
5T6FZAVG1kbNhlhyfbaCtDHMyZb2WaNqeXRy+b2sqz0l9ptMGGoMBD9qyLRh0Cba5KCJu+Q638Qn
HmfoNlqUZpJotdeeKa2l/1lffBFHvj12fOtGK+pPWt3o6U6CeHO/ql+B2So/AIjYDY9f+MLSaF76
59n26XAnOj2/oOs/OE2OW3mAy+TbS3v7HUlwUY00cEOisnZjZTLJAQlZiXab0aMQ6iVz9ldax0Fz
oNDefn57sNvvCMhZVQHoNyvBmU1A1tuh1VMqOOfRrIvIg152mGuxh6e+GQW4u1J4VQ4t4Ju35EZq
yU6SEDDOvchxvLTbpE8B88d1sPOtbtYOEQRegnB5PUbknXC9LS1RjnFcCeesYcblRqVdJN/G0er+
GZw52wG/3xkLPDMXmYJioTyh/vl/OueLI8Z0zHwLy56+XSME0Xr3aclL0zjg5LmrxfL6Ka6uMyBS
lDrQ9iObJV3YnAZtUnWjSlJSTJpRUlIcgzjUi0pOH4M4xfJ0yavgCxCTLHs0W5Oat7P61fjsVM44
HDo8K9wPIiFne16xhsx2Vv4md+LX0e/DaEC9WlmY69Xwu6TouPjhUVAMPuLUlH7oOn0G2acJCj6z
13yoOthaO4/lm8Op3v1sYIVHAmGz1Uqb6Z0lOHi552VOvVPVBeX0I5nb0jvJJh7Fkbf8+t6eOpQK
3m0UBIFd3W7mtsjiPpeJIM6ORfxQ2B6mYv3qTztx4CZXA1dDJ5WdhTYFxKXNikq7Tv0xzpdzVRvx
MYN7H+bT+HfQFMFXz1oQMxCx/Tmpp71e4e1pVbqtlI7Z2/yC19LSfza2lRcFPN1GO4+D7Z77Ycqf
Aa6+u/ZIpQbaLGhihIVA6G2yM+lkfmfEOUh9/F7Yx87wzZNt/LIGu1Y8t3sTA0cssyEFKPbNFgka
VLIfaq8NeAgW5RcpPf+U1oP/0PpTf/AGPf7HLfZ0KW435qu7BR+OXprSDLs+D3IYsmahQwSAObVe
eC2VmKNNhlce/H7RllOqdVXw3h1DdZWmOFgP9bhn51yPWdOsqG1nCs6OYTTfh3X2Hq2sqyLgN3gz
u0lZPrZFWfxq6sHYST7u7BmGpg2kdOYREdxs1qqdKMSOdnCOi9g84g1tHYNitv6XUeioUe1jRSFe
X08QQlbW670TnCsK1+GkxXbYo0uzs4y3gR07PW4rek2qKu5vemmzPg4FKszBeTZjESE45R+6Zuou
rqBG/s7rly/GADxPqI7yt5td4jVzMK4ukN6+yo1f1BabD3Vdpf++PcpNJGEUlFoJzaBSQSerPOs/
B9pLhRjWQO1/auDrTw8nj4/W2tfTz3JJ/T7SPPLfBxtdETQPNaP6+fbw9/YGcZZjoDIpQsv18Esj
pC5kEnBRxlnUV5iV6Kucdy6gm2SRSRJS4HYwBjRk9Sv+M8lyadYJnRL/XKKPYR/c1OvBzhVrKkNZ
6kEeZrhi/bKaoV3pVcJ0BCVQTHsomzu/AlSKTepG1R0ljs0RJAeHrMgz69zL0XeOppzrj1JfFz1M
7Sm4WL1Mg7DMzXU9oBCemt/tKsWK+N0LrqR5aZZSEsJbc9NnMTRBdJB9cA6WrD7acYyyWFAPO6Pc
iXCENrIsil5Q0rZ1ai32psbsfA6jP9YhHuZ/iNjIQsMSfxiL9/6Lnh4c8HdCpmozbhPVJYvNfEFN
FI7cqL9A50geAekOL1aHmZpnx3tEzTtBQJX6yVVV8xly4/V2aookpeyWx+cR4zukCCAn5VMWhF7n
rjsFvNeVus7sAAWTGMMMwXMSeOv1WMmsoyqCW+eln/21PxTcmUruBj/UMClq6/PsFXH54CJs++8o
kCP46Aapn4Vaj1ZqmZrjGKUWuv6H0Zia8buoi779pq8FmXaKQm4V1o2/eAc9CRLnY8Pyzh8NgVP9
abW9+SdpnVOdqrGW+WFE/EO/yGrwxaFYYlp0M57i8iBdTCceq7FFx9qaekwhzJGzHI5tN7xMg5bY
keGtuREWgUzyT7asPXAxTudmp4Z2xhwZMDGGwwhm0j+UVWzZx6mf679KDw3/05p01sghtUcRBZrh
/Bhxma7DKRjs9qDDRAF5p4m8fVwsdxVhG7iJREleBWejWOfleao9ZHm9hsxsZ4/fRk5enwCY1PtI
URQ2tdWx0yVQdKhVfqJfJm80I7cvLYo8BsrrOXoznxQw5wNN7D1D9zs5yytxkrjJ6wLow/WeINkF
JNpwuqBcL0e0N6aa1qRefJAyk8fCt9ZPRlz4yU4+fSdWg2Og6QJtRtXMNtu+mBDHnNJBO+tdkHXf
dBxN2ISTqVU7WfTtygLZInDwrndUQ3izslD/ptToxuSS+nH7pWrHODs407CUj0MX+0UamvQsh9Cp
/db7PPqQBXdKoXdmyrMXGhKy4rS3tlQsXCe90WsT2IdS5t/EottHS4zuThXy3igwNpV0uQomW77T
XLj4rXKUz9NiJ8csnbPItvt3N1XQ3uDtTj2G3IsuxCZjCYKWB0sPqbEfu3oKTa9cH9HZmZNIa+s9
O7nbnckVznwQOYVCBubuemfiwGhPraiSS5/M8jJi03QYZ/ZkWVnpEwUo8QN3rT1H2dt1hCuGJiVt
c/KkG1mAbp2DUox+cjF4T0bB0CUkZu270biKf42MIpUtpemzxfwWdBi6MXWTS9YlxpNd+f3vAb2N
MDUnyq5vX9J3lpGMjGYyBHOKFVvhRgrPCUgjK7nYxRoJd/gLbRT8WcTw5FLFOvjazoG7vdCYG00b
wJ9KumSr0Zf5pZHGcZFegsnXkzApszKiS2h/C1rS6LfndpsacJXRNVbWTFQstrs+KYS2ttjfXpzB
o4Wyzj9QlPo7dvUxhIW154z0Cie9vj+pfGGtBoyadzmtjesdOXvIIjVdrJ0nvzXySKpn89l1xkTn
ssg0/Y+4GImcaHynRZQAV0IyGlCZOI1IQulhn5aGfTIKxxmOAz2XP5AnpjExTKZAxUkMvha59iKa
v99epDsfRIk48XvpOvH+3YRaF7V1z+pbF1F5lOXpsP+dA556zsxyJ/++DbVUjOAqEM3RqKI4c708
S8D1OAaFex6ALECCpK/0hSRhnqJU862PWDnI81y17qfWTvu/3p7knXOLnC9YCSSfXwtX12P7dlW4
84TQAG/f7CEfXD2k6hfs7Lc7S4lgCBuOVg+omi2waKW/ObYwpM9Z5rkfqkWnaQEDe/oB3ST+/v4Z
sYoQF3nMKLzl9YzauTRJClyPitNSH5O67p8by9+L6PfWDaELhJAZgirMZku3+Vy39Zz650bSq2kA
IZBu2HvpzZ1zSkmWRjy+cErBbzOX3gL71aN0j8PM9KfWrp/nRgkt8nYIrRYxzfevHPuQwECY5Z22
ufLTvMmdNRn9M8a9/qMUuXVsNGcP4XBvLyASAnuKvj86K5tRmtGs0MZsaRo43vz7QpfI58EbTshC
/Pv2fG4xViCsUIICxfzKqdi6cAbVlLhCM/2zjcdFEyL+U5eHwJfDU+14MjlYXTH9ECPvzJDEPxeA
0IY+i3QXeazj27/l3n7hZ+Dup96/YHKvd+Uk/Hoo5eqfU00zeO0lS2S7wn98e5R7a8u9TzeG6meA
fML1KH2XevBtXCY85mOoudNwKuNaht467b2/7m1NoOG8YZXaAJ3/66Hy2JqbxqIxASay+73y9eFs
jrb8jrClGfrCDD6/PbU717FyU+XZYJPdcOaux5PmMjll2QS4iQzrpCgY7aNYDZAUqRh+ozlbRals
3i3Ar+QaeDsrFQI6JFuEXNYbwphnJY7i58gbxVL7MIlKHH23Tf6HuKWa4LQqeNCgPXw9wQlmZpzG
nL51pF2aGIMX9Wuz50B3bx/SgwEwi4+IKn1ej9JmSTo5HfvQmPvpWauL9AgNfy8bvLc5lKidOnfw
pratkATd26SpZqLjyG6f6mz8lKWi/jB7ev2YJHXzz9ub496+512sRC8C6nRb0bfGbAPevhz0nOTq
cUkM5+uiI4zoprb18PZQr99hk8xQPQLR+NoDZIrXK5j6SCjFqx6cLWfGKI6fU36SwWAZ4bpO9hBV
nierl64TRhr6moVOotm2qxYmQss/oe5nfRtGtzael6IovwZOXn5LbGf50SDB8qOOxfIJ1kryR24P
uR6JXvtOKdR8qOIc0EEfTM1piltnfrSHpqyODV7Q6O4X5eodOQvGD7v0B/3Q+/mA405WUVszisre
wf+9kt62S6CwPvQ8kGIkvl4vgZfA3JQxzxmzTP2gDcty1mWYdxaAX8QyHKpMtCzn5Kdvlq71Z4oN
un+whGNDoswAO5x1NGFr7jCAGl+mcnLbCCOz5BFeRoP5UVevzUPc93n8VOtDn36yS6389+3PeLtj
FIsGmiLQLNL7rbZNB1e57WkSXRrLzb5OmR2HfrGuF/yWhp2gfCe9Q3kCZpeqvyvxgevVMlOvBgVN
UJ7NagXMYCYGgpLT/NiJRRRhk03+k5yX8WiYIn5/vcCisEyABtNMyXHLvtLRx1obqthnX8B0CXKE
B0iw35+nkJ/QvgEcRRoL0u56ikXhQEyaYZrPxbxSg6PWDBbDlEN1yOusIXGV5ftbyeQQCGQh8QQe
9aZp5HlVt9ZzApOxp7jk9nV2ykWrhXODxdnbm+U2nIHQJowBdAC1rW/JOzre7JWOe/Mlp1kE2H/p
j2A05ZMvZusginLeOWC3QRrAK8BsnVExL9wCo5IktoN+UctZzuMxpax6wM5tLyW5Myt6DQjQ0RWm
zrP9aMJY9GIRaXlximzBodM+LSUFurmKHzR/9naSy3ujAaNTAqSEDaSJrrfIRJ4sAlOAzTAKeWj1
Ln8wawMBeKP9062c7uHtT/ZKl72OUahBQymBsquqBVtFy2LmsdVmU3WxrMHMT5QmQFZpEPj6x9j2
q/xS9kI0z7MNbyGcV+gHh2lxAjtK9dz+iQez7x8nXfTl0V07kEVet3QvEzwM0MdFPv0SuiU66qZV
5lEJrebq10Ki0B38SfY/7YZqMWoE0vvqGNxMh2oWQfZ7Cihm/UQSs3QHODGFfjQL5LyOQkvkF9m5
Rhu202J2YTUTnSKrnde/Ezb6GK7j4H9yQa3iMGm241dp2/CdHZ5u+ckV8IQPO8vH19isHq80Xh1k
6srIdXPJzVpqrjZu2xc6GGlkWOt4qES1Ht8e5V4QVsBc1V2mLrCVMjOAtjTSaetLojnOV1Ob/W/x
FIsfg529m5VOh4CmK3+o85GTqCP3n+6TGcwEpVbWFz0xnRB9g/zoDPqe5MvdCZES0F+lJ3Ej25d5
MiiBadaXBZn8B6Q6s2MNovChkrsPintDQXBVJASkc3hVXE9I09wM9aeuvqRZvJ40PEUQiG2LUwMJ
Y+cz3QlHPEJVv0ph04HTXA+V1kGlpZpVXxBplQ+d68cPNkXgnS13d0L/GWXTBKXeLHJRzfVFQ+/8
l5yA0PSjZ5xmc8l34uu9oajrKYAt1Z0bt5Q+q3sd9W82Qz98wTcS/74hSaN5HvcMmu4t3X/TjE1S
X8zFBMSQNCNJzOIMDiGLykALnt8+R3dHYV/Dv+Tpd0NUSKxUbzU84i8WRtkhb009crXMP71/FAYA
/EYbDGGjTR7TjmPujqYlLmXpxkcNf6JjN9R77pR3vg2MFqZBrkLxf9u1pGSQZm1t1JeKVlNIQ3x6
rPzuSxtr5bsbDEjIAFoFt0iHnyfRZlsb1IcG6XNY63nMaJAayVNSSH/n49yf0P8bZrMF4tQffKfX
68voln8buWc+8giYQrS79hwi740EHoKqFyxPC3HZ6wmhdSi6RWr1JZeZ/wBFqRmi3EqcT0AMc3/n
Pr8zGARIHnlEOnb41uYM2FeWl53bXEy/HE9ZhoyKaNryj6b19iTCVGqwuYzo2CNqpS4jdp/a/v+J
3V6fBHnQpu1FSXGgNjwbH4dhcc/tUhiRWWXOpfQ7ey+BuDOo0vZW2qgmZfZNviJE6yX+OLQXbIG1
8WFwk1ge0j4Yf3v7VN0CEvBRo1Kj4NOvJbHryZW8isxucWteHvOnuW8R29R/Fo2ASpk/58LKwmRZ
fsOy+9vb496JGao6ptBIaCVA9rke1++1Zc7jXlyoWlXf20Vmn/DdqY87o6igcP3tyCPAzyAjpzBy
W6hD5q5TmXKiL9mSDeYXs17dJGpsAj21xbrpTr4e5/Lz1Fip/UE6wAPDwR6TIQq4a+YLHsZ5+mKu
NDGeh8qcgw/1mIzd58SUmfiwxkiRheu8pj3q/HL8Bhyw/SsI8jx5FvaaVGeXIq13siQe8tiHOg1p
TMInPwYtAEzgelCgzjpIbCPSp55n0ST1+M90sis31P0l+ccbZ7ySjGYU7W+T16yfTacqx4e1tLUv
JaUqzGb7PPs3aJt0PLhxbv4wmmFKD503uXLnHXl74lhKMEgYGCks5baLoiHPS2e4FJelhDbuSXeI
pAO3oShssXO4bzfH9VCbE5eWazdkdiYuqeUVR4zOh2MLvffdR4xRKGorNBe38LaS0s4zgolByxs8
TrSTkVtW1OAO8z+MQlWbmwtOM56W7vVGl7ZMM4zeWoLEsnqPo5XODcoSi5vvLJr6H223OmFPXSo8
SHkNXw80s9Vip2Orx0VrRJ0/94d2nnCDt7VOPuFOvBo7p+vejiACK+YupWWaBNcj9n6ZjQOP3oud
Dv7fjpe33ywxCD10aEXsLONrv/NmeqBNcdkhFbxhfXpBWlja0LXoBbQO9n1O0TefZ79JlweeT90P
acSy+eovKE1RkXKN+tAP9jKfnNjPvrdZ1eghPGS9Pvh1mwcQBNwV+eK1S/8ooV8Ekd9y90aQM0yL
5mrgjFExrOX01bXH0guHcXD8h3SFVxDKoV6CLwTuYjnZyLWaUSKTAUIxNbEltP3MsU9D4nYyFARR
ecChedWipDG8JcTqzxSHGgOyxA99KhTySffmtTiYdZoX7776IVDCOkRoCcwbbYjr78MiKMeile+T
Zc2RIqV2LIK8CLno9kQQ7mw+uv4KCMNjl0b8JkcXcHDcobHbS7fg8VH2I6rQvTXSmVr101om7wfX
o7iAtDzKW8rydysp5iVmSu9wbi9OXhe/VoTFZNgkTUfjWsu0PSzynXjE1JQyNEJMqoN4vZAZykFu
kzGarq99BHEsj7z/w9l59biNpG37FxFgDqcUJXW3pG7b7XxC2BOYQzEXf/13sffgG1FCE34X2PVg
ZzClYqUn3CEOtY0yz22cwZwcwLFgSxfsxKqK5VFoaTJC6fNEs+YTm7T6mvViDLilMn80ovnSxF7+
z/sv5J0zvOTZDkCNt+LI6h02xjnTkoRBrXzS/UHNe86A+7dZjHPwfxiJbUg8wyZBruX6I5aemMKq
d8U56iRwPHQshPWSFBgk7c2Ep2Vj899bMwIM1gs9dIrlqwCKelWaqmj5nGd1DPcGJkgvmjdvGUTe
WzMaUItT98I/W3cavNRMQ6uom7Mn1Nn6y4KaNvp5m+AWmtZu5Z2x+jbdvUIEtgWiuI3cABgSP7H7
IQORhV9/z0ybcZwdneY86EP5M+N9niJfgWeo+EpUaZkfl22HsFGaZrNvRI7S+ElmxPbGs3NvA0F0
ICKgPbWIElz/jEbXqnho8+ZsaZV5qBuz+hiOpnix5qR5fH8H3VtSGiykftQ3Fjeh66G6BLF5bGCa
s8i8ITxGVqzbhylEgWD//kD3bjOMGhdkwkIrXvcxm15DXNyyWFXIm09RrnTgQsQgnjxdzl9t4JYb
4Js7A6KDRnt2Of1LQ/96ZrYyz5BjWnFOnQGQj5H89uIy890oS8Aob4HO7iwZlzSVZJrszG9dT7bC
aARywbtQKYb4GGei3ydt637szWkraLyzZMt7QLNvEd0EIXk9sTrFhEsfuV5ADgJsztTcn8rB/PP1
QhyR5wfUBUHWuv9W5Ik20lfk9eEVf6XWMdMBSir92Ron+wuybFv09tueCrWv/z/guvs8g4lAsckW
567ScmKR+GOV568zYG4Q1RewW/8Kz9roQN/7lKQyZDJ0HQjCV695n5R8QsdhkrOiNTspZ6/YIa2k
/XkJhMtkAbqBCKISsr45NSNMyo7859x40FLDulP8UGjlbpRiq8575/pkKDCC8LPgU6zNpZREKk04
Fc25rw166a46yrMXZsljUcvsSaZ6ty/UcAsCcm9UMk9qFcBnoIatNqUTWk6YTnF7LqUTPfRZqx0i
c+wOvW72Z3NoxYM9FlsRy/1B6eDQ90PRc13uGYss8sw8bM4lHY7HRsyDr/ehuSjbNUFS8u7m1Wbn
6Nb0mu+KrjmAGm5NqiSrR0KTRgrErGrPwyxEcwiVrH50+dQf0RsHuWtXbYkARV4GjWpkYKpdOztD
SMKLLbHgm79/rd65dwBPaLA84CcuMM3ryyCN4I7wZPNjShughpiCDpDxLsIydgNWe+djo+mH2AUs
NbjO67cxHOa8GRG8O4/tmP9KDDX6iRVj/QRLP/3gGUpDEFJFx/end+eA0jejw4o4M2dnLYljioFI
w6y6s2LO2fNcls4TfPJyY5S3PPs6EaKMgOTsUrFBtXc9N90bMeI0+Yq2qJt9MWk54viNjVgDzqN4
saaw1vM5yLOke6JBKYOiy2Wg52V/6IoetTBEWIs/W1mI5fgnLA3mpZVNOXMV/rezPdpp5/Qn1aWy
YoR1+ZjOXnyyxvkP2YfLUADPydYXp2H+WA2V1AkA1SaZTshCKr7uaZHPP20f/mgt30ZZ2PKEAHxn
ZN2ut2qOjbXhTGI6qUau7mJLbQ6EPnIj4l8jGRhmEcaDtcJFRHNyXVqEopB1TZLMJ6OlCnzOvTpu
jmMjHe5C2gSg3LW2rR5qszSKvY1d6a9Eae0BM5yhR6uCFt7fdp7O5cfSiOe48Luks39k8HmNvWGW
zhnHVq3aZ5A0mn0bqc4fWsssv58ZwB6jD45lybqEQj/V1WppyVM52VT+4WJE/IYeVFZh5Bsb/816
5z8bfxmMMw10j2eJnb9WwvWohJpqlxqn2tbgi1Eha5APluiQsA/o89voxrV5+pBSNNP9XKM+fMAS
TBU7TU+rPsBFyPq75THqvoxFbScvkZoNWWCKMkY2VYnmoyfl4PiZpvRfO30UGWlXbje6X3S1a+zb
pGuyr4M2KyIwrb7TDkaMXAljy7TamOzqqqTNpaKfgwXRovUFan/VHKhDmxIz9lTnYXCRkuj7zu+c
6Uc76/1G7HRnpKWrgtweFRxaHsvf/091u+ig3ruF3p4pHQleYPWnKRpaRZESvH+kHP5Fq+WDC79U
HKi5wTVcPUU2jN60zjPzZHiIu8DnSbtgVtRol+uh9XEwkuKvymr+0OVl2TRIWi8waoPpkQleT2/s
0UhRat04kYFptm+CjjzOsP4K32w3STmrF+BtMDoEEO1hclAkXT7Bf76lZbStl6WzeUIyzOBWjucA
InWz0ThaJQuMsnhs8AJw7siE1lOCr68LJ3HMk0Qa89Ec4ujVyE33YiXa/ID977jBP7s3HoDOhczH
EWczXs8qyb0JlQ9EE5IktH1gS9WTZifpo9FH4A3KZkuwbxVcv83PpeGCgwg1Kwh91+OFnddW6ERZ
J35R/AOlt/FQ0656rCAq+hXqPM/05+dDi3L9xjO2Dpf+NzT2LG+0I6CXqwVsK92F5IqHoFCSxudY
xscunP5pUep6HJO4ODealQQ1KdkxC70Sl0sPvwfJd3//rNwcykUqbOl3eySfuM+vdm1XQsNuqCFC
l87tA4WHaRfCOwmUutpqEa/KCG9TXpTeEH1axLrWSfXQemo1i8g6NURsfpFXapAUVRkUY6U+6E1/
6nsGll2B+19cRRtVmjtrTfsTzg5YGRgAa3vNAt5LbnU6PpTVbO9Eog9HjhAf1ko7hIDqeA+PHdml
rJcb994anb1M/Gro1Tbr66a1FRHbp0aIcd9pEsmRTLVeTL12DjMI+13Isj8NY9nvWtFHRzP6Q6DV
20/gjl80t+A93xBxTdi+We2m9ilJC/sgNK3fxa3Y1PpcHovrm5fmF2R1XhPEEuj2rQ4UAX2Fxql6
Epo9OYehCSkydAIbxP2QxGrlOwh81r7eJtqL2YphCoaOztmu8Zyi2802RmcbueztskOgoieCgjjZ
rL5mtOY60p9dbqinNq5PM0/r9GS0zoX4Gd9ux3pO0cvYiLVu72YKEezz5TsDvFg/P2CsJeKcJh+h
sPK9osaaj5HhtHGD3J4mrkgC1AVuSY9iXZees1zQ2guNk+ytcdfX/fDYguUNyjyMDhWAaHTu5/oX
OlUU5ONhS6HuziSX93XBMxmElet8WsiZ0lVSmKdKqyw0j7zk7ABo2Dg6d0ehEc69QwrtrvGBpWYV
Ta6M5om4W33iq2ef0yhzNhyR3nA9q21Lg44IiHeOEvW6sljjJoykXu2c1MrLh5NIMi1CAk0Aa8OT
sW7LZ12pW+uCcGMXXWRqe5NvxmX0jzs7afihrete5eZKzQxyntOicRDv0OCq/ikljmIPCjRC1fKL
JnQ+x2CA5Q4h4OR7orpo3gnLEmBIlaxQnQ9Cy9vRTySFpx1KGelfqhEP+qPp9B2CBUplT38oJMvF
wL3PBcX3e0sPVneTFQOvm6LUPE3CLZ8F+uZwqZ3sx/uvzG1ExgtGx4ZGCoofHMTre4FSqlkjO2Ce
yiicXots7l4jt4MuPwhjT+N5ODRKMQTvD3rn6OP5sOBLyay43leDmnrktPqMd26tdfWDbhcKZoaG
8UBcYeIj5yX7xnPTXdyJbEsC4s6+pTPKg0pHjJrk+nXX8yrBlAfHP6zJhgDlMCvI+mJLMPb+KLxn
CDhT3F9fNGrHPgWL7pymQeZ7OlPmE/5rWyXqN87a6nRQTCK2pey+MM1WGUKiNVgixDDAUiQGcYVR
wGOOGu5MU9MehJ1mP+ZMNT5Mo5q8eiztL966OBiadviFhLb88P6q3tlKS6pMbZ7iPHXldb4scqzf
WgXjSiCrT3RFLm2Gl5ALiTTuw+nZU4z08P6QtzES9ayF1QnrAkrTOnCJoqi2oGijg1Yq4aXrPXOf
jGb7UJqTunGr3y4pq0l6xGpSEUVx6fqgJL0VCWJB5ZSDeLB92Tu1HhSOneobof3tnFhOGzwM1CYe
yJtynRtONMda5aQ00/SjINfPfEc0+pdw9LZ0RW8P4rJ1eCiWzhWFpNVBpEenlt7sMlaYls5OzQez
9IvMrUQAECpufdVsknaHaI80ENRP9T80n+KSs8C+kQjyJ+j9dRDgVfPcRloZnbGbdv2ainowTeL7
n+4SBkGrlSSabhmF0Ouli5Oi60wkJs9OW9t+YTrdZ+ig867sY3ujiXNv8QBfvIETubzXtBRNY80q
vAvOVVXoDw1WDwfRFdZTFUfaxnG7OxRuvkRPGDmQBl7PyoDASErUQXfvy49NYtYPlJK/zE4uNgqp
tzsfuRqQ0YtrCMCk9RNRe10aR60XnbtWVS6dOhS/tNgsg/cX6fb24K0DfobW0ZtIz2qR+jCZMvRE
i7NTuIvNbF9+b7pW/K49q32e2qj7IFAI3Fiu26ktryzX1SJJhcLYqt1eSFzCMjsBruiCZYIxxF/C
snN+vz+3O8NAueR4EeEzyXUHbILnwMvd1ZjOtfQ1cjN57nmSj38+CmhB3gPOEXH+8oX/U3mICXHS
UICOCfO+29VAMXd5oW2RKG62HcEzQRE49kUNHdjm9ShoyC6EHqU969kQ7nKbtzPS8gxhjj9FLr+Z
QICOXopfC3d/fTmAg2vqDEDeqRu67tWYrfrnUBt/COx4G4Vw3SRWZwfc0KjJfQdJxo8KW5SMr+WM
Muyc2N1GJHuzBQCPgMzCRwOFK8KC5bP+Z3FaAhruIbRaukmrgqGOo8CbNxWQbheHRJq6E/+htwVe
9XqUEkEUTwqoVshGGdo+me3s6BWeMQZ6jVvI+/vt3mB0zujlIAS4QJivB7NNPBVaI/ROyTjH9mPp
6hOV1LKQoa/DzN24xG8qUIvT5vJKUBTivVi/v7Uy15UEzHCyTGH7dt5mfmXFe2Uqvsey3BJWvDca
hntkUJxZuq2rszQNCpLb0RyeQLLoP6d6wswzq5XHjswu8q3I+sP2Nbtw4dZT26b+QUtjneiofa96
ChDOswGiKRB50+17q5QtesxdXR6JJ/9Qjm8ZcfHvAqgFC4Fq+qoikOSR1Y34bOO3OVj/oPqhfGio
A7++v0lu9/1ypuAtc89Chnqrtv1n3+ewbTVaUeKMopP+2atD8Q16kXj4v4xCaMZNsdApVnMpISGh
eQXEwINtv8eVmgKdGLc0026eKOrDLM5SP1kEN9cVOezB8EKwu/7slbPzkqmJ2A/4GDwZKUZPmT3K
fV5rfwiwZJnIAmmOE72gKAHz4fqU5WZjKehE92fE6oqDVmVpoDY9gtEwB4L3v+IS7V2lE6uhVld7
b9HyaugJn/XCnV8NOzUDGS/ob81IgiSfsg+ejPPHTMnG/fsj32YyHLKlp0NKSG5GDfJ6lkj9WWh3
6/15Gtr4MYtB15l2XgW9m+HuE6L9PbSzX7WhcxStMiB4Dh+ohe8LZtLP3bbY+EG3dxsBI90suk0a
dIa1TCYfoZ6bqR/PmoubCthN5cVJ3HI/IWG9Ee/f2VXg/IAgL/3cpTN+PXVEVIXRmfF0Hto0P8KV
tP28G0Zfm5ocn6tK7gcRGxsH5u6guLcvTHUM3NfUAnoLY64gunPGHLN8ioCJHbLaHM4U+sUHB+ny
36mbbvVhbgpjOrAH5JB5M6j73QCBSGSioqmy4WzHapG+pKK0fETL/gkXk68ZzfNdjp633wMY0o6D
5WyKvN5ZVYLLxbkBma2lrn79qa0qGdq6i0Z058L+MDkyCcQQkeX00fS4saOXc7k6TBQ1FzUqZ6Ek
r0lEg0dtYZLGiPFU1JZ+GTWO5Ud9kn/UskXdxkin8FfJLGe/1/RYCfLORM5/HgQVprBJI2vjdN+b
/NJRYA3gGtHuu5583dPkRnIEF74C+z/HGrxdNypHTy2a48bcl7B5PXe2MoKeRNX8uTrN9mJkYvfJ
dA5FPVl0SOqPaf5Dz10Lsm2dTt8dPjh8iQSzYX/AuMS3sPPaaFlp9yZsoINIeIL9CKLY1xNW4dhW
xcDB0ocWDF3mef2+tmPvYumFdU4i7Wdt6ChNJdWUfE8z8Rir7mc7MuPMz9z24OmFuasjVA6OiUDX
cCN6unMYYLywDIh7cRbWSWkv4eNbmTrxMPa69WRRJrZ2gnq44+eWnHU/sZrPugj1ODCRKUp86vOR
3Gi93PsRvJkEOIsAAXWb60+UYMTnDUo3nXmFmimwXeQcC1uEj1pKK8b1sn4nIvXfxmnyn6PboZn6
/k65DbOIhk0amdz43ETrlAWB5UaoOddQ0td0MfPpWceIc1cQrT6IWmzM9s77xj5gL5Ds0Vhbm9EX
NWYPTprKc1PE7aMqwprcRUDN8E0ZPbtqUfsIw7fnmthvK21aC5At7zgqD3AWMUGk6LmGC4ZJGodN
XMozddHi0KJXQFfFxcYlVeoPSogAptFZWGgIYQoXgYSmevXUFieQ1OtbPahwMDwb89geo7wf93pj
/yqrudoZZb0VcSznYnV6/4flIdJ5Y8pfbwpXGVsdxw9QeKzNoUdSw+9S09y4JO5svUVymNXnfNKY
X8U1Rj1odRUn8ozRXfys6DpAjTLSsBaYzX0/ZhKdNUt8Gvqs+Z07Sf/t/Z33Zmt+M0uk9SwcdaA0
rcPfwkEevebNATzST8d5dKO9rsYKwhFo8jZV2L8akZd9jrhSd64FNM+NlNqP88Q8JJPiBI50DF9G
lrZLs3bauxRVNw7HnTcasjhAAh21RtQUVxd2myCXj+2PPOP/OZ/KUc6vk4dGjx8bTUMrUg/b73mu
bSSqa2zZ20blTlp0lYDYUIa8Xv5GdGU3DFKeR8Wrd1bfZP4Qj9MLv/MTexfzx7oq904VeoHpLH7X
tTp8FrU1PQ3UGUGcO1vaF3fOLTxB7NzB06kg+lZxaTtmigyTeD7TrKAlrI4DGaCn9Eg3dOmUHUXj
tAcjp0Eyukr25f2Ncm8VKKjQ17HZJDeUN0qkfaOjy3JuVW34RxqIUjsG8X4LENevcy++5Hnm/V8W
gVoYqhgIVkMpWJ0OdNZyAx8weXadXj1LV+Oo961Q1WNW6ioKyhavh6/HiYoTXD7FXxQ4nOVjhoKe
heh/1rQ+SZf7tcI8/vv7H+TOnU3khIgGPw5UnL5aDTTzQgeBCnkGy4poR5pCWfe12KHPMTfRZTKm
rt14K+/dSHQWCNnARBg0sa+3JM6uaqlYGArNLV4aypTbn+Z+LjbqnLfID65o4P7L5by0p9ZBf5cw
tzIU8lzpVOCD0HW9vSYjYnFlrNr00XOE/rEUtfmvDWbgXwWhs+jQQDUC/9Hr2pYjyt2TCFjW5qWC
mIuqzfW0J8tEH1lp5nNjpPa0T2rVNv16RFN116K6dFAzVtjFAfIvzyzSDokHXf05OlNxsfsmQhIQ
a5PfY+I0cutL3QmtiOMhQpEf8b/rOlPnjYYSxt18DkfD/FqhL6ECq7Lm/VCaxBGWJouz13volKD/
9Dsz6+OMCtdj4kWUvHq4i99mpAR8VMAcv0VQYCOleutbXF/uEKjQlMHkBZV24pvrL9eoU+5pZaGe
deqs/VPvhcrrQP0vejCFSS2HHn32XHKPan6ieMmrNZXl31WuWBdhYyTbdHL8jA+zN+0XijL/fNtB
nG808+QoKIwCkenDfiM6ud3k1795+fv/qZSg8m/bTRXzmyWKL23uGTtEEL3H90/v7coxikO4Rd/1
Tv9TttGCIw3VswHOIj1nPI/j3i1rI39R59pId+8Pd5vY87gjBLAgdYEzogF1PSsYel4aOexhZXbA
UhpdY9Q8mwmeM7ObHbquuQxdO35QHFkRDFFRXHDoyviaoytT4SA2oSH+/m9ahrzaHMTQ5CTU2KDx
causNsdk5nMa6sZ8BgwyVv5Qlvl+BAmDrRlFhZPiVIOza4wyUwNgIkn/WTPj+tf7v+E2OVl+BO1n
HpQFarYunjaTzY2NJsO5qtEj9ccUzy4/MopDFlsTpU1TGc6KpefkaO60yxCzekTYyt07MSXQtFOo
jygy/zLJpA7iCYX093/fzWbk5+GZA9EWnUOXLt1q2VL0PcOhU88557bwjTjNLR+xF2MK3h/o5m1f
BnoTJYN+SMV6tT9cVcnmBEHdczXmOYFG8Vc0Td+URvlHWFUAsPlgq+Xh/TFvYV80sRiWuhrwQeLx
1RNmhzl20nChz1IDpr7reqX/YlVNCFJkCAUGnVPfvBDzKgWgt9RI/bkw7MKXcC/VjfnfPjr8FpPv
zFVKxxesx/WXlkZc0qSR6rkxO0+8KDEB1JPGK/os0jLyDgV5Xxr0tjmFezBktYXqP/geQsEe3CG6
wOa397/OnaUnIiZXoeG39HlW8V9U9XoNU0Q7t0YnTqGn9h9TS3pb2flyylankMIT8Te7i622VoHU
+rafKuLQsxxH+2+7K4HXx6Uy1EGZRVaxU2IpkicVbwMtEGTl4W7GGeNn3HnS86de0uDw01KvMe1o
oSptsRneuDhXv4+yK/UbyJVkQWyS1bpQA1OIAobskhZabu3rUZPKBx2trdDE1nHEh1zTh0l+KPn/
EBX0UgzZDqFDKHqqwBZne9VRpNjnQPsh4WeZ2jyIGM/Hb72I5BQUdZGPXxMjNceDbo2K8pqH7iD+
cWU1txcvTByr81M9EdVfwkhpFfnI0lhWG0R4ERUzNLrRKIOobHG6t+WcTb9t8BXRs8Droj+XXVYo
G9fm7VXOi0/piFCYZxUZlNXGSGp70sUUJRc3kzoQQiR//jYz2/gxzekIPnPQhQai2vJAPJtKanyX
qYTh3hhRWgR6p8XFK9QYYWxcVctCXC/UUmIDPbk0vdhOq6sKRmWYNkmOl5gTjy+t1XU/6TJwljVb
Gb2X2JlUA/sa7Agf3j8oN1cX9S3EWUiYgFaC1FjtEFVSW4pKPb70MTzmBzHWkXvMkWHDUswUOUhG
r7tAoYoEDvJoqW6sx805pZAKGJv/0pOAxLl6xvKxInCy7fgicm8UPkajw2fdqba4Abefl91POMwj
vuinr5HmTsUzM1lqeSkRKXd3Ru+NzUc1Q7r1L+nG5b8hmcov3KawY3j/895EKjzRtAJg93A7gCJc
5v+feGgR9tGrBImVekrcx0bxlGOF3fDRtCplIyi6/ZRLNEClH+IouLC1apE3jIVLk6W6SGHLBx0H
1GOMPnjw/oRuR7EWrftlGApedIKvJ6TEuV6Jvq0uapNb8IkmJ6iMpt6IfW/SM1iNyxyQyeBY3NSZ
umEOvUzvqktvetURFcX+OLql+dkZBm+vawph9/vTugmnFholhRwN9DaI3jWGSPfcqs+NXlyI9XU8
RclSMTAzwFQepJXY4QuBaFJ9iqAdTns0jJzxZ+s1cbNFpLrdL8BUoMSSJ0FFB3t7/XmH2TMEEnv1
hcpu9aAKXYYHGNW15veOtkkTuPOZl87JIqsBvRAjsOvRLL0cKdPG4qKwpfZlUzQPpSu9hyEy9NTX
QJpqG9vnzvwWbjMVM4qXwHBW2yfNKlMCdRWXaEptPHNSgPFe6rTfLUeZ/n1/Te9sVeKRBf4FKgag
5Gqs3p3URKqquGiJIbqdaUSYfqp6T6X+/YHufUY6w8DSly77TXUl1TBIBHskcEpN1J2BDdmZ0pR4
1vuOzkA2TnJjwLtfESnV/+lBUIC8Xje1HVw3kaO4VCMJO9hi9QntyvnJdgk135/b3aFAnpnLxUgQ
vXofHHzr+9kS4jKGnl3sZqkaddBYXuQ9xp0zfn9/NIrm/PSrhxB8ImGku0D6Fib16gBAJMzHEluk
C4LIuB57O2Fo1Qs6uMUZY/sqMBB6/ubayllRx18pJPp9MXvlQQrK+pIoc+fO2fA89QAdfNxJh9/m
LOx/Rlnu5JQ5uzjKtccYypZfGmJsdxhikBjoSYZJWqX5Rp/HR1HkaIJ2pZd8izV5Fp3hPHu9rZHk
K4pflYtPb+blF0ra02lqTfelSeJmT7Q74JI0nIe6o6urhLm8yKwXezW2XfStHBT/Zhl/S6QmKjpn
bb+PohibnL4P+FcNB71XfhRt+myH5fRQq0i0jUnY534inCL2nahtLgDJtShIDbf4VBpWc0L0JDtl
U6geS6uR3BRq6COZ+VKGbr7nV00XF1PqQ91nsu7jR5qXU/QtpYr/igzg9FsTRZgFtfSyc7so+ezq
eGztZwdafvLJCUHePNX2zMfyUM32vlh4xqQBeECWZ+nOfR7LQRv8vMr1+sGTTvW7mcY49hu1xj+r
wuQyO8jCpkTtx4WesyJzSWTH9zZLcYHmrc3eUxIpToktkXD+cs0xTR7caVjUFbpiGJv40vE0y8+2
CtX9AbMVM/wGyS9p7V2foixh7dRe68YHy8nqf4fJAqrrxlNsHlAxm6pjpy2KZmqSxclhBt1P7AYX
iYyYo9XsQwXngMCQ7Zgc0BoT8x6m7HRSoAj90vumxqyzItwb5saODrE26tOuczo0ksdOTnqgpqpb
7awGmK7vodmMp4o6tiq6yUMuHrq8jcvT5OHt9GB1iT4FZAhF+XmELdgd6R8PaBeGOZVw1CpsAgRc
L9QzCC5LO+ZlWuAFVqe1Ds3CVaL2W5enjfLZCLPx385sDOtLyXXUFjuTjlu20yq19Q6xlznDEcg9
kfWg5xBLpeG2gmIbb+wB54Kh3GtjViFENvbuD90s0GAAqdRnflPbNW5DVMCy/WAJ71NdCjXbJY0M
C+zXwqTyTS8a82M9ZnX/xYSIPf9I4lYmn0TeVz8HzITkgxCJTIOyblvbdyqrLj6GrVNAy0lSB4KK
HTcU00yZkgBYaLlEjZ9mfarvsArXYzLCNs9/GnVcCp/ewGD0/jDSUUDSPO1fEVByzac+i/Kv45RH
wHkheLUfalB7Rg6QQtM7hlmUs4y2kFBiUZ0Ln6IWU7GL1daOvZyg0O2eOguX1MtsVlRE287BkyhJ
7HE8oDks8+cwDeP+i+JW6r+E6U0cxBZZGwcIf7q9qwmZYXahDs3HyZBN99p6Xd0t6pq5Ol6w4BGG
j/eQOfgF2cz85FSpWu/myqLwbQt3UdLCLt1rQx9FnyF7dOeJjeSidGPXVBRng/JzV9jKKUP9y/1Y
jZMRSwgMUe4EBGRD9bcJbMX7EqddHQditmt7p3SqVCml9z2afJMzwmDGgvooM8sd/w61osqflZRB
cQjRI3EYR+zpdTN0eeDhyaa0iNM4Tb9GAKOLg5maw+Bje4+7UIikwrdYRqLxLSeJ+xfsh2XpqzIb
+xMCcWV2VIi1lYAMwZJwpnvT+WhLhNN2qDuajq86nSn2knXrfG9umvTJzJyiD3K9qKvl1coIvK28
iva5bQ7zUYouL84hCmSeH6aGLh77xtLHi0x0FBx6q8DNSUO9CqpLmTYhDMqlkpHMtap/sGw2xS4J
iwjXZxPHtaOqyrp4pOKOE1k/U3rwbXjUX9EEpOJgKzG0biVXzf4D5keGCj991L2d13ptcUbwwFA+
VaqeNB/5Ia3yfRxgr18cLZzifckGtx+cOjfmgFpKpwcstWv4c5PN36wI4b2K5Y3NmNuC0vfOaU1p
7Rxkz0fOQBjq1g4r49YKikJDv5pNP/Z7Z0yle6zl1OWBooo6+RDamlJyiaa99F3Q7ONRmNDN/IYk
tPPLrp3FB6mZsKO0Cdk/vxQtd13Lv6x6kIvo4GOppVZxYu2m/GFuCirAo1cXX6OJUJZDJdisWd00
X/s09YqgUkth+SDp258CsaDvkeuE6t7pUENCGRHi/ammIYNDYaRz5ycTQD/k5eq4OMYSGoZPDtRC
Oa9KOEpKPtjyEfm4eOBwVxUmDVWVqH4HCvOHKhqz3QkLuuSD2k6TGYxck+qnKqzpV2RTJWM/yRev
ZLdEDtOfiiSf95O0G+tj5nYyfWyzvoOp1A+KMdFblQrKdWac9vHO7gYv+52avdleasXDk4tLKxQ+
6npud7CMyjhXDdSI2U9lKWvfncoe0dUpnJVDWxfm/FtL3aw+2FPo/Bgqq2oDPMQo9uqq6CdfdGZY
Ik2Fj+wRnYhY9zWhllBVJN62fqtP5qe5nMviYPELX2fY/e2PetYQM4BcBYllx9WRVwcV/s63RJ2L
ihtonssPUYfLB1U6SDwBXco2OoIOywBujIms9ylfYTlBWSR9Zaobb4dpEm1+OXTTjwakzHSoHERO
dkOlzVhklqOnv0JU6IuPA6pedQPGtEiyXVklvRJEsKPdMwR14/s8Wiaq9cKRzwVSnwA0c8MYvuJt
MrVP3Txk/ffOlrHpz1GvtI9AopzST7QJdEfjWnG7B8Wb5UdkkdIkmGsBx4P2Yz8/hnk7J99lqTrN
oaW1muxQoerny2gO/XhQ3bZxg9GMPPlsGbX3xTHTsnkIa01vXycqmPZOr62weWicxdS5rkJkXICy
usNHTFfS/JAp7qyceEzEd9SgsaH3qizBN5QiyV+UkdI4aPnYtLMttBQfsmgW1bOeOqXzg/SPEMHo
HGPc20Ot9BcM7/TyGLn40e3mFt+D/WRVecaVZFTRBRRDgZ8Ep9N5gAep5rtqikz9gCIboSDdjmHe
z0QqS3eZntbOLWor9tvJMOejWetR/qIbHcqVQxkN7aPXNlJ78ubYwaap1ECeS7Y+XQUpsvYQq1Zp
B6qW1cMx72bCF5Hq0dfJZVs8sfuB1KkxlbU9bmq5POGqNzSHSYMK6vdZFWefQsNILl3haPXODoeU
ayM0ZI6jp9ZXfJxRhNCgl74br54RB3pRhczWdcoPY4LG6yExZ704mhpB2CHqvap/qgXR7T6PYqG8
4mtmuIHZtrGS+YhRDAR6WLN44bwb9TiXvyKvTb3E73IFTyZlyCqxS3OBjgYc8EoclKampdq4uKfu
nE5EYzBpoaJ8Necw+h2lna6/KrFovmnh/6PsvJrrRrI8/1U66h298GZiuh/grqG7pExRekFQFAWf
CZdwn35/t6Z3p8WaKO1WRFWESiTBCyQyzzl/Z+DlH+vOto5HF9kGKd9FKbdzuZTG86DZ8L4yxbQu
DEY3W1OK8G57CFqbgJhBiOFpMmUQnHLC70RIgTd2CfR8V6SYoxY4x1lOE3Bwdeqzw9zvbFSZW52Q
5k/o9bgj9WFtWPkYCC7DEjfCaV+NRRdOvFbTah+l2rVPOgWYF7J0nTVWu+GLaHUrS7vTVr0tU6uX
01laVZOlja5ZG0EQhSPQ2mtiIuFlYBtodpuYpdzR1zYp2I6DM/YoHbt91ipxcln3U7gbw4rljVW3
F83cXJ8CjPL3brGM3oobur0tdOsld/ivXF2YpRMQyzYWgXfOmdTboaY15geyAKzqaHe18EJtY/e5
6fbNDUK7w6GR14RC+MCTUlnMWGc2bmSb2dvNtI9EQ62+hbtE5vQr68zbS5YM3ofsROPat2fX9Dp5
ouCYZFQRvUzyRTYtb/VuesvB2O0iTzNA9T1018kd0rpvSytZ8P8tHnkXqvnQqwIAqCbhyKcZa3d5
K4x8bQ7t1cUmJKISp6kIP9L50SqNuvqW4TSlYmPUqmKN2q7vLzKv+69bUdl4BLpl1vVsBNbk30ho
sXnIEFUj6pdesspS9HTX5lCOu15wjm9zeV/rgQJ+XsBGz5tJ03VgFhJkDwEFlZUGqx7kcS2KfVxD
qGPZcLeWlqT2gkdSJfqG8Po4SdIEYXFgSmjFjlnuxd0sx76Pq3by9sitYE1G/O92vL9GplkHSjgE
wNSMfnlGZEAcq2tOILeVt9sf7LpfxJ1bLf2amBUlyjNi997ewAY0N3irQNKmO6ssHMTAi2pKCFV6
m6MBh2eprUMIg6JToI9tMPohxhZz/QozcO8f/+jR/9fr+h/5m7z8VzM+/vM/+fOr7LaBJKvp3R//
eVe+DnKUP6b/vH7b//2yn7/pnw/dm/gwDW9v091L9/4rf/pGfv6/rh+/TC8//SERHI/bo3obtqe3
UTXTHxfhN71+5f/rX/7t7Y+f8nHr3v7x26tUYrr+tLyU4rd//dXp+z9+Q6P9b+OK68//11/ev7R8
3/mle/nz17+9jBPf6lh/hw6MKdpvf1ve/vg/pvl3uNcm8yAUH0BEv/1NyGEq/vGb7fydCI2rNQcD
fziLV9bYKNX1r0z97zYoEtQ6tLBMx5gX/5+P+9OD+e8H9Teh2ovEx278x28IA3+aplwBBaiCcAiY
7V9pUH/w+f5t/Iz0gvJorsUFuoh542uSzqMmBdUtdYqG1dgjb4Utqablkx8s91UZZtth+IJjddw4
7qlc5K3SX9ymp5hXbx1c8jAomnB0zzU7Hfbd+/1qia/jxDeWj4GZHZfNQ6dDWRDtK8hjN7ZrnOsO
IqvSK2Amku7sOdULoc+w1HatTJZ8wMLG1o2wa1uHqLamhLNZsElGWV42z4xM9lhU5nfs21u64cHF
TfIBKR1eE/J12gc9bTcmo7vl5UnefaBSGyNV2HME9cGKg8X83Zfbqw0R9kiDDEuvKWAmyLn5faxE
e2eNhjpWw3SoL9UFoudxQiQILSe38YSp9VOw38x1/qQ1u3/gDO1CMRgNad2rlux5/tzrxh5O3eqH
7WsgaTKXM52FZ542m3bCSquij0hy8jf7VdWiSzkL7FAfl5V5EUMpBwguyxgEnRahUeV4lRMudNtI
QWKKkcg1XyvqvTlyIZ4KLNrBcdEYEg4+SuMoDGbWoTdZPzptGB7yXflxpln2M9DzS2sBN7ZebSf2
qBsRnVF1CKz2ezXSf455ZibQGGS44e9+MPXViOxsHiJBVZRiZfvKAMWPSdwIkr6sxvO49U28un0f
DrazxB1xNjQLennX4kyXAOOIODAGxhXz2H+cmqF6UP6IQ9Fqr3GtzcVtOVP0GRONBXO32NOab3Oj
t2FdURBjjF4AvVUq3bO5eQZTMXjzjfZejixb1fVfmxlBlthEFRs9FCprWb2kzeS36ywxUpv3RTAT
4DZeJzJ9YCaVJaC4TapIzcb5wMMrmenn+Xki0DHyenc9wit53JxRQP1rsqS3pY5twiY/ZLWXH9aa
aZel16ndcrxhR2/Aehd27C/LeN4Zy130KfPTsdjwHLCX/Iu1OF4yCZy4ydwwpogJKQBiq8oXTGe8
ZJuvi1zhGeX1gjquafzQEnqVqHyT52oU3mlss4Z7wGRL6+kmx77NI7Vs9m1WtX6YrQxQQCa6sOwU
j48xTCg1Rjxa7s2YSFxVCMPQzz+yoJzvWteCaz3tnpnU5AAlxqgvIUE6pZGm87LMhNntnPjmWjxo
PMikrJl0+JqWc+z6RVTvsorNQPNShPC8r4YNEc9zRTRmbZEyObGOTYavCbbkdWgMdf/cFEYfBozz
IqVP44Fc7uHGGNchcStopzhOKDNmb1wiKYc65T7ooWCwmAA+Eq3hNFy9bNSpME3GdVq5go1neTLl
0jrRGwrKyc6INig/0ZZbdljPVR57+fxJkJ0ZlbP1GZS0CCcj2M62zy4GM+X3ejIJvZGGF5Ve+cOz
8zFGkcJQ1eHjaGp7EEOnQUDJyyQYWvu+8HiTbUFhmtM0Rv0eVAmAKeSq0vUPm9R8TAdkf8e40zoN
QbXFjlp5Gw2KOHPOjATKNrTWrCnPQjLDGrylDYc835OtXepQ9by/ou5niENbHrpt+bJoThDWtSfP
OR83rDVGuD6FwtHMmvnUqv0LpAvycBm9xfq8FzGnfM0THXKgKUcmQzfiw080YEqn8Cvk8mdg+L+O
jitrEyUaDEnfecdpIVOCcsQaxAUjgZs2ULHDm6CToxlo7afMJVlCGtkvIMx36DwXdZi+cE2A0iuI
+f6i9dLVOnEGxsWW8FV6hlBTwxbxfVq4M8YStuMH3aLtfETiBZ/H/QU69TNidL381e3yihmBQFwd
yX7GVepO7+gYM/1SCUIiw4qF+G8Fw79O6H8/kf90HmOkg+IY6BTKIarMd4DbBoLPqvOsy1BXX7Wy
eu4tm5Jt+hWd4GcUhQ/iIlbkvURHC94N2/vnD4LIr/L0vnEuYjhQ7MbLCfEnRiHHv/44f7pfIMCY
SoKnA65zyXdrJDPI2ey9PrjMV9wheNWLX1CI/4f79e8X8N6hQVsbSLPH7/8yWnfVeF/Zj1X78tef
4WdqwB+3ClIfCx0ilYk1xrtbtYDpaYzL/IuC/lHMN/a187EfdftHV7z+9aX+h9uFWcxVA+5dzbHf
q865XY0uSyO49NZ5EWhzfoGa//nnG7iXXsvQKysMye/PT91ENw9+1GsXAp/EHlNo/PXv/+dbBTsH
oghRNxgR4pH688/vrlopba/lI2ymdkqDItWLg9VFy6/EG39+7FiGIOm95lqDBL7HNyven13lc/Xo
B1M6a+OHoNy+DIv/7a8/z5/fkmvyKkQGjnLcBt6TT7xAlWVrFeWjOT1Z++c8n0JDvRb9r0yQ3t83
+0rpgWDMIwFEhSn4833LLeqpK7pwKTp49g+zSokf3LJo1H7hBPH+vnGhK4kBIwgPIx2oNT9faHO0
0dh8MirwQYvM5kUrP9S/cuZ6xzv0fC5ypU1f1zDaLwz7f77IbA95xhrML6KaER2qcGO/DB5LAkT1
+dyicvWdKqqyz3/9sN4v7isxg42ZDZRXB7XZu8sy1ezW2rWrSx+p7E1ovzrvrJ+5fNfPRV0JbMmH
u+o7/zib/q1XKv0KJ3KgkAtWw2uIekTeDVZtUEt4XWTqmUraTdghiSB6suAnEs2Yin01FRv4pMln
U1+sUM6OjMy+ch5b0c6nTXff1twpL6XE4twLJu8goJImxux0ka9RQoy4QNKS9Use+iUF8u6iVOnq
q0lr4GQP/sysf7bHPXXbzDlKSHa/oDD+eclcPzVGUjiawr/y3hGw6mzT/A4XzgsmiQG5APLeqC//
30+OS/DO+nDc8Ed/t8M2MhgslO3VRdw6dDRz9Nc//v1bzHODAAvzCcMBFsZ7cnbX4w1BIAGfoLor
rB+a+jGtXrRNv0pP+/MC9GjZ8bLFWhW20HtHvLHFaR2Omroscg/9j3DKfrG9/uoC77Zv2ze1xrhe
ANunYQu7Kf7rG8Xmdt0A/ptdcV3jnArw2PjHgDb+nrBduVal51rvPXi1iU+7EOS+eXV5JNl1Pcq1
G+OGmv7ZrEbQK86YwzJWBuAYY16W7+KRMpvXd7TV+dzPyVrNGVrfoEy7snh1Rsu9BFmgzkVTZVnq
LuYXHWQgUivFFnO40j6R6ZndEuAxMFpYzHu9xJxyVO1GytPSx/no+DfY0nmY2EAxM0+O3iyJ4Kbc
z3JqP+Kp1h0YmYP0FVb+Y+3X9rAjxV3OHrBxMjgzLX7lr+mwKD1aF6uOc234tK/wFqDFj7kIZ2p5
N8KxaTnXu92kgMX4F87FhGy0+9KtgXOYOxPQgTMwWs01uEec1MbYTpeM/t0CnItNNqzxnPid6Sjh
KFiVHAiJKe7GpmewYs3ywV+1/gkLTkwcxOh/dWs1bpHXZQUpsHv/ye7X/g6U3j1jTjwkChM3Bo1L
k5ZmYX8reapn3xEqdpe5PjiN730fmaxG6+jpcd4terIyMomQU+WJBdX15Ps0JFpuLengb68gPVU4
ivkLNCQ7tgGikqAx3aiB53UYSgyqzLx40s3uGcE8WoZxddOqE1W0+NV6k4/YJU/9XDsx9idzKvuG
O5XZ3R0yTgHzbe6j1b+6bubShaOBEFk29n7fl7NIJ6evQtUO/JrDBpc077qDKr2J/tTuQgY96ijn
ukiMzlqAqaZchb0mGSlNunfX42546gFj4sBv/EeMxrlAtZrVcRfTZ2PSh6jXqjodrbIPiavrw5w0
o5PRAhAYjbJvDQTbt4O7OGHdOPuZki4gMwvmhzs3gPCr7tObB1qVamPn22+Vcu5oLRGrt3oVNnot
n0iGsVkyyn7zaFjtpPAH9YbX5rPwm+y0+sNy3iCx3u7ZSPzoHOxP0gr6G9WK5Ueu/G9zS5yFXg9u
SuxxG1lFt6bcaO2asrg/1otTo790i6Mhgjrxybx+wA/X4Jl61gPjFfcEEc5KC+nSeng9PWLOqF84
fFvQ5p/JgZ/TDdP0SE5rkeI21P7A4sMMOwf6dKu8JSmy1b2hffJPoAfNuQaFjvJ2605CFjzgCkG2
O9lOOgLznwTL92lVwKtRYY/W4zDPLnQaf48MDeo6EFIWMYTokmZ3KPY8X4OvDcQ7bo6KYGy8DLYh
EmFNJYOAbjwqfSPHOddMOsSqPTDpu8b+NbgPS6sIHR9fAK8GaNjL/sXfJj8Rjv4o3V0g9cunU5Er
ea+tc3+qgY0TP9+cY40g/kQXith5N+hyO8M6Ga7I+WJYPAZGmDHknDJ0N7VUob1vTSwsjzARmEQ3
wdX3cjNUlRr5oIcSI4pFdswvOtlGldteYaitPANxubHKtnOmMWZ8ad1PTEzuaQnyKIP3cutSUN3W
FkkDtS1kmvMEQ78ao0p8xFUjDlo3gct47e+XMpmt+jvl0YfJcieNHVPaX818HWJvnD8t7iZDITLj
ZBeySYvRrx4AVbJjiU9YaIzbeHZqT0vcpSpOA3PbI3BUd2igRdyprdujZrFkvDS+r4eaieGDNjXz
49Cp1601ynjJSLZmAsSQyh7suAPkjOFJWXebtmJxfU2zsy1VHVWjBcnS5DLUkUBG2F7PcQNhswjX
cu0Sp92cp1XWGhQWdbflunsaJnYyY9L0F811xpudQL6kY5s9DMXUR1S3XlQVG+8pdhEn6fZt0jRt
l5ptDtTNhA30vZYXA1Q6AQNqjsIV7t08O3ta9P33veqC26DStLNVYvalowQEV5TBWcnsWTnB163R
vyw4WkVu2YFrNGWZOjNhCWIVr+asq2g3bTDIyWezRBH3bd3a8QhALh+NfpnfAHzqAsa3bUa6q+aP
c9dXN2yL/Wkas/re64zuISc8FAJLVR62oHwycEVMur3BN3nTPuBFOR9FnnupVE55Yl6kR+N1dAth
PjgUu0JeB7KeKmur7neElOGicV9VrwVfyk0Miazy9rQFW3e03TX/YqyTl7iyhv1lquqyuJqPKDLr
I1IBjBB3OHW/LXMbrd1VmNpjqkHiXtWHQuu8j0tH6mcjs/EI2YBjMGO/iyD6MF7X2unZgPWD5wLi
d7Z7zodwm9ZXy+WONfrgHnVl1R8CWflYsjRbyTgw0897v+r3U3ORjKIqprne8jq2nv6x3pn5DFVv
Hxj6PvV4a6eWuc0prnk7StnlTUgSwpCQBOehaiUQqKHf2QqILqcki3zXYwJfFW9dULHE3d3HBkZg
VlsIHCdxY404SMvL6lnfZDnm38150WJrzMYH36vkN3yTnSosSF+ONXPt7r3KMtm+HeBBCyQd4YwR
4dxV3ay+zq1T1BFKVq9qtVsrGUbDgl7jjvVj4bsb926p8kM9QyQKOckhAcPiO7RmlV82mEpzSIz1
nkpqjHtJqZB4wmoi8FRS5IPBOxBwX6V6W7wyyyMWce3Nc6XZvy+DNO6kzL/pfIgYUhnT7I1ptiAB
eWhVGAhocFNmyQ+2zXi7LxvOcNEBizuEIjwKT8GUnBz93ignUHo9LxK42psfjnsbhDCTIH1jW22f
tcLL43H1tIvMEHCx5sfHtVFDmONMcj8KznXfr8e4sPUcM3mdwHsraxG3z+UzWvLqRAI0q3co+NGO
+VXHZPhGd68uDUAOSZlJIzXofUJIfAtWMmpIwGd/gOkOL4VjvC3XfxdniFk407kYp0BFg+YHd05+
ZeACCaGbVvgXmc1xHfrmDXALJu3o87Ja+qtdFS8wrLSXmS45VfBDEq3WzY+bm/nR1R2MvU/bh/uq
1sB5shnQHTz1OCMGBtnwlwhfHR0mbEecmL9pSNZNmRA7Dj1/EJQb47xdVKO/5FJWC+yk4Zth7W+2
I7QTw7xhCm1t3SIdN60bfI/KxG1BORZ3/mY1sJaA+dk8pkKjX54UR6Y2L/curmKhtXH4bqijxNWs
3j+gbH1Y8u3eAkeadCK77c9D/uznQVIa/oy42svDZbbXB3tjLgkR8YfW7m+Dpk1Md0dCPmCQR7zO
yw2Vh0zbAEhfV+glN7moK2GFjEkXwhIswTmyg6lPyCHV7ipanrjfenGkLq7vJDvPPXCaCNeNeey8
OwgOpZ7JSNvc/guYgk5p5RjDAfH0cpjRYMU0BHncVtmWqsDMT4QnGxGmLV+FUTdHQttB2Uu3P1u1
pQ5a1wbnfkJfsRnQOIApzdAqNz9FPgOlZc/qcG2KOS0b99WqoCjjvVpyHir3RmaLczCcHhl/wPi0
syjga7grp/rqvqoDhIXuHgS3hebdD0GzR1Ls2ue82XDKAMb5XBoNOKMAz+w5apmdV6Iqzgp/QOCK
zeVXW9dz3hp9hLuI/7T5jPFNS1sZqax5JO3pVcxjdrsoWBLwx15cg/KrbI0V+tyVnlUOuTyWfqOQ
UiwSvpLdxZMilhcOmHPMW3f6tq0iu19Noh2LrVsieIrG02BT1BLT4nDoFqdqlY+sODuGcOs/VP5c
X5qROtZd5ae1GFg2IzErS6UNJzFYv3f+ZCdZQZTQkInvG8VS4gYly5TR0wEZiDGEw1ioWLb29tBg
dhx5EBVCvSvnpFiy7WRI4r0I4OjNz0jM9xRzOnoZMJ6B6ZHMbgokSyvvmcL6ypqHeMET/+I283I3
5xiNstFtx7lvtCM5BENq9zMhzAOIGzxKxfpFZseun6Hw6kkcRcfjnmqo9EFo6JAgQxsx59M4Ws5r
K+oqaTu7oFPp1Md2021OzX4+tF7nf5SsFdixMyeS7cBBwEXROclRtyONluk8MU88jCOvYW/Y0xlJ
yndh5m7SCwBfCfeXIwZL53W28pQqwUnE6hDVhuw5su0yiDESOhI83cDUlXYCDtHd4R3PG+uqZN7G
+8acoi2Da4hOoUzXfvtWM8nB1KHbjrnM3xyc4O6CkbU/yQLdQukU9xtk8ZCmpQ29gVrSsmctLVqx
h2tt5pHZQa4A4ipymKgmliVl2T9k2QzKtW/BEs/K1o+qD/JXa1+n1LKm7tDvBXhul1XHZjPmb6Ww
9jtXh91q1ro69o3YLhBqts8E/JhnuCwblkhXFlO+ob/JNOc0bHZ/021z8Ny4ffVJ04y5ZAtcl7jQ
tPpg0nwdgN3xjA+sJ6fYZA4guy7hnjn1k2V0x4ESvWNiBV9Qxw5elwdKt+KMrqP9XOk9Jd4osucZ
KCxl/xQHYl6WWIyZhQFPyYxr0TZohqoPpwLZUafvH2jHyOMatqvFWbFB46PEO24ZSOVeGsuLGIWb
KCsfH3Yhp9AyIGeWSCRhseWveR98AN2FJue3Y5gttXvEDsS5m72+enJZSyc363GAGTm/KFSre9ux
0Qvvjp0a1vqlHAEOBdVlUihzOwTu0CU7OcbJjFl41C4gvTTWJEU5jXteSjXGpUthqm+edTdMxg+3
gv678BofCKWEblhiWDSwZ8Y064+lkS+nAjNTCFnLcOPqGFHMI56m7G3mrQcdIKITLu4JshsehdlY
Z0MIJ9lcJSJTukbcjI04Dh3Pj3yNyQ6Lct6BNNUOauWhJtll8KUryjcNknooOwczYM3PgPiCr1Pb
z1fdye8utIVjvwkj1OtgvDGh9tB8Bp9pt8D3ZyqpeSqQu42zzWPpjTibhYz2zLITc6dqhzTtnCpT
6yLbVGwSvsVOUHJfhF0asUQ8BFPC0IF9XKgJ+0ethOHs454W5sO+3FXBzBASpeuZQHf3E9G1iAdy
yzmUwQ6ftpfLMVNud3UGCg5rAF8clixkOqU5n1Yy5GMBazCCT/4dykEddVjf3EIy/rYR3n2a622O
rD1bH6D6rQe9Xt6Up4L7DaPAuAJkYI+U6ylvBYz5gc0eLpi4kZYXHFtzWJKc9zkaN687+FDyP0yF
7Z9n5dnPy2Z58VqazhczUP5pq7P2iRuXc8vX+rVfteuyaL/aM/zPtrPueU/cWwQqML00fUrMyXGg
68PoVbDESNKiPy06aUdKmG2s5Eh4ok8j10MKoC8tp2Se6izKZ3Q4mmKLMRea6HXSQI49IpTXTM2h
O09vmRwYE3XKjUed9WD7uZ+MKlA32aLyIz4eU6xytzrLfKlTv6yuaV2hJo2rhZcwj7wYEabvJzgC
zoNV1+1HOK5u1E3d5zoYssQWECm7bIdsVpRV2puCT2A0DOAduSQ4GdunrjKeYd0xMaCESwO9dsK9
q+cU3psbrTUChY7JJieV+VwPg5boFUk4aOeXA1N+M2V+zUzdk+Z6YBwGQxBHK24q3fJp0evrBquJ
g2XUBF5NcEdmAgEjo7lWqoWNt3tLwWLt8MNhSzr35TixgUtTZzwoqPzNXDuh6v1hjc6IA4Gq46Hx
xmQ0dh2butaN69mun2RFDeX1ozgURHSetGUbD6NcxLHFo+bo9rOfznZAVGAwT3d8BJH0+GDc2cVi
3K4Yzr9UlfEFpsAU+etUJY4ttjhfWj2FEE7VUHj2oeobWvcs345MsejeywIEH/LrbUCAy0eZV/IB
bPiHRGYFtxvnOHeG7zQt8FkIJBRHfs8ganEtDwUj1GRe5HBvdkogkQjGSzmM9c1iq29XmTfb29Vb
Gm3ZA33MBrPGz+9LdCEURNpmn5DTy1Sg7j7W3ShvcjLZwmWCSVVk3O5m7KuzZ7bec5Dr5su0W1uC
LbvCxWWDat5b3rGreDGrosONZvJ6DeVEhoJrdZiqsTGHdjd/8g3kNcTEz/E4TOYxH7f2hHmc8QBY
wXvgV8NBr3rjEUIiTJl91Ckws/LKbZeJRmBBmmcqSOfJH0Mbl4aIEWd3qHaljm5OqgahdF9625wO
grnYpd/KNblqYNLVZO2usG8eKqecDzJbjUNuXI8qervUKwcjgU4R0O0iy6DseZ6HQR5N+DdhS+8S
tWKDJWob8mTBT7mDYTPGmbX0p301Xagic5P6hEQfzALaQ9aVNYxzxH0V3P1YbSgB87x0j7kNjiNb
1aF6YrIgptZIyfjbU+F3w/cl64sPmjeIGMEGRH7BKDuDA+zQDi5LpA1WuheMOJZDoXUxh1kZjSPH
h2qtcBkVVGCrMW9rtF6R8AyGAF2eUc3lQty0iBthUBvPddHrUV5lfsgQR4VYTMuQ0UoWFoVihm0G
InThe9yit17PXmG1h4xWKOk82d2a/jSGQWOLA4zSOsSFQt7tyIziyXPrCK69cSmgOx0XmM7hrom3
Pa/bExutSiUJmuneqo38ipqZLuEuiJ+m5sCDzBD3XntFZwzibne0Z6uZ/bj1NIpSy13PEJzkGcKp
+RGjB0QtWg4Jyi/0dGnHbwzPkRo1uxbmHjTsre32PNzNykl9ZmOR0mrjoOy6wu/Fg4RjNh2D4eGz
jqAt3uinEri2WagBYp9ykvyelm0IR8Newk1DDVdTQYWG3W0RFuNbRBs5MeOjfYeX6//e7uZ621na
R9djPDgiTsHXctE5H+AW5brXUmeMDKb2/tVumB0AG3vJouPmIKp9uFxn/Mh7fI5p09velmJqGT/p
QJiW3KqoRFl2rFvVxDgXar9jTuHemgOzyRLyekx5rYfWqtspEmn1VNUXXdzUWKt8IyW0DjV7DFBb
1txbo3PvGWReqfE8XNvStrvCqOtUm/3qMAbKO62tpz46RQY1sdTVzVrq9mG08gm2tJiJrO8HPjlR
nSvGHaHl44wTWGYPv9tjdeBHerNIT4vn1spD7HaG57KGgzY0xvBB9cJvaYjhgRNPqO6kY2qxWdcY
R2jS/AwMg27HoxAMhexz4AVY7RCvywS/yHMeyLCemuayauPvw3xFAZa9j+pCzjzhZbj1AgYnwl+G
73UXzA+ZUfUPJs5sN15rLgd/Lz9XezbdwORDb9IIBG1MoyVTesR/sccQNxEmpY6tcvnJtoX5w850
f2KlBHm4Zhq8LJ+x2+RI/V6swQtRdC4CiMVgMIWjZq8PiAbXzb8xln3HiMPrD5VZzelCYx8xdtXD
Udvq1PJFfbtW5mvhIspj3mFt6GQKRBzl3iBKdYO8eyCWIf+CZkK7Vw5V1rTuiAyzAWtm4WQXi5aR
TrkxHsfK7Ypo8JiXMUTI47yYZeTbq3NDqthyD21qTKFJ778TEbM/TDreATSJvg89sfu9R/MR+8bQ
fbQB82yIBQhcXPAKDhvLKZsXHw3gyciw+3ApuEK0nfMxK3YtdsbS+OoHrf6DNvGLU2fLPfib/jVA
9PC5cqXSOLLm4OyiWglNogWfemZxB23RP9pGmYe9RY/QIfk0gtG6Z+F9tkbpL7GxqPajrrqOcKmu
OYxq31tq0709ND0Yayy3pvOTveuQGSnWSltJxto4/j7QZX5nQ1QPGVT8SKzTExhicSSwVTHcpWyY
TZDxWV41CdaEo6RTuXEwDVo4kKBDT9xif7OTyNyM5nd9KZsb2kvQnT6bHwa9pCftscApRsaIWWFn
Ibbn36CfuEnhtMVBWcbc4VJoaJhdbU7sQ7eNR1bKpVoYI8yjM9NLMwMwbCQfWjVYty2+Ji/Gzrlc
27nzzXMzHfShndeHcnC1pLMISiUXlwFHo0GN1ZhZjwxGh6gt2PeNLdB/7AheoiIwmyezbqoPZV/0
n1zbgYFft/uBqmJGixBMXyawetMrk+arZqz7UaumGQ/e3mrDZV3Hqya14HQq1bfJaOwTM+bl0uCr
gTpnsYIzO1IT1d5Q/B6UdXe2djXdLJyP/5u081qOG9my6BchAkj41wLK0xWdKL4gJJKCBxLefP0s
dM9EiyWFKhTzcuOavkQVKpE4ec7ea3tVMpd+EjnKdTkxEW6wEQtrjn2Hedeaw1hNc0pJkpVZQpwu
JbmgspfNlhA+UjN04BWlndrbvKgTPBQCVo+bDdNTpzkJhK6KBi2gGblHOo562Wm1LRJzB7ehTpRp
WTsfCuayjQUek3c0Zy6x/EsRl5CW45LvqzM3k6l8DfRW2xFK+47/eT4wIXzBz/TsJOU7iDla1V3k
6J03VlmJMrI2yyencx/KclRbfEYxDkwFZfIwts3oqbQLnitFM96TSsC0bkPhXAH01ykf6F+VsZXz
0k/DqyYr9dOUzTnzrco+YIuahu46doTcqnJWrvlM86oaE2TYIq9ST7EdVEopculmDgbORKwXNBdJ
qGOyScdpS+AIHYgg7L9GYLKuJpi9N2nDiKbQkHHGuZX5OjPCG7ocs1ynVh9iBWYK6adumTOzc5Uv
paXYHg1nw6MfV3kiLOtNzAh502sFc8RInX0jaMmAhIx1DBABHtQoDHdRQAel65yKE42deuWgMXYp
UlYk85CTMUf9TlYTBxkjT+85kCF6rYx+M7oWlneNKtoIhLsGa2tv8nbJ5cv7mdE8e0CXzdIHNMNs
DhbTLu/1APGyoOoPjczrQyf1MIHpOMcCy+8HOksjXnHPfg/yU6J87Ss58SaP6L3pVcJx261/wBic
5SrB/kaHW6jM7Jd6TS/CbMWv8Y2wXfWdJrfa8vem+qGvC2fdgcj20jJrN1HaDpwcwJuOpBVi688Y
QE2D8BUwVBu7sc2jPdqjZ1itoP6jSz428TtnbeEPc4LqdSnSGjcnYj6kdaEzo/FUydRJbadvjhZx
zM7nkaqDHT52VinKVZBo0/cBUyHKaNWi2RM+8N4znoPFSED/Nf3CXdfe3Cpv6ZZUKBZSPea8lqQM
NGlAsbW/ZZad3ulMmcgnzywvdbXsfupc8yVt8/FZwWNU+f1ID9YNM+E3fSNXWPcbnKK0kO3UejGb
EsAZfK2Va4V4tgFMHecCC10W435CLcYwkgNRT6PHpkpPFoKIykDnmzJhldokJV5Tv4Ug5kPOex0C
HvDVnJQtZkKrzylVUx2H7JjedDoE05TCQQqNDqKG50o4Q7tTgpnQQGyuu5z0qAPSesOzClu8TBlB
JasEo/KqdO3htgN/6+v4PY9WqKuvSmZQMZlNUG7MYhQea073R110e5vzy6PN8QmaRu4sAZEoDhyt
/OLWrGQwa5M/WQYa+EANsK0zze6wTB1yVQoGj0jvZ8a1Xqvo9qY1CHiBS9pu+TTjdlI6ZwPrQf1S
F/CjVejnh2Qy5APp3MZjmGM5DBISpC0y0zgut9+DselwoxS5t2h3fWTK/TGSTbFJtDZHXR9HB0xz
/B6JoGiymVwDI+hqs/VtOWWPUKGSdyaDzvcoIG5exbD2Q8oYw7Pshi2J9OlDMgXuTlOr+PuYpnTx
a84zNNwGDpF5u54DmT7aTErvGTIyUu0VjAQrt9QE+PVeve0E/IRB7VHj63M8neiHM6pVm06syIqK
OdEPHAv6GvNLZ+dUiZjATVNWG7fT1bVD76Nba3gIj7QGZ7+PbIZ2nTFtTD270REp346KNDG66O+5
XahUivSvB71oj/qcJ3sIkbj1qA0Q3yjmm9oBhhilrdIWNL9PqYK9OxrmGuON+gH4o1wNkxJ6uijt
jY03eVaLVdQPXh+b1qrPRcRpdcTE0yo0f8owSB4iFs59mg3JO525rtuYco7vGCoi0+dx2fYdNExk
yCF+xRp3NmDcaQUtKrrJGOrRhp/VPYZI/YtWZu6Ou90Apu1FvnI6cRerOgNKad32lD0nk4NbhQIn
67cBXJHNLBCKUASr8K71al+mWb3W6p1QzCMBSLz2h4kHJcrl5Fu62qznrM1pjtpahW2FmcVVXAh2
7CrKD3oXwFWwaaOPk6IfrVJYX6N+TLAaZA1lx1K9UaRsGAQwsLNDdc2A2D20Wmv4PaOmyCJckrp2
qjxZs51IcCdVEkYkswUf0E1SWim6uGU2Ib7mHLtMv54p3puRBgpzDqQDmRkbtWc5w/QsMcnuBKzO
jJNhHGzzSKdlX2vKTRp3CLFsQDNK25hMsPDZlMDFgw0u33Zr1m32o9eM4CUglfKUJLH17KYBXSvM
gfQdJZOHzL4fYPVhU07YLi+IyxYp9pm0bLGZmTyxBoOLcyFhpRqhSgR7dRfb4tpmKtyN8drsABBU
062hF09tGLyqqBBK2a//fO1fhXOL5FnDX7FwsxDnnSlSQbzPMZvbXeTN9dYd/lLljqQamwdmPbSu
TOmMM9F+FGvM8s0+uNXYfjqawH/FzF1EefCnGXpAYhZoT3/RR46Fip1TwBgbs+uUQM9W6Td/vkNi
+Yw//zqLaPYfI4AGUm0ZLH2+RaROT8C2a5hUWqjRV1KspZ3YDkcymvDdWHmD68eY16FhDyvB1P8m
UFXQQAXnZSVpso+ud2aOrH2kHvqwM9fuOMa70WiZR6thd1ciVXmlIGAKYJdUMBdW12c8GyC05eO7
NpKtJWj5F85+JtRajnZe3TBGxEx/2wzb2C6pXJ9VHtSSNCvgFxfkkv/elM83bZE604jAkKLaurms
u58UwaoShniIlfYmtJoaf5NNwzTVqKeQWMzDd1Wj85IZhvSKhMmXSKLlDiE+W1F00HabqeBn6Y6P
dJ7MXUxrfnl/Ds8BSX4kKmN16sTSR8as8QBiuNgoWpjtVNM0mWokbb5HTWJttFgA+eXA55kt9Rvz
0c6fc435ktvsM07JfgHrz2Py/NyLrvBxgUqf76qgvqgXZtJE15KsYZxitPqLungKRtukRsNxWYaR
IKtWQ39EIcgGiDdwGxQzmjlZBOusi9ojXvRyE9t5etPygDxMXVff2AOrtJirR9BT7W2sqc2x0BFb
OXtNBkibRmiRAZqenZSj4o+DfKOacFedqJpne1DQnoVj69dIN/xETZ29cOoDRTJ1O07/4aAY2Qdr
1TlFvcP83urna9vJq72tucNLzDyCHnRv2Ztp0iSrkdPgZFCvr/oEcxnJGT+mzMw8lP+waYSebZqC
TlJlNs0DEJJxM7Z9cpOh9DhJGabmZiQweD/VnDELrF1rfbTyg+tOoWQgqsWPGCTNtdEpo0cF+Cas
ytrPi8hpwsl7yAPNaldjYePyDEZs6/wz19AQ2F85xVAELLiaLs2yvaJMyX1Tys4fbK1f66VEqZg3
wYdjZdF6qG+1ylg7MbamMDpOsWDwEudYLtWhvJvoMH4Iq6AfPTJak6vUogkczAhOYS3Ze6Q601Uo
RLXJiqxYQT6hiaS4hscLmxaMQ5F+dK3uHbeDfnITW+4be6a015TkBih/tp/JdMPS4eZbTu1UI1Pa
YEEMVAW2Q5OdkoYAJ7WpGIk71YQ2hughYzM5tF5XZGh3x5a+pa+1Ab4+vJVWtuqciTmCNb/1Cv9d
wfpLV9GQMhmxiUXZdHNJRRzJWDIbiLoX9OG8Pe053bbpVB7Non1leBI/hWVPn4dUMqYtAi5sq45+
Aij1urJNuv9Kr/qQG3DTRCVIITMB5OPgsTlJ5evUfGm9GGbRFjkpRsA6ip4cXd4pNWFxHH/6PMiv
47lDGhhlPkq+8rmIGv0VM336EFZNtZ3dMNpLLR8OndZFN+4gnStqB5p7fIKZgUhmggYobVLvpxaw
FfPwLyWaxKdCp/6Zm12tDUQYlElBiCGeAoZF9ngC42SQjBJ8rafxLWh0+V2pncBLtGWYSKvSuVEQ
lSAjNXWmfmSJVMyKPWwD2Z5e8XBQ7WhicNVx7G+KboZzZDrbGoKDthKNnwhgvb6V9OKL06MtzQ3q
ghVlCr6E2o2Zb7uKyZDSDfQNYx1xHfVTeAgt5V2CEN7iRP0IERhBJULYwkcIfiCkkZtRCXt0bXXn
iQl/9mRXP6aeo6cV2TS4w0WTmqn2LpPS9XuYTQfBG4afOrYQx2ni0REcxAdr/GZRvcGgD8WBnPUY
y3BhXCuRWx8VayrWs24Q/FkO/Vo2g3tFAjOHe7dqVoOJg3ISSkrzH0Nnbkj6xe2chBcyAc4qCSLq
dPx5S+o9k0acX2eVBMRLsyuAVJ5YTZW95nf583v40t8/l/gDGWxo9JSnLDu5NLvk9s9/f7FS/PTG
ImcZu6a92At5S1CJnb3mYzdogoRC5s4k9bGNwq1pdIcMEjyji2JVM9Ms2Ob//powtsm1EPioqL8+
vyXnegjq0Gq1OxFF9rhGjzbfqkERP4SGtL+3jtU81YQwISNgsHrh2p/dK9jDKGUW9wfRgprhAiv5
fG1VCdKFoebeVMCLhjVJP216obhcPv5/t3S5hK4SmE2VJqBJin9sQz8VAeAXAm0CK3WDi398r2c/
aNbdpfrs0kXOKo05z0oj0LmIQXxc5TO+12PPTPw//1KXrnK2uukfZUmaDy75VN483ATCEwgiu79y
IXLDXAcXpcEdI8ZSF+rZGkSwNk9GH8W8bONuE45DdZNMfXhhpZ9/F9fRBD5K3cCCSnl2/ss3qdYQ
DlzNdwyZQyg8U7pN47rYqMgjDgqwyQsr7XMF6pAipNtY9xZ38mJSPre6akMI4hkc5KmMvqBCn4cX
t6H3eCealyAukH9e8qN9/oJLyYsFEn7ecjHHxC36eWmn7Qx8dCoEg+5ojQStVX01RpCo/N2W9Mt1
ztxZAy4heg+luDbm3rmNZ2dawyoLXv9m6f36bc6cwp2TlQin+TYS4AXctOaNsBUFtN2fL3O+v8KM
Rc20pPahcUJPutzUnx5WCD1VJuuoeYhNOHpj5Wm1c2F5n/0unDFt/ryGowyHOmQX8fkSWHECmPFZ
8MCcnc4wzdHJpoV8Ydf5vLFhqdfYTgU+dPYe07TPU6MLI1ICtSpLaFb+okSx/emSyXZZQP9tbMsl
dEBK2EQtZLj8yme7Ab5qQ2dEV90HVGUxVN8gOtTjLuHfDeCt/u6H4WKA3BevOF7Dxdv/+a7pVZcZ
juzKe/HKcL1++uu/ziaAIZUTANxZ82zLUQa9dedAze9zdc8RSf27BgB3Cr8rkQH88JhQybn4/OFN
czRgUpjKfT+4q/iEh+PC3fn11yYLGsyCgfkMbqt59qxX8ZD1RqCZ95spfVYjHcVN8XdOembEBKEA
CCIFxVyqhLPHPGJ+osP6qU92PyFqWff42ziG/OXvIFhSeEUIVmDn4kqfb1RFiAT5h3FzcrZWsqZr
///782dPd+OmBthi/rzeb+xtJDZ//vPnTzbACfow/NYUgDpb7tktAmoWxKoY5Ek1hzU4uKpXcRs8
52ju/3yhf6zEnx69JZoOJ6zBiqVddR7qWchCNOmc6icSwHUOKdqhNjE9mi2a1LLLbxeZIWOEY9Pg
/ZtHSo/hGVfU3/WdWBI2qhHCz2g72dS8Z09NKg0zb6qxvw93gbItlL99apY/z+7F47hgCc4bgppS
ReimzP5eqPM3U5ovkJD+fB/Pd/vlC0DJZ5+n8gN4cPYFMq2pwl443X1qj7uvCpOFP//95Qf/9DP9
87zzhmQtG0ut+Xk5j8OIfJlt6yEDLae06ZHhmY+dyAO8A4S0XIcKo7Y/X/PMXv9LoXGOvEAxnESD
KHJoWjWIACO5ql1rVU3Rezo0SA8l0yoEawelbI657E4XLr/cs/++8/9dHh+8w0MACvTsEZ70uEUA
GTIFrOoDb4eXbkbkj86mj+PY7/vAoveCkW2S1sHqkkeFwdKFj/C7UottnMqeHRcSzFmtEKe1rrUM
sU5C0W9Gpb3uswSNiJh/OOX8QrXiWW70bRzr65JcXrOOE3i+NmqY5FuiWLs6WUSqGthFx9NEfUQQ
fGEf+u0HhLfMhkGZq55T1bo+xDeKk+CU5TzC84jkgizk1kBRVWBissrJr632Db/Ghdrjt4uDAZ22
bOUE1jlnv04jG7CwSZafAERvmonJQMGphEZ7bj7xhOn9q9NcKeOFjeJsv/p3Ufx82bONd2K2E9WS
RREYIz2lXdV/H4fXKTyZkevH40sQ4KBtblHq4EONLjzl/2Q1nS/Jn69+9nYEmVJiccvzk5IyS8Ue
e8xsUMVRjpPKyr/3FqbdlhCh1RDhnUCb8MZw9wME8QNZ8B7Hu00121cSExe70N5QGRKPmsQvUb0N
Ua0gUlDvTLpzG60riEjiGvWc3zmLhINu5hYYnccb1dlMffejzDFKmUUIXwAvJq1YrcAapFjrpMCB
vviYyDFbG/P8gunlSO477pNB4uls/LyMNhNp4LrOggnZRQDK77pA0inWs6csCB+tQr0LUunhVB9X
GI+QL02+JouDU2lrY6oeBsvduCWqkrFw5tWQW+laAp7lDYKtFRuxF5g5zTsN6mUptrUlPvrK+IbX
C+vr0MI3hUBMey1Gl4rwBdF1GD5WcdN5SSO+aE14tB0AnpKmtvtsGYuYFzqynHncB4SXXjho6K16
wm6Nx1EZroqkWpfILb0ej7dswvsLG8HnF/L/LjvmOdRfFKri/DljH6A3STfxRKLTHSNkkGbuKNEx
KYcxFHCn8Ujl+Juseasn8xEO9lMUD56GLIFh27eiU044XC7tkMuu/3k5InVl2vRPtQYt5Gx70ksG
0rFRylNavZscAPmdDPQrivZUJRsXOYUyfWv7Rx2s/nQxlPzzK2m5JcieGK4BTV8STc5viYqarrem
lBqlV4rjjBhsoyuiXsctxOEIAO2PGinU99ltMX/Ytbxts/k74oroMGuqulYy3Tp0ANtv64qMC15f
7cFg9gAGNe3e//zz6Z8ngv/7WQ3KZUA0FOXnsAkHPwYKTbM81e4+7t/j8gvZHNeum6A3uAP47ifd
dai+ol1dldWNbqvfa+iH5lxc1eNtABEFw42vO9+KFIVf8WMcWZhKzbOLjTpjtghaItSvCHmhKZ7e
uclfkVH+/fhMpJdgZcyqv/QC4ySUjNRIfZ+N9hhM6V0ag6EfGOhe2OB+s6tTJy1BR4wZgXOcF2Lw
HrVaoBk8wU4Xy7Ameke5k+1axX4fizG/jV1jvE4sdABI0rEZxKNxofb9zboioWphbVFJ0eY6K6Us
O86JomjkKa6ep8G8L/IZFQ5BDPbOzd4MNbvwkv/1FcpX5v1J48ZksOacPUSKGpaqSSjJKSxc680Y
ZjIiDYCAod1GO7McxVOe1gWaWw3HA7F6/p/X5m+/Lqn1zBRVZnHnRCZF7VANVoXkJKHi5Ga2uQrL
4j5u83zVT+reCAu/c63tn6/6uV79Z0U5wiDYyV6eCF2cfelGJRtCmZebHAE3behQ2OPfVwjc2P+u
8c9D+VMHJLYDqcx9K0+G2LpIKdoJjLz5jIwZQ93oE59VaPF+6i7FUS6Vx9muSJeUJCmSnWhcndeN
UtdwXQcOd1RzH3tHQ23WPxFoceEWar9eh3Lcok3PkJR+83nfDzZ9V4rCrk+NZt42QfGklD1a6WwX
0vXB5+MDeHqEt7EnJmVTDjMV9BLNg0PXzeX9kF4KtFqKj8/f+/PnWVbaT/c7GyRRH45TU5Hdmg27
EysHuTWhKfVmSB//vIB+fSEuF7MZYdIowKd2Vv6NUIlmfHFY0uJ4r5bo27t2Pzv5Dr39hXPIby6l
Afih8bi0IQm9/fy9YgJIwgkl26mLkwfLLN1Tqkl3EybiRxhM9oXn8Te/KlcjXheEk77Afj9fDWZw
pyVE6HI1ii3ZbFS7WOfiwqbz61PPUZS+HR1qFaXFL0IOF5tgG43NSZr1usm7b3D9j6busAuk66Rt
rrCoXNhXf33kl0sCWloeenrVZ4+8MtV2NmpcMp0HAUlDU45qpQxf/rwufnsV8IUcmlSCHc4fPt0F
tYxlmMaILE5FbzzoenTh3p1HvFJ5mHTcafAgTiY285celR4b2MBmejv5j1qUXjVMCInfR4cjoETn
MPpGcSIyFCJSdGF1/O7r/Xzps2eMkGcY8c7yuzVyV2ktasMe99Cf7+FvluDSCeHtB8JHcOT/vAQL
iY8Kibt5Z/d9BYBJt65xq+fHmfSRC5XFr88WlRscO2iKNBR/+bmUpHebyUriU2faMwsPWTcp3qo/
Mcb2ZZXOFzbNsz0KBRwhlI6OOEoVtErOt400pJ/dlf106pesAoXskO3cqbCBM9JFXOQ7HCoa/cIo
9ZeLoi5mbIYRG0bAgtb7fD+DTGR4njr75ARNtwk0lwNPNKXH3hzszcj9PaSDkl5apctf/Wk7Bqqq
0n1ceqmggRjGn+2QekXrJBtV5STQeu/VWlvSuUFBdKUGWKgJtVvFjocvHCjhJlEqH5ywSXOv7tP0
ZbZTbJkimhPP7YbsFEtAGTmWhbs5jKlUxjI6lEgJ/rzuzha3QDFHh4kyecko5NOf3acxid06NHP+
PoghK9r24uHPFzhbbWcXoMr//EMYmI+d3qLWCS1ybHLkiDGTZ6OG1HUJEHr2DP17KeRlNP1onfEb
fL4Ur1oUO5VWnsoZA8MbiUP5eGnk+9uv8981zpt+fZOCZ0FtfMK0YxhfQDGgmyH65MJ2QEfllxW8
/DL/Xem8RrXV0SL+TC9PKila6K1d5yZLyK8aK8YADaai/cByu0kxxh8bQ3yjM62QFYPgx6zqxJcw
t2hK8X8An0f2a6UhMc6bRRGc0cXeGXobYtI0FFKIWgNWT1g4P2KtsHblYH+F/sAcWM4fqaLYZFeH
lp9MVWX6XWTTFCbGpAU3ItxdkWcgCeswXUd4jzb1EnXIFrKI8iONbCjNXoXm0K5q7GFYDp8yRBwT
WD8fx63cIlR+c9o6wjeqlV5Yxa8Ic94HvAXrZKzaNVF7ILAaGDnxPFgfSOA4rBEG5Y80t7d5CtiO
YFUBuSeJTvM4HYo53w1Nq3oOgAIFCwLsAKsRjldGheENVScfOxWt/DU4ghiGVY08CHsKGIbYIMFN
QAMRKQElrlYVvm1CZWC/JpHUgFKTijHYWWYiyezK3vQ8NNZYAOyvNoZUOLRpuS0qcspChZhqCvAK
oj3xZL3aDn7j5GLdxOw6appCSCEUZK1YrXnf6H1zVCUGzqKjAoCUI/cpEPwVqdXGTtOC8qvdhs3W
HEhytAWuSbdENu9Eun0otM715yxT1jVGVN/WsaYHdf/aGKHlFWan/QgMoBOiNoenqbIERuhp7ABo
gZCajJq3JvGNIeF7ASYaR0/Xcd8RpFSFGgRi4j1XiM7MbVgBNnLdon0qW8vw07wIgOkB67rKhkhc
iTD/UWlEo9EscfZ915cr1NbWpp4TMIoFXna8KwKgJE//EDvja9y7oIMwQq9VJ7DWUxHrO2ngBUR4
Xl/HqeMc8qFud6Y7Mapl1MlPaWnHKKy+sy7sTSYm/WtI9tw6FRCO+i609xXq1lXYTtk6qad3MRwH
eOZ9MT1WdgBFKqJpJqOovwkCGWzNJEiIeJjNHQno70jIFRy0Dr+HU1S+BacBUnUGZU0iZ9wSEJys
HcLR942FyGqQyHDjqz49xNUKKjwmki63ycDRBPEtcbgjS9zYBWUHzwuoBQr7TMd/NRipp6fdj3pQ
XqvJ5MhX28GWoHNx0xg5Xb9GEkAYT/YLLJnJWhEWgy84ZladjvW8bbKaODu90ZY4QLAMcaTcFUPp
HNHztJvWTMZVIfAvdF08HgcAN+gngeS1URVeN7bxobgqcnenNT2twp/VZ5ivycJ7HUkb82g0F16B
+nuTMfNdBa027rU4H3ldkudETE+/bwItuA/COd43sgT8P1blrTthpXVn6JjYFgEyFgDlFYG93iAT
EsH3GK7zLCa0lNimm7iNSA7AVbN1IvPNgpyJRw8RXFo532EnLgB5w/CcVOBhyQPOF6Wsj9jNeemp
4fUA4mJPpCj9VpygtECiO0ftRz8qneI5zC17pfMfN7rREZMEtG7TJ0S9IzmbaU8qePWSAB+VMoiN
XLy2piykX3VkfMYuluxYLHbFEXtQni0cu5zGFCrb8MriP3pxAxMp6soY1Fot30IFJy7gL/CKhq3Q
nOiqyWtNGxW+VazCZgkfcBxC+tow8/TWKVDSpiPyfwvMpOOQl9CHpR+1qoX3pm2OVhATn1UDXxrC
qnsIaZBt2sV528m5PEQOevK+APtglXOF636ms59WwYp/IrjTZkg+aiS/Jl2se+kUApBoYoOPXHP+
04FpwapogcihG48iUDKJS9QHEQLuuozR8M0Qxja5kla0WQvjex6Mqlfhn/IIfH2tMYF6Rpy+D0Xz
ITH4MFtI3ntT+aLLDv7iqL8VQR6AneOL9owPV/w+byaBQcjuAulpXQeyVU8Sf4ZyjbZTRg+cKtNV
YEOVKVrlsSZqb6VUVob2MEJmmKszclXQXWGb89zkNT5Op9C3FhSJ1VBROPSGETJzgXlU9GTGrsAY
NE/8gzyJWTzi7Y1rzgXsGE+x3eAdMqvs2c7zJwu15peuU/LjgGXvMM1leAwhy1fYYkFLdYvO1V44
C9jSlDcjdFw/L7AwYjVE+OmG6DtdBTsTx32fxDHrUIT2h+GgxZpx8V41tgt5bGiUFUWwSg+cxCZF
5YgX1j3TVUsmWzEYxrpPcngZPCcbSAnWfdJpwxaBUXMN/Ky9kdJIDnXO3rsUtFdUyilhhNGArdX8
wSYk/Z4kD7Y7Um16i2BnpGfJRvbutAXtMm4iBkUs7aGjeYRTDOMYdk5DnzzetfNB9N3gz00jHmQS
WT1S5a6DnA22chsjzMYj5CbPRtDwVhekPr0pEqjJCtAXpi6j5maqQ3hKxgXLK3ocey5DLrd0vrkJ
oWJwMWGAuDOi/axMwRoR1rESeClBgxopWdT2i92YX82ue55MqDC1nsX3sC1TvAzUgGZPyWAR07uC
sVMfs04J78wY5oCLwddrG50j+ZjifRmCcUHy1DlWpFgz9F1AKu3sT6FZHwppMHtBnoMBLAxvBb8a
swYQ8XZakHVDibtpM6xHxULvgYOfrThnBauMqZJn2x0ElKjIVhkRKofRNsaNqHWCHvHm3fSpwagx
NCDSBsZHXjHtajAlHtS2bdekmTovAeQp+Hp5uctMpiH4BPSNA3HBZ/guXhpgapCP0JLhuZnNx3ly
8D13RoJ/JtT6+xw+EWteLa41A+PCoGQ/5MwGGSXIFRvVquGtKvHtXCK5zs0+3TEZmW8lc3r+Z70J
rwxrQKyNBfQ4LW1T+FOhzxsveGjazNiGZmNsWxUEWIZBHTdSJ5+LioZVl1eOx0fVNuQQIyEqcFB6
pdLWwJl79xYvOut4qtw3p8bq4NSK5sNpc+/g6DprQx0QTI9kz4YZxRPQ5gijq3wWhdJ+s3Af4s1K
pxzm4pybWC5nNnuRdhAMjEE9aVUVPAZdCGukq8ZtWmiBH7rFtLZChmpuMbMrBw5hLqaSd9u5ncJH
wlDT+3pEOTjo0uGpZIYU5YG9l2EfrDlOykdjsWiCLnfWrcIOBJiJqeCoJxvkyM42dtTET6oev69L
fzvpnAeraKBOBdSQ0eAMJXlQ1YeOiwgKZzagj8V3n2nWh2owAqsKStqmZsqn8g4OVxkBg9+htJqk
aSIlQwlqbOJkJnFqmutbte3RHycuXxh1d5kfk1hrHyt3+mY1akMJ1L1PI3y0adTr674Wqp+q2vto
Lr/cSH/NkgL73OCQcQPiAqDHFO3GkUkPAymcFA57u6wi7SZiILNSCnZUp43njaxNJgT4ZDfGpI0P
wThJT4l4IqMsexrQwIPcSFq/qDRrTepknG/epBo9qshlQR1zNsePMm2HihCgAQ7FSh2HbosSG6dN
MqWMcCxtA6htXIOCyzAJBNka6RjWsSaESONQ/B4nU+PckGTtIY6z6t6s8mRXjZbuAaIarmFXt9+4
2dOW+GHsbAPI+3Vi/3NKrhq+9pgdiU9KcDmnwSPWcpzuWBS3BUdYGIoOYFpqDw1HQVQfRaJ1X9rS
AeuKptl3ZeFco2UPN+ZMzaRLq72DkMUhQAVv/0rkn5Fu0noaThJ4BXF1U199JSjoahzNVz0ZBv09
MfRBezSrNiZOj3CqbBeDaAs2plqXr7hsl8VIcja2CV3H227268pql0CdwnS9rBuBlRrEh4/PDVik
a2vgtdxbJBHnWPv3ZotpNLfd6C4tDGvtOrLcpXNsrUxN+Zo1bbrKq9jdzFWuf0srjXOLkxPPzttg
gAYWF4s/MFGpolw1XmHPaYnvhtnvZa2e7ukVTOs+T6I7TRJOhDmgth+i2AVuWRsP/YCPJYyYfLHX
O3dWjAEnIAp5VdUVzivI4Xb7FakhekhmHc5BUvnt9V6JNxVkiX2SMXZXKKn9TG+kH/fDOzAS05ui
Bj1/kwL0MoCP0tQiVDKn5lGt1MXhKvV9Iu0vLuqfjerUfPuhxl/LbrYqouBrFrSFZ6SGABYrEj8d
ln0QP+lKEm3LickBIDVO0TVZhhA4hR3kNzmMqsR3Ac5R1TsKn1TLqGEAlrBdmsl0DQIGbJuWmPO1
o8m7tMq+djDcdoOFF3PV6bgslcyt4SdA3yGvtfYjOARr1IP5BowlrwZIuxgiWZ3YaKNnygAaR4BJ
360oHN9sNejvJmb1O/7ACC2njW5gMyJpC2dTA/xs9wEbgla+tDlOVVE4Oryj0d6JOdJXSgDti5Kj
34u4s2/ToOYhLxbgYk/sAmivKvfrZgLA4wTuLX0r2Glm8zW07Q8lo+EoOIEcRoLavrjCUbb1pJTf
3CkA8sAUy8dbIL2oBX+h5FGLBTJQGHvqGEfZEDxTqZQdBjl6Xwz7Viower8KwvrKGrBGqDqRXw5K
lZXkUC9WSUmNB75Q2RrDQCyXBdLtTm1GZwWzR6y1AK6QGSbzKk8hHhK0RptLJ3ESUg9puFHx4YaA
RGQJOlwrQmNVULn5sYFfJYniyY+w+mCIUgy/dLv5TpiT2M8xwEdwfdN1qKcWZwxX0jqr661hyvCq
bkxM97npAP6Lu9s0NzvC5ET3+j8cnVdzo0gURn8RVaRu4FWAsmzL2X6h7LFNTk3m1+/Rvm7NzNpC
dLj3u+cASndPcs60u4k5Rp5UOm5LMP/vCcvMCTxBHmRzDiSWr5P5wKEW+kadwL3DL/sE6e13nJQ6
JP2I87sr1rOZPA3FFs1f5nP14VGYufHB4XVkfeHM02ii97Fn0yPuGydExpkGZmwiwe4brnwMyuZB
miR5oC+u927XktF0AVvhe42cL6aqppfYrOpDLzRkAHq51OmBlgacItEa0OrdpJd/SS7mQ65mK4jm
rAgLnQ5z00TkJQwmXMNy6eq7rjd/pGVpRzB78wZjrMmIBRN9vFcprIKR935F4ABfQn5W0un3VlFT
IHFsg6OfYsC8tugwVhnNOSaTXz19eXMYRuJctQD76xpOd1qh7ZwBh19ezuDyKk6r5LBAIuU1szyY
CnjvgKsw+NuBSFivlC5GEmpERWg1y3trZOIudWj0ZS3OgLTEV5raUbx3WyS5iek6T/xSqNAdvpap
S2qomz5BkjGvZzOmrXOA2lDDBRTSj0M45aX9NqRNGi59YX32iWneeVluppu2i92/tS+wq7Gankab
zE3Rd6CD9OiN4THSEYmGZY9lNOhtmGtVocx9541xwLjtN9b0MQR9wzS3a7FuEnXcZp4TMRHXfM9w
wV4oLYGywZm2pUAPrc3mES/LYj9WTvKyZhN+SU2H0WS5NVPpSxlQc7SYGhx+Jzx0foNQeZ8MCiFu
wdPTk8E81IvoHsVYIZEWtXOCo5zcOXaxbsvczcMV+jH12oZfw7jd+LUPr7bqe0KGnFL7SlHUsylb
xBGvpfjHrvKLqgX6FSEI314Ymu+1mYGzSXiBvEWF4jR12Dyhyrdyqu+dVGOUsYLKUMEP4eeTCf4M
sw1j3fuicdxutaGauRiK7msdqT6SFuVY1U1b067LO06E49tcQc6yVJRsuDDWsAyF2uEOzm94Ei4E
ayPzD/Rp8baqRiMwF1GGXGWQFugLI+1NX2S4a2Gsx475B+qDdF2zrn7TCkB2tvvXNHoLd7nIj6y1
4kJ2qArsfiIQFceWemzLYebujug9aZQN85bBkq3LWLCvAfDeNkw1bqys/Cb9mvDaqp9khjYD4sCw
jrLi2480+d9trH+T6A21OUDSHKXxP/zmEXNqdSeM+5Kx/hCENoU4e7SCob/BRDP37KD3PlqEMI+e
y6JARWvAdpS78CkAW9D9BuilJdprsXT6dbSM5Ko6q7p4ueu8MyZJZYob6YYPF+r7CugAZIzY2063
3GZmrRAmfBnaErKjbnJS0+LBhItVd+VH38voBI1Q7RNkh/vI6JIHYI1dUKE93M08Fn/IJvNkjTya
WMYs4norwnoCrFVG2bqrM4RfJvgDOH4Gs6UWCHhsdPXuf5eIirst7vgvLRkcCq7NLA/9ZCdbRk6g
T3Fi2xodhIau0aY9XTi4Wm7C4ygmzCWpLQ8Tcmq3SZ9bfPBk5LohLOyey5ieZAfa4u2dBw79aFKa
Pa2AT9lSlGH/jYXTfEi3f4+aIjkZ0MB2eQcRaU6zn7ibJ358Cr72enMXRv3ArGzaRTBk5BzQ9KRE
1TbAqp1cvwc8z/stoB0ssaeHZW31e15Oa4vsxGYI0GyOmpqrJzPKnPd5db+daub7orPeMEXaY7AH
AzVrlXuwRVuzlrTVc6e5XWDaHCj0Ct+SkWvpx2g6/RkhaeGLVAOSzKHP11a8m1lTMI9Yas3LmvYo
F6hIAI+XfRQ98TAMbnxF4yEBhc7gGA1AZkn0z+ik+FhWMR4FCwbMwtmEB6306YWtzr5VdM0DYQv9
PmkoSnAEGvfL6NwwjmyRsKXpdtoQYMqGc7+g1v6TkWwxN9TjOFwnMfiVaijKP0quBMJcxYq8DLO8
uNicHjmBq8ASuXydbVLSGRgTLI8RlhI0tVsm2wA/2Hyz79WsFUHszDV1i175brTMKDv6UVwGSRVu
NUEaIkp9ZyqVVMDc/jJsOe3x/EBZmaeeeITOSNOWxgT4n6mptpZhJRdT1RO8WAcysgdqXTEO8iYX
+53mmc5BrfkUedKBJGi588Ow6Q92S9BTQ1xrRtHwY5WeEVPFZQqWDmbTH10PMFXFjAOTSr16N0sT
Mo4qu2BkFtus3m9Iv6l7MmubraGvxJ/Lon92yumDxGZzxOUDhp8aE6XLj7QkdDzH6H0oGfQ+/h5u
kqhiQpjIrL+cez8yB1IWCnuK5L2TPY1GrWgNtJQVVOVso6xK9lNjmLQdyIIgaCmPnaTByisnEsKP
g6xBpw3eqfGM5kOsjYogr3fmdrHTl8FLuJ5Y00fS3CjgNp+fzw5gP7lUCWAo494OiOOv0K/L0gb/
XFrRRs+ixyaZpkuCuzQLqUO33UtKknrYZr3qXyzTHny9Sz2ISh32gzax9CMMU/cwg4J9i5TeBby2
dCBlFx3ihWKx6SWvdBB0v3JjZCi45XYRxIA9F5vowIyAEYgsxtxcYwfCl9f7WtwVu2yYqNx5Y33D
3oqgdZvvUq++87o0fBCkDOQLh8raaeQiqcIiGh4KFxrl4MK9xuOScVtKzLAF+0RZN/8eDJbFsSmL
m6WZJoo+ONFbqy81h+jZa/foLUIv+6RuVkfnqhoc6wLDeiI7OvZpulO0gO9WpnsJPNnpjkgdemew
O6hQFQWu0sAcIDX5s+ZAgCsGeZj+r/9FRXyrRr6qtzI7yXZrPN1+ARLPQV1vpTzZ4NNg/0PZsmc4
Cewim2wVT20LwqKO0MAYVmvspAEbt6eJBIIKaHdZNTANbJaJpRn6o0OUfY1HbbNk+QsDALdCmzK2
WeGKR7RV34tpnJY8f1554Xc6YUYsJ9TiC/Dy2Nwu9rQYqIk6bCB6+guomZEN5+SMDyWzhwLAJUVO
s5Qc2csiel85jV3Mkv6O7yxa8tfY0/CcSbf7NADSBd4CXIHpb2Nlf3czO0QgP14d3VqPrpl+ulb3
Gjc6nPgC5ERvjFS/HA36+1wrHnCV+h6012f09MS8bHh190OjTye7htpGSXja1KnGEJlGIbpKKUcM
VR1T9e0VemoupaCYaI9YsDytER4+UIhpU1T4hAqDij51ooLOBqvwwqfl2xOMqbExR7QIQ7oF0EVG
uSvxsSxVAr6VCg3mEXY12xmeu5k+SpsmzqnIlg/Wc3Pn0OrwWfb0e7DsWRARjvErMsiSF5/hcO7X
9JgS7uRfNsN8NAjNW92HvWdTlGP3WzJosrFytw7rjrMa+AVcVFP8OztzEmLkWquQ9sZ7y/rj01iB
aBXNXwgaoBBSGaIJo3MkAQy9NTWbK2HazPqPoXXdqekBYmQYeDYxtZuNGjH/UniC9U6h4Gotdf+Y
pQlp71E3rEfHLCuOxmvT+ks1fVosU0EBcdyHjfSFZ51+qynbhRrtYAPezuwvM3aNC/2a+iJYSvhB
xHfNVfiUxXKBNCtsGiYekezOSBjSNujIllHOzbz40OO4BeKfeUdKzt99MlDsdd1bhzJiQiQzumgJ
in7sn1qgzyBqcgXnDJplWqCQFk6cPI9NPNxXpfoChG+GdusRPczYqjnHodeFajvC7XXUQvNleLNL
ZAnAOMuLNqiyOZVmXl50OkgOyfJ+BvM7Ztt8xOilQStga0+q8xjN0bWhhg/Mr+KsqA/9y8Q0fWBl
2gyvvrlZJMzX2qakt5jM9w9CZMfV8fKj1G/HbcWzoJHK3dmM220b50mgvL7fqtFRexo12LTaKtly
5oCkUXsmK1+lbzzK6kGUiXfMqq/I+Vxe6i4J1zQy91i+xN6bTc5vUT+7W1qUy+NokfDqnck6ANCY
w6nrynM9K/CfnbsGhGgWKKXQ3HIr9pClSQKwtpwv2uq5Jyfmb+BJ/qw7uItzbtAH0E2c851CD4O5
3efey5oJQfeaGCpRgR5J5W2UnscXBWKdnoxjbmijw+TuogcWExtLVmQcpVHk+7G30/2NAczlBiek
kXlcEDCRhPkMwZosPJ7VhQoWMClinIKAAUl9RQcQMZZI2g/bMKpNenNMzVRxt31MTXzMYMV7nFM2
Y96UR5ODEd2NOPdno+1OMxMuJ12k5leODYs/Qlx9UlDNALPWe5dJvqvB+WwXZ8M1x8a6y2SL/cIu
jEuf3ULbtjUGcFbXE/Fp+yilaA62xqRD7UYIzVSqPpM0bUKqc4VvcxL1V6802V7YB1Bh5Mhx9PHJ
GmnIAJTpTlgOFDjfvgtFtbKWJAaxbkOggWvWnt90wR3l5eu697xYhuNoJ7upmGgxr29rO6o9npI6
dEZ7eGSxXmgXMd+YMXi6t4woPTemak4AY+BJWmN7bUTm0tVaBg55K93YNs7uOzU92Rw899psURTr
NRu94K07betfwlPdZbEZraicXh66xVyemnGg2sQBw3c41FRQ0awkK+9VInktvOknBVzyHk+VTDbL
DW8hc9aFZop/ynGR29xNI27PU05TW+cvjDcYYjXZVy4U8VcvrGqH4A7rUp/T1I2RYeeZM96RHQbu
r7c6+1nUkuGKvSNKK+/Ilmwe4jxryPuWcHqaHBkC2/La5csODZ0KOOO3mKeb6VIZZb5nERlux0TN
xxTEUXnQlr2hNRWRBsn5eKkhak9LspGZeCmawdvR4lHHRnY3s1yrc/sdGcKQPdzQyIMoU0e+lk7z
XTPHNeDvG3nc8mpURd4fYst/ijsJ/el/wkLgJF2teJssO7+OyzL5uoqH0GITvkcqa4f5SGvXFHF1
zLxcHAHOpbuszF8y2ym4iBr6qRPmzAfQw6KpcqAydGxoN5FpkxOROrpXy8EUUfyWx8tP1bcfjNQk
vsEJwC/rjorZyFGAniBXP00JXLxCkWhx9Ps4IrLsOXm3rcVqbtDhmEHKSnSpii7Z5MtCg1zOL2Nd
dDvNS3Dv0Du9m2RUQuM2tFdcVgeSmHdLbaRbOgF32DXd7TqKz9Hsk0As7LSuwVcc5F1y9niqO+5p
xp0HyfBKdjX37RmKFGpibxsNhfvDgc2Aa+rU9ItyEEqaqw5LB23HWsQnjKRmT76UOIkXAZkeZmtT
cTfeJhhReRWsT5eRXLqAqgVle7ubtfr7ak/p2aui4cilhokGmuHphnGSiQQa1YGUzL1v2BVflyaz
ruji8ovRABJdEwaE1iRpQyNtcEbWyrg3b60Dr+J2aJOO2wiJaZFR5vIqY+nCYpjeWo7sAVhKRSjg
JmMyOrFfI4/2u9Tsv4j52NuLQNDEyV4hso7+6mg/QuoOWM3mw5sh3CTTMFxyVu59pvHbxBYFoKaz
X8kRJLeZpHW/Iuv15Vpe3Wnt3yQ/WUBxigeum9FJQwIZ5H3yQYIHGLQtns0xdQIjTqZnt3YcfgkI
xiKntgSMqj80vbNuO9BFbj++1hG9xGxCD2WoIQWk43kBbY/Id9VYhl5i9AdzKPqHQY/6XZen1TOI
NCvArmP6RiywLoINrPyoneSnMPVuP7qL9R5DFHnRGjcG9VmjVKRr4jIOVgjOtkSlOq5WoZtQK1za
24lISdj0jRyuyqrWx3EcmS+iFoV44UbVNfKLJdvuCztadaYsZdPid6JnmFG8uu0ENjOu/IkrA71N
umBcPpX+L+9cbjxMTn2vfdS+F4a77uckc7ZWYlFdpPNYa7Zfe4SzQKtwXv/t6+kt0eJnFGQ4Om75
nLmgHAi7yCWDJqdXN+b/AKCxDtuOBiLXoyGwGd29F9mkvvW+HV8NnZtPxm13U9QzkEgdwJTRs8t2
rqbfcVmM0QQMjj/kE3BcUCWB5wxGGHuED+aoigGWSfPZGKxfXXgZ8X6EyrNpZb5htNHVY+pp04na
QBLPWGQvaWDgkUDkY3LqIXsK3pl2xd6wGpr52pjdW9HEFy7jdNKVKhs2I8T3d2JQ5jYdnRe3k+aj
ZTfmnpsX6RyZtyzwDTuLK6JzlLXrdpnKDGdM9JRCLT3RKixfekGsolrc4mzII6kovEq5lr3hB3H8
pnbQm9bcfmyXMBkNCv3Ryj9JylLOuYJS4zjgK15WneJzCp0pp+k/vWbl1iBORP/w0lb/RiO7i9YF
GPIDzm0m+nXzRJkG9zTnlvgHGD1bJaXfAlLerafvXoblhSDjVki1t+UzhhtsZbyU4qkxTkKcneo+
To5uugcindJC0oHseu5etJzyzig0IqQmXllx/bE3ZfpuI4KyND7e/VrsZfnjOVeuXZtU5+bQnSlE
GitXIf3UU/qshjBVbCownnhaX5VzrfUXiztVdZ+ku87hECsOS40eqPgtp31BEarTfLOjQVWfF6pK
6cGYH3qKTAMdxmLsaYpQj2NrU/0fEDHOCL+dFoALV8N5Ln8GZiDN6G6N/xmlQouFUMcjrZKobVw/
x/a71p6NJjsIGtXSvjqtt2XXO9fRLV1Thw2fPIToACnpSR+2c/ezUL8QOTFG7lX69LpQmericBqJ
F3AxAnlXUdkupr2RHe3l5Cb0Wu0iEPZeL65V81zx6igu2he3p9APIHTsi6CxEKW7vtu7QT3+3J6a
TP64ZGIfZbJ5xcARCve+Vm8662Xc5Mfc3E3GCSvQoSxApXKJZmUY9H9ZgmuSEKoBt3mBADg9RTGj
SwOA4PmHFWhTQnocqMXZzVFN7Dvg93MG1vXqtZYHSSUCc+YmjaZNax0TkkZ8Y9hHAn7qPNm2xoOG
T9f+iOuHwjj0yc+NLc9wkT8JPsCLZiKWunjlrfv1QY1lcq4emJpOoID/ZxvPy/zKCNSGNkdnXyJ3
19DGIt6uEcbpdxn5mVKEvfFTkFIs2VUBnaerhtnsUkd3qY1Di6xWfnHZxyUOK7vT223NdRf+Ptmv
stYUHdzRfklGUR2o7n6ZuZnfwdgMnZXbVX6Z8EW7yPk4fPVqJgplP7jox0sLe3OBwpdFB5q6PEdm
e0qgXBrFvnCqzYSYDS4dJge8PsCECOfSXCrzwJkvFropmyXPexlbVl6PvlpBITXa2OMLpPIAIpHf
chrM8l1KX3liqowU636JU8YYn2b8X+VFotaZueCL7j2DGw5yhf6ua11yCEleDtOtvxfzi+49ttEu
I4C5Nn/UJ3eaetXXR9N7idVuLf4mDBQ0sOrWuI2d7/UxI422u7lNTAG1fvlI25cUy+Oo76N4PshJ
93OiG23NxKwHpJ+iPYcFOgiHhdSNTfzNw12gqqfOeO0sjpfanrPtoTZvQg3kIemvPXh07EskAUzl
4QptxmpTyu8Z+mGZnVee1pCSBaGks0S+qArqSdoDoaIA4OUsysDzfpD1sf0+OPKH8J8fJ9D3HfiB
FNxXczdAvspYbhd68odbCpLeZJlcvMXgRMKCyHeAS1OgFVWYdtrrSPwMjO/Gja65eJiTfJ9bnyah
9qUCQ0zxNW4+6zEmn/UMWvG2Fc63EoBtBYVGEqDZeIhosoITaWkQTXnGTatzU8RiUS0XG6+kxWjE
HL0Jj2RGEh0j4MpOtOnTH0dDqGKFWnZq0Ye5N1bn+GBAKBwVnXAaRhxZWffbAE38SWHSWlAjJiKI
rdeqRojOJzJz4SEQUEu4QVuanjywZxl3TDveASm2Gd2N3c/evMVQ57t86YNSi767sQnyhCZDdZHL
QSvfhumf0PdLuTMyuJOgPb2vWjwwCOynMIVzCzyqPCruiZXYVZiiJmxducH075V9NYW0KPxi0vzZ
+bey5k7tP5U/O+LM9WIjmo94+CBKFgpSAyQYiFzerRkZ9v2kXdx5z2R57/I+PAy4ucp3rf6gahU0
Nndc50vrnmLelD7dluXOzF678Z9TNbuFiC1hA/JtTzYEnZZ8YaUNOI8zlmzgdOWXHT84HTTV+kB/
hmn+p655W9xTidrh/2ll7D5c//iHSTGO3414uFkUPW0v5GMx/9H8qLsf8rV7mOXcn8uNbv6UC8pI
b7e056xl82QV70FiO8QUrWy3ls8DdZR0vZfigd1ty3nah20Q/bWUTP4AGuMc/u1ho8Sv2XjVl/eS
lIjRnzQOWbHj9ftbsJh4RsqKJCExZwSXQoxX/bHA3LTj6ffQVWs88JZMTq1VPExMR/Hgky3nF19O
13EiOThQIyzvDI8KZMYs2ms6IQQV/5z5tyOAksEVFzMo6DW+OaNCvgz+kv1q9B1cxE492eopsQMS
pIvQdhQX8ZS8ESkLZbTe4R7arbO8j7B009cOjZwZdVJOhRw+FsPadvGhdN/pF3CVLraleEuiX3nX
wybUy3335R7a/l42/IcTd+XNWO56OnLrGB+m5CDRKDQAnZP1fMvzjMuLxaqal6wZtwXC/inZpzCS
A5Z6cEpmw9DN1Y8u2o4m5yF/sIh5GAeB3VV5EUj0zawtrsH0zfoRi6duOGfeL5qFYjzG8xl14Ub2
l9ubRkeal+jgceI279LmMTJpyAsnRMHGv/ZbF+HCKY9aydR9e1TEaKKw9ShfxZCw068svzRkD8Ae
rDIc3DdN3Jnm/WIcVMdVVt/bs7Md2TYs92ho9CO6rZ3dSXok03olnEou/W5Rj8v05Rh8Yz6K9FNL
kM67BOoRBjXaZWgDuv8hJFFfHz8m57TWDxA2axqDTXKeUsSbX9R+tGrew14t22fdInX5pTsnaT9G
0wsKozo+rGKrklMJ1GrdgQXw7fLOozBbT/dF9mCTtE37zyLt+RKchPsyit3MLpbGDKq8CPM5zh6G
8azHGOtJSfXvmTyChBhWl/NKmDKgyjcUjOyjZyI8BXe5laPgfXxfjXtvCLnIBaL/x35ErxsWIdq4
6HeW+HWqs4shWRSIFvQiVABjuefb/TXJgZya8I8ze2PoW9kyIkMuKmJz1m9CskuJjCuuD4PzmOnT
eTQ/4yHaFaZHqRprmbrjRuNLR3HvqTYjHYxZ3zFUiKmxCTmmc2Cmds0NQJM6LmauJckdbpONwwbs
Vo9MPBM+fUHBzWqXHWdg+UX3LyU1XVaA3KtDafwmo7NpzbeMBcDUM+Y/M5+adMkBfqabGE+/w5IE
WrowwrvcZ10JBYQqLkW1kl/f6F5hvHXNdBi8BwYqOBLE2xVP28KJY3ZCBxJuI59MWWzTqXscYqQB
q80qEwcq+pgFof3pJWouRSR8rcUCRqlqFX9jVwZr8jQ1X1ECoYRIZ8Z6UFPCVFqQ6vedJx5WLz/3
DWZUmx0rLjcgsBjfMP0JEbFnkkuUrHiD+dIWfJvrAp59/M+26Fhlv+1Y0Ysgsk+chh0RD/1wHBlq
o7XNmgvqn4JzxT9ZkW2J8AA7FI8y9TSO72jeZH8PGJ/wBSt2tFXVj0WDHYYsLc+/2g3lYO+MKIIm
nXETbw+JM2xH46dtFehn7IQ3Ts9QqkNDCVRnLgeqOHle7V3L5kNdDQeiJlRX5/hPRTvX3Ruk2zR8
RsvMRpY8LyY84VqFFP7OPePHO2cVxOn/GheVp3rtpfVq5u3XqstNgfDatn7a8i8RzklgyohBb5TF
+6RSbujk3egC0mteRxSCD43Gxpu8pt5LYhrhoMj0rt8zuZDouVr+vBYNGdM2xscAKnfgJ0729nq4
mbwXbomF/IyRuqogW/X96IznQT5P7VamnFXAz2TaxqAlzI1HVz/oLIf2S1jXFiM47bZkPrX1tjDu
Bwcw8kE4BmqLgCmMkPSE33NGlFW6G3ByTqT6TP3aq9NgnxRtcZn8lJbwZ0rIvXYw6ZQ2FHIz48Vx
LqNm7Ah+bnTuUhAmgEbz5JlWIRngp7cbGYWb4XW2kGYMGFqL6+z+oBz7XvFr2KUNSveutp4Jqm7S
eqbu88sab0d3SjsZzqHMdkOOM5Sfjba5WB898TcgfaYLUKhtmbxNTgRJlNWIMaSjxreIjgHakzP9
Z0v8VnFDUvSZdklKzo3BFUAtWfGnzxe9fRZkVauzkfHlZE4w1u9kQ+xrr27yFPfUdNx9xHks/ywp
gxjJiaJelT7LgW4TfommfYjkSz4Jf1zu+jai3c+x7M0g+bXABXEotHPp4wvQRRcHynRdPZXjq9Y+
uepxWnajuuKl9Kn+UkM/ioI/0Dyo7sPkBmN7py7VDzXVjHzhBMScYVm8Iui9n9O7RjsxEYii/bFw
TqV8z8DPr0vvOxL9KyqvBEAzPr3VoC/P+J1FcbXkSp1wrtOzvxG9RjPs4+aSIc5Ma6657N5V9eOh
2UCgvkuNHVpFy0QXD5k7XoI2Q+4YN/shfR2RaTDZRvP6Xzp9eT2/IakDzXqvzO9WjbvEWgJLP2CM
INPF93h1h+ugYR6GwiprAhtgxntVMSY4bldUQrJl/sJGmJVP3zbBvkXPISwNZ6a6jpQbog2jfK8o
R/yVlZosdX6MPGr7mnvHwKC/5tW5qBf65Uw5Uu9BBpMuoTl2xw50F5+HQ7jBzW8CLvVgAXsZDI1x
uDYsIyb7W9vPY/3PVUSSzDmEEf7hxQwPUYut0MuPZbUjWHF0+mXf46fRb7kmBGNk43sI9bmpE5Je
/xmRea/IocNF5wrm7ayuR8Z+M4mMQVvZ+3bhZXeW6eDW8fsw1++2re29dQxdqZ/rGg9rs/qUwzZy
KR6oZ4bWOB+p8X8IDojSG4+TlV0xKAbTtGzTBoG56dSAnSRgaP3Qu9q5zONTYmnbiu7/hm7Gr9Lk
dijnx3jRaeTTsJpMfxXdoeOtST1y86X1QfKFswSmG3ZjtUlzzYfW82Q7JMASeais9nPOXQLiNcQA
r/COGL9Rqxa+PlibVrPCFbS7DxCb8b6/pbz23ZO0R47Ia7UxvdttrninPfQwpfnWmBkVcJbjusZ7
0nAPhaf5qeXtKmXQqUSdY3SXqqS9V9GkH9R+jqIHMx1hrkBcG9bubljLU6WNWL+rINJxMVFcRpt8
clmgN/EaPZAovMyAfKpYvJlNvxnZNPvcZNKPXI4ZnxhPCoYlezHAYs3m+tKtXejxZ3TSkcMS+96c
hTYLR4vPcV1WAjp4emKPfMW604Rx7upyb3W8p0QqJ0S2ynVCWpcfrebu83q6KGP2a+YrO/x4dDVR
OOPnfiXNv5dqfqQc+TaNw9HOowC3GnpJRMHwUbj23O61U83ZrqMsjxbIXWoivPa9PvwMkYCdou1T
9pNEF6Gg5YwMj1qRviXRftUEW7Dk7e2X9ZQUnN5zZuB6aTxY+hjK/z1OIPvsLiBd5ieJ2rddj7eq
3w36jLcImR0dPhy3B8esA8n4n5Xf3h9+djZm8sy/HhK8yXCOnbEGkJruZM2JbTSnp5EiUu8021ij
JqdT+ZnFHBQU4SlN/eqL95hCLPLFiE6dM9yvqnnebhk2gi2KiG1rEjqzOEJicsbpbUdLCNyUcA3Z
j6nPDvlUBJ4qDrpeMd2Z7dq5+qCrXOBCT2J+G22rFK2YW+bQrFAO4OwJnGmGBBhtaRvb4cDUfZLF
IP9rrGkRu4HkXmrK9JS7E0KieBeNM+ZzTyNU1IbF3JzqmLXcXV9skq9jz4G4RV+A547213jzHXtU
A3VdncgXHfIFvCujfJGXcCFBd1+vB5JDA9c6PLzSesKkF6CrukcVVYDpX3elit9avry4IiDfDNfK
csD02WWDbSN7svrXfOSW1zESb0gmA/k4WTLa5kn0+Ue2SLKAWOtFtZ/LGGcGJ6uh4VjHQCgByIrQ
WRnMNJUiozgrumFNz5LM6YevR8b+0Q7N/UJqskt4KYzKd0lBEGBlaJsI+MoqH6XIzngTmpYDBhcc
oZJjFfWbLGqCqqa3zXQDZjoikY2vajYi0GbErinON2Gi3L1JgRVcY5iNc5j3zsbMrR2qjMAU1R3H
zCNTvty0OBT3mh/DzXJNRteVZFaISUuHIci0oh5mIxmlQUDYIKt9UTCQ1bdHDzVqfbuzJaiQS6Pb
25x61VD+4dHAUmet78ZEu21cLiM3w5WybOOQenahy5I0dnug3BUrpmR2qBpyKnsmU34g4i+m55Kz
bamu1KeOC2FXF76hTVtWhsMteb50KjDJ5nlT8doM2XGYM90nL3u/JhFON7t8rAUxRVIU3AyZXMvs
6r0zbFIhDNBEFpnYzNAv7Uix3OUHxR3DH+lpz3Iku0m2kx1jWeGU0fldeYoURhlNCqJo9kGPba3I
2QzSJU2Al7GQjJAh/52IhjuU5PPGombCPCrPcyHilE7ZtCHoxcO5qdzXKGzAcxXrVPpSE9Q1sjKQ
TCY3SmfbZWgocQMSW3483+7rrW9V1Vl3mTI2WFnqriKsZCL4lj8WoyX+ktt+YhMA0F2S02ylOmbA
QjKs33W/NQfxhp9XWyceaHOapQqjVQ8tynuNYV0MSv8tEvVNPEINjZV5quz12cqsPenuHfKZJ3ie
V7rCWMGZSJ7lbtDC2aupiWbTPsFPHfdyx6BUwBxZGHnZVe85qtKHdJkMBMJxdUrto5nIiLp0/v4j
6Ux2LEWyIPpFSDg4DmzfwBtjHjM3KDIyktGZB4ev7/OqN61SqVWVFQHOdbtmx4S9cuEghqFSNsfh
jirerWSGS0frOXS5vs3VaWBipw+TLkrP0EpAg33fEXV2/ENo/ki+XhNtqz3hyB6PLu3hk94NirAD
f1dQ6ZUNjMIyWfG+y+8FSBeG+y+ePQ5YssMS9/HgD58lTke3zB9mBLrB0N66VGS7kkvWtQdy/Kx4
hq0yxYOU9UmMxOHq6eCo/JnsN3oo21kW9ydbOSchw3+tyuj9LQjfpNVLDVv0tmJ37RBNhpfChMNp
ZF2uY/lYi2FHfJ4/Za8pLMVt6HIgef7nYiHED71/z+zxa8ZKSMXohMiDKau4/QMrh8VS+FE08XUd
SabNA67KNHkNK3M3lCPJQcz/XkN7w7jwI3Kn+oDEzFojIyZIgW2Ws2Lg4yAJJmK8vi1UrH02kXA0
c02f7PLLyanGDiZMPZ4PPo/ktrPNypERerDPVJ6wCogbSAwefu6ODes+HQydYhjXYi6pTrgeb9bN
xe/vKKw+AC+6+OMyHlmx/Q2MG3lZfjWojFo6+yZRH3YyRWPcyft5rpEPAyAWdcidJtj57JRjRffR
BBHTb4Ndcrs66oW7PJlUm+uE6vr7toy5gYur22T/ajf4CYP1roPw2dCKJ2XPXFid5w7aReBujZOe
PTqTbm4YZt7dEmBIu4lAaEoKIUY4HZqJWTeul1BaigBfW3yxA4RcBMrk9jG0SNtkXFdlt2A+onK7
LVJGOWr5cgUpQ7fJHlNDZBz6vxuKJ1nbR1PJ4rUnTF6Zrj7JVG4daAqt8Ri6JfIKuITVRRMfpoNf
VngsRyzneSX1foQA82wtZPNz0nT3daOgidI3wjXJfgp5QZtSd3TgBrc10eQ8iaBugoiu0+Ggs5Q4
51QG33kf/LE7O7y3vZYdhABB9r66rLEc79r3ud+91fg+PmDllId54WsweyPWaIVbyIVqeox9+ng2
bV185ZSkPtQKGxj8AmizhzhNqqscQQGSZLC47Xif4yTbC+0532vRjwcihhmB8UqRhusKug3T+AF6
MtHOZE0Nb1DqYMhDyHMgVdjBe9N0zqdYkuDRkYsutqPpnINE095aAa2rokJxKKY4P0+Od25CaBiy
I0y9OrP4ryHzSM5F37VwQA79Ksm4Ebs8sokd9m3h41nqMe0ZRaR4IBKJeYgME+G0/k47P7Dicdnm
9OS4ge98UTuKa2vCE580A7u+PInPfcalXhejIYYaOqyeCFE/40xLT3lHxgCNJGtRY9v8dSzG7kn3
HmZ+7LXmIQvRj8Hrg3BxiOs85WA4AvAlyfw4N5n/rbQHpWQZkT0D6mqLiRZl4cmYSqbewos9Ly+s
/qMkoXPTX3wQDz2dTQP1I6hS06y/A7Gu0Zjz27NL8B2kk75GY80J3qgecWcCNkCMcpfTQcRa0Sw9
x+eSPvnrUP8r1oE7blZX3EKlo0KM2D6gEfLCzvJaYJbYz6P9os38t7G7/Fx54k57JWCO1GcezKsC
0P3tezsEhIw94CqPYdb4B08MxCO7WXyyfg5fcSibdygvcMvpi+ClWKZL13dTlNDwdLFDNb4NvcMq
ONTriXskuR5sWU88K/KxgkKwr22n/WtjmDy0q5mOFatTsIgq413JY9Y7XeIyos+u9ddXVXkSBSHc
MeNeQazgv8e+gkfBsVbkLaHl1ubf18zfhQ0LJTRQit3FfcmC1oHdgoOE2aUprDNmFRtxukew9hLN
ISUQhdEDy3cytDfz51p5EZa57IotxtnRYzSemwp4CmvRwZwmR2P7UOP4NpmJZEYYoAHaYf1GsyHj
6WRxRhdEW+xNmUuyczmhd5yMvcQS4g2H+rbmaebQ/xNmXbm/BcBgAUwticQC9qnqGcvKxjMIGQkT
dZYGW4D7M4Itx08FteqFfwXHk8MGvLb1eO8A0+EANbddtEpI2SEsHPop+wE+nWFvnpGFqiIkrNCy
/0pbzV+tDWWSZc2fRrh9AP+V5tRSL3xye0gPS4rrNkAOzfNxebAoe8sQ0M9jNlP01t3oUfC2c5/J
wg+bY1MX3268vurCkGO5mzL1GKRA4IhkguMIzYLTD2vNMelqjnKnecmZo6huSjlKdSDnBy/2qqfC
uAEfJLj43EhlfKI29caUEN6bZUZUTcpMIy/mJ13EIdmQXi2Pg69pMaunANMuEsPOOLQWh1xhR+bf
z2IRNUFLZzrNb9AD0inij96dsn5tef3RX5kIx3qnqUKjorZM/rph8pv5ZL0Tpqo/S4QhubwlZYPg
HW9SoBoxPAOS5cmWyCkHnI7jfx3Vps/2GMQ/w6JEwlI8zk5+HDzEfANf5ll2F2lhK9QWjWoA3kLO
k9t5Ua5ib7xs28eHxWWklQEJ1LLrp5OHiXMzJlSW75h6cm9rp3Mo4C2Patz3XQnHgLBrc3QJFG1h
4SKxLsnChiRv7Y4ELlJrbhy8jghX9A8macSvNTlZlJdTnMWH2c0FD+BqCe8yg3PA9sRN4Vp2n7r7
jMiP7Oa4Su9aiZfYYT5bg5gF7QR4Gbi+vSkGi6FZteuntbLulrPl8kx4vxfD0zI42X4CoYQzlksL
sOYYKd9CQ5sNgx40btbFdb9tOxkfequTCD95G41LDzikDWLGjVloxm48V0MmSK7okrGO/AQDOtk+
yOI2vKo0VuRwcfvw1ttFhD+W92fUJInYc286J+NDRLMurmiKo8fE5g6jmZATy/9aST3sSnukS7yg
Z4EJjjG1CCVq4RD32yZb4BPZxCvikPAtPrt226ddgnFBPSWkRpJt2uCXGLuBqEhR5TV1U3Hc7aa1
uWvm4ccGyzs9KyYyLAhx/tjNbnnqO8mSiKSSREVP7zG4Se4TljP/03zGIX25zh8qHf8iYYX7ZtZc
rZj0i20Ys/ULk+k8+X9oLMNboFunAXPgWDhrQRDzNdcfVes5T+Qbxk8SR/Z2hpSA68D5PQx17u6z
chYMfQPAsQSW2YmFwXAKVtw2EjjrY3szPeYOApXPvWbvD4WOyoQvMMEsAsqyDx/b0sHA2ItLWZj+
gZRAg7UyaxFslEXGpik/g7WEyRM0X9xaRzxJSdHw2jOV+HBD5DYse07jIE+LOzgFzB92icXBk8tD
s6p/8Zjd5lrPfOPt/dssmJ9M6z+EyjJ3cRoT6BUhtyTfbqdhD8dOJuAYVM+zcet3CnNEfWPUbVse
WvbRrXPxhQ+dSkiVAI5eQv1IhtK76hFew2YO55T9p2O8d40Hdu+JmwBGCbJ156T4HoOZ5m1IQqyH
SUtscxtcwbVWKg+fsiRkVy1pgFwShcBvsSNR8FgSE/5qB+yasCkwYXvZQ4Kq3Y5imzif8cA1ApEl
rlNWAyZ0fmgGfQYF9tzKEXGwmR7d2bpWXdG+x7GXY3loEQTGyX11cVyzAemnv9rpbXbG8m0e6L6u
fP1Ou0B6J9NkfPO4f3CHNwi1LuF0eqqflobCoMp7LQPyU5LMJJ9vTtHN2rYfQ27Uvc6Z/KSywBhl
EHUKWc+/WhdX6jdxnNeViKB+sJvyvU1uMbHFZ51VzZbw8b1TdAQiSW/bcWUxEPClCFAmNnoa/pWV
BtKRV4hR2IOUxwq6BUDFu5In47RtXAsGg81jGh9ERoMuRbUSQz/tQ5t5ID49MY9u29aqDiobf3vQ
Sg7wM8LLMiS3KoUQ84LMAbZ1KcLhwu1oC6ULZFrvOsfRrbHvZ1NYi53JtSvYsUoBMj/v/9Ewrvdl
McFoWDFcl6v/naHERVWd/WqaikTJwsWnKa11k8Nm2Y6L3yIerOw6AogX+2pJ9Xejbf0FH+1m4i5Q
JfeyY2PmJz42fCUbzmtnYfvojn7zLJxccKu303YFrpa/Imdw4+TrhR2hp3E3q9OpPVpz6C3R2BWS
+tPAiBMNkTNvfyxwGXZLDEgnwSD+zt1DnbqmASwxCDyDpjbVXqgpPeCntWE4Utj7KJJ5/C55tYu9
FVgf86L+6IJNL9C4KoKmDSrKn7yfyS3Hels588M89dO7J0Jcz6rHH5WlN4oAhFWuh/0r69tXm4wk
pVOWTyDJGaK2ZI3PyJ0ScrDf3ZQqkiPGEUkBavAzBXwcuOj4+0lzc45aYEwn11tJAJfBoh/6Be2t
9cOe/5PHzcllL043YX6XFv3T2hHvY4ZzGMiKVj5pEIGsWxebPSkz06aoRgAABDJYP/E7oapS77J+
8NFP2rdFzcGTRf1INKWTvsRqdPYMNC06J+j4wAOSv/FlGkZtHHY/xQ3Khu2EQXHyrccRntRfwFjm
Okg5XVyn705m9FGD46D6o+Qqd5a2B64g9njl7aq3peQxA4c1HxV+pLspVO0pC7LgVHaUzgYyJ7g6
DzVqmZDsN0z10M2cKnpCV0OhdG9aMXGjDhIJKp6Fr/N2ZoB3mj7h16ht4Y/efV057a/C7vtz24XF
U2/y+M5xp/zD9unudWZr3M5FtkTTUrBuAmV19lljMA+OMiV90i1n6dnfK+Y0C+rbxq4Bp+s8tE4T
UfOjTJxx7yGKbXPfbY4oI/gUHJuTPOCPFqeuc56rTH2Ndiu2i5fNOwfMwc628rfi/44unIGEFsjt
UXYx7k1mIa2FIo7EJH7WcfhUC4F7O7eX3wGKzcU1JLdZwNdn4PbFy2pjpbNLY644uNWwJYnCurnX
r6uXDZwmSJPSwj1mqfxPIzsGI2atTR8O8p8/eLyOTM9b+tCXZwJcztawn9oQMhMbdvhIq/qchcuN
GGQ1W1PQnJzjreTcX+d0348cuTRzdDTVkhvqk0ZEgQnFzrbZqI790sBGQLrysLNob9jz4gP5iBv/
0vnC+Tc7hJt7M3IdGjJrjTLG7r8FDKbHJbQxqqUtUz/UnutoxGNpyx8gZf2mSwcWU4y2IfNCoUCs
3Vg2xk8k24fWemn8wtsVypCOid2KlqnZUcGXGpv0nRkj/CRc+DuDh4+/enbnj07L/FAToCHlR4wY
/aetP9J26FnQFcW2h0MajZNQ/zL1LOviGCtvfmpLQJGRTlgKNmHCV8JZunPrWjlQANsicMmMDUmt
/JRzCySiJiuBrLhkH7TzLFw7CELSbj3SaL+i3txoqRdlVWgoKa4mpmyu2Ogk58qqfgHWK3bUBb+W
vfUhQrpUMFFPV/hU3Rue5/6eBbRL9DBBsRJFfAmJ8hEYbJNvJBsK7W0iKUETd9/tAkPEoZB6M3JZ
/FXXq41gNaOrrJ135fFqQFq4P2XbeVtmNX1MtVydi+ck9fDX+JbK9nUe9NfRTwTqupNdOgxbZygg
80FPasbDlFeveiBE6pfU8nb5gr5kL87EjEtsKd6GXK3dYwU3l4C3LnBvoKpMZdRpzte9J01wn/T5
jBAt3EsriTwuOl6OKw74F8mGFKN9X0b0G1HSQszgKoqVJWau6p0TWoJ+gxDKaZml+3JtrN3q+7OP
nmRjcu+Wxt34gYLKVNge9tol+BgylPfCcZNiV7nru7u6LIxgRrnIo3GCz3PBftTETXEchPgqUj5M
S7OwaejbZWXRmTfd51pkI/Z5p8YqoE1K82czgmzyhfsYiG5CZHfkfUp/8lNsA18yE5YYM7J7A+C1
7nXad4d8Tm7/hvDNH8rhjyPQ1/qeGICDx2zHgkBvh1GGe70W5V/6hbtr0eQxvLi4nNW2d9n7db4S
D6tsAsLcnRc1Qx7sS65rZ92kA5s+FlC9qpgMUuHd05ATPrW2N+5CNUC5t9DnZsx5Swb01Kzl+gZl
tz6u9SwehWupbRjkwyPZ7CpqnFVvl15QZsjlc9soGf8pJ6YNdElmhdW1D2RfMWv0HPFZnkHbqvDH
xZALD2VQC9jmKOlkxvFnUZtGSY/HwNbPX3PeNw95pb1vwAHA2jykew3UceWPzGZvNa11SHs/3SrG
hR25/WmnjNB3a7NgVHALHif4hdR3TyBlCjD1UbWIjPB6Eu8GXyVvbs72jY+G5b7bnaUJrg/WlbpV
xno+DQckuvpgeltHmanEI2/BbduEiqlTFFBAZ/QPTDqEFDT+Hts42FgkzQ7It+Ve2Fn6YfzFPmt7
7F71yBOCw0Jjp1TUilsWO9FS2hZuzbQBeArdOABrAlWWBVhRdb9FmrV/50WbF7T3kTp7+tDaRDf3
1WS+baWSe6YIzXOFgzns2pZQ1FodQ9XMj2tTqQtJYAB5rBx3avBAy7hJRVqQQNwUcKw3HfuNemrp
vE7YxYUZGlc20H5d1j1pnBbgLxa+dcZ/DBsZ7jDtz9WyWUA5REnPyyaQ6Heisxkpi+T2AHOQLQva
xUCoZv0sklG+9SmDGpVP/raaBgXdMQij0pP6aCNUbfJs+WDsRP/mIgyLQ9noFHSi7HzpNG/GFHyZ
GFNY/kB+IUBvDhJI4r8U2xhxljk+2prkqKfx3E1wPRD9uc+IDEy+VMWM2B1mEZsw9zDOKQMmv8qH
27m18clYbio+t/uKegSCxzVoqrH7vdg4cTMvvo8VMfZ4qfJdB1gKp0r6L2NU3ShhPpcJM3HXxe4x
ncs3pqRhG9jWS+kysG30LNuPUZVYfMQsrmPR/UiaNWAkEK+/8x0CssFi6XvHJfQ50HD54EOm/2yb
ElVaupjiGsFqK81+9BqwEKYa7r3hC7JzqL042Yu0TkksuTqzbd13tgSU5/v6DJ8P00i6Js7tu8YH
yzOB/YerK+qRa+FMMYPr7C2ej22qGNhaKdQhqLkAz66Y3pO8iu+DfuyudVZNey5EuPhmnb2wyCA5
3uEGzoAUp5uVFNRm7bI/oc7qy1R35QUbBn900Elc+RNs0fU4iGtZNMgqwQA5yk3AFTISyPIF4ph7
HNdKPLH5wc/dV7jPJoIJOHRuv4dE5Ewf6+D1yKut+9ub7eqeZw7UQpr+wM7AqJa54HxiFytEVlNP
l2WDu+tdpFJEDuB6A0Ear7GcTSArJnPY0XGg3b0hgH2YWjqjkrZjr+rXiOlO1bIZutWDjb0Lh9Fx
LquNo8ZN8Rrj18T6NdRELLAjbQzwrIOzDs8l8glqiH4xo3wsx6TZ23UyH4B62l/+zUAO3iu8vT3M
jdLrMOR69p2arD+inLso66Vpgbo23T7PxXQGOzJDvs+/CFjHW61tnLtOQGo3ae0oDNvlkq4SWWGC
VQRbbora0bG5bYHC9cf0C6qNjhLsFMDNCnOtq5qLxRBiYLIY/XepbJjjbZwToXL0IVt7f58sZTdE
2NBYRq+h2brK4tLo4NcKOsPq0gyXkETscg2WCpBXLMP0dvQXjyka/5/EW98QqIh79UxOl6auHYrx
ygFsOetSzPwQAfujA8TsR/RD+pSpIHiMU5zDHQVKD7Sg3ZBUZOj5HhU5qni+1DU2dTy6pI1I0aQ3
I/mAt+MvW2LvPq5M+iACEoAV+jEQExBcTlP+2CkbVcRqInzssVmJJ4Qq9SrfW8rcjinEkgNBWFL9
KrHhjVC8OjegT1WycodiMj9YDumfXiDV4pVVO+kmXzN39KOcmvkpBY+0yztyENbYZtuZU3lbmFBd
pooWKN9UHwklolESEustlnomGZQG+0Es7mtX01k+zAxXwhrKyFnmm/WSX6uW9a88CTABBxbP88Qr
5Yr+L7dZlqirQ4YmX4mTQih5caYh5N22byEEfPe8H3CK5n4is8HY40nE4jIGbqoHdwDl4fXhyUND
xyWqfVhOCXuQV5dM/LTv12z5JMfRb8OeWDMcxWkTqxulXCzMel2Ah8JtGHLmsmB2HOb8HLpm2cpq
fKlaBKexZGL1Z4vNL5yoo+NPwXWWZAA2sm7ZvbV1z0OTJ45hod3ZarnozAERO5n8NW70Xw5g6OWV
uq2B6vx5XGLz4umx5lTKiWsGPo5wlTqfC8C1qzRLwWCPtydkWocxmWZvVZvD31/xbsS+SaPURryX
KrbxdKxufcB7wGQfhD+Jr78Gbpf8UER2WClEuDSmpaRw9pnzmg6QbAr1jk9fhhkAjdF+SwBRYFXD
0msDykYqXZOda5QINjk7hV3SrhkasuUOCKitFlvb5Uc2rL7zQpBTPLs6x+jh8s/Js99oBSG3aD3t
yjlmIgAvhHu1jo8rEQI8vjjmTINiZ8XsN/KJFa4dc2CXmXXUY5f+Li3FlgB17OhYpjuHpV/v8Ffg
m66AOJ5LLQY+q9Zg+NUw0gIsLK7UdOJImXov4odEz6EX/tCdivG7TcJL6XbcsXlnIIY3K1fuzEK0
DcuOz34MCzyJCaaiXE/LpZxa0PlZnRwEF69oWSbkSpPcGCCGcqdY5S0s7qTfS7evD3mQey+zq8qX
JUuAKfhNfmNUuBuvJ1iZzGx2RiYU3+Fmn3bOr4kmvIcFfCzYbEHCOJZ8t1wZzfIUOz8zKvXOnkYF
bU8l4iUxaf8uggIHJgEetPJ+QDLq+a/qLSwP9jB2505a+asMmJGdwVUoJOO47yrsZJablz+xlRdP
9ZCA6uT7/RVkBFSLiashdHCzRRknliV7B3zuAss6wNZXTco9oP0zGHdQI4H6GHZ9uXkCFS3OlvKG
r7j1vBtSzHSPk4AFYgVFvxVl8xdpwf2ZRsFxzrZtr5ycO3MAqGG1CuwaZAVIvki1iVsux2JM9Zcq
C3c/zmb4rEYuFQBImLHn4FtAdqQWM3YjRggcLYHXIcv3ZnxKWz+71CMqqcCaZtzpFmFx55RTRxS/
Ahb4XNjxJgxLaz22aaAfykC1Tw4CFgrqTQEWkkSPWnFdmkVhhi8yyhYg5RP7mP0qClwuf6zaRooq
Zn+X2s56H3qMEqQD0XcS8Ca15LQaW9gMAK5GB3UvNz+4yatjYA1+RHh4OQAe7I5TS3eAjRvrq3Tm
ecVoLftjzYmxk2vPeSpNcV1mPB+LLajazeHQxy2tWmWJduni5rjjtgylfiZxA5GK068WP4w+DGle
efsMd925txgoVsrj9mAi6ccUUCie8yrhbuc36aMgVg6DH0zbaXTz4DD6syaurtpD3K4DuA1/+epo
gYjIxHNewAHk+Ce6ynZgeC/TBXSW1Ar1/5YlYTw4CtZKr2bAKm7P9npn2oH6T/pOD0BeQQDbfH5n
4Vj3TiCniKuXc5y7If3TxGt/9MSot2tt/kwetXpDrbN/FZw9/I2mj0Q+N9FMvWzkoXDBr0rcSKyY
c7VkwNWA/yNJ9wYuVDxoaS16eSgX5MU8cw4GAvdmcUljT4kHYiGPh/3q9j5+Usox6mFSn10zI83d
DtuFDN9pcq34HBg0701mut+FJYPfcunYHNaqqU+wfrudcjx+H5ACkuSXHm/w5FZVe9YO8dHPydjE
1KHsK/qSoUH41rFIk3yfJaPF4ZpUe3fBhtw6wb9BWgCgbugv1B1wPWkBtUTkfNnXFo0QugZ/ibTA
ZrO3nhO7lpdbu++z0+p0D3G92BA0wZcweuIUF+zrZuUET2xyaNAJ1C8mC+cK99+6KFCCDCkwpbYu
IOUdweAftnE3u5Ty/W1m+7CW+pqWjqIYYT4WYX4qPdzaJcw0FV4wWhJsK/Py068s0It13FDmRdIm
BfJysYqm+fBGMDOKgNl+5HF6cBmBzjmZ/22ncKCUeZ7c+WygrjOPPh+pYcbngPu/KtadnmpQgan3
h32Q+0jI/BtzH3oc9cWHaVbDrk1cdQi5/p1pmxCXwFn6iO9vcyhXDr+8q0LynXrGpCyzKCv68Bfb
N7PhHmlvWo3NN1QUVFRL3m+zDsmEB3ALrQy9ROOdbOCDbFi55H8QW2EgYfq/Y0QsttzGSZnRZr01
dY3H0poQ8oNK3iY5/xUQAEkIOEGg5iAeEmJJbyH0JT2kaqarMa/qba6sbz7ymQQnxsE056uM8thP
rrha8f2taKOcxhhpRS0jx9YfCF7JvkVI3C6TYzFwWtkF5S7dL5bPwKQb+9+ahm8dEZc3VVq8UjGA
6Sd/NPYdWeIuCsuMmYpoG8F5l9ZdIMWb1ce/R7lYsOtWTDSpNt4xcbCSJIATOkgePvvWexdcwodI
4ERzK5kujs3TsdZrs0vzFYpXSjqwspNnuCPHlVY8Elot+zk6QJnBlhLxi7yiY1XlodAkqRkNyAT0
lr3vS+i/qW/P29qu7BMCLxCKMmsuts85tA1vvTruvPgPlo0DaEARAvxFYKeo/cNsenEP2DLYJDr9
0U0J94e93RXe9rrNBDpBqLL6GLLCOOKvBWggmGsi7UAIMFn13lfsxzl505MLP9HH2b8wPTcQLTcm
GPzdTCfN3q3a7ENWC80fqIYYNdHwz4HluR/4mryov40X0zQ1h8FBfUYSk5eV/PgxB8QVaYN5Nssm
OBszjmEjdf1eZH71bHkEbbk7Lxi1UL+LsnkNF+NEHBcw4Ni8HIfC9p/K1Koj7Bv+O05OAB5lwCYK
RwKrzlqQV2VBY8oRijzY5cguIHhsDHvSXXDbCqk1dFcgrgWe5Uq0WDv6ENE5GPhI4CC99RXa1pss
NJCKMu3eLG1AY7EjvAcQzc96aPQT+HZgHBJ8ZL82/S725gYAuI3+XnTlNS6b9bVmErvSN/04A6nY
5dX4w+nCXTlMRgZDsPAxTSaARBh3Pew9G8XESEMGMjPsNcQJmjKGcjo1EAKvsUa+6VrESX6YOI2N
K7APD/YBpPZnGvB92FRjCugY41dcTo29873iH8DP+po1wcg8VHSHvse1C45DPJlk/iJN8rsHa3Ga
13R5HxDLd+xjp2hJANdl1RAyGqTqjo1afejjiTsK8WhICvTjJLQe/efEIhYNkC1EvNjCkgk3RcFS
UTeq3rq9amEM8y3qqG3/pjZbX9sgY3c4Mdja9precblruaZgdntugkIfgimUu3hBJ5oFjI9mcvMX
7H3zduZ8Y2rG5TPVgQHLiZ7ZVxkW8Dr2r8ZpCMgW17V96m0wJxD77V9eM3p/MufGzvLJAik4K9sc
1OmdiGd/q8Ziiao1VlFgh91HPvdoCj5XZIqY4cF7qbniMBffnAKETHvbsCOszC+g6fIOcCMfVCfp
ieawfi6rUF/xi2qmq5oJpG2sb45ipi7QI6Qy7PBAJ7d/YcFX7B3jQkvqEnhRMYpKXsRZJNpsonbx
BrosJhzQmN2gWbtIWlMzvmfYuT5sBjd8t4RL/QnVahPGlA/lzZi+sQuOGc3L4nmmReQpBEGPs34Z
PrF1OxG4NS4mSmKz4X/y99l35dHDEXFqR0TLbYFig/W9LPG/ZmXXXtuiatFNWn3iyFrfHLexzg57
+0PZjpwzTCxiZHzCCMMVMfcJ2sX2F2yaDzwBTyPsdhD+iExl+NbMb7WPuCdQch5a4weXBIP5dhww
z7F1TXlU6vo7F6bcF0lRU4Xs3xLjFPs9h2ttnxw90p2AYHtwnSJ7dW4RMNsX6RXRrPjRLktoG9PY
vV1jLu3EaPbhYMoLF476cTVaRhbtZhFAFvoIVPGeWW5bb/tjXlPkAicuRKsNkNhpQdl5CeTkow72
LgZHeUr1HXlVQCRjzGqkGRwyHTliRADh54ZEGd6z6YbVCECbdrPGTYK3k1UA1j3jZitU/a7ec5Jk
+6HCPklOw4t4FuiCpFUzqjq3w1tfx+t3XJeSR+Bm6Kiy9pz0SY611YLMbvP3ICPLJ29dXZaypt6F
cggPgcuvS3UQCOwYlBdcn3c0ZvuLFiPvqPL6OTZrF1lSuP/55QhnUye+ESak1Kgwv4I5aO7INaXf
fOLMHVYQjDrAQDVaJRGqkWaAHS02+hFhePmYas4Ctq/1cS79t7Y13abz+YdMIv52V+G0NNxwx4M3
jXlALh8Ld/GN55rsyWIvc1hdB2xBOfC08KJd8pEfAzh4GlYInoy8HhKI4a1SBSmquST45zeZYs4K
h3Q/QiSuyMoytKe3vwFhJ0zn7eA/TkXavtUS/A4s3jS5hKaQZ8x7zU4tC2tP213u2lwHfMCH4F5U
aGX09ZWHZAx5YCY/xAXE3p1dID0bS9hdW5TnR5YaGTjY6g85lWQPKzp5VGkrjmaCF5ezPcRK5Ohz
kCTkbbVTHyYXmlw8dsmDadU3RPrqLOqJMK87B4D143WzcHW7p06KYxn/OOcFN3Zh6vhZKSyRid+g
rFTAHAvWmGghHdsj7j2PxidPkAn0B3cGOjTkTXDfTT2fz1De5jRyHrmxC5RDfmuLTWCpKKhO4GG3
9jRCZscswE3F9c25IZ6r48jrCN6Ww2oeQjpJM5InsDL6Z28JaJriY3lnJXQt4V20iN5AyeTimvEl
DZo/yW2Crtp2+gmcafzWakyiknovYHLQV1Irng4ImNWLPS0J7S9yYMEFazbPseb4rr0gWYMajDGX
XAafjDWFofRIOMAE5MJ/pNMNl94nG+CFcnnv/dZBYIzlGRsOWXAlfgXwI/IcyQnA4eCBa6NHHIpm
ePCwStyD7MoIYeHhoMtu3lHaNeK6aJDTSrzDFulpERMo+x9pZ9IcN7Jk67/y7K4fzDAPi97kSFIU
xSRK4wZWJZUwzzN+fX+oa6+UGcQDTJKsN228Bc+I8PCIcD9+jp0UCClk3gDPE6w9jZPIyCAq+kMB
Av9kap1zX6ZTcZYUwDPtJFV3bDxu1TXJ9iaywoOvpvabBADsgesd0ahpPxWgCO9qADMvpT3V+Bba
iLAmRCfy0f09HJ9sV6vm3j7K9ntPkV+sxOgPUT7qj5NlfFI7Awb5hFO1yShSALC0X1oa6B7jJgW7
3eAfpQEaO5Ha4I7qSgRJA8oYo4P8dVUW8LulJZuErCl3LkmDspa601vUrYJDH2t028CxzduGDux6
rEfifZ2/URw6A7SW/lCINFvoHrLsDg4tGaR3G1EWNco/ubhyywF8Cv9LnLSEQF1u7uHUwnHhA5KA
KvGGTf/S9Yqaapd2p8Kpiif8SrtHkG2COGqyaBwMarT48uwbVyA6Yq2m+GzFHZ3CndRaO4UXKghF
ldaSCugHeT1e6ZamECuBGA1xRf9RTKOMBN78RWNzEQIV/WBOdKl0ekVbVejVH6uqqi9yjYajX9rx
2R8HxMkD3TgAyP2Tyj9lQXg2H3POnaPZ+BCtFzVsC3Rk78HzWHdJBHGA1joE+1H90g5W+VhTuqep
iBJQrYBUTkBw7zrEiQ690v+JPpp8prvePtmp3v6NMJH5oDgR1SNH/mp1WnqqoFp9cXrnz8CyAbNV
ZBAooH0Dz6scqd7wUA0TJLAlON3sogcLordIZnUmuT85Pxs6zFEKfd8Q0xjeyRrpANRR6jrovkSf
vIP6Vj6oOTu+0NK7VtL8Z9Vo0heddyMg8WYgcU+K+gGn+lo21CmKNOcBYQccRF4nH3tVBkFaK/LO
sqTsMNC0u9PHDD5Crm/7YaIJEyRgfmx9Tr7Go+KEGl9AO1w4nAcpUGn6ISFDNmdskMaC9NAxrOYh
QubiwFLwFA/k8Wgn2XcVucQDnE7JX81IotuwWunPEkEvkg1aQ8eh/lJysXyiwAbnlOwNX7jtfQZd
ZpJ0pQUGZdPhULUkjvoOrEIU5d8YHFs6H2jrmDVG8ohqlF0E9cOQ6PqursrqEhB27oICUkxwflQo
qKuqGS3rQHBQUaGQodL+FhvRk4Hw80FJaZjVQ15Q1oBSyk71Ru9eRdCEC5Y1giLmTJMnqGZalD4A
SYFkqq1qenCcDn7jwI4/Nh6Za1ul6FDHHA2G3KPCCmHiPgkjkM2kgWHQrWpwOf1ntCVJLceJBZmI
DHU/XSPDkN9RppH2cUy7Y6do4xHotE37CI0Tco++0JTRKemg8HRoukY7q3FNN3o1IohArfENvSbv
oji23wMDivZlVlpnsC1QOcHisSfdH9Am0HL0g6unQUYGX2xJ9aPRmCVFBwA2lAl03hftWPhHu7O+
+07b+VRIh2F+7kvQVtEdRceMccj7USf564FMhgYXjrnIHNsHE1y6zwXQaJsKPSufKLc3be6TlEeV
j8CNPpaPyESSl9IQ7amhAwe24BgdpVYDzkVpzviFTh1/7tsGSlBTgt8cwkKwar7xUBc+GRUAG9/M
fmi/+yYshTrcvlJS/G2TmD2DvUHqerTH+del32sl1Q+dRjE/UNndkELAHDjzlMoE4H1oQ9qdBnD8
yH+UEGXu8ooKpZ3o/aE05fhcAcO917lUoYbIrW1Xc9zS42bFdxXSTlCYQmgW2vSotI4KIXBsVo8U
saYPJloILv9bxAqaQDqmbSgd9TYYadsDgAQCUf4mtSAvSciV32JTC3klxGgIDCVTo81cB3pH176p
2ZzzOtVAeufjjzW6tBHHuj+jhWuaV+55mXb0FkT1fdyS74FK3j6q1O8gC9EsmEEi40FV4hAt0OGk
lfQgF5RK4avvOkn9QD2bnkhdJUNpWuaD7nGz5LigoYnr4bFIx+ot7OHGsZrSEmYI5AGsKqSfjZiX
DhqUQAYf8aq6ROJzJv4gWw0GLQz3etXCWWMa4Dh9QzrbSheegdJQUaDHncqP1n2udb39Q4WfCzZV
0kyXUgNhliM2tJ8KD8plDV+swhG4QFh9sKmKnyzvnUMTA3e8WZJEnoC4lhJwGniQqd0h+HL0aQsD
9TmXTbNW/+JzV/hUZlTHpi6RH/sgM56DlMysBNb+RS4KutMGx6G1HkgrYMiK5LxBgZciOD1XAL4t
Q1HemD2tkpCUf57aGS6pwkMrh7SR85Bsj00TftY5FndJR7KCHLt+xvnJzOm9DgMNgLUQHvAzRHag
JWS42GY+VkniDhLJDnVXhX4j7nLOWwMJErAxQ/WBV7By7ugJpwva9ryHUlHYNxFqc54SDXcqBxhI
WGl4skhzy3dDCQYZibHYKi75QPuuB6aKeESyTFXJ7thJAutDYbNsKcI9oWNAgG9k6Ufw5B+sxiTk
dCkyxiESwqYDWACSXpBPvH5r2GPN+DClI1RiCBDvnJKO2DEgmksD/GQNP3QflZLxMgGQApQXVh+R
hlHPdpH0bhwYJqcKblerFFSppE3UlKGQsUNVf6OqoNk5uxVQK1pLaZWUlj6TIYR1lp+nRrO/5lGD
tCacvTvfAzm1Lo++qL+u2bZOo6lu8e8//6f4+udLyDX3f/6j/F+wb8glh/AUw4oGP6H58Wc/b2iq
5qiGRhXIUGXl9vMtG5YX95hfaH/+w5+Kfa6MX9ZNvFZEx4ThcFfXVNPQZUF1nTyb1UZll1+U6XG0
P9AbZ8b0JtPy+JN2mCLZdnTdVslXg9W6HUohJyr1qFyCyevPeDwgEU4JKh7f/J4V9daKXhpTPLdv
XXrHdtmZuWsGJHnB0UmPXOW107q5peVn4SEqVm1H03Xt1lws89bXQqu8cPBwhI/eho781vfnv1+5
F0wBqVLKTnkpv1CpQdDn936+cfv5gjQlfdj8fH08Wsk59w7r31fm8eeQa+bZ/bf/+Y+tygbLfTU/
s/Nd/X66iS06zLwSdt1n+4OjXPwOBjMwhLSs7iExgxajBrf7cZJe1i1vTZywLxtQlpwkenmRDDhg
D0W7MbKt79u3AyuKtA9M2WBhwFrSWB785sILu3KEzESSJ1Ymm+j9fqEN5rfmx5Bvf7/lcCHKG77v
U21WdHp1z+sGZtd5vfIWIl0QZyikNm8N1JSei9aUyottuyWwQ+i+6q/rJuY1XDGhCGMg044AVe5D
xqQPRzAYu7blSmV/lAA8Zrxg1q1tDEgR4pcNNAkQPluR5hjg8H19X+kbTrVlQr2ds1xLHG2cdzuA
ioy2cEB304aJZb/9d1n+2bBXGxLCLF8BKFheQE3m3Y6ixPosbX1//vvV9z1YyzOgTeWl52JLx7q7
/vmtGZr/fvV5ReLJFE8sOYRGYUtVEpjcb45ACFlIFSZmmNjlpeJWSXTaWID5P3/ltLZuWA4XPNvQ
hc8XHPaUO+vqMqRoAHAzj6J9x9vFGy/rU7W4EleGhAho11IKhq+qLg5lO9Tt4XBaN7C4Fja65OD2
dR4bwtmXWhRrlTqCQXzmN6Y/2Czfpdbb3zMi+JPt0XdmIhp+MUPoeCeDDmaLGmD2sG5mMZQ4um0D
WVc10xA2d5tOHdqLGtHqDGQRxPmzNkKh+bxuZXHtHRsLChwgsiIsidHVko1+Ecct7H3eGw3hy4P5
ad3G0rJrqqpZusOL23AEG+imNY2nddVFgt3PPhW0Ov6eAeHkMym1VpOJAafet+WXsKw2DCzNki4r
uqxqqsIQxBFQs2IGp+KS/lkjITicyRQX+eP6KJacV1dsw1YVemxscZq8pPHgoW2Ki9k+SsmnoXpq
lI2r6DwR4k7XVUOn7VqzFVMTYpXtJLbfpTEojAHRCKd8lGT7yYDMOvb9B9o3JrS2hmxj8paW/9qo
EF7ITHclibyCfNjXner8tT5ri0tzNSRhaUbqan3aJcWFpLrp33sh2blD0777BSs61wZdRkNIt4TA
kvl2xM3ULy9kq8J3dvBVjz9N6sZJsjhRJoUhB/FxzbSFHa/KZNcLAOoXM36gT9/cWPxF/7r6vHp7
UE123dEhJbP4FOAj9cJhBUnT+jwtOphpmrMXkxvQhSvWlBZ5pOpDcfEpL1KNIz0C0+JctI5J5N0Z
2i9N2b/2xDsj0FMzGWPsJVxL0skdgVqsj+ifK9urPeOw6papzzFS2DNWk0J63Xr5pbKAmZwD4MD2
CQY3ytY0c6Z/wZO0bnFxna4MCvslDPLUTCsMQoiJpEcAwVJ+t25icdM41EYdg/NFEx++hlGhzJ1h
AmVMZYAGtvxWGtbOul83s+gNV2YEj2PbG5OVYgYOBnTgzlD9lyoUEdGho1LmY3jd3rzXxaUyZEXW
DYN1slTB+0r4GGjrDIpLnT3HHiCDY2w9ljDkdxvzt7RTrwxpwjWfsh09OTaG7O9h/qjpT+vjWPIA
QyYtoRhkX2VnnterK6UMvkxBcZDPawjEgWFGImhjBK+nivyNwo2PFIgma5oQNsOgmowxdbJLEb0D
sqEX/oFzAFGSzyWsSuvDmaf9dllubQnDqeByCenuyy7j8DnzvzsIpTkA/xWQh0lKy90bmuPWLb72
bwN9eUtRVAeNLVWb1+9qAvWWLH5JR9mF1uUGJEL+RGGQPpN1K/PvFsaly6SNuDo5Dg3bwqHQKgDf
jVDKLrr2YFDZgJv30+jcJepd2X9bN7WQtSAPdmVLGJHfGAm5PmzlPSSTcB600wXyMNo4/6Y7et9K
AO6AefbfHMcdYvBl9cZgX7s8P8C2HM2RVYV3ghCVEPtOHdonySo+WJTUsg1/XFixm88L/ugApq+0
MZ7FwR/DEjzJWfIfCnPjtvt6Y90OQvBE27EV2+6xUqYPfnCY9PtW/3N9pRYGYqgKzqdzxwJ1LMSg
ZABbRO9Gdvkryb90PhACh4LRYd2Ior52PYhsVK4i81MHhZhbB49AoOk1VDuX+E9r9zfl3NB6tpMH
omorPejtE10mgfNh3ehCyLi2KZ61dLZoKRzT2cVC2o4u3rhwjj4olyR3Peen7yrGjS3hKhR5jjpp
KNBebHBhPSxWOjSxyvjpF0YEcFSn/U13ZENwh2yywIYZbCrV+TDz1vcHqUOPxKB1Zvpr3dQ/1wQh
WBhEI8c08A2HtPbtitGgbfVyw4io+iEee0F54GR+NxBZ3f9R6n8Ymnfs2veBcT/QBRoOICB1+G7e
OflbahyhBwbjXQKL/3Bfhqf1n/ZqZ1uqbMm4EW9AY/6/2182JGUjSYGjvvAY/FSp7+nc//57FoTg
1fxrQcsvmfP8m18XZhZsmQMTHr+/UuiNig8SZa/132+Ku02YofnvV8dJ5Zkg7GQsWOAk8x3dcInx
Jt7a04tW6LZTzTm8Uv28tdIpsKMgA6+9gAqhSwuKXtWDfLmjb7/tv0oqfY9+fVGH5IsC0HkwShdU
2LMfJWfTBpTQpRS7KVaf18f+2jtMmKWg47A56BxVfJXGuTcoslwEbut8NM330UaWY+vzwqB1FCfi
HgSrWyHvkp7anz21LCZzPq40WaWipApxpIzDgsYkA9zZdNcO52jY8IyFn8/3eavrjiWzqYVjK8yA
uniS4r0A/st2pv0LP181TYsDBWFB6ha3LkELrVJYcm29VPXbCtGljSi79Ot1RdehJ1JJbcjCzol1
DdrXcfBQ93gYT9Xw82vLLZyYR0pRJ/IJh5RS5EYRSYnvmggMqGycn9743PJt1abDSiN4acL3tUCn
hU6ypJcQFQLk8EppI9O3ND9XBnThmg9TnzJmlU0PDcgY/5zlG9fUeX5vzgS801Sg7VQUyzRfJd/o
AiT31+S+67S8iqDc2I3GLzgojVKmzF2BCG/PQ7wKXYVcRMhB0gZU+9+ctypsfevh4XXQ4oGimfgm
121VFqvBhtQ00gjI1yUCjf6J1kINOWP15x31xoqwDxRprJpK00I3hFEa+vKfTlHxtr8ehXAEUj2E
laHj+01134T3ANbWZ2nBkW6+L6wCv5yrbaiH7vjBQkKh3IjRC4vAceHYpA11h2u0EERDA41pWiIS
N88OKvoxb3hhSeFGIuTV9Q8X1RyQvaZOFhRDt55Ul1VCbwJG5LbZeSA7s0daxCpS4NHGbC1sC3aE
zs6wZIXucSEspSGil/TD1W5qP/FOpGlDdzbyefOPFXbejYl5Rq+2RZkHEVG9rN2Y3tvTkIFRtuGd
RBV+kp+duHXr2kCbBQ5qEHIpULt1f1gyz/tABj+hmLotXgZBrQfQg6gVGGH6IKoJ7StT8o2nQrWa
d1FhtGd5CiMalGTjvubWvZFpXnBHQA8/zAujzwJ5knVJqdxTOXyKpU/rg5u9TZxbnX88vx2ZtLiw
mQxoo0d6hyt3UD5Uk1siKaXQYdzdO3Z7lPz7dWtLzqIj7A3JrQpgRCz52HRv0fphV26LcJYKfLw0
/taKrUrrgvNTijE44+drkCk6f9Jk8ObkRuXCAuR14WFI/+77coewGGi59QEtLY5h0H5BUQYAjAjf
oReiLO1+qFxIVV4q03/oDW3jXFuaM8Mki82pwDYT56zKwmGyo6pyabTsXpCeUJ9jpUHAIkK0eH00
S85gqSrDoT2FzJxwAfNBdcqRljcu/bE5uPhP9Ojf9Sbkzg09lImlvEMG+bhuU1maQmr8Kve+fwKi
EKog4mnpkcVoSgsECELzFIBYTr4jUHHysd+13cc+ap97SBs6Bz7+8C519FPZWC/rv2Rpoq9+iAgH
aMq+CsDsNW4DZ77ZXUbq23n5cd3IUjC5NiJMMZIcNcRUVeO2zWGS3sXjg2EB6IcAT3ajgH7ujf29
OLvavN8c3iqKPg/6KnaGMWSzxcigZPqAquYSed7GUbNlQYhPVuZ1ig5TlFuVoGUnA3LbwdvYZq/z
+pY5kwPQNEQK3OGwuR2GYzlyrxtj7dbSMx06OW1FofLslJ8VLbvTvTuo1HcKndS/sFhXVuf9cjV5
nlWnWTZOtZsM9F1395n+wUNha0KoBsRwm+xKmlXWTf4DAxEDsmVoFhcDzaDoJwRkjw5sJGeCxs0S
BHyU+7T/HHjPhXdGCiAN7ruQbjrpb/q4N8a6uIxXdue/X43VD5GoKfwQu4H+Dhj3Ry/bSi0vbjBA
TbZs2bikLez0IG/qXiq82tV4v5hvU6RQ1NPG9M3T82r65smzLcqyUODfDgP+TCgdiCjownZArNHK
cC5m/ay2j4pj7ZX6e279pfjvpO59UDylP42Hw00BNNDCCqABJLew23xISKdSYy+gMiJDZlP+wiJd
f1/Ya3Y09jCN8H36Tumo0duNR+DSAXD9fWGb0fsSJzHMU247krn2kIY4lLqPWoOlNPt0bucMkjFw
pQmg8frCLbnftWVhq+kBMgeJzchyJHYno9ul+cbdY54b0TNYGN49ZMVtqmm3nqGMMOykqB25SMc7
5ge75oqDvue3nx2HJcu84Czd4PZtiXkhwNJAsCK9dpWTpEGBA3PnuoHXm2g24BiK/N9DWnCxCf5O
etc7DAx0d5xVmNe59/6CjTmpRacf1zVdiAV6nwyxGvi126OCFR+TWQF+49R4vRoMg0cKl07e1Y54
Ljn+4HXQ09duDhKgOcg+p+ExjjfuTq+96taKsF9SepirVpcqN9U/Rdo7Jz2uT9Tr05zvOwh4yP+d
KWEx2kHj+lwYHBDlJ6p03F7O9D7Rzf+Y1ndj+WQrW9elpeWfb2YWiBBijRhDKYdQ4Vbt2h3p4Zc0
pDzA2Hcbi7NhxBFSKUqnDfWYWLUbFO9Qf3dg0Fde1mfudaThuYgDKKS0ZJvM0+1u9KKopOWC/Q7P
r9Sg1LPvQO5HKPyh2LMR1ZaH88OWEFvkwQ6gSU65oTRnS6WQdIrsjV05/9zb4HI7HCG4RBFt93Cg
cHqiLRMh8N5aFJIMdac20PVUW0/ShVvCjT1TWKEBFjwfCrTGDfwXj2gZSg9y4e9q5dDYdxaeKCVv
yuFhUDY21NK2vVo2EYsQeeXAP66TmvLYxe9U/6A752YLHL1lRb11js5oK5pPscJtb4g++9FjUL1w
Fq274IZbmMJVoUAyonUg7XUDdFkc5EL39k9jQeekyA8vN4VAOpglDCEjbmFD/YJWm7oxhPm/X3E7
MTVRtUMzeXXJEIaPgwdTxUYJdvH7M/BABUujvYKe5Lmey7C7Ny56p/sgf5rqb+trsGhA1S0SYRQm
ZLFgIUWQ/PWlRvYo+hicouLDL3xeI1JyYFq8HoQlrgY5arteqV1o/rVyr24EscVff/X5+e9Xd2ad
sqc9DXxeVlE9u5fa9LT++xc3Ai3GVLo5LV89yOl/1kY4DCrXgsU8mz5U5J7INhxbqMzWLS0GsDlD
75AAUF+9E1tbLiWYg7hW9HRzmf5JMeG8rVTUnpuWvvlkuls3uPCkY284DIvmNZUbmRAy4wYm7cjU
0ftOjPtR7/fR2CEsd9ash9h626ezjhyEi9KG3cUppbxB7nV+irxCiNFqikQL2bw+RoMJhkO9e8rS
z7Zxvz6+pegylwZJwhrUskTP9pGgGWGTJmkZ89LXvWMYq/fxoG+YWXJB1QJSyZOHyrhYM5Nso6Xb
XWtcEwpT1LL6cxJOzi84x7URIR4XutQ1UjLL8pAUbOFFhHCgLj/ntNVXG1eP19gZQua1LXHLWiVc
FZGFrew58P6AFZF+9NMooxQtu7L1SPqn4f9PZJQtvEOYbhxwy/PpALSaM3qvaoRQodLpR23aNWiI
nOr2LaxJn9c9Y8kE/I40sxmgxijm30YNmCOVWKvT1iWtt3v2YDdb//6Sh19/f/77VVQK+hBWZJ3v
W1qwT8wJnp8nqz1m2nndzpKHg0XjkcAF2H6VzE1Ky6ZdPW9doLh3aOtCUsirtO1P62YWh2PwCJmL
ng4PuNvhyGON+osECyvviJ1vnlCDVNVdTY5u3c7CjZQ4RF0G4VlA3WLipesHzffhUXdzvdibcNdN
yn1f3lvhk1odyq076YIT0CnA+5BEtco1Xoh+UjT0UZE2o2v635p9lf25PpiFSVOAyqiGycFBGknc
RXS/d+jpDQRudINPU3rfTPC1bUzZP2k34f6BGZIeKoxooK2FwACXu5VI3cScIe2p+e/BXcOH9iLF
F916Uv2TkQezlMeuiKx9jsI1FFN7nS5g1Bj0g0ZT8C+MWtfnbDk3FkssAee6nJtlE45um55p649R
avYeoi/rRhZX7sqI6I+x3im9HI0EqHT3Pp9+4fGt0An67yCEOYUXOooNPxtdWul7qOnTnZZs7NxF
77gyIXgHbAqNARMIQ4i+wstgP0ooE3db1eatiZr/fhWHokEaJyRsRzeo7wbytfVlfSG2RiHEUb0Z
FL8BUe5G7QOt0173dnIeHev4e1bmX3E1CkjWNCsK49ENjTdmIO2NDmoZ50Hfqr0szxa7lSuDQbu9
MJpc7bxRDvIRRuWDYu3VnweOAU/Qf3xfGAeYBiW0e9xKmU6DdhclG0+FhdPg5vvzBfNqnlCMTgEd
VKPrT0dPgeMFhofT+lIsmjDAj9CzQDXAEqZIs/00CVpos5Gt1YojfcCmclw3sbgKVyaEWYL7gba6
1B/dtHoy4SYvX37v+8IsBZUWG0HPEJx2b3UH9t3695emCByrRu+LonEkC9+XB2qFXaNOrmG+RPLX
sejguNrAd8zfEIO+gTMBYuCUBEh1u9IjjD/ZEBayC6gVAWPXp18giu4s6yHsho0lX1oPYyZG0Lmy
MyIhUil1EaR538g8S97UsrSnK2bjzFh6h/BAtIA9UYS0NLEPoYKCNvd5o7i+Dv0+uzyLFXlnNBo6
VagcRRME+fVfUMI9TNEWoG7pzsG4YE+Afdd4BZ5oDKPxS9ANrlPPKG07elBp7dJPDnQ4P00FYFls
cpmbIQ0XM1XD7bKlSIFMZFxVt9XlQwtWEc2WdeebF150jGsLgmPUU9OhWYWFHr2Rp+g0fPfTX/Bv
avoUyPA8/Fzwh37MUmgCdcWV04Pl7bP4LtpqS11yOZsHKSU4ilSvW4g8Tx+gHJ7cHJ7SFF0YFN/W
52nRAr5MuZvuvledL1IkFcGU5pPboPkRNNHu2/r3l4IA1SeDxAHXIEZxu9IwT2sNfGijazTREf0f
L5KO0k931eBO10bmQV7F+xCuOF1pitGdEIDTdqr6C5H4+vuCuzbJOEWlwyA0/wxn3WAc1idpyVmv
vy84azKqqF5mnFcOzyOloOlNvTRGeiy0jXC5tNqUCMjV86iwyXPdTpSmel7Zx93oxhFUD2rNzv75
oZCcAzeoKJS1XmVSuGMNFjSKPWmo+KTk8lsN6dpkMI5AUzaex0vPczp0ICqhj2buGxSWJU0DDdLw
sncHr84OsgMrZ573sEJlNppVahruEY6v95aEskqpF86lrYfyD9VEEHsgHw7ltTx0GyF8YSlvfpOw
lKMhg4Vp+E1lFu6b9FsnvZTqky1vvKmWToobO8LhGg5SWspK1bsaHERDfJEjhDPC3VA8l/alk459
815HR2/dT193j1gW3digHsCDcjUUL4aGQu61ipF0jpEdtxxKihW6QAcoiorhbPnJboqg/8r+QI2z
0ooN6wtnvUoZkAwkXCz8CCGUSE7SO5Jtta7i/BmhPQvqDvq3LH/jGRtFmsVFpLOD0iz3Cq4Xt9uk
hkOaboescyf1ewIp5IyJKSA2jIqfxtNZACLlGUPKYcWT/9ZQlNQTXPotEtnQz6a7YNoIXPMOEE5B
ALYcTzaIwddpEUsrJTsfht5tK9RPNf08KdW+0rbK2UtmDLyB2wPpl1dXB1kb07zUy8EN00MawtL3
omz1626ZEPZVVYUx3UOYGBzIhPeS8mBtZRC2TAhbSoug+R8mTGjSaQzf0AinbLnwQvwlDUJUnBO+
GjWG2/VGCimHv7weXNiCZDjVf/4wv/78P0Hj6hwMVCsrZI3P9x9s/amJf/5ZdfN54fTQzSYdPGIo
Z/kxkt5kELv0P58RvzGh3k4Qml0dDZ+sgY/w5z9k0u0u22qY2VgFcXtPU5M56JkPbgsjf4S6VfT3
epzcMjD//WodQiWoO2veD/rwRfoLfs9f+PwMmidlB75H/P1BU+h2DbWni6BN0tLKCVPf71kQBqDq
pS/XGRbCYq/ea/HxVz4/vzN44sxJx9v5SUdVz5AU691iKvdymO63alVLRwVI2P9nwBL2WWknna17
nI629QQtMOI8B39KD9Kwy+0NQPg/sy3G2JkEjjYhCKLAZd8OBnrBCRLisXWTylWMo9/da9F7pzh3
6iOkjMdGPfthSY/0saf5NrI+rE/lwqttvgARfOFgAaQnjLTwtSyvUFZxVZQKnQ5y8aTdz2EygM0W
Sa1pa+0WppaMJhEMdTWyxiL60YSDkT84haukEH96d3rwVqoQD0BNFcbODT+cf70wtzfG5tFfbaTS
1jxoOuzC1XnX59lD156k+uIn3+LgvRWjFzNoGyF0aT6vhyfMZ8IVp4Xtu3C9LPlUN7DZB+qpqccH
TTdh1hx36tS760u4EC3IH81ofsjleEgKDhTWTukMslK4mbobv+UbX1+4y9x8XdhrGpSmWWvx9Q5a
+A+jda/EZyd7vz6EJQzIjRXtdqHq3kHSSsPKON71SJ7o4cfaDw+t870CQ42GpDScvfqhRtB93fLW
5AmRyqgGO0VYtnBnqlVSfb9wpN4MbL40XHmgVCPqMNFM5wI6aGBY3ar0zP+96OE2fTGAALk5wdZ0
+30vSLuGqnruGvbnsHxU7Ycq/uvnp4guQG7O8twZI3JOJEjSh1qQFG7yiH6eMWzsmKUVuP684L6y
FdGkNKaFC/l+133qEAf7hd9v0NJAUYfuE1O4+rU9/EqSpOXuqD859bNXmRsGlkIajJcwk/KmgTdL
GEE21lpn8JRxwzx/M4Tw0Uf1bpa69mt4g4t+4xG+tCNnrAH8JjqADTGCkpvOmiagT6OzX6QcPbU8
gU/HtTbeFgueZQAFhDoLbAMdLoJnoWFY+EWdlW74HTKB+iutXevrshAq6frmIDB1UBMcBreuS4Zt
kpopKd0EWu1dJekPeR/DXYhoDmzOFWzosfTTZBIgNK5tCts9tg3HQTm2dMsUSUHpMAsQr49qwZ1v
LAjTliroqag9oyogQLXTU2xv9QwuuNuNBcGf0x6B36hkDDESgUF4auG8R2OIJhfz4/pYllyA7Orc
EcRxDT3U7QrVtmQNveeXrjG4dvO2hN/fOK+bWEpEwLn7rw2R3AFh77KPdA7Mqr5vaiSgpPcJXOyO
+ax779IOZe5nQ906pRcXiYcz6QDYrl5lmeS8M2MUP7kX2AgJn+HIXx/VxvdF0GnYqAS0iu8n9lsd
zaTh7/XvL4QAmG3+/f2OEHGCLqwU09cLN2jmApVqH+L4kcn6PSvq7fL7QZf3fqhhJd3XELYjGtrs
PXMjWbI1V0IYiFWpTFqbsXRd86nU8keviO7WB7JlYv771SFM9bb873QVwbGmPNxsHGFbyyHs+VAy
az3XmKippm50lBAVknbT1m7cGoWw7z3Pa+RSxorln1PULIvD783SHHeuZqnN0aDO/PkqxNOTDkO/
fRw4yT6sW1mMXleuK1zJq7qAMDFlFHG57+RHlSZ6+RRFz9EWpEdZjF5XloTolYMn0bSUTehQHQr9
6NxPqMrb0KapWqgfY9srjlOsnj05vrelFobA+mMSyncoKKL6iE5qF1if1we/7iigRG+nGNFTeDIy
pjhPj0G2b+rH+DPtj+tGlrKsV9FBEbP0U5mGchKzo7xWUQ5cfpKdV/jtIa7DfhcUyYSgpPESs9hH
mBernR3Ck9c6iJ769CJvBPhlr6XsqcP4RW+E4FVKYDplX/Le86pTnJ+kLXz10vuZ0f4wIDiUA3Hh
xB2+cCOterGgbA91xBGgxShr5airiDTpzqkbjIeeUaqBcyKHea5K+bI+68tL++NnCN42yfFENZlz
LG8frQ6Z1wLlwwZ6fjiE1i0t76B/LYl4+SzQetOosIQu+hS8yeXnLLjL/TebHVrLG+iHIeGUcSyv
atuOme3UA/wKUA+yKdbHsnz8/1g9UzhjYi/uMy/jhV7mCDEq7838qUyfQvmtXqDHdu79v8ZgPK4b
3RqXcBz4qt0UJHg4/Z1HrX5KbR7nv3R0/pi6+SdcxVKrKU21mk1IaCwpVXsxoAgd8/pU9dZpfTT/
n+3+w9bsmVe2Jn8EKlEaHNPBU6N+S/X3lvVhliuXG/juiq+d+t4ZvyTGGSqZDVfccHpT2NxovXRJ
p+EhtXKum5PsvM+gPmw3Rri4XgZ4SQjgyMqJIA0p0YopaybWy0IQ98ILYb9x9M2bU3hFU4X/YUEY
h+0ZapT6HBVGde+0d3q+N4o/YulUBkdfeTPWG5XHxZh4ZU4IWTASO2jD9JyBqIah0PXzDYgzqODH
cIRYBM+xX4QmE1bG54/NVkTfmCwxHwD4IpZHhckKlANJreo59P/2wp2VP/r7X0F6XA9FE2JQgoSK
os1DMdSAXjR/F2zE7Q3n0oQAVCaKXpuIMrlScmp9oNLvhu5+fYduLLeIYYiTbgig5OdoQILypYuG
jV24PASdDCLUIearPuFCTaMBlbrC1ao7r4Md1j77SL/8yiB+GBGCpjHkjpY08x23uhuj5974lTu6
8eP7QsTslLRus5zvj8bJCO9RwVn//Yuh6ur7QpSs6TbkjGaSlPoSSw9W8Fn1z1Y6bUzT1loIkcRy
qBXY8TxN/jFC4sfkTrVhYvH8NywCIaAhsLXqbbxHBK+BAoSUvT0cpf57nJ2NiH4g6wu6exumlift
hynhbdZRmQ17gwSAH92N+sem+9TSrF9bG0/A5Un7YUbwrQx92R66Xo4R/xMSxpL5Jo43zpCtSRPc
S22Rr81MrqF9gxzyEWg/OiUPXm3vTeeXIsqP0QieNpYZlFv/ZE0Qh0OLOd1v0jotroupI1Gk8O9V
Q07aF9LA84YAX8YHX3u0s7d5+dZsNzhUlgIXDQ8QDoMwUF415AxWim5MNBB80YYdzvLWui/e/q4N
CK5sOZOTRB4HYVs9xulfbX5OrBaC65fGuhj1V6tLDnm3Mailubu2Kfh0qWvqEKKA5ZrGCRVHLz6p
1jGtPq6HmyV/u7YiuDRVniBWWkamSh/LETFbMN2nEA3XLZaIreEIjp02ZlTVSc2r3fHctEHjsqxO
iRLouzgbN261871EvCZdD0rwbMtqjTRvGBTasAEK6vHDNKCtfejlZ1t9vz6BW+OaJ/jqVqsMPmCK
jnEp6mEMATDfTcPbePiFJPf1iISbWNbKtTYmeDitWVZx0EaSqL9w8Og044DQmXUcxN5ApZQHJ7Y5
Edr/Je3LehvHma5/kQDtEm8l23GWTjqy0+nuG2J6k6h93379d5gX3zMWJZhwz8UMBghGZZLFYi2n
Ttn2k1WWgeYOdwyeJbil/gI9Zl3IEvOORUfDUePeUn0fHlUgmmNPNlRs2yb8bzli6lEBhwxmhCOF
4WZ3Wvvsmn/hB1wuQTAJXcjSGbNU4CyB5Eet/mkw+O+6ZslWIBiAeWwxrTKCBOdkzJ727b99Xbj4
HVBSQD7An8yKO7vZ53/zJF/uj3DfuyxMQjvk6qQele6LnXyuyx8skqAS+FfWN/3fUxZuuhXZHWav
q+UpLD5nyReVBUq//28bJVxwNjkOIKu4euN0CA1fVhXfTP9dbpRwtS2VJj2hOOYuSXZVjInSyZcI
EMe8fFSyz+aYHQA79lznhzk+9PqniPw2jEOGYQT/bZlCLFY0oL9wMK3w1AFR0YYHtT5dF7BtKP//
UQEUtjSUYVl2RsgDGF17Hc0jyw5j9KLFX65LuX5pgFdfSqFwz+YigxQDkZ5xNCaJCyj7vnDtNZsN
aV0iRtIrNEbcpzKk5KZCG0AWA8fouLYIkkCnko2R5DXCvKwH2NXw3LH+QUvZIIjNZVyIEZZRME2f
bAOvVlN/rtk7BTv/X5zDhQDBeLFJjyswgMCPxcxZp/1tF1//mwDBfs1uO7T9iBVk406bweousb6b
6grqM0wAQelaFUHXvRYDDAXCF+B//LjGoOc7Tdmng8QHl0nhf7/wHnSMYmdDwx9CtCWM2n6wvhVw
+VNHVkmUCRKsGOlz1kcU2xWGo9eEZzM/92DtnIYvf3EscB8wYQRmyRB7bKehTZw5htmfFeCITegv
4FPXRWxekf+JAFhiuWdFoqaMzrD5KkFqx5vpey1L1m9ejwsRghXJnJ6CeRG33Po5g4zh9/UFyL4u
XD7qKO44Tgjx2zAAVC6RGFrZ54WrVyu1Wek5jkBx7nIDHOmS/d9UpYvNEW4ebQ29Zg50Nrfv3EPx
7dWQVYZkJ8z/fnErwrLPKpuXpa3Un+JnVHML2Wu0vUlg3HRAzMxHli1FqFMLCJGFRaAynQx+Ii0Y
bK4BFwDTcwFLhy1fCqjggGZpUiFPlMUeRq149vDI7Och0g4aI57B+p1WBE77Y7YeEvpUoq8vJk/A
PkpOS/Y7hHfdGNoqbfoSv4N+ntqDjQksMoXY2ksXRKKcAV/XV902eUzb3OqHDEAf7UjSfGc2v6/f
mK1FXEoQbkxB52zEGPrsNBt/wuLZrO4NkFPcKMNFUg+sHrqDyULg3xGujZVSfeinpnhLSoUdoyK0
H5Htce7LySaSt0Xjh79wWz9kWQR5MaB3V1DIMQHFWVrMxVvW6H4co6ln9MFbsuuyY9c8danhFRiR
3UyYHd0mAcZasLQ8aix/MpPSo47uNywBOl2VbMEqGYCfZcPrALrI4AQTwhbUmBE2KWVfvYWN4xl2
u1ficwFgrxb/bl1JRLuyIoIswYqkfe1WTjZWb677HpHES43Cj2Ld49PVbz/Yy1Vx5bqwJpNqJ1WF
2u6bHdL9FMUeVHU/SJuGNjfPRQcg4mEgEMWeB5j0zOqKqnpT89/qWPqZ9sLC0MNM4F1eyObbrK4c
dg/t2FBTG/+1AmNXDo0ZeIrKN9Bzf7Fa9tgnkURJZSKEOwfKYttUUPx5o23xI1HcY0epJE+zIQKk
LxjhhX/QI/sRGl2cjDn1laVkefnWJqpfvrt5I1nDhpItBPC/XwhAwUHXlLgo3/SYesnwAKtxGAey
t2Rv7rq4CbKUy6UI/lWIogM6dxIcyPxiaRGYT1sPfCNeWje7ubjHGIlD3LY7I43uOhJ7SX1rqQ6k
Ji5m1GBcHWcoFDusKqtw+iIaijdjzu8jLLZTJZHPhn5zwLsL8kDgR1cTHp2s1Kypjsq3caR3fayP
Hh1mr8dkHC9rLOoVTSKRuKEevNldM5GTAtJDJPp2FTeMYgqJuaLjhf4xyrzvLQEY/GCAtZY3H4tt
fk5vWGZsWcVb136fomrfExkj1YYCElBegRbFRUrNFi1qm/Rtgebm4s1CuKu+ejuNfblu3fj7LTwl
kEDQZo7hZ2u6stQCBf9YqMUbw3Q6sxo8m/3MreaxTUdfw1Bczd2PsrFQ26v6V6ZgGpKxNVI0fuGp
HNH8aQatemZa7lvj3fW1bcrhzBPQOAeuFP/7xfXN+rIDs0IHpQb0acC0zH0YAxo3lE7vZyCzvP2h
IOiu5Whl9H2iz2UpLmq6NAVzYPI2DxXKLel+ACKpUm8mKARpGHxO3FWwFKoohC7FKF2SK4SSmM+y
mnaFrElxS6kvPy8cjh5GcweS/vitTOv8pbbM8sGxpem9lUcGvnqArjFahoP5VwxR9ZTpCtD+0Vs7
RAclyveYgLKvNRkr6tpRQruojT5cEzz/YK4TjqQ2xgLDf8b2Df1fu9g4Tsl3J3qwrEeVHPL0x3V1
W+8cjIEFsC2nvgAthWDDGzvrZjuEBzhNod8Bc33zhBAXo6JA8o+8iAs0uQhV752i64ZZKYFzMQ/W
8KVIn2ITXEPzd2e4Nb0riBKuzjiwsq1Lp3zLbI9kXiXr59jYKw24RIzWA+Ya1F2CqxgaKfjUgIZ9
izM6eK5ip15T5zc/39AaUKrANLtwEER6MKhVPLVq271hdo5aHuwa/ey+K6O/21gK2hS414vOXng1
QoTUAFqosWGO3igd9Od6zLO95bJSkqleS3GQSgIYGs4OCANENJyFIGyuaUXPYd1aO8xUqBtzd6v+
LkUIhsVVI2XQQNZztqIgG0/N8b99XjAsVEmmqgWP47n80No0ubnHCfEj2kUIr+DyirFw2c3cyvqx
rdwz7av99Bw25v7mFSwECJfCNsBMWoe1e55dqKuLEYK31myFFQgWpMa8SxPRhnsei2YHtI73k2Tw
k+abaXTh6+k81sAEGc1GS/ryCWHJoE556WZv+fQ45VHiGRPy3frtOrsUIyjUNA7FBL6j7E2/q6Jx
Z6oyQpD1pQBKDm07SLAi4ESmZLkOY9LVuR5I8obmX8899upw85POBfBMJG44HD3xxC1KE6NTkjcr
fUHTVqx9Z93pulLxTywdMLwXoNQGcyVv0hCf87zRiixx+wRn0aL91S9Mv432JUkkxnBjrxZyhOsX
azSdMI0meaMW8cp/WCxjHJUJEA7DTZymbCYIKEfEyaPpa0zSEbaSACpJEzkPPrnKgDssnEYSVsak
9fZwBpMYQuWdO8u4xFZuCSRYKu8V5w/GagxR5pJidNNhPJvdrg13obMfaolTurWICxHi3UOkFed2
DBEaCnMvREY+sFKn5Qos4c7FLXVCd8DnqfbQ/aExOgHKh+LmHgouBRYWnig4jleD9VIryWwMthjP
7EFRMUAW3fU33goI4GEoKpuwVKuuvFGdm4YZc3+eXnv7vqdvdHrvZOMZ1+24eClgotBXyls+V/1R
OcRT2x10EBDgxRisx6yvfIys/Tx37d4Gv7Gi0IM5mX8KtGqpiuzBXdduP+RbyJeBd4TzSi3tV17N
YexWmQ62jtQrLW1nGMd0mnyU8PzBfCijT/30xNoQk3nvKDg5R3a026CT2em1zvBtwG5bH5MRxMAl
rSIEgHGvn5wi9FtQOjdRunPQb5ePt/oAfMEaAk5M6sV2ixDRCj0JalRN+sl6V/ujat2axRA+z+/e
RcA3DxrmYJT4vDGMe8Dqo1Y2CXBbZaAvYIdSke4VOaKtSmlct7KwggEB3lB4Bdq4KdubBL0Je0CF
S/uQD45XSvsh1rYJe3chmcc6F4uj85AY6Wzqp0Z9qOdPQ/jostfrt25tmyACcTKWp3PqPkEf0WxZ
dUWk6yfWeL3jJ/Pu+vc3FE1XcaXx2oGEEHHscgkgLaFhCZcdRY19Wx3Tx6bC5APJQ7exT+BpRm4T
S+CkecIiTKoYETNy86TUwz1T+idmjJ+qaj5cX8sqccIZ9tFn7SK2wGwk0e1P6khtNbU2ARL71pn3
lvGnRTsMJS+NfkgrAJJUWSPxxukAX6WhTxnXFF1GwsKqds5zkhvWqWCRX+uvYyXJp24cD3JZOkwB
4kxUMAQNm2unHisa2acmeh362Su+14B0ltb5+s5trAP2ljMdm2BR1ExhHZYxO06RKtapJwdd8Q3J
KmSfF1aR6KRC0hafb9RXC9mXZJaUHrYEYMQ4x+uDB3o1krWuCKtVSq2TXRfeLyeRYR82FJhn/FRM
TOfFFPGcE0L7Ou9S+5SMbzWj4GvQdsS52ZfC4AANKoy5x+joXw3zyWbUqYrRPqlA0pPCT8NfN5+y
A+8ACqVi9jG4Opd3fdJzpo1D5ZxM7dBFO1NGiLxxCsiBYPdVwkcDiPWSXFcHI0Iq75ShFwdlxX28
v3UBYPpGrxCMCITgNJYLsDtSpSMYQE8G3TW5X6U3P1aL768cQYqHKkU64aRqj+3vtJDYp/Vlxsws
gE/4PcY8WUPY/5wMjdPaGj0NGfMqMj+TsXl2+u+ObLDNWl2XgvjfL94ls3ajHuzs9BSH++JBGfey
cbVbK+Hk7jrIXo014+qoO1EfVilAJyT3tfibbb6Fvac1quThWGsUUlGQgRAD5BYryp4WzdNabJbh
eTb9nD5G5ulmhcL3UXHTMZUFvJLCRqXlqFdN14ZnJAaT/hjLSMG2fj+8KiRxkAfBxRYU1h2wSYXB
wrMy5IHVjg8JiCUlfrlEhqi0OThywgYD7c4T+mkH9UAcmd6uJQCZjnjedSzcarjFS3UiWUyUnGju
qd0Be93KtJVb/0W4jSzB5ee5sl1oq6GzPEJSxD1NyX7QR9/IVN/onlvD8amh+eHt4R7kwRvBDHX4
uyvyzTZkZdXrjIBy2T3YLTlI7Pj69i2/L6zHJnPa5CXFemaMy9nR7pN6+3u3FCG+11OaGVoCEbp9
UFqv1O+v3wv+/4tHwmmpORGZYa/eUzqPTTg7iXLS5xEjB+B3Fkc3PA70mdDwZg8XeaILWUIWZGRJ
Wo8TZLlNgKwwyWVogQ31BYJFRxkfwSPKjkL8TZ3eIaVi0ZP7JQY9vxrdzI3IJ0vzaA1Qzg16TzU0
Me/EaempeShMsp+NYX/9ODZuyEIAX+HFDakBqmhq2tCTFid3Yec8YGaMle1qfWfr7ZEa7uG6vA0N
XsgTLrytjGlqJ1hQaqm/oqQ7sig7Tmn6+7qYrYMxgTnQ+GBu8M8JF6Ubq7xmGZYVp69g37AlqdvN
z2MOCeIaaPKKIDrOTAasQEkxOeFbjub7/OayH84d4CIwL2FYKbwqQbEGpjWV7eb0VPcASh0q/Wav
FhPFMWgTdQzQ7qxSX8zsps5uiHUy6l2v+Wm6u77/W8eMSIknnMF1v8pz9gVwB2Fpm6c0zJ8TM33S
je4urMitRX8ekl2IES94VBdDh/AQPDs79acqa0rkWiLYqsXnhSSnBZJxMBwS85SDkrFiiT87sR9a
eKhkBIKb+wXGAFgrFwVSsdjXgi0qLuLYQk/i/ENNyKcGjUFtHN9dP5YtvUWtD0E3IlmgMgTj3pdt
54Dr2j5pfes3xWFInb85eIIMFy/McCDV0p6At4KVoFeCYs0zhvJU4BLdTzIjsrmMCyHCMkw1S82h
hxDwMaM085qxW+tvXK8uBAhRZRnnbhKGENBNGbopYu8vHIWFAMF7U5sCzRt8m8AktiOfHHJ7PMP5
x8BLzavTyNoKdlYt0tiMqGOcjGK+H5iyn0tJ5L2hsgsJwknrZt9RPkDpRJX3qdnX6fF2VYJxNWCl
QNOnAUYkqFKRlrraMvsU0vFewTCBYqw8vT/cfCUwbcFEEwVwjGAYEHRJbxjn9Kb2qYyezBfMmrv9
88iAYqQDGLlQbRCKb5nd0LHXc/s0xF/cF8V4/4vPA0KIPA4HD4vvRFRoRT500COki43vbPpx/fMb
BtDRAO0kHC5EVhjP0CBZOpeKcrK/21bva6ntl9bkF0RWVl83zQIkpmt4rjkFP/Bbwj4VmpPOs9Up
J5XNe3XY5/mjWj2z8Y5pie8YOxUJcbeQPB8bKvzBmo4kNcEAEUcQOuu1qlTJTE5D+F7Z1t4sy2Ma
3hwIAjAG3+3/CxGe8tBQMXqNC8mtl+KQ3gyNBVcwNg6ISM7JvtLfyVCVaAbb7slJMAuvqz8lkbpv
+uwTCF0lITO/CsJzCOwDoDyA2Dho0xauSjLUycw6Sk4z+uUd8sO2A5reG19iTQaI3zgYrs5gVtIs
VOfEUolqs7bG4wLHvZ/uasRRWo02tka/u67e63cEqTcN062BTAFyUMwqjYplzUWftefc+JXdWeXP
2z/PZ4PC/GKMNliplwasw9Sacczd5kzGz27ka8V//L5gIGk5F0bd4Puh6ztvN49mJTYGuWD+If/9
iG0E+z6QeZxHSsK3Sb2vrUNz8xMLTnxsPcJzDhQV955kFIgjh9Xn/ujY2Z7UMkKk9eF+uM/wok0N
WU+x1K7oE0U6OqvOQMCTaK/SmzN6y+8LvmerhjY1rbQCpU7yKfNYXkkErC8Bdh6EB0inIfusi+Uz
N9HC2c3b8lyQ8p+2m3zScyy/+f26lq5tPAwuNyCowaLEIaJOI6D81bxPm3MzfEtMw5+A0aUo6GeV
rCC0PpEP0247YG8jQGjxv1/EmqSuo8Eq2/Yc9XcV8SoZY6Hs+3xDL77Pml5hRovvG+FudDz26/pG
yT4vXIjRcjFMcWjas4IarfUdU7a8mwUAUGgiGrOQSl/N0rKHpqyoq7bnDMTe9b2GyfG3C8Djisab
jxsh9rsWeW+yeWrSc5x9bff5zXNT4SHgtqFUih4DPlZ3uf+z7U52VpbxuXN3DaYhSKz1xn1YfF7Y
fxYqkF/g87vU+l7d5923m3dn8X3heUuzxqDKgO/rIGr5p3Sjw/Xvb/1+i8ARsPnQKiSHl9szTZo+
z0oSn9Nob053Gt2PuiQ/uM7mAFOmAZvI0a+I84QXoSOZG85qHANSdnZZ4bd15LcxeIhdByCd3Btk
ja8bdwK4TsCgYaUwsUWMW82+SOvZjeKzOqheHt3X/fn6pq0FEJDBoLKLUALFQxHVOTQU3aOKhQbU
5JV6ZntzELP8PBd/YTImlsRIxODzczwerHHyCq3FKBVbcvSyVQg3Aze+KRD45+fKK+IdhgNd3ySu
+UvHbLkK4WbM4BtEoIHPp+bkWeYXZT91X4HFvdl8IMuJCjhiGXjLqFUuNwvYPFBMsHQ810XpOSnz
aslTtLFNvAaHFktk7NY4oCLFFMBOH7uz7Zvda6rf7InzCTMoUWLyLDx+MSZuFEyD7zN1OGvsqciI
H4X57efMnX0gKlQ+sFD0W1FtqKepIdOZsYfwLiI3Z+24s//v5wWHMorHMAp7fF6337vsbO+vq9Ha
QMEPAwEGeigw9A4e8fJ863KqFMsu1DPI5ZWHQtUyD6koFyihtpbycIpnjSIrZhIj4rMtGMPV1B8z
RVyUVcZ8rrT7z6l2vL4U8UZ8fB3uHQZ4I6sG72a5FFubhjkuq/nsZpP7AmL5MtCUtLmzKxVDltOE
Vv51gevlYCkueFB4/RuwGmHvOteZ0UfBhiD6Wrj7sJJEquv1LD8vvB0RkO1xXOPzxoRRT+1X3URD
8CGSFWdkqxC2LVGjWgstiOlNv3S9mUg0TPZ9/vcLc4uAIyQNw/dzgjL19NikkqhCVGF4loDW4u4B
JYzuNrEqqlFEv/049IFWnTWyc1Vc8tebT/pShJipCI1ISWqkHwNN9+rKjyRezsYW8akOaIch/BqK
vRIxMboqMbI+6NQ7N38ispLo1veBM0BRgRfygbpcHkGn1FrRsqgPkIEEk1vs3b49QFB89OAZuA2a
4ILooDpyDZD4B7zpj6FXN/t5ff+5G3b52OGIUXZBsI6H3wRAStDRlvUNswBvCKzyXqHo0vSoe4+3
LlHO1wVt7BS6/DhPHLxZPk9ouVMA7qa40bQNmO3RcKdJXA/Z5/nfL+5C4riYelbi80P6rgzfzVtJ
Cz726eLn86ty+f2J9fkw4Puq+k2rgzi4vjsbFgnwA+RMkaHm3cWCt6zYVuNOSd4FIFb5XpXNwRkU
T+mcA2YESPyOjUu9ECU8e5mRGUj2Z13AqoPW/0rTfdGFEhmy5QhqW1h9YdsjlqNFOxrvlHRPKk9h
ksst+ucfZ/Lvpom2A1M0WI1G9i4Y68FjheKBVcebrcaP2R+tum+ZbFlblwWOHj8odB2sOu8mu8Qw
xbCOgzJ06HfNHTGwMSoT8z5K6fQ4xtX0kGpDKqNHWGGdsVBOZwHQ3P8xxAnbqZQx8BGlEwd1nZgv
mDpuU7wmuQNiiwFzVxzyZ2ij7kBTu3oqsfWRlyvt1Hijaw8Hpe4w547Gc45BI012qC0nlLwT6+OG
zgKc7PCWRLSU8L9fXo7eYKytsC+kOjbjvu0/2Va8qwvZFJ31gUMOsrJoKeFWRAxf6nZ2raSJ48Bu
n+Ixus+VcjeA2pKBJyELgM2VqPGmPDTAolUUdVH0Ei/X1fTo4BwNFgdVFnnAsj84ybs+flbsPS3v
9SGSiFvbMByyjvgP9hg5JHF58ZRk1jhHOOb4QD1VNmJ4ffFhXTAMFNkvlH+QGVmuJtTUPhv7NA4w
eGSXu49N/jrLgoItTSB4ZlWUwxEdiEFN05RmHaFaFpRO65fg5aP9GcbNTxJld91ifkA5hZcLMZKK
AgcEoc9B8BFJWmVpHGVJULVldeegf5h5dqvZD2U+GPtJB29v65oguqzG7li5aNFONS08YPjON+Br
1d99OmNMmVIqn3Kkibw4JQmQu1n1+/rvXO868MAXP1Nf7rqGVjFaoU0paKbouTPz3wqGpOi9c39d
zFp3+NwteArgLcPMPFcQE8ftSCYdL5P+6mj7m2eUwQI5mPHD26YBaCJiMDOz1rLHWq+D9qDQMymD
2389KunAl6GXZF2wj3Qtq8ymqoO09610Zw3+7d9HFR1eLBw1xNrCRc6G3lGrPmkCkz3Gxy77i82/
/LzwpNK4sQqjwecn62xl75UkD7VxtpyBh9eKAF5ZdclOGVNapqhNUBs7N96HjiQ1Lvm+WLirGiVn
EcX3h2RnUm+Q+LAbN+Dy5zvCRc1bVhYD6H0Cs2nu0w7zK0nrT7NzvH7Ga9OjIUKB4QFIFGCJj5ro
xSMUV/XUFqpVB7l1nJnlzXXArNon8Y/rcj4yi4LhQQOLbYIAxkZXqVjjzg1qV6HW5gF+jeG7rWv4
Wm4nPilS/RApjPglKLr2KSzXY0TyemenYw/bBB7jX+h8qE9ONH4z6JT9mScWv2D+yHAuqojdaX3o
vlSxMx6aGF6MGo6Z7o214cgcio0TQQWNsyDw3ApQBUubNCiZqYZungZ9N9ybmA1/rFI272pqfL2+
V1uC0CeLaj1AV8bqwTazInMIa9KgKfP+M3ow1EcHkwFeZ62U9ZRsHD9OHdhXEyjhNRmH4Y4py0ol
D5Lx2CX3YfnUs9eplGQONq4KB+LwBxRpVIxkXe4cKkiYeJo5eVCyJ809JLJG760Nu/y+YEkqjNK0
3QLfj6tXnXyq4mc3kVxH2RIEZ9KouhEdyxChanfTi13vrh/52kdGBxFCVe4zWSi9CF4GyTo9am1j
DJjp6eY3VJvhyITRj/nXdTnrZfBOJZWP9zUMntFenkQ7s8yxQPMTFPGR7ZNaYk02Pg+cHZ83DmAt
CofCQTR6xdzGbOZg7P5Ex/rWDg/MKeEuCx5S4OahS4Iejb3VJ2pI+qDBvArjPb8ZS/t/AsDtBFgw
coIrf6AHxaRtpUMwNL9051d684OKrghkfpGUgK+ENOpy9+tpRi1YmZCgC6mf3GEGgUTA+iJAAA+z
AOJDHckQtHRwkhBw4GoMrMTywjpw1RPNbm27xiaZoBoEsguwf7yrAmIlRU9d7FTMClrMRIX9ayUZ
+LVNwkBEEAQhJQtqGxQhl7s0d2mEXq3MDqynRv3iluk+IcXe0t6vX4UV3IevA0kD3AZsGfdwBDnU
pG1UMSeoo0D7CdZtxTzUf/rpF5ibjmEhifY2rgakcVooZHHWOI8hj5A4nyCti8AvGxT5XxwLFgOs
BIq3eGTFpNccErdQx7wNUs32PpHqVr5lbBe+j0objyI5EGu5XT3mxNRR1LYBcOi+vscQK4nycuOw
9BB44RZK5epgJQCieSkAnFAOQyt5G9jRAKTrS8temuLRfVO+lMm8v374G6exkCXoWJ4pEekoZCkF
EqjMV6pbcbt8u8AJgmCO8DSEOH3cHBXTnpq5DSz1uWuMo5v03uhoIJ2RTXHaWgsKJmA1Aqqdt6AK
+1anGUKYGtnUf1r7LnTubt8qhEcwXAR9byjOLD8fIkmihHHCs1Je5+zt5mY/HUCui+8LR1FoETB3
NO6CfH5UYj91JOjHLbWCe4suK0QC62R2WRoYFdYnfRCbv4vpWxP9Kusfqfo9G/9YmmxA1Iookx87
uiEwrRgOCZiTuIW+8KetXhlmZBG6gIzEy829Gh+b1wncn636bqc+Se/z9KH8UVV+OfkD3cXZCa3V
iN/QYXv93FaN4+JPEfSiKAjpdMXogskpMSH9uVe+T+x7rDwnKZ/PYbXBHL3o7Hxd7MYThAsMZhGg
fuFWijSyINA36iyJYIa+Nt+BgAFO5bqArfMEhSRqalAaXuRc7vBYqoZigpowcJx2X7FjTer7fq59
3TxmhB0K99t1eZsLsngbAUg0eMvQUp7qVixtNNIE1LJeaoXuxnJ6629mS+GnhfAC2QjksLgVXIoZ
xjiv9BLhF4gflPJOkYGx+f8vWle03cIzg4eJZIfgGpgz2CSUkNaBWj81kb0bps+d+2SXL23VHm7f
MQAnic3rtxwRulxKXpq0C3UdgX1UGfvZLHQvmoYKM0EdGTEtP2xhVSCR5D3kSLXA4RREWdQqbDYO
XTCA3+trnozNXoveCzoYO70KZRTuG3vIgYg6iqvAmsBpWC7MBjDHyUC6FigVIK4MHO4Prn6MZhD8
3RwxYe+gDh+NPXgOBUc6ip3I7GeepA/3adv6vWt51w9p49VwPyAOyGsi8hApOBqNsiyanDagBcXD
tItqWWMa1yjxbIB5hB5AodfT20mcxmOh5EPQhtkBLIWeE4/Pah8f+4m8JE7xyTaqylND9Xb1QygL
rj8EIeg+UIWbpKvhhFEkcx+M1PCc7itGLfvhpN2+fzwGQeoQuHreg7XUhXpsaW+UyO2xL9qP+Z9b
DwfZerQew4yir28Fqeedqm6J+nTQ98kjnKJHJLIkz+LarC1FCM96VzQubWAwwYU5+HPhHjGT/BPG
RkngIjo3j0stgBxEC7g1iDdXENiuGs3JSBsWpLQpMOts7EGAT03fmbtnhxT3pvY1rJpdo4d7t7bD
p4om0z8hi/MfLqZKHEhiD94ImpW72jZDUENovVcUubnrcjc8kNSUIeTWzws4VHGcHGWOzL/4gId6
OpjTHLKAxdldaNa+q93l83Tfu+O9DbcXyNTrZ71Rp4JEWEnOtscTcYImdX2VEhCUxkGSqppvaolX
6E/eri3JLlbLYe+k4eDpCjF2sWsDHRYaP+vKHPGGJ/1+aFkneWA3HAf8IE4M5gBEidZx4amYmwr1
aLSZBXH8NqUo1qn7Knks6IM7fIpaw0s1dd/WP4gtK7Ku7Su6r2EsPpgz7VU/eTTrw1w5SRJYoOed
y/EdxKOtFw1u7SWt8ZobzU6y9xunjdQXkl+Yxbbhrul6WWaYGx0HGC3oTc3jXCZ+RI59ZO3M8b1z
D6byCfOydob+kIKAO9e+EgKqVWuH8iWbfD37ev0Hra0y7zTASGfEV+heE7OkSQaajpn2CeYtH5rw
GMqCxI1bv/i+8K5U4KckatIlQVu9Jk3uNV3lJVJeWtkqBAUqE4skaNpPgpBZ+7L6R5MSv0vWYQpO
2ZhNdmhNTRJMrl8X96N+58gAjZuLAFMed/nw6IttTaGBaC2rpyTof8XugWiSsGdzBRefF+xvA2eT
pGBYChAT9kDFgiJPRt+z4vgGDykvuqPCDJWCVRPOYbDsNLQVMwnY9DCQ0mutQ9Y/4d+OecyzZJfk
vtO9mvPXkcrI/zauMshSeCcpjD7iO8Go5ZY+WrVbJoFOnqzkwObMd+AqqS/o5pC895ui+BPMwwHk
sgVRpt6jGGBWOKhyF9Jdl3iUHhPqlf3NFR8DvHD/CuLO6EVs1+lWlZslBJnaq1t+au5vv/s2HnYk
Z5Fcc8SC0jjUfaW36cfd75LDIFG4zW2yDRwHiKIRAPC/X/z6emjRL2vVSaAYPmZWK8/GP5hil8um
8m3pNWI/JDm1j2K2oHM2M6syNfF4TOPOIajZeujmv75Rmyv5V8SqZlVomd7bdhyE+R6nXeivLvN7
uk+lLiw/UcF5AQf6/xbz8VJe7FlMJzpENgFEQ/Pa+JD2hwkDO2+dBsqv6aUUwRTUZVO5ee/GQcu8
YfAKWeFqcxUIkxBQANQHoMHy5BPVHRTVjpKAzr6BDNTo5dm9VQTXT2Xz4AHDQpoFsOwVUAK8ywXq
ixZOBXOY7fCLM96DDu26jC2bDC43TngOCANELVcC36gzJqvMA4yb0tihl2FDt3bq8vv87xfnndfg
rZq1Jg9m8maBHZUhaRcCkZ8Q2cSgjyBYUC3ykSJEXgogIBFXUmYZZY4bFkGcRo3nDOa3NHIxW0T3
1RIY/a442sBmJUZ0l5et11am1xjxvnFubSGD8qH1EBOPYXKQUxHTKSw1E9eOUdjS6b52Dm4s8SY3
1ILAo4FDA88WYZmwpUkydlVlZVmgp+VzSenPhLT32cgk4cyGZvCOJQeRLK+YiqG5njXADccNxEQ/
/7Fk1WvZ1/nfL/SCzXWNPsQ6CyL9c+IEMtC77POCWhsjoAo10mYBmd/J3k7frt+arSO4BJoJv37A
7Ktwaps4sDq4GmfFOt/ap8mV6FKCsIAZjUp6U3EJ5j4z98P7rQvg5HSo0vAuUI6mWW5/b9YELiVM
i57Ud3r+1ukayO7/XBeyPoSlEOF9nOy6xXhRvCrAYPqpcTYLWcpgfQ5LCYLzTUeqNOYICWk/YJDd
CyG+XZQ337elEMHY202T23mI9xcz66Pyfi4eVRkX7+Y6UB5VOZE3qqRC4UybwhncETgORznMs+YN
6Isn+s2RENZxIUR4FMeQlMj4QcgQv7PoV00liYntRcBH5cBBY8U+M8emVakj9knRE7/OKnT2oxTU
yt7ejWCar+N/ckS4LXzGDpzhcCHar3Hnmckur+7G9uAeBsdv3jE2VZfhbTcKm0uRwvlYej8zdD3H
AcsbL54iQOzv++xJiYmP6lChHVKwyCbt6fr94Zdw+aAtpQoHZozD3A4jpPacFGxXTkcn9czbi10A
SaCtEExtmHq2GrEz1a0TtoWC7RzAhk+ftejn9WVsmQGM2CNw9Dl4TExeK2ZddBFTUrjJkafRzzTa
/YUACzlXThcLTIxwOjMdMLIorrJAKR8oUXZu3t1dl7D2j03YSDyHGngzkFESJIzOpM8YNJwGXbtL
zdR346eyfZhj5hN2+2J4ftLl6SvUO0UsQJYBt22XQxiEWrE3okdntiWL2TiPhQRhMSScp/T/kXZl
Ta7iSPcXEcEitlfAS60uu+7+QtwVEKsQCNCv/w7V38y1ZcJE9fRE9DxUNGlJKSmVefKcToOF+rm1
No27vT1XC59HJn8WBiG4Ya7S4BpldGqEnp4qfleHTf7ugJV4yOIih4a2c9T9lIuxIjIz9LRoTmz4
XoDL7sftX79wiF18XrkYoWzZpLzB5/MsjLG9qTNEzns1yVDDBgkmqIgQ2M8Ec8rFiCSpiD0u6led
RHXVRNBviGy678x3h3CXdpTrkYx5U2o97Ljt69Dggvx1e7KulxrJCJSIfCSkgStRK2y+UxaAWeXZ
a/fTcR5Qmb/9+evzD5m1GXuBzTBzVSiO2lN30AW6ggCt8r46+rSlL1ra7lDk+Hrb0PWiwxDePmD1
hMdCn/oyGkpY7k1Z2ccnrr1U/TaRW2ctaF+YKmgkIW4HBArnrToWs7b8sUHZ/zUZN82Peq2TcO3z
ylVBKsJq08fnNfbZ+9F0K1Cb6/MPBRKAbFDnnAVyVNh11fLKbE1evEKyyrJe0/KLX7w6WRS///AA
ZwteNTPkDXuDKOOwgWB2B7srXxutDGxHC1x3c3utF2YKjE3oEcGFgZy8rWxwQazM6YlXvR7AXx2M
kHn6376v7O3GF0Qrmrh6JXJDhn01rCzF2u9X9jQQ3gPS7/j95rjPx623Mj0LWwHVbFw7FpqpoU6q
BLvMYDpu0rp4pd53prWBTQEoztZUExYGcW5FTczxaqza0miKV80P6p/O53cvwcXXlXMjJ9yrS6cq
XsFYIccNJ+++gkDLBaqkmQsPCRgVfCvYgPX1s+IVOqWMRtMao8riGpx9X1liy4i7vLDT4tWFnprA
gyAs15LJayaUZR6lhjIX6smvJtn6aZR5O2NN6Wzh9D6fJRXlQUUx1i6Ah6+554pfE4TAT4RBGMPm
TbxBiCX3t1d9npXLaHmWvQTBCvrhoE2hhpkjCCU0ieaZV3scoa1Mo2Tc1fZvbudBZX1p5XtJXAH7
AIk/MGIwhrBZvTRyMy4p1NSL11b7nvFhncXiepNcGpj/fpYi6fu0sMyGwc3ao8Pu2LC9PWFr3599
5Oz7tj0m9TRiq8dyD8XQVZjbtY9d/n7lpK0TymTvY4KSMmqsSPjPxXtF2rEGOMPnGMG2EJubymFb
xfZgTegwOCEJCwBWXb77MMf3keNF5RrtA4g3L6fITZO6TMrEOZntc7N31vrar6/Vi8+rsb5smpZU
uWaf6rZ59oj223fpPSijIqQ0dp6g0e0Fv96ReIOBhwMs7Hjn43y/HE3Bin40+ng6FVH6o0m3ogon
f8XGglOhG2Xu6UCdD8895QIvQc7sc1vop7x5GceNtQZPWvu+EqoxyM6bhYbvp9ap6V5Ma2XF5zm4
PEV8PIRnegn0fyFOm+2fbwo6P8kKR5yq+mjpSXs3Zu0zKHV/o2PsDxvb+5506b2fvr5zadCZAi5G
4KDgamBhUZYmNYQ2ydTsT3pHg5oEdpsGuvspEb/+hR1g4ZCdmfUO1eG1Vj9qno6G6AyN0FxEJYsa
0gTH21audj5GARplcw52QVaqvtHisXdZSev+lFc7lBBTN7Ka9x5eMDH3p8/sQTO0Qrkj0anXpwZY
rk+QpZZh1kdT6k8rvnDla7MNpPLBLwNBAXTfXvoCFV4BZSkC4GW8K7v9p9uTtPB1dBhCB3QGJF2z
TXscnFraVE4nNGuLbcI2/9PnLeXHa0IIXkh8fvAejV1P3xuGohPz7NerUH9axZbTCny+07bJxibv
X158HiU8MHHP/S/Kry+KBlhyx5xO4tGo9yK5uz05Cw568XklQixMJxaxi89DQcDzngh9yt7LoQWk
Mp72oPUBXA99QapShKNlaKqrmX7KeByU95O/hkZeGAMMAOeE3YyNoAI1u3o0m2FKdfQZxkGiWcFY
slAMa7mKBTeFzCQuC8D/yExJerkJbB8JBOxn/VQ6UTNG3loTxNIwzr8/2z87cEeh+0064vtcP5TZ
S1VvZbYSGb6xn1wc6lgL1IPndUAp66oXDBTcHhpLLXnKk17eaXrTbE1uFlHMRZLirOXHlHs74vVf
cLcMv5gpKYKJQWd5kOemccq0rAoJyQ2yAftnik5vLw98zukdTZMiBGaxek55mv3Cq9Ufg5zog7Y1
wbUZ9e7g3HvSFVuRmtUOuT3IVUx18Q1NzMUhq4ZmBJJXds/u6PPA0NwkzL3BPuWWybv70m4i32VR
Z03MDh198MrIrSa+jbk+beiUaEe8la1tXxjpDiLmRdToQ5oGFqAoW2gXJz/MMR2O8Wh/07gYAxvA
t4DqopebhrsA2ZpJqBtjsZd+K2lgmdR4RF+hFnSt7Jqw1Yj7Oa3TYkPSLH1oc9qFbVrwY1NP8ldC
LPEAvXmAXkrZh15mpKGncX3bggM0BAaSvZYeTcK2qHnglYbYgmCfBx1aK37qgwtKkdohp9Fq5BCA
nigOp6l2DhDDMH7mnjfSsCkmdsTZryeAPdjCDrQ49l8GOtItc5MfHYm9NYDttTPi0sfORVYODo/H
xKUztrIgXSMycrIIuCugG5htYufn7bPnekNd2lAdfuhZ2wLUcTKyyH9O2btPTnx+TjIhyQF6V7Wn
1rMaq65H1zo5o3bPwxo4w3/x+4GBmpuOoWWmHmwaqduqS7B0CQIHzzz1dGUEDib5crdiBGcG5r+f
nQgCjT6JMdrkJO3fYB0KWpoELEe/x1oqaNEQcpdo18Vz8QpRJQjkGIqYkVPuvQ7jzoqh+v3FM9e0
j5acCgq9gHDMx+hVId0RhTkMeP+iQ40HaXtPAfik7cfbq3L1lJhpYGa9EjTDIexS0WEsh+pG247W
SY5WJN0yqMdnRu6M/iPNf982teTAgPAB3Ak8JXAOyt3Ma33o9H4wThb7MGovYnf782/FFHX9obKD
yA75fTxYlEddYY6ZYcTCOPXFGPjTn5wNO9SQwjS/971fJr+n7HHQk1Dj7qZpHsbuI1oVAua0G1md
jOp56J4r9tOSECxeCXqWVvLvLwP/+6VnSt57VuJj5Bl9YTKYgMATK6Hz0uTODY1o0sR1C6aqSxOF
M9KSDq2Jrui9Pj3Il9uT+/bGUycX4QI2mOOgL1ClktH1XjdxpcHnLT10ay+ozCIcQatG90XBQ3Mq
IqY9uR5Y6JJIDNui8bZG9jsGm0BSf6urvdnutbVw7HrQ6H8FmzY4VGdtdDWV4jrSczgeY0edtmGQ
r8q7X2/0y+8rR25jiIxyiu9P7M9guRtidpupuPM68e4Xw6UhdfVYbJFmgCELVxN4nfNMBrcXcHEo
mCfAwQDfuKICSuf6foJ+uSMh9QuInl67prkbWPetHddwD0um5nYznI4gO7oiBu3x+IqzvnbARjM8
O12y4y0KuNwvQtNMPt4e1vXOMmcK4//aUtIGbZ10flHAVq99trCboYzK1srpS16GjC1gc9CWmVkk
L7dW7g8DibPYPjIXcoldF6wJqy0NAlTbqKJjA6HypkQPVUqhq4D75piSMdBxyjfxsMHmuT1Vi8MA
8nDWEEJQq8K/NG2cZA5226MPGmA90CCWctvA4jDmawQKP9C2ULNSDiU8tjuJYfQFNAf0KKf8Q6+N
K3vlGscBxRrkv/5rR3mEuabwAA/U7WPmxWE5w5lLY2Ox1x4diMVGiD6c9Drg5RfL+3R7hAtTOPev
wt2QO0C3kbJQvkFTdL04+pEleDkFvrG9/f2FGbz4vnLepEk3OmzE97U+tPyI5GH2+baFhb15YWH+
BWcxkpvlfpZ0sDC0W8P7mgFU+ZOuAeqXpskCYyVuC4CSkGS5NCJisMZ6/aAfXfdQpId3d5UhX2uh
PR0FV/S2Ilq9/LyWOCztLaEffQs6TGJDYy+ga/Wsq6qAYkRJrMVDo3V6jDFkssID4kcx1aHrvBhs
S7M9ZyvLsrTwZ0NSt07busLQ6xHLkrGDWznfvYHde226ub3612beiMbm1nFYu7oE0GOTMD2PJeDN
m2y4S6yAlSvI/EUTqKfgpgG1sqeW9lO7SonBpATiaYdXosj3Wb9yzlz7MConaGKbhXSQ+lRD1gT9
942V2xIQRyc02m2uPdvmsRrfq7o2Z2LO7cy/42yvtHBjmeeOPBmgQPol12Tur3fJrLllgVwNfGeA
Oiu7JKspWAe1FgQULJRFhJ6m24u99n3lamSj1yFDwt1TXm5sG0RMBVk7iRdWAuEgyuIzLeqMQLyc
obFLzTR3aHwaDZl853kcH0vP/V6g1/1zKSDhmVu1CY4NgEWDstfkdu6kDXxqPsRpdSdMPRRM+93a
kH+cvA+3hz/H1JcB68UpoVIwTy3Y/YYJG1iKByveZfykZ0+mnwJduJbqWjQFJByakYHAAl/55TRI
UzMSq8v1o5P/mcrP0iyjYRS7LDlVTbGSk7qecgzLAVYSzQPo5VVvcbTDcRDxVfoRfflRpX+P5xAc
0ZXx/fb0LdtBZA1MBboAfeWQdUswRelOpx+LZGe4WVjTTUpeLfrrtpnr42Iezl8zyjE7kcnszY7r
xz5Jw1LLeFDZWjAYycpwluzMUDxnpuUGAmzeLGd7GbcUdRKWGUfX2ydm1MjAX/G3NQvKXrDRSWsg
l2ccOxcY3GrPYwAvV0Yx/0rVp89HoZxIkICXVSlhIyeBO0XlGgHI4hhw7KFAgmzn1Qs9mZBRNeLC
OEryHSqNiNh9seK/i0MAkeF85iHPpNZfymSofZFWxrEpRCD2HjJ7tz1qzYDiUWal53bZceM42J/7
bcdXKJGuu6gRGKDp5T8DePv7mSeRwmmZ2TOsM68eGOrHXY97znKHLy4Te8dDT6qsdvHYfS57N6Ia
hGaJu9FBKtI4+SYn6CzKK6gN0DFKIdrb8Swq8mYFUr04CUgHzGQZmGO1/gy6+6y1G984inTjJRHY
X//FJP/9vhqvJFDAnOLcMY6ZsaPZHVs7URd/PzAyIK1F6v1KURVViSIRsYnf73z0ug8fb//6pbON
eLi48A8iIfXacqRfTG2VmHMAeSdHP5ycXT+km2EQ0W1LS1EkWprf2HrQw62mvMye21bCdZzWE71z
/XJjVPbdRLxwMLQ+mEY05HprlO6LozuzqdxGdunxbMphEwWyQPPvZPVgWixw29+3x7Z4WJzZUeIL
GjvlVDCpH6fqEzgRbPtbkvyLrAXIof7On/LgEgbv4GiwgezTUz9MT72BoliDmku8hp++bgObN/aZ
rdknzzZ2mfduPIlJP+pjFs3qfPmjyzaZA92AqdlIiJwkIBus2i/1+KnR8QZ4vT2fS+sGRUjED0jD
IHup3LidXkkLLC2YTxvB0gFc+VCwFWuySUseCcEWBCso4uP/FCuk5jaqUhjlkD7l9NB2T5r4wNMP
IAjZ6HzlWXPNcYw5PbemHMaUWfE4DrCGLsJ7GwISGQhHRsJCxDAbQ2/umC32ddZEXtuGuie/jWMR
dSzZ65YR9aX8mrRe2DG2cjxe92Vc/i71EJ+apEutea3dvA58/7cV3+Uusnx9oBf7NPcD3aCbeK3v
d3GF/869GiemnpllMcPONMkUNSn55Axa1GR8k9A1ccY1U8rm7ACIdYocG6ebttXw0gxRzfbWWuvk
4mV4tr4qieVQTZJBRUc/xlC9o8a4jZ0iaMr60WjjYErQ4ZqAOzubTnZVbLuieuGjcz8xMCrQckuT
dt+iFYKmeWQlRUDp2IasTPa399VSvgia33iOgqEZTfgqo+eQNT6n/uzyxX1dQ19Q2xrkrm8fpxZd
12X8mDLEnhULRpRAb9teusfOTc8vh7Mzxcv7zIH768eWb/J7qm1uf35xM4Os6i0rD9SMctQ7qNdq
eA7gyCr++AjSy7IPMoqKfvfNGr+n6Ro2ZMHeLPcE2lI8CoBNmL3ubDh5Lnyu+RRJkXiT11v9TzPu
JmtrGx+SNZDhfDIooS4eUzNnnwViMfBXXZpKi1z3nbTEzDnTn9aTAQXHSeVlJy/W0aklyghQze2o
TdvbU7pwq8EuhocTAnVcVScSHTRpG5epfhTJzqGRnYbWmrr3glNcmFD2JhKnwu4JhqYNVWiwz0DW
vd/tLiwo12ami9bNS6yTC5YasIyAp0f8jyaU27KotGEwJ5iI81fO77N3o2ShPznr9sCrsYFcFSdk
JklSlLTAm5qakZAbYGKi9680mL0AAJ2bla/q0Z2w0z73LXmsGPmWD0UEdODvahWht+RQnoHnOqoU
kKdRc8a0TWlX5q48av697+yYlgUSTX+3x7Jw3ION968RZTW0CqcwiqLy6LlNoNWQy4ACtPGYZysH
ztpg5r+fHQBFNVTUzwkGQzYpD/0SPYwrJhaSKbNECWreQEjPde9LEyMKMHVHfHlMjLtpvEfIJT4N
9ruzlGAvBlwTdYoZsHGVpWw7J3WFLo+TsWvbXVvtAO25vSRL8STokUG07QLKCFZQZa6obnFcR9N0
pKa5j/UkyPL+0AOtI6i7ETXw5oa5K3n/p7P4g0tJKNoy7Ky1JVs4bfAzgFNAXgpsxCo0RfeF5hFm
TUcnpEUeElmHtwe64HsXBhTfSw0iADl2pyMBBrnYNOQHL/SgbN/Lwwf3BnYQrSVo2AT0QpnOmCeN
QCUO3Ovg4Av8fOU0WIoSwNaMNydBE/Lc0nrpdygkdyCZ0yaEMgLUp3TPrDKs3Yfc0rZodQ0m49mJ
i6C1X3T35/tnED2uQMUAgIF7VXH5PjZzJC1068idbef9dJsUefmttVLCX9hYqJqhvghpE5RMVdYZ
AeSiZLlhHWnxWHZt1E4ZCEj+VLUfomr6L0Y002ZBu8xBlkeJ+03w4FpTb5GjNxxk/N3pD4UBdBhd
g8gs+R5QnsD9AFWykCdoTZIWxQg7lG+Ifc/rwOoDNHOs+PjSJjqzo4Ji+WQWrkAD1XHwnt2MBf27
Se3h3ecGlEgOxSbgoywY0PN7dNgWaxD+awKq2QBI7WbUMAGWSIlEsyEFoVutk2NtFvqO230bNEaf
Bah4l49WgjxRLDnbMaf+bvLBCPB0bEIOLEHgp2KtgjPvVSW4wzaGPj0YQpAVIUpwV9qxVafaYB/r
7pFBvKF6NLqVJ96yCdy5c9Eerd3KqdR3XQLUQWMfHd58L0jy6Pk1CGrtzW1HX3QMYGn/Y0Y5lYY8
SWWnw0xGwHfqDdH4L/KZmKu/FuYtcHbllpnXZY5T28cCOr6b0Xy9PYCFkB6UezM3GArb14+jzJBp
VjUGOTpdZMcPJEOQsqX5A7QSV+E0i2tyZkvxwYmPuCpwSR2r3gwKM/Qa4FzXUkaLK3JmRPGtvm8n
yt+MdOFv/f3obGwjdHrYYDdDcKoGDg5FcVtkKQ4crLVVa4+mO93dXpHFM+3MhDIAdzD1SmMZdmpa
ew/oreWho4GKmEMtLGhINW7fb89Fyt8BxBm3n67cPsBrcafXK9jrSASBtcAifQgpv4i/H/uPCTOg
sTYX7iFcoBxy7tSMmt805KixfUP3+9vjWFp4XG24CfD2AUO0shVzyynK0khwhBaB9r1cow9Zct7z
zyv7sKp7Z8rmZRFkY+fQ0n70yApMcOHNi2Dx7wiU/eElZQwBL4wgqXbAy9cVKgT7StugMbsOxjUx
urUBKX4GXYcygcIZOVqNhwz482AYAPbtbi/K/BH1pIf+iOXO5Up0wiiBAGioSFdZlByz/FVokP9E
a3Bi/zCtT433kuMYuG1uae+gpg7ELF7ws8jD5WGJfv/WB2kXAfLEBAT/kyO0KBsohAQ3tw3NH7oe
119DyuTF4PcumAlDE3rx7jkdD30KZrI8LT6VyGZEHrPWYp1F/wYFAJgqjfl/yj6tfT40+ZiT4zi+
eOkm61dituXvE7xRkfxAk5eyO+t8nKX3JDna6a4pAn9YmbIlfwP1HU4Ac/ZxdX+ieM68omnMozVs
+2qLkkRerDzrlpb/3ISyR4t0GAq0AJnHFDT+MhrN+zpFX8SKky1NFBgfDHAaQDAXRbZLJ+tlAnpk
0zSPecfaIDMsGfodWwMFLnnYTNQG3hjEbXi/XVrRs8ayRp6BUdGwNpl07vzCj6xJwxsxbbeW+07J
anRcgiAesOw3UfRr4I7jdD1Fa69/QEpNJy+Td7y9Y94irrMt82YAiwP8P6IZ3DbqgBqj6cyU+4eq
DFsjHEBJRO7YFObklVgR+6rX28YKuiyE3pJcI6JQ1uzK+Pz3syjK66apbazOP9Bash8+64oto96a
YLZy2l1ZUTyjJF5tQfnMP9gpCXrpBkb/4st9VTwb1EEg/boypfOb9GpKEboBQoS0CFDZl6MagPBi
rB28gxObABERoFuA/QIjmw0O3jZvjcArOH8AbIDvDJN5d6Wetx9u/wjFT/8Z89lvUPdc5nAvE713
sIGKNqnE25X4IbqW0HthHgubRbftKcfI/9sDagoMlujxU/NpAto0EL0svANhfFNRFmRxHLXJWgpV
LRH9Ywe9yNgWEE+9SgR3SEWYIoadMamewXAMQdO2fuh8gIyFlb70tfsd/TLfutgOCS9XJnV2x6uF
PTNuXi6s3qFsXfuZd7Ck90RbeufTciWfor4I3wYICBG8BlX260RbzohW5a3rHGz9xa/qSMb3w3g0
5SGvZTCUG7MfNrHph4aT7Dpjje5EOar/se7g1TED0kH7pNw2vgfQDxthvRQ4zWT5x/XbrbTjqCzY
SuJjcSnx+P2vLWU2cwdM27XwnUOLJ26AtOOuS8gHs5Ifug7YqWSs75qm37qjvpNIxr3vuvhnpBCQ
RJZiHqvKgZOmcdyZVHMO6fjAP1prD90lV/HPPq8MTo8LtOCl+Dx4l4OtjX+9d7/htsbxgmcPlgks
R5euyPD1IR4H91A3v6puCMdyb2u/b9u4HsMcEQBUA9g4+r/V5EQ72d3kusI55AG17yAfc/vz1752
+XklWHMms05yH5+3Uu1rZXbPCasfNZM/MKdZebwtjgQiHliQuftVpWuiljShdjI5B+l3kORNg/zX
7bFcH7cYC1h2kDpxHRRG5r+fXWQauNztivRoeIQmAuqVDDVzXJuiebC8taN2cTBntpR5Y7XMqABa
/GBWybYueWSvsfxeX5iXo1GcK+VtN6YORkPRSutGFfRVuP/UgyjR6X97awLSS+MBBTsS/whCZrqX
y7mThdul7kidg0C/Kov9nRw+3F6dfxrML09ucG2D/hbXwz96JJc2Em3yxo5MyQsw8MyFYrlV7Uuz
6aMOtzUPR7u3gbv25KY0h/bD4Io0oiNL7hpujYEAx97LqDH7TmdF+VJVINtIvJx8phkdX+uqm3Y4
wYbPvQfujwo6O3sBuN6+sRxIeUg/DpnOoVue5WkTxKh9bHLdYJvc7aZXXnGsYZwSQNPS+JF1TOxA
syP2BRq5Is+BxJvFU29TcZduLZEPgdTz9D4vcnSLuGOP6rUrvqIB9Y8L6w/cKPSXzmnzbWnm/sYo
/K+S6d2uLaiAgA0AbVpP5BZs9uShB0OpCGImEN2JejoUo5Mc7JLnoQQZUsigqry1U/pjhIpA4Nap
ESaN1UeExdqzP1XDI3oW8k2LrqsHo8khRDKA/k5mQx05qGYAk0rQxVfodViPfRyYWZpu/Jha28k1
m1Pcp2WYitz9FGtOvY1RjNsTYWu7mifFQ8MoyiJyNO+YS7409piGaBwmwVTL5OjqsQi1xOxCg2dF
4LVG+aAx/UcyGGlUce0ViVH5G2T+t31oaYfPrQ0o2KCdGMfupQe5HXp8CRCwL7GwIauSP9iOFeQm
+ehNfFcZ4n2JUlxPM10JILiAoYNOQq23dS437MGwkxc3TbelVqFHPHko3HFlVNdhG8zMBT0Hqlpo
EFL2XtKB9lyXTvJCQCWD1Eb6iMU/DL2zvT17S3scrVRzPDxrSarDoTFN+GRj/0EsZYyRxl7rclq6
TED/NnNIoh8SOYbL5QErYgx+a5680LgLal0GoA4PGxc0rvbu9lDUktTb0qDTCbkTVCvR7aDMmV/H
4zRaXfKC/vq9T8cddu5Dg6wp3nCBRvWIlwPwEeR73pVPcaGvpKOWluzcvBJZ9EnfZ2M24iibvK/S
Nj/ZabcbxFrOZmnFoEcNSs43kTL1VBY0LS23juND7dU/CXgJgs6IV4LdJRtI2sIKMEA4nZU91XZm
qaP0qh3MSQtMpGbaYiV7shBkmm/ypf9v4u3vZxez0ZcEcUyvHYTTOEECPj/QSuV79Cd+NFl/dFo3
6vl054w43jR7xfqSUyK/NscDqJ1fJQtyKj07c5v4MLrFlhbfmy7fFNN3KlfmcdEOEmzIFkOP6KoB
LutGq9dLGR9YBSp+/hGUR0Hvnkj15bbrL66XCy5YaybKQ8LocpM1U9FwB/0kh7jYWPlTvsabvfB9
XN1zqwYOpJk48vL72NcZuvj9+NCXJ7Qyl6fbP39p5+L7wHECWILTVc11ZJr0vSrOtAMOcxMeIayw
0qzkXgJ2/NRbuYh0XnoBRFz5HogHI6qG0dujhr+Gal0cKAgp8I7FXF7Rhw4SveeVmcMreeQ+2Wu9
mG8wLCXcAbAOyAJk9YACULNUNWkHa7Ss+DB1abMxM0eGte0j+1aBF4QWRvFlGqoqMivm7dBYCW4Q
EdNdk+k27tg4/dUhyNiOedKELmeg7jD6Ygdmj69em3hRbsSIDPJ8Cspag/pe0//JfPshE/bvPu/J
k+RmHwmaoQPUnob3X1gYmT3nGNA0d6UQTZhRZVT34oMG8uw4szZJ4R71qt7fdpXFBcJlghMQ3SlQ
wLr0RESppnQ7eIrlxUFd0JCtGFAxmvMtMmMf/2NBBTYMSVMMhZZqhzgeoioHzJGYiJUs96WUduh1
1UPPtaA1qyiXxo64/YuwvYdp8PeJU905dh/O5LneODyhFLXJy2xvlGucjwtXDchTEBbMSiIe/n05
C4bNGE0MD27aPDleVBtg7phWAp2FuGrubNF9cLTgNa4yzBWtPUyNbmiHqT/F+seqKCJTZ4H0IcU0
rRwAC+8atNFYoEtDAhcvWyVIcHIy2FVWJC9Zg1VlPzXPidJ812e7STNDp7t7vxPBnocdjpQfsB2X
00f7inFws2qHcXqmQK78uv35RRfC43xGcuBpC7zF5feR4Ku5MAftMIy28aDFjh6mtsVD2oDviEr0
9JWdbx5l3dLH2PW6HZFuESVd/AWv2CSSvRVvSrTnvwJBE/8cC9cIm5KIYHC1DoUA4T6QliUr2dEl
nzJmtn8P0rQzDuvyRzPEluZQYFI672PioEXHBHonXoPgLtyI4Hb/rxWVkdaetDxvMls76AYcK6Tf
+uGB0pUM1qIRsHWB/HvOn6vr23k2c8aqwiHBbT/CE7OMugySxdBBMTYea9fgO0tbBQ9zHOrI+cxB
++XUScgc4hVUawfNoUGDlO7g/yny545Bd1pf2SrLtpCBtGbFXbxALm1ZVlr6vMbYtPmh1ieBUfZR
LR3cBWBxFmtllaWdCbTQf83Nfz8L0wpI4DZ2gaFJageJsfOnLnD9T515zFozaKvw9tZZNAf4KkDy
MxJKLapZg+FT3syBZwVaGZygEDAKdsQGS+MannVhInHSQ2d1ztbN6brLkdm9SFtmIDbr0wFUK9k3
EVu7Qcs2Lc9Q0JMrx+nCxXVuTnX8dsjKOvVG3PwyAA9Z/079xfnauvi+4oOFy0t3cvB9WSNOCsq1
cqrKaPOPAXCq+yagxqiyqTFgNwM0qx4D4OSX6UZJHcidLRCcbHBMp3mQDbj6Bmejl/6rSdk3vRSB
bRQINtxP4zA8sqYBrjNb2esLHoOBo2EB5ywKO+4872cO6kyjqWc1IioZbwU0Nwt2rwGAlafpfkxK
gHLWcACLfnNmUJkHY6Iitzw9PniaeLJz/76qMG4fkdU0RVIzVnbEW0iohIwg90QiHOQQkFtT32JA
t8RVLgfMu7DRG171T5astjr/5hSvdcBAczeAUkvsG0l2uYl1T5o1lafFOQYVFTQKwXd2lUSdtC4F
a+78jMnigGjP/Qi60a3TQQfoc1Gt3EPzvrsa76znhXc8OEHVELltAMrN57cZQDYRKeyNZzwm46+a
ZEGMc6D0wthZeaa9CUFc2Zy78iHNBjDrW1/WmRMZwtOnvm7jQ+qc6jEPGseIMhDLSAJkX3d0xy/e
tNPAVYf/diN6PxBQIG2mLORGHWoVD/MyCeoUbzz5lLt65EP3tjXIM2Rvd/W479CtVUor5DOtQLzX
BjOk5MFlD5k+4a5IA60DS34Z6PHOs58p3tzJ8Jxl3+14b+fQ7v2u+Z8n+06yu3Qcotsn7lsHmzp2
uBeOXNRbMAGKP/N0wGNDZPEhGb9xsSmnA1qCAzeVgSF/OlMV9MbedMSLZj9XgIbUeYo8yrQxQcDY
DHrg6BSMcd7+9q96Y5S++lX4ScANgHgAD8/LbR2TYnKM0vAPTvI0ml009p99RPy5gZYnSLNPUgPC
eNvIh7r5Zpm4kyZIFLGvmi5D24YiAP2RcBaSrAnleBSdFxHoRfJpO3V/Yvro1ySK2Vpm5k2v8/pH
I4aF14LIVg3Lu5i5PaU2NMLxayragAIAFYfkTzXIyDTuteFTRTo8+D53zVNdupvc2gjkb8x0Z+nb
klCkLy0Q8XyznQpKoA+GVuyK9lm6HxqxE+TA6yP3Pw1kL8dvoivunOpXyUakdr19k66EyAvlTnNO
PvqAS8z0wrZyPXqerLqUxwR1asi8ps8avy/zh6k92nB52nzq2G+S3aHQ8W4R3vmmITjSgXlDS4sL
3prLteftNLQiAVzMiV/65qk53vathUAXjG8IzcHEgdSM6vCE5yLtG2YfwFT25I9g9HSQp5PvpEP5
ZxTWPIA5IXnVyOJyqEQ3rLUPYDqMuvixM9jKk3shpMBA/lpQrr4RJKuC894+AKac2BDMsj7fnqkl
A6B8RkcRrACGoh4NxKnGsbPtA/rHgsDlxb8YgIdOGywE3gRX6TGrAqEMR3b6UIKvdF/+/Be//uzr
yvS0LfetvsPXG/ahMp89vlaTX7gWkdlGwm3uFIHTKtPj95Mlkoo5h0aQJzL2Bzp6H+nYfKBmHE1u
sh9tvsaUv+S8SH0A5gSZLJDgWJd7A2jXwRAUzisox6X4f6Sd17LbSLK1nwgR8OYWNNtoy4Bb/gah
Vkvw3uPp/w+aOTNkET9x2CeipRtFI1kuKytz5VoNikNFPwaHHMGVjdW5MsXBX9TKuPG5+al3XJqK
TZIgUdWlnqw91znYwOPcbQDQtkyolyZUhEL7HukFL8yn/qlT6R2skWN4X6j2FqzgKmxjNKQvl/wC
LFjUhC9NzUGRx0GIKXkI9tXQPshxbLmOWYT0WWh/d2BIb2+/q0foYhA+JFRi6MtDZ+fSoDJUhuY7
ZeIl0ZfQfFbCHzUHKNrKV62NC8Ao5NdcOdeycqgmqFnXOYkHaqM+tmF2LO3mjV0OP3m2PRqt9fv2
sNaWTIOmnaw5yacrDFU1a0PgO2biNZMJtV+YfGwC/X2pboF7V+2gbcbbjI4Eehovpy9VM17b85x4
dKe4dUPA+bNqN/zb1QFmibQzG8L2iwOQ6bEvJx4vxL91Pfgya+YzyAdq6+1PNSjeQc1rbJyqdZs6
AnrsCShdxH1I3WMqRj3hHqWfKHw1hxLe6e8UQvT+DWT1G+bWp/E/5kTmESmdero6tARySXhNeBvK
fYWW4j/YFDDMEbDjm1iyZZOexc8glYOkS+vUS5GkzEfLMybHm4ettOfakQJSQ68j15F2dYYHe/IV
LS5LL2lgB9eD2fgSV+FD332MfFzu7Y2+asxCsRnIKi0MInBuMvIgJT1QeFNd7wud0lQRPTlD5k7S
FlZ+zdTS/QXOAu1xqjiX05fqpRZ1WVN6XYM3Gj5PCHo280+eCreHtLb3lg7xhWoQ9KqYO8qMoks0
TSq8Kg2Uo5Qs5L6zgXKy8repxq9ErS9yq7cbE3kVRXDKQOZyT4KUpo1JcIShFDeyFWO1VV8U6cXZ
SABsfX6Z3LO9VyZRl0dVUHqVO8R7gJy352ztAJ3/emFrm3HRSGrBr7e/FxXvtn7cmRuF460RLMt2
NoLYqNPOXEYwRwep2Wxk3Pq84HGGWK+zmt4FSGEepXc00d6eoOV/v3j0sLx0pYGAR7kAmLIwQTLo
jt4y9dJrpfmhyJ7H4VhmX+PilI+PhvpQTVsGV04LFx6vE/DXRO/OMt6z6epg3867uM69XK4A67aB
9GIlNY37hSrtg4n+99sDXLW3NAJyGVESFyOHsZ4Lv+pG7DnH+JXy5698qz3iDxOEMIncQ8QmJjCJ
62ZTY1IiU4Lny8tMuvhdaPml3cCZ2gFSokf9Qx1Kh7gYdlLqfGoz6VAb0fs0maBbAAQ0VB9Ug6ph
GSmxi5vuPhbzPL7p7DAJoH4IyleWUIFH2061J+wgcl/SIFX2mfxSaka0LytTPpR5VLsm/8uTn+uD
azZd9CYIY3831kPyoalMvlVKcb4rpZrOKjmoYtjn6pDVLnZmoO9T8qbmPB9yMii9S5spegZx4DyG
sjy/8KCTnkDe+XuWKX4PWUGuHLVBI38NBMWlHOHHrlpl3we7U97LlfLdLvxvZSShwhBnLRjEKJEP
g2QhOmyh6QlBoqXnrhbbvxWt9z9rkqy6zhiYyoGH/0ezbJJTWuqxJyuhk+5jE71ifw7rp1jRJjdU
AuWZ/lL/h5Ooau92ARKkUhKpu1TPjecstRY1UqV2FZQm3mXjpO2HIhne1VlmMT1DvbHFVo4o8ERK
L0sqk6Kb6AGsfkw13lfcm93Lr6xRNpLPK1uYJlbwRNTvoQcRyR2N1kapwtAzL9ALN5q/K8nbaHju
mcDbR2XFWZKoxAdQPCcQEF9E8TB3td9GuZdOUMonL2Vtg+LYAG+sTBYxAC8SrkoeXZoQtYWKBs9s
WWdeFj75r9a0lQy89me0loOXX9j2eJUKl3ExGXOjVFLqWcGnIfFdhB4Ot2dpbQDQwtCFTVrgOr9B
S58cSWGee1G1M7rP5lY1deP7YgW7zKIp83u+rzsH50AK8v/08w0hMg+cxDfkic9bbwB/t1ut18t9
IbhCmIfogEPLhwSQeJ80UxrUYVKm3mx2u6bsnjTtPSE6Hu9J3iTHXpuqc2PCwbOH1MgSp0ghtnhj
407U19tztXbwFlQdaQJoh8h1XN5VepKNpg2iwGuDQ5E0bhcXbqbsi+NtMyvnDj56moWIwWX4WYQl
6cNWo/qTcSTmYK8p+Xu9Nh79Uf3+T8yA0aHpDWIjcWmIEyvJ0KPMC7XOo9bgDoP6WBpbnEIrEcVC
WMFDnU1wDbEMaL/JFk04b5IGV3W6gznEB115G87vzRiuln5w/a1WuJWNsCwRoT5pW8jehCAp1nP2
nFLUXvhByvJDXRT3H/pFl32haoF/CtGYy52QWXFtW0VReVpJvs41tsomK8fG0MjeLyRQHBqRACgq
HC1JWrX0DHWfnU7j53rcb4krr+xmA4QZVNV0EwHfE8ZQ6Z2SxqlfehBCvvblAeUtIKmS7c53cj5x
h5ANXAgn2dX8Lb6IrFzRqxjhLW/Myl3HH+/2Tl5b7oWBeKEKQDhPrNhPDUuUo4LhTWG6m/bjtDVV
qwbQGUSYjMCYfN3lcssSHh54dO1RD6r2KX/uHwD3Oe9F3Bf3unDiU6VwrCGrmSBLfeza8KgpT7ct
rC32uQXhmm2tSqntoOdVAtdcYKl7gqaD1P+FlsltQ2tTRSu94/CoJ9kjQpDDaJ7qCZJDL/hRhY/O
FrHQ6ucJ3ynJLHBqWXifWFIfyJNpVl5TfJ6qnWptdfxsGRCWOh6Ssgs1DOjZgyI/+PeJyy9HgbIr
6SI6fVADEvMQeldlullJpddE9W+tIbhX8/tDHh4ASNUs1RD8h7CZaDOeQSsNpad1QLMBvG2s8MpW
uvi+sJUaRe7CNuX7Q9g8JdLwiRzO0fSjR7J8GzfhymJcmBKiN1qAyRGFmJpqV0bw7NPtvbpy0V58
fjF/9vYsulktaolDYSHPY7s+1amtvu/VEdA6LkOSQqJfXG8pqrOwDZzC082CajvIHsmZ7tScWTYV
qU9gqHQw27w7hOsuszqpMP2CFdGrw9w03xtdP3ZtdvDLLYWD1fEsMHJ2FtVEMemkjFYIqNcuvTh5
mR+7ZONps7oiZ58XTp8pV8i5miafb5InSz40ymGokw1fuDUGYboUM+tHcuGll2dHOz0Oj7d31cbn
RQlvXgNDlcZW6Zn5DoJVaQu/sXb+SJlodMFZJDDE9Kzqt2USFmypKu+jd2Oj/pIiP/rQJoH8pGvD
vHG5LlMuRPDEHzKwsYUk58pjFc3UjxovTQhEc+Xt3FrhTk16x82mztopXFZ7P4ns76kWqVtwNWEm
KcRBk04lhDyNAkBYLB0PfkDXkgJVtQE47ku/xXomTOS/P7+gbuHEp8FEuEvUunbmSaFP25oC/7OV
jRqRYp1FrjHp0s4xBuO+nfEvg8uLGuJFG8jfsvvP/M0wS4Wiaw1YUf3FKt8ZW6gu4fT8+/vcMOSd
FhTVMp9n368RBc3bTKbxXMn2VfjBD38trfe3t/fqrFEwAtBHAuJKdqy2OlXKB5NZKw2Xpqa95stH
PQGdueEL1gwRvPN8xNUQEwmjaXrTmeyI1e96cGeJkXxSB7VxVQXFGy1R2t3tcQkh95/JOzcnLA6F
cTPOusWc8S20P6XZ0U+Pef9Jc77eNrS2SpQHCO/RB4OrSbifFai5Es2RoHfvvlrDd38+1tFGlLE+
df81IVzRlYrcydxjwqqfIudQzk9686RED7cHsvjJM8/w7xn7rxXhdlbyxo6zghlD5m4ej8EbGi8H
6wFUmfYbWoJ/YIxNTT8knPVEUJd7uywltdUkDmtWtdOTbKbGayw3FrRdmfIEcwcMxlU1mHvYRmMZ
vM1obfyA1TklSYvrBT97hayqbDvxQztTPSXo3lZ18tfY+LQTwKXp9v7WZlzdI2fGlh9zdpKDiprZ
JKV4vvpQ/53Hj8VWcm85PVeLx4sJPh6oWdH3vbSQGelcOItv7Y1TFL0zi41Ldn0E//2+MIKUhEKR
ybHqgYN0G/XvOn+c/oHqCK2i/7Uh7IlsiufG6bHR+PNId/H8hZ2vulHRf7m9+bYGs9yRZ8vR0w0Y
KybnCQz3A+SpwCb7fSRt7LCtJRHikiocgZvoWMG/R1TJrUc/t/+JUwVfAEkYf9EvcTmSrJ+0skel
lI21D95K8q5+O3Yb41idrTMbwmxZKBlLElh+9Cu+h+OxVR67/vc/WBBjUewFrqNeNdSmTh4kSsFU
qelz7n9b4KTy4G/cdKvjODMieFEIe1Kl1XzGASirdtx4POiRuXHtrC76mRHBicZdFWWagRFV+mDB
IXs/Zx+ldd4fpKuoeF1ledC87uNxMDQezHSA/BgAeN5eiusBaASHyKGQYIfVUizgzbIK2b6kaN74
Zqb3M2/vTL5wzeByESyBHYM4zXaEY+Er01hL1Ds8I5YP9pjsyBzeHsK1a6eMwmtcXhJu0OTLl4ei
GscZKgZwd1o5BS90uH8ik4UiSlqcnDraCAKXE3bpeHkMkjSktZn4ls7ES2OBPyRmAm7Eq9r9nHyr
ZxzJTg6+a9rGMVxbGE4yNoCmXGN7AF6GTlS3uue/RXfAzzcc/Prn6REkRw3sRnzZjq3a9EYMY5qc
vAFQGDWvtxdl9fskC0ENIjkJX8PlPNV57xtShCpsM+3S/oEeldvfvz7dzAvgkwUhjnS5mDQMrXS0
Yyc0vMqCG/oxMlEmuv9o0AeHPC+JGArB4vvFKNCgq+Ac85RsVD6WkTN8l8Zwi+DlD0pQ2FFEx/DT
0KxEKloE9zo5la+2nRRPGh0EmUiVyNqPcbSISz5Xhk79OXuoo+dmpFsF/vXy77TbOEArawXYBV1K
nqQG/MrCEVV6qQwMXZK9o6/LD0V0J0hgcQHn3xdrYDOEFJ2sIv01KdMxaJrDmIeuWksHcNW3d8Xa
SGDQ1FHDgRWCxM3lrjPKuZaKnLtLb6bDu64aD3d/XwX/xvVLnpd+ReFOUfQ8LqIh0TzJ/tZ73ZaM
zsrPB99Jiyf9kMhPqsJCdJacKTrgQs9GcWv4rN8fcQHe/+/3r6iggzS3zNrWyP39nooXdHMo0z/c
P0VcKHQu8kqGSEZYgpre0dBQBg2opelG5LK2XrDXJx9MBqTwJBfwKxz/yzWW6eNv2zLuPSk9ZshD
RG4U7O8dAyZgyV0SZSrNTEKYFYR+2pd6OMBb/MkP413TbgRA11cWBpghaNIAs1GBuhyD1UGyN5IN
97S0OHJJ7api30jH1N44D1t2ln8/i3xL1OSUZMROQBhfS3tNK4++8Zht1m5XFwVpQtr8QTRc1Q1a
Rc3SsVB7pB3zfd3KP/vOcjUz/Hl7YbbMLAfobDwqHKKTESu9l7f6USO1mJbFX7aW/rhtZm3a0Jil
SIyUoHxVwlVy3v5z2XVeHHuWFiFBkkHuNe2b+n6RtQU+CZwJ9BS5EpGRBcnp1mwtrfUM8yE3PvTO
oxm0rp18HIIfU3x36mIxBnySVlwo5UTmiMZoE7DsUutV82NoeVAwac3GVbK2QJx5qtIOxdUrokwy
kGraVUnnhbHulvJpoc63y8Pt5Vk3QqMCCdSlFU/wwoChikTW9dYjsaSPe/rCDHvDA6yZWCg8CL15
opLButxocggATNLZz2n5sQWflcvv9S1K6bVdZpP55wFkLO32go24poJLaWDAGyfPVqm/cwrjWPb1
vjTsp9szdh21EkHSnAKvF/mCq1xpRA8fqZl09Oy5c63saYgOhqPuteEjlfCNsGlt6s5tCe9Hv3ba
AfWj0dOHT7b9GZl7t4o+3h7P+tQtm4zEL2JOy2848wNgUtSRBq/Bo09OiY5j/FzOO3srgb1lZfn3
MyuGEuRK3GJFl8YHJYAcDNFLS30nN/fBZgmQWB72GdVvep95xlwaGoLOCWutGT24eN2ZvFQ6bdzK
q4tyZkFYFGMsnSR26tGrtZ9j8ezHqNdtdXWsRLI6yGlg+JwbjqUpzFfut7WdTjlGxi/h9DlTn+fE
POhOipxa7NJl3WZfaf3YSepzrb7UXbUxSJG65s88AhuhEYK+EnhDhNDADuww7i118Bqz/Npb2nOc
K69JWb2fbe2gUb2bKu2NsWQYTfTeZrP+dntb/n9+AEg4GZ54+yo5XBpI1gwqO8auT7n6W+n7fZ0d
K+lJ7r7Y8aErH1vlRdfuzgox72je/o9VwR/mUzs1mYnVySjdisCo2k/RX4Gx4UTWjsO5GSGyq+K0
M+LJHLzK/mrm30o4jxH8sI6353C5wi+fQ5eDEa/4qTBCMAKD51ixG5aRG24Ap9Z8IXolJjch2Jyr
VHRN40UQTwObpI7LnTw2+2BOHyTHPkRy8E2ygi+3B7QcrasB8bhb7hFKyKKv0vBTU+jPg+fDb6pW
T0pWuN34pAzqHvpBN70T3PSvQ7AwrpnwGlF6EXaDk4HD1YJg9Mqvsf9JNzdCsOVWuhrO2eeFXZDS
3WH3BZ+Xyw95F+7hSAkhrKek5LYAgR3ooaSNzrTrjbdoivLgWtzk9atLq8OI9G1AFb745Ayqq8eH
KNB2ZfT59kpdb70lHQIVGXmqBTorbD2p6/MOaq3cK1xzCnYOf24buN56fJxaGFAkIgtAs5d+fg7V
fIznKffCo6MczN/ORD3skG64wWtfv1ghtUOai//EuAL94XCOeqxAf+m6GsQndwL02GIXFsQHfZH0
qWEvFhT7mAaExhvztLIQvOxAbC18SuSnhIUIG63pSvTCiSJP2U4LvH+wDNyz+tL3BZ+SuAyZMQ+h
NvB5C3quSHGT/psk7RVnD55kf9vW2mJo9Mwvmm2IH4infxxSCFbCJEcw8dXiNZEfUMe4beLawcBt
TBkFfTHK0miTX+6qujesJOyHwpOjZK90z8381bBKHhHdIcqPEtz0t+2t7eIze2IWITa7sRxTGuAr
0Pqwp7qFEb3qmaO4cpk9BjkNxLcNrs0hKvck4xYvoIophdaMHXiD5dyL5eiLOsaESfFuSp2Nca3t
uiUDtug6ATbXBcepx7mddZHF8Z9z92kKt/KJq8PgPbE0iYNpF98UUj9ldjZIuQcMCIkK65eSQ0E1
+sMm//vigy99NNlEAK6wlQKqZNYud4Q2qriAMIaioE7dtnySqqd8nlzZHA+a9GiaT5C+z53Cjyhc
dXyf5ofbC7a2Q87ti9GmHnUdJHqFZyblj1pXXjK4a13An8egzj/oubOBmVubWSrLaNBRlV8orS7H
q8KcajdTAA9zustBg7XK9FjF/2B7nBsRJnWGtq+BUbSh1WkvVa5/uj1nK7uPPQGwkBwKHk/0ec2k
dRSis9oz3IhK1ZYfWv08H1eXpBZwtmUKz94y9N3Us59PJQpDgdv0X4qN0Hf1+wtdHKUE4OKOcHhq
yY/HuOb7fvk5o5/70+3ZWVnhhfkO2hvIG2htE36+7ytW0GUxaOcuPJpyfUhgwt5ybGtjWBh+ecAs
l7SoJgUosqlIlgFfC360feS240Ygs2Vg+fezRZD7xuiJnkpPNb9U+m9Heb09S8s+F879cqP9ZwDC
LMVNHw5GuwAuM9/tjYeRDi/jjVx+vW1m5XiDgAWlBCiS/KsIEi6GrC/a2Si8TK7Raq31ylXzkCZq
7Yvf21+loN04G6urT8MGMDI45AikL+eN7qAibW2l8Aw4uElZU+qpAuuN5NR34oeXyAbJJ6DclCxh
KBDV/aYCVu18VCsv6vbTx3yLmHNtA+gaW0ummYnGX2GBHD9JM9vklAQoyjyPUzaeii68E7D/ZxDn
VgR3mIdT76NrUnqFLD0ng/627LbwISsDgQyAUghRLHo4IpBbNwH29oHaevL3sXke87sTItQOzj4v
XCBzhYMJIz7fwT35YZYfbm/g1V+/MGkAQV+y1cI5hPSWtE7F54PvevdNk0L39vdX9it3OKEYXC0g
7URnGJe2VIVT2nkykmEyNfu02Ftb+K21QaC5SjsDLpEKuFD2tiJZ6qsh67zMKHfJwY+ajSh8xZtQ
v10apnivLCSsl6euKKIs7Ay/9SbzzVg+R+ObCe04fX//XIG7WWhnkDegenBpxWmbKogl5mqCijPI
fwGIVRFbu21kba7OjNhLwHTmeHsALYXZM1eN8bXadfnG5bey3qgC8uRGe2o518J+GlEErTtZaTzJ
f4jVXb0F4t36vuA2lFK2s8Lg+2X7LDkfB203lxsudsWn86g34WBcJOuvlkGFyVIZ7aT1Gla4Vqa9
rn5t8tOYn4Luy92L4UBYYoM+RcL6KtspN7VCB3dZe18Vh+bUjcfd9VIDNqB3BawMuICrFFzXOEar
RrLuIc3TPPrtRqi58nnCM64gENU0jOqCb1Vm1SjDfNTw4IFb17G7hQ9fNcDVYEJTzitL7LbqZAmZ
D2MCYBL8eu7Dv++d+39JZQJhocp8xXiS9lWrKHFveNPbtHnnlxsByMqPX3BKNBDx1OUNJWxUXaNZ
G941laY09ajl82fF2uKiufZKMIHz2v2DoL+Gfce50UR6roAarN3Q2NUOTLKPxp1kSPgi3n8LeQr4
RGAmYnflFIWtnHWD4tk0i6bmIbbkY27ad3tYrHCBMlUy7knk9Kr0arR9qVIBsQxuYT1J06GcPFnf
yHiuTRkUbjhxaEaIbAXvVwSmNaHOonqFkj/KBi9B2sjekWNF6ty+X7OdzCqdm0Dhcei0xF26WtsO
wlTyG8mzICT4Evqfb2/ga1cIox9cE0suAH76Pxn4M0+OFrRdKVVpe1HffupoCc9rzXUU6dNtMysb
+cKMejmKKDX0KbMq28vUAu5Ftx831mTFgEmVhBzgQoF1VfzrzBb9GIWDqNc/1Y9qsvH7l1m+fAlw
QgD1/cmi8ZYRDqKvxaqZF6rhZenPoD2WX+XiZVSP8nyMxt93TxXrDQpZlakeX1WVIVZvoqTSQGId
5OA5vrMfZzmJOEJqsYtwMRl7IcyZDS2ce1kyvVx1Y+onW9nStYU4/76QDLQjOZ5kJbI85bX2E9cO
tgTDV04fYQ3JKzBkC5+3sBS90zi5VQSKl9NONBQtdLixW5UZ/CGPd68E4C1iWmQbyJP/oUI/Oxtx
ImXNVFay1zzH/Qd/i4R+ZaYuPi/MVK9WcSQljezBSOq7cb3hDLc+Lxw5aJdqORv5fGTs43AXbVFV
LPMsHAkIZQENwPIA+EYsslZxZ8xxEM9e1p0684OefB/j+50T7UhklYn8lyS/sNSTVPaVVNRAjmPb
bZA5hRBDHzeqfavj4E1BtAlVNs/hS9cU6nIym2msQOEUuMnojY0G1/jH21tp1Qi9rtx/gEUoilwa
KTW7k+Lal70yez8bv2CwgB3jbqwIzVsULgmaKRgDqru00cUNKUIDWKCpPgdJ6xrz+0HdYv5cOX1L
ngKaLUohHAxhIGNW+bGfxDLyF78L9cWHpkQCcfXp9nSt7N0LK8uvODt58mTpdVGFsqcZvwr5Q+If
b39/xZ3DXLGwfy5UHCT5L78fpjHg8DSXAVGf9Piz1Dw52ZMGe3lrVG6+1X+0NhqdwAeoI8/KqzL6
gOCgBYWc7KHidbAG+I67rU28UilH5HrpBULygUq5WKTye8q7VVbLnipPf9WDeugyCKVnv3xMKWKH
RvVoj/rBLMyDSndazW228SRc2eE0MYDvAzZOPCnW4qphimVJd2avlj4Z01stfEr7p9urtjaPVBNI
99Motqzd5aq1kV9KeaDOnhlbL1rfvvOdfuMttba9AUEv+SQiySuYteKjcFqni4nqLzXT3NLJ3WEy
KJFuHNZVQ+SPwSktkbfodVpWwSirAecvI7Fa5pbuytO4NyMt2pXl+Pn2zK0tDqV53tJLj4glKq7Z
EZwTNkRYtD1EO6MngRK9+lG4v23l+s1LQHFmRbhx7CKSjBpZTy+TjLdZ0bkt7PFG/0OK2gdT3nAR
10P6E3qD+oRdgeaBZbOcuQhox4M6GsPZi7uSSrmyU3R0aqWvt4e0amWhNFmCfTjghMvBD02KWKk1
eYovBag2zx/mIUdwrQg2biFRM2zJ1qAK+x9LVzVgOZpKuvWwpKhulr361hcn+21EH5sG8vSOfr7w
f5GmuN6GtHnAzobL4O+r/d4lkqyngzrRzux2yaHqYLZykQK6fxaX3oXF1fLGEB/5vmqO9L6NnCpo
2NJp4qH/wYl/3jZy7R0YypkRwTsYXdVAnDXNntTJiGsNL4bWbGzwtd3w53IloQNYXdwN0RB3s9kY
k2c5D9mMOvr7rn+4exQLG8aiQQFgmnr95baeE7qsmrgpTu/tWnd5iGy46ZVZsnhYkJUC740jFWYJ
3Tvwxk5YnAw/d20Fkd2NtV4zsCickOgk/2iJ7RdqbcQZr+D81KX7KT+GG8d+4/NiljbxK7ypxedD
9VMwH83w4/3zj9AXqN6FhPUKqhyNNUSDtpKd5hZ+Jmq6xQaEfG0AvMD+9G+RTrMEj6IGWVpPQZad
ErfxvxbF3e9gAB6QwSA1R+cW6Xhh/8h5admjXJ3UXN/RHy7nW/2M17ETFizy8aSMeGuLt3Cuj0qr
FEp1Qg0slN3CeRMrrpy95DEw2I1b8nqysAXubyntwK4h3ltaHw1lIbc1uOeXcnpTzfXdx4GuAajq
qIXpwLvEQFANgfqFs1GdwinZw0/phlsI7utLcbEA3krHuy/Jr8sF6Vopn5FJrE77xnnnOPuu25mu
siWpujZRJFEJigC9XhORZLIVNcHglCc9k/f+7Oy4NO49GIzjzMKyLc7u29FOqfKMWEi7fDdE8n7Y
gpte30VYoFz4R5QBeYxljGcWnMwyksKRy1OVPGcFkLTHpntu76Sg4Z4lRbSkCMk3k1KTBQcbTGBZ
Z475qWnLIxpMubH1uFhZC4yg2gPwZQHaCS7WCuNwdAK7OmnRp7z40NwdBSPtgAqHA6kRiXPRg0t+
MStpFGWnyf8wxrv8fgfF96lBLup4pByvn6ptazmpn57asNr7BkLN0uPtrbSy0EiJkVcBUreshPD6
UoxoNqfWTE+dfiylt2b97CT7tNq4iFasLNgVg3O34MSc5TI/206+qaSpPfT5SXKT+tevxPm55TxW
LcCgTXoCygC84aUFsyuLSi5HVkJ7Lu0fYfSRHn9aDjema8XhLvmPBYNogz8SkSwJWejRgHj0JBnJ
SzwYe2nQ91XrHEeZJmy3ar7eXp6V/XthT5i4NKz8vo6x14fTwdTbg7zVCHAdR4Hg46CTWVsEBERm
ll6O5zEZrfzkV0fbR3nIdiv97kCKgjHomYXlHADaHw2Ys+UPCgUWUl8pTt30XVV/IUF6e5bWxgAy
x8FdIeVGzuVy8ZXUsrrUVvOT9aq1rlO/idKNytuqBejFyXQS0sDTfWkhhXF2bPSKUIfeHzuKdo6B
LFm8Vctd28Xgtv/HjEg5WyV0U9UGZorsoOcfpPiVBqAtpa+1PUXtnuo6dXwSz+rlWOBlK+2sTfJT
5fzKXrutTqzVz1Me443GmeeWuvx8nfYWGAeZDeUQkQzpASrHjfVeeaCxoei3Z+suz3Yx8yWrlWQ3
sZKfbFlyle7RsP19UP6K4/iQSdAuU/0ZStktxy0+s7V9sPTI4gPWeJLsNMzrZjayUzn/0pxPSvVZ
nX7f3swrQQr+nmAO2AAoR7F7XQ+jLsgGol4zc3ZKoX23guRhNvK/7Qrm6eB+PhdUiDmXyCIjwkKg
fblcessDp2n87NTTzaqVsIJVykFzNi6AtXlb2sGWdBEpZDF4LOKwT6cKK1X/YlsP/bhXt/qj184O
pKQ0eoPSY18Iwd0YpFJsVdwxXfYGZMchqjK3Gd41wxY4ZWWByBPxRke0iktfF2ZsUPUctOMUntps
/Nrnyp5QEJpyyTXb/jAO1pe79wNpRICfhBi82kUBc6dqNbjX8/TkZJ7Mfos/larmTvyR/Y+3Ta0c
XTDI6NPhGxZ9iOXfz/x0MmYEyL1BMGB9Md1evf8yo1UEDjC6eYgCxE3gT7NftyzLKf0YdTskRW//
+pW8K5lCNhe4PdTEDDFaCoqZlakJi2Pzr8DaZWP8YLfZLumPrfwQOEe/iQ9F/s5XtyL+la13YXj5
97N5q02rmS3NL0+jNLxtzWFvjdpLkflPULRsHCRRL22JmbGFauHSwE1oKwRschGmUDARmWvwjAXx
O1t9q/dv4/Jb1jkH0/5hOh+1qNz7Zrvrto7YSvRDKlZmb+DXURwSjhgdnYFSm3Z5KvW/2/qNo73Q
hnGwpge/egyGeWuoK9uReGHxGDzNjSvl1LpyxjIYB5458weKELvSHknMlrsgyXap8csMHiGVbOhz
UKH3KqsPjnYonG8bm2rltJNHxeEvyXTUIITYIiorK9HVoT71s/Re8dm1VKj2fhgd1UD7qGXqsWu0
r5TG6D9Fb1mTDz3aGgEPgmxCc69FL0GJYO6rteLH7Z929ct4Ii8dz8tq0JUsKhcFmd2Hsy9Xr8P4
HmSMi05hXR/08EEO7s5UYYA7yVloehYUleAYtLEcurruylcty3YPZZBsLPXaUHjjLGUs8rq4oMsD
ZE7SpIZ2y/cVt1DhSc7rffOzqX6ExV+3J+1qTy1TJfNeM5drnEFdWkqTuNXGXK9fzd08HrLwePvz
VyeE55pOvmoBgVEBFHMYRq5Oylyb/auh/U7y12h8kGvEfk++Af+QvnEzrIwFgkiDdkzoIq7VzNVO
GmrNLOrXHJJY+Vn5cHssa5/n4Qw3PtkeQIzCaW+yxO/1NKxfa+13cNDy3/d/ntIRmCrqVKihCk5z
yd3bianWrzRr/2y3Ao61H3/+9WXHnbnkssvMzoq0+rXKfuxMbSOzdxXOkE84/7oQ4+pxG/S6zW//
Hk8n6fvQfb5/bsgf4XB0GF+uKrtSM6Q9harqNc2/tci+dop+90Zd2ph5BZBYpfNIrHkV0MlISsTi
hs7bcSRsNl8G/W/NejPNj1Jz97uGKIlLGTwYr0zSJMKlJelcjHYR169DSMIta3dZfjSsT/5WN+X1
qmMHTn+AEDppEzF2BuviFH3Q1a9KdCiiw3BvvngZxtnnF/Nnm2qU5bTJUz7fNS9R+Sm9m4Br+b5J
rzy0GQ7nQty0uhOHgc/3ZYRkxyJ4X1XZTlGynWxD2KvZH2/vsutdDGiHCIL0NEavlMdSp2mtYB6H
V3CNrjL8CqzP5rDB97myIgspJqE/im2w4QlDGuYgIayMx9cBqRujqPfq3U6QEjHBOFPG96/6JwK/
SeF97gY2MjJ3b0Pp/u9TFoaMcnm2QJYhDICpqyZbTozX9tg4JXi5uzFUiBxyhy+nHQXiq46TOUvS
SbVC49VJvhvxa5QdEend6mlYWWrOHgedNzkdUmLkBtR9Ir6J9NfmpGnjvm2yQ3g3XyADObch5BX6
1mrZbdiIInUfDZ8rbSvvfX27YgFAIVW5JacrPvH0outoacVCGe4z7R0XyzHNf8nTk6QfEnkL4rAy
Z7y2aDhalEmX5NjlaZe7vgCWoqmv9iw/JjL6x+hnBw+3zyDB2soRWbBnSzsFhHVXjJFV3c3+4Jva
azO2+mseyOnjGKFoBRJNPdFcWLz34yHfqb6lPdTqBB/qQCOX68zZmO2cUZ5Qi3PM6mE0svSlatu/
Gtv6S07AsZVG6rQHJQusH7MSRp9mdFBrJLcpe+10zfef9EH7aeq0uIAl0p6qJLci13HGeB8jvXUY
ulx6cGpzPIVjN56kyTF/6DweK7dLLenYKqVCB0jwu6zCY2fFkFVFwBmqSkr4OgLafWCRJHNG5Sny
479iKUHDqzVr19GTFB2JsPqVjEr3MkIH+Ca3WxKPtRp9D3MaDtxwmlT2aIsvTAP9ONc0Nu+q0Phe
Z61BaciKvtZVayYuvfOvij18Toem2M/WnHzJHKvYd5HSHxm+hmxYPu7+H2nX1du4zm1/kQCJVKFe
JbklTnHs1BdiksyoUIVqpKRff5fnAOdLFCNGzsU8BiOafXPvVZTFp3WaCzOA7ZdYSG7gmuvEPYRD
4m07GuaC9sbrNNqsCVQ3kSTwYlb8McYhCXpXpQtbSPdajtY9PKHEfQPR37UlGxIyp/fyMM4nOLkn
IPTQRR/AvuaxF53/pFHFahesyMyVJftfolaPll8OgVWN5JL5GPSg9GGO2HRyeM5k5WFyKmcCAbMo
7kdZ4b1DDJ9vRkrbsCCZfeulGs5arCmLPCpLynZ2TzSqAkkR8roAMkFYTXzr0Wp8S031WzZxu6xl
+1JOyIUFCTViK7DNBJWEXLEHLfOHoWWPZJrGJABly9x1npABEHiQtTbGODKnksmgUDH0+1x/qJqw
N4zy3WXA4eQxj0PV8vIuRV5mbfvNAdjyF8cadnGZJSTS7bBIW/N3Z+km4JU73PjtpLuoZb1TXbVG
1a90U/7Jte3xJcD7oPS3yjm4qar7kEswvyOroxBPjRVrWciGMd0DH/FUul2Ju8RwB6RB9J1o0her
9nZj1sk2gHPck7bk25DURlCLxA65P4DJV/Y65HbqBalM2LKVbrPxjd6lizSV5SKXWVJEJrhll92U
pHUgaQ19iZjCgC7lauG6WbqqsikOlNPJyAL5948Ug9wIUdzDhCwOzErYsKSLH/vWoA9uSarNOLbv
tdu1KnBlXF7IfDTCvnNe+phOXmR4tGXrIp2sd+VAmRro0wEWNGm3INDxbXZmJ6CdVkOgqdC9hjii
qBDTpGmUx3iAombzUFgAvq+hfxonoHSL3r7hJlAEU9tMQe10VTRwKsJB+W7k5ekfN6vLyGuzvltU
zMkDp+urfMkGNWEpOSQg2txmIzXLwB7tut60Y2EHkHOzQjfTdVjGNVTC8goC8RbktUyQREKkkbrI
HMWOJBAA6ezhFZKx9crNizjU3HZCn9SULHWC2lbYjuydTkZbbLVorgT07K9KXWYES6O5J0WxHTNj
l3uVNFaTkmURtrapoBSZHviQP1ssw8GjU8eeIifVTxJKTPqiYWm2dVSDY60vhbICQ9KHdiAYOuRj
4BdMTTCKhC/0fWkWsd50jhGvtSPj/QiFBAN0oF4i1HLKQBgxXbGJx5u6K8p0kRlez1dYqTeiMVcd
h7FfT8STZ4LTjmuwiVz8gLD1ZBUmwuj7II5JekXYkNw2AxeRVkrVi9HRl9qssfnKVJoygtE5eyO4
KJdDws033iz7fKmAzl6YXGP9g4V9M2Q24cDlwAmx7Ex23aSkSCNROc0ja+h4QDHwFarP5mXRqdsy
x2QY8A1/AjCJwYkkbZPQhxlQHEgbXN8kactg0vkQ5sD+bGMHvhK5Yw6/+q7hK6pYcQ+7s/upzJ5B
npEbRmpnS3KXblmN5YHdbITKUTwAIqsLMsNMI2RHOYjc5bicAJLaGoIb5SV1lRqCvJheoRSUGSuK
JDZ5r1uPQTivs0kk9KCjHod9kCe2G6FQaEe9W9eAIHXOZIa5W/mB1rYfUJa/qZrqMDcUztYSDA9Y
OiZWcSWOmhrbvgAcZ0SNuo2a3LArSJA7ib+oCsgadMTEPURcjbt6gBhcKqG43q5pPz5XY84iOGyk
gSRTcRlPzbbVSRd0KgcIz8pffZbgjJTJTedNJIL3I104DgT3TY2D1dHKDlpbGs+4N/6MdpqaYVdV
fcTI2GCEFYK8oOxNKdF1nlorD9efiCb4U4rVOJYFlmkSVzBa6WgSdn2aB0npg3/oVPfmWEsJu0kk
02jHhwiYkXXmGeGUg+NqlSVUIPETTVpgVeWariqDkkWaEBamPcuu6CCKIO/zlXR4wC3MS6fww3BT
93sAkc1b0sRlCHIu9qitauhnZNBlDuq8Kx8gKJov5WiShZMKjkXL2707DBA65LLeaZS+1xTq31tg
JONVPkxJwDr9Z8RQhrhwZchQBLt1QfBfHTOHUeFTvYhVxrEfje65lrnAbHD9XOfQMjOt7BZoFb4o
jax7xnmon2EuOkY4qquLiiXtHYPJJw4Jz65D7mlx3RFuLSDj1rchBBHLrlqnSV7RK6O39Aukikkw
NQ0NganELuws/tw0xZvVus7SxUkRmEerTTUQDjPRXmzgNZqvfK9/t2l3Z2rrgUi7BhbEYHsmM7pk
feI2YTqg/k1RrEDGxuVrizZtxGVShRCaTEOb+2Q7Jm4WxG7ZbnA2l0GZsWoh0sY74IKrrzUV/YUj
oLQhCPZMTyovCwu8w1Za2P2KE6EvfZ/HAUsGRhC5dlNQsrK+AvPYfqYqe+wISx50BxM/Z2D1ZY6T
JSBZBp5Wi2hKejX204AQ75ZNtS/hljXQIM5o+d52phfht+KWb9scHtLcfI9zFPsiJc2D3Q3tsDZc
JbobZVvJW0sQ3yjaXDQ+2XV2kW7racyLjd1nQgQWnBqacKqarZl6d8LVAgvcygPXaZ5j1t3KrK7W
hl+ksF1JVgjimDNAIHNYZglfNW2vNsI17MgyBncD7bQuBCq5DhpTEbVMK8iWNdZ0BCrhHqdj0Yak
BHG8d4rreKLxgttJsxgMS+F/tJEf/2parwj72mgWWC/Qf3FplEqZBYPPphXu4D90tF611EvoKZQA
kaMCIPyVnbGo5s57TEsT/nEcWHww+QKvSUH1yAok6tIk8DN4iBNXdiFktTDKkC4NbQuutlInv8GE
zJeDhKuiIu0jFXUa5sR9nkYnvRCdc6MpgVQUk3+KqmTXWWz276CqmNuU8f4wMc5XVl6C32/o7L6M
u2pRcHNcx9LV/mK0czO7goZ/HRiFH1+atT9BKhWsZObpyo9I0ztdQCsDUZkAE2Dh6xEQVIabzin7
6gVVztQJ4LhaPMkR12Bg1jTZ2xCSHUMjremvXnvNMxHtCxRZf+nY5WExJS0iugxWIvrA4RF/Vzcd
AsIER8/WbDslo1y4uRlmmR6akOGyeh/YxFYQpVa/EE00EbI5TlDYKQopWdfUiyQ26oXD83EBm9vs
Evz25oYU2rxtOzdd1q50MBWuEGEWt4UfyHTk96KTQPRx0ubetuu9igSxraYpij2DLA1i/uFJp25y
Ut43rlsscCTjLWGm9doqXQ4plAp4IWUU8a+0LTsEr43bYHRaP1nBQx3RB0ABL7bRVJd4T0DDazKS
QW9Lu6jJIZduWa6h5pnCHQxBL0S8ebYUeS0ikSYHFNzeK4Hwr3KykDr9iLOwx0PDn/74vupwvDs4
cTz8ehghOotCMPEIQBbbTpJkiyEDDnrEnt537oTQvqq7l5Q43cGwjZu6UUA5+V6Ht9HYh6bTYytk
HE8fWSbWAbPJupU1ZmnGg6qElfElGYsygTy+MvweUSuqCV1f14glp3IZaxP0mN5wnxUm6JnnvhNf
OR1SzR4AaGszHSp7I5V1jUqmgi6holVY2HDnzjOH9ouENcj7xCMKKABw29e1mzKwk/I3kjmIcyG9
d235qYbCpU4u4O5c1YGFBNWD0VfxJqU81pEk0KwwShc6SSADVBd+XeDQwaGfPA5uzALDyzEOAOZA
SktWYCFYtFqA/vPLdSZhAo+O2Nge2K3sWhm0TQLbvHZKQxFnB9Ma0xDu2/vC7O4rZPUvbF8i9Iun
Dnc/a0OeFMVNZRZlOKCu+Fi65e0kEwRpJtyf3N7Erk6qZGMRCE6mlmQrSDoQbGbKIoCTywvIGZrN
HbgtJGA2r8urWCd1cQ3NirvONV/gH9T2Wx53Nttx04TY0GT2ecDr/K1w+oNJ83tSNw7Wq60eE9OR
9yxvLRkYZJwepd0P16putqyI3QiXqMCq99mLSqdHm72WSdnjHWKY69h1jJeszMwAujOAe6deTZJl
CsvFOw5VmEc3xq+3q8p7VVOPa9CmO4g2O4txlA9V1qdhmWFfFKz93SoWY5dVj7YeytCa8ExMhroK
PFiprmo3L8OWgvLSD755QEx8nzA7fYRyufcLGl7JxeRYNa7R1suDfODVNa/I0IdVjsdtDiLGIkf9
fttDe8lcWlPM7ypW+mUEc4JSrie7v2tLV+htKo6qlLmL917ig8LVa/7bUuNv0fWXqs4gBO0Wv0Zv
2lcugb61cuANftUn7I3CCzwoasApF3XS41LSptVDqo4BYsO8EjpvDMpPKN92FSYcqutk43eVB/KM
XW+cynw1B+fV9vssrEockE5hvpIWnESCoyiYUgwGqk8F6sBDgjGrefcwAaISjszi2EG5+lPbkxHk
jheHY+NNOVIRSbztStVfSGr0NBBabvkUG+DuOUCZZEQ5ViRi93GQgNFb6Xg75K4X4dWPV6BOMxws
/qEx+aMBb/HAc3J7NaW5DMeJ5utJs2RZZbzHT0vrnatLhee9PJINeNa8gITeRemE6LsUEgd2MlbX
A6Pogwb3Tky5Ohh6yn8JmGo9gftXqjXSRM1NBrRxQHD1qFB79n6CctR9DaWCtaebNAtJYootpMWc
eyniFDvcbTog1mBYFCCWpM8ScLfNRAbdR7wyvHpZVoW7Un29dGRpPuKtrKMCGKhrBbXMRVtULZD3
1PqVV10/rlUMwjLeVUD4xTgpcAv6gd+Zddgyf1rJgT1h6HmAqAT0CYYgdpzMQ5Xbei1SJAY8tcYj
cemnnX9hNp6G8QFP++uuE4299eGHuOidlFykLWtClJqbyNbdA7KmdO0a5NlP6iEYKv8+UegYFQ4M
5p0tz8y95h2CcxG/ea18RmDmLaaE+hvd4G3oo1I/eELvZZx03aJpzDxsTN3koWGaZVRTnkYNw1un
G/mrBwmr0DFyaPbZ+brIyZrU7royxqIJET7XgedOixrhle/ma9o8Mbru3DawRuc3GeJm2dbSuqRJ
AlQisrG/HSRFfiVeh6d5acZ95OZHKdm8vMEz9IG0sVgIpQrEnW221L7XBqJv862tkV0da/N5NFJ5
CZN4r4g0l7/8sqMXVq7aRZNM7jW3bb3TTczx3ITKjOllh6Kb3rK4clYKstVj0NIE72YTaR6VSB8r
v3WGA8v9+9Iw8wSQKhfZuDxVkcC+CEVn+Zs6N4oog0pRFXBcLG8ct8g9oBjKWk9Z9iYRIlzGAzWv
0tito0EPKjBxyFxOTJKbzips5HEKwwyUzaFRy4wnn+hbe5qsVVPaelFlXbrVBGK6HDSsIO3LPywx
fjdOZQc+y/aegLiXRMAcgdb8ynkJeVEOHBGfUm8TO4XrXgwQ73qwJ+TCrN7wn4a+cUWk4oax0Imt
DmbV2QR5AEciDvANmAXywgt6S0lohWfyPi1jNJV4j8onKlI5s+60pvJ32tdwEeE4OcGVn6Ynietg
1VE8d5cDnoe7xiV4U7qulG8tFZALbeu7xuoIRHgh2Bt2WaK70CLloRTucIFbFgW90c+HrcpTbzko
+TrEAoeRq3S/61tSP0E1ZoLGYVMs4sbwr5OyNnHWgMSRgVjoBQ0vBqQP/RckB7Iw7or2cQKy68Yd
SByHjPEJ3UKocuGSOjVhHsK9peajDs0+g7Q8YQ9j26S/fWRCbyGn9AjkkbueyEhDZIYnHB7JaC8m
7j5aSOXlEw5VF0rukNRLxFvfkA6/PmtzpBdUlkZx29MXq+LuwzgiiZRyjQPQj+lLh0fopTGx+p33
xxk37Vv87jYaGj52YY3EWQTPbbUALKg+cB8PXEv5d0QlPFR25QWEVtiIZaGD3E7tcMCBs+zsKv6V
AfNwBwGD7s5q22lJpu5KuZreAsmW9YEm6fF5YQgbK4kOA45YvI5r1VirMp2QCwFqFygDiUTVxUTd
YWWbxXgLuhy7sjWMs8bCKVfHg+Kua7Q/RZlZsiD3DRUkJhxyAqubDLwwhO2GtUXFmbLsqZoDFEas
Y3UDjI452EtK20JcNdK9px4nb6HoutI/L2hBvQTQBOhYgDhiz8o0wmOILApBUZGLrGwdn2Mlnypn
ACjyF4ZlfcWsO8hlUeSc6L4wFq0TWueEZk98/1hCBogDeH64Sc4AOYUwuS9an+075xVHKBbi9xWZ
E1Pw8ftzQKTbehoJOHw/lwq5o7VdbmJk4r5v5Ewn5i7qSNKPDOkfhkL1FteIcaaqdOrzQFRAQh5w
OxDAjn//UKgmyPrASsT1AB+++B2fU9z/+nXI3QHNDaAL3EmhDfX562z0qUHTnu6BATM2rFh/PzZH
4McnMQPwiz5+foY7wfPNJm2Cz5ty63sbNW30uPKQj/i+mXO9mO0DZCpR/jA6ui+nt2k4pK//v8/P
IA9EtjJGsZjuZbdGopuemeGTg4TyJNQFUAoFg+3zHEDwq3RT6eDXm0smglEG9u/qnPboqSECQPyo
V4wn4hcNHy6tRMgMte8CVt3+WAWwsvz5KB0VK47yl8A6zymWadaWRQoJ3L2N3GRqL4rqp6w1LKaP
DXizccqqKZPQzdr3VAWaRdw8B6A+NUhA0sN6goKzi7Y+t2DUiiLXROz9g4Q3osvPkRtOfR+6HkcL
qyPWfV701j4TKZW9u9e4DxGxe9o4MwnHMZhtuCM+Az8fWMuvBqa9sFFOtTtvr/T1FEeQX9Cr5s4v
f74jPjUzA00ZRSZin6EZiRJCFOdnMIQndgQBPtEBiQWg+S+2JnWFdEeSVB4CZOdKDJFTrGxUjhsk
Yb5fs18vCGhmAaYIfDRYuyAifJ7wzrWoKqSPt4U9pdvRKfeoVTg3slf2mZZOdAnsL9CNQDo56hDN
WooT1K6JYObesn6jphXqgaOcl4Lj0P+8JeDNjsDiI3AaUr2f+6RTKFJg8Y37biR4DtS6UZcAHJAX
oVNkIRPGfwwuREIDwhEA9mLZQZD+c4Oos41Av3X2PmkXrVp053S1/1JlZosaQFIC4Cu4w0dgzecG
GurhlVIhDLF8JOliw8nDIs0ZIMNNezUVUzyA2S/hRo2iTxwZg6WBhrC9oJus+nKymNigBJneWUAZ
BDHezyskmbxrhK7jlhajaaxG1+1vLFRpr+nwAscxiHa5a2E53TI3Y70oG7CEUlN6ZcCdrL0xJy9e
DI5pvLa5sO6yDKHn9+vyxGoB4RTEGziGAzA9l0H2YcVgulND9wxnqZ8fRkKCYVohjfd9O18h6Edm
K5pCxQ8xANbN56EdBLhYfWrTPerWAdW3PeQYkNUaWySoUAmPh23fr0ixwTMQeeYzh9VX7g8wa1ik
Li4mEDBwuH9unR4TTyUz+d66aT0H6rwxBvhN2vd+WoWGxNsPqbYzihBfz2AsVaBzQGBBw2ROMOO9
WzFvkHyfxPGKG8Zy9/2Qnvg+aNXgLhwtuSAvNxtRbzR17nKZHupKX5dWcUGtn8oz40d/bOG4eD5E
hFXR+S3kHdNDj3JrtzDcH0Mj8X1gy44YM0hTstmsCAe2SD0V6SHLECWEZyl+J0cIeu8uVhzwcnPS
mt/L3syhibe3CEAyxQoCt/9hCj40MDuQWj7YcqzRgDSX7cEkZw7Yr78fDxYUj4C3BQX9i06hqTpO
K2TH9mD2CQlh4R/HOfg+ZgCSucen45wMIKzY6CrNjX3hXZbWSrMz2+7rpQdA6t9td9SChW7N5/VD
jA4eEJYjDmzalP4hc5flePHTGfjcxCw+KIfaMQGPEQfHiMBuKs7JupyYgr8UVNDcENN+2WQxhIuF
U8J/zjY3xUUV/3gH+JDzO4qqHI0cvlw4Sie5LiYjO5RvCQDO6ucLCDRzAB9xQODs82ajI+qCFPXo
iwNFcpwE1ePPB//j52evaqIat/MUPl+Ul6y/arwzP/+4Pj5fx0eW/L8/f25kbKOKKJSN71t9KD3A
FUiA9Dxq5mHKzmkFnliryJwA/w1MJRjNcxT4kLlukvtFefDc+6pXwQCHs3PkpK+X7VFl9n9tHBfb
h/O0LlroqiA8OxgLqdNALaxj5nLx40n51MjsWmBuCe4/RyMVhXdadjmVP77X0AvIUIGrC8ocQs1Z
L2qHD21Wlgcc6IvJHi943q/+Qx8+NDE7V3XL3ZLzvDw8tOPVkP34WoPxFBSAIHDj4PKZH0siV80Q
o8C7L8RrV4WUnIl1TpwZYKABnu1joEBhn01zXgEbNCC5uR/MKN0AJfPjwfn0+dkECwNkViD+3b1K
hyV0wCoxntl3JzsAtVQokSBuQXz/eYZzkrqTmjQGqAH00YOfjT7TwvE3znY2kES412AshXTi/H2a
8dZCQpZ5e90sAXhzxZKr5ffDdGKzwdcDb2yk/f7u6s+dqADlIRUKnHvo2oZ2dl0ZlzJuwvzHFgZQ
hETGEkaeEG48kis/tyPxQEihDsn2cSYv+UVxNko6cQp+amB2iCckSZoRxfq9+ANQUeIvnTT0ctBF
z2y6eZAMygXAIJCuQn7o+PiZE+SVZfNWDp5x6DzEY2RR5eTC6B88sBf6fjP5YwTcF4oSyfr7mfpL
JPiwGo5cErwh8TiAHBZerXMObtml1Ir5QA/jAGgJmJnCDmLgH+79aaSrFB7TKF9UD2nn6N+8IP1v
Xbn+ZSk1/1P4bnFRcvNBwhNjWRDuBwadCKq5Csg0auBp0dUtJCrGPGF3SVfDxqwnyQ1EejVc3qG2
HxYXioYgmug6BgxhuDdYCXiCbBewm/dXAEHIldVTYNMASNy0wKrA3UMMQK4Xvsi3QJ4md9p3DmB2
mtH3AzNbwv+MC0XCFDRH6LnMdapj4qsi8RQ9pM7l06oqt+Lp+wZmG/2fBmxojcKw4kT4kbdt55tm
Tw+miiPg7htFznThXAuzy6KF3zKxE3QBvhLGiv+HDhBI2CJdh/j1KLP+efMlJdJoVWvh87axSrNk
fSY+oyemALQ9cDNtcCXNL9RPqlPk0VhND7DxgvYnF+I69ix5b3VVfGs6UDoynAnONRXPIg7loNAR
0rlCQTp2AqW9dunR3rmQRLh3RVt1K6QMyB9X6ysOyNzaJJohOWNkUZ0ZcuNPrbXKHAM0Aa9HOGi1
QNKxVi5VB1CVAgthZdnJEI4pmHEhiv1tIEVvvtcQIg56DnrFNA70Esikc/KkJ6YRxwMGwUI6EUtl
fudkoJIm7mAfKPnj/4rpw/frcHYdHNchJhDCgiBN0a8cHdlx5heM0wNyioEN2MEwXAAg/n0jf5XW
Z8fMkZQDhg9021Apm3WimLxuEH5sH7zRi6p8xdsnf6WQvbFfAMYDGpxWkfh9BL67UTG+u9bO9V4U
EuWGOhNCzVUH/ukwFJSgBeEhIpy/vIjfcsgoVvaB9NVVU+cLbSe3Fjx7VQx/omS6phxIJwge0Mpa
kKo6sytPrOqjINu/zc92JZBFfZ+laF61gFIKEB1uDXkZ29OZB+CXfiL1fGRUEsgeHeWC5kT4qe19
h2P3XiNXeGNALMSVOMy1FEua19lCZ+KmZunTYCysVtyadnqmo+RY0vg455Bn/UdvAylDZCrnB4TQ
FG905NZuSI+Sb9X7VkgME4jBSh6K2syv4HtUbZJM2Md0Htlg7XRAamIHCmS0HXPdszwOY+X/mboM
OtxFLAEYHKCa0Ci9BuT9XOw12wpIamKg8OhHvgIkXiTNPp9obSHKrBjqcjfaECzo1k2+jgFO+H4r
nGoEz3EoGh8vfPDjPjeSF3A/g2n40RHzdyFfuIbzxeP3TRw/8WHg//bjYxOzfjABLKXvogmZ/nJp
usn9FeN+iJErSLzsk3MJ9pPtIZdPQSTAy2Tu8poUEyuJkZY7ZcDib7JDGwp6RgG/YXUjkzcj23zf
v9mJ+Ld/iO0puPTwfPqi0zjaowH2QgJrMZCaZBt54w99a/9p4a+xx19hn3mMbHCmXZrUAAHzZWz8
1t7PUidfvj87BDJpi65EuntnCxqQ4beYzmy+U0NkI99qoT6E9MlcwK3vMlL1pgGTTxo2GKVzxdhT
qxiwNpDqsVso5E0+r+JUmJZRQjN9J/yQq41hLGq6/n6WzzUxLwjEvDT9GA6bWtcL1uud1dc3ae2d
Cb1PNYP3ENShrKP+w1xxMJVuanpVL3YwV/Hzpe5Wxbmy0LkmZls+6X0y+IkWu1xNcsUg37RCKMsX
oj0btp5rarb16yPIa6hxf2Pebj2dXLvDZlJ338/M7Ar7u3qPr3cQeo9zP1eCqBUQgo0yxa4tFxld
T25gNiF//b6RUyv4YyPHp9mHhI1EfYvFPhFg3PjvYKGNYMroM3N/qg1keAGKwOOHoA74uQ2oKlvg
02T5DlLBRzTuOUHiE7OBGwXIGshb/VXh+fz9BrcdeCOp3BntkzF0CPPvOtBIfjxQnxqZnSVDk7As
tjLYUXYL4IeJcebCOjFIn74/G6TEmBrNHHTCpVnkqDvRuGd6cHKYjjJFiEYYhKZmU50WhSqKmMHD
cQrGZ3BCxZm1dLoBwBbwmEO+3Z91waOgLhVqqna9crfOKC9YV21rXu6/n4kT96CHitO/zRxH8sOS
FQp5fqgnwPyYAjapVpNLEE33wRhf29Zzmjx/39zJiYGWwtElDa+keTKwxNVYmRZ6pVPwYDwWkPa/
dOhDC7Nx45Vj1m1rVjurZGsfyriWe9PGMhy8W5tlQVo8fd+jk/OEJzFMPmyErnMoVxs7YOO4stpN
JAPfY/oz6hq1KW6cCSCOC2oWIHkIVf5tZ3a1pMDZS6fuq5135EPkRLmIgUdQZgcgx5XXGXcAGxVn
3rOnOwerUsB0vSPQ6/PqQFKkVrGL1aGR/ahXPb+I+zNhxbkmZhdNWleWBI2y2vnAsLsX8SGT/2mv
HvF2eJICyDQvWjuDq2jXQD0rc+5K9duvr1O5+H4VnJydD00cr58P20gWE/ASEuFdVU2hcHZpBzSq
+56IdyuLft4UkEyQ04FRInyjjgP6oakSQrd23vBy1yd+SKr8ihcV6B9WG+ST/WgVoCR+3+CpGULc
ZB+DDSgRzx+f9AjXtkf4ehM8LtMErOUKJGJxzsztXDPzOwFHtpV46JdB3rNKB7R+c8gZTaVT0/Sx
K7PDoZiqsW5shjagyN0SGTk5jNDqoDPjhTvdfT9uJ0IOGKH/b9xmR6sRT0UV5+iQj7mxmwdnBOKb
VAsuz2yhU4eqDdl0nJeoOX4xJTRJATdYM652pHQuDRpvQQE408SpyUECAKAL/IOC82zgvNgds/jo
7S78CkTKm8l46H/oH38M0Y72xP+2MRuvxtIGB32o3BVDJJsAKhLfz8e5Phz//mHjOKNrgwCH7+PZ
F7QT+J5KgW195pw+NeuQc0F6n+KpB5Tp51YUtcDZcIdiZw1kZdg30N2IaPFW/bCs889oQYsaEaAL
SZf5MdBCKwBC2KLYceMudTb8XC7mZD9cnDCQO/p7bn7uBy1066egUu3MadXlMugT5Hvz1fv3c3Iq
/IAuFKDogFkjVTi7YJCdjAeoG1Q7YyrDRK776YXWsO1UkUfjyG7PBZ5/a1HzaxRLDHBTD8K3X3Lk
FfVyiB7k1Q4modOlh2xsmBkNjczBMlYZq+21q9Q9ik3VQhJnXMTUzRYgTZhBAyJ+YNXI4IwU6X2S
GlWYEr+64FCOir4fllNLFU4LwKwd33hfZBc9cA302Pk4cssHQSTkIJ9I/x/u9o9tzM5bqJmbhmUa
5c4kO6O+AQkGwhbL7/txcno/9GO2GVADKmNQjqsdZK0uPKLvPDodiZYXdSYjZF1rGC2JM8nSc2M3
O0YKi6hcM4xd81R4100Rqfq/tACAGN5IR3Tm/DBE2nDyrNpHyFcVYa02iXotR/UfTiuctP82MuvG
ULDJG0de7VQpQ9tIobbSBG12+H6CTg4WojvgclEyQkT+eZd7oL5DrcLFBIHErKfVRLzQwpPm+1ZO
XbsIvqiNfDpIFd7s5M1kTXs9eojxFPSToLVSrQq/Ccb6kOTv3zd1HJb5/v7Y1PFY+3DIZ0e5a7dH
rDcMD1pd0zOfPzVeONqRp0bJ82iu9fnzXunkngDKCpmXfBszsrR0vDES9jPk6t/DHfJjkHg5UnK/
2Ad6vEaOR03YmzbEB2BDf2sw9vr9SJ3oClJhmA4IqCMh8jcX/2GkmiouuUE9sRPdW54tamspvDOj
dVw9s8kAdBNxCYhXeB7Nnw9+lRmO5xhi58o/moOr6Ie+Ad58uYFAUmT5/0falTVHiivdX0QEO+gV
qMXlrcpu9/ZCTHe7hcQuJLH8+u/QN+JeGxNF9HzzMC+eIUtbKpV58pzHdktjc+XWemdx8ZrIc7zR
cqwNln+Icue+pVlUTn7sm+PGnl6bPijH++DNRrHigxPImC5NBtKfizTKaOB7AUKnMtwIu1aH4/6R
LkTHOvb1++0GJtxsCkSGZA/96pXNIfePvJOJVW+ppKyOBohHfxbnBvB8PlZvNoMSbQU6F2wG1/iC
JtPICr/KdiP4XrUB1nLAN1G0BxndexsU3Bd0yrA2UKKdjMTJHs3+9fqeXpuv+R0OBOfcy7BMmvh1
y0LoaBXIZngx1Ngj0xoSE7wWatw4Pf6KoyEQgwihgIhCEYK996MBuYyehBLFhbisO7e++t6WaVXH
nsNLoLRK45xW6SPAHnvjwtEjYBTevkZcAk4B8LoBAV5+Rakv3xE5dVHbcB/Pxqn6WqYjO/aTnf8u
kMzfk8km97kvnJMGmwOoo8BM4jUe6geGLY8QXBkuAGFUkej74ZAbLk/whtMXATGJe90b6C02wZBU
F9K49RvLAL1F55CfZqPcAVQooUocpexkmtr+t3QhSes0Y/8qwIHxQkuP/6R1TY41mIZOXl0aSYgu
9gMQOi9cVzqq6USPzPCnAwjD3T0IDUA5YWQTHqUaos+pmx+LnFWvygHTlQFmMLDZALkDhsetVrTV
Zcc5hLwMwRtouewdB9kfFMdxFtsDxBoeBiNq+OH61lpdb1A/IbXkesACLSLVeioCB2xG+aUE1OPB
rMTu+vc/jgG8tRg7RBlm8ahlH4bvt0bldjiBoEt5BVPCToriS59Zd6UdbLiuj0MBZgciNnMDpQkc
xMJJejX6O3STw9QhVaiDbLyAlth93F4zJgiV0BllgbfD4qDXtTWBignliRJFQxCmdghe2glFnVrv
wc13ovVwOwjz+5iGd0U+HdCF+9Xk+cbPWJtQ1EbQmQHQYUiWSgBmXkEPOUAyHm08l4Hxo6nxDvfq
7gg+xfj64n2Mc+cR/8+W/d4ZeIDvOR5z8ouaxL4GX50/3eQTdMPFUyjCe77lrldXEAkZIAFsAI2X
FyuI0gMX8TtmWKd79ADeadv/6/2OISF5gV2JXo8PwnhWLogMkQCEYClcBX3tyi2dk9VBzFKeSC1i
HMu8ks6Misne4ZdpT/yT2IJ6r60/kEoW3AIAHCgqvl8Tagi79jRqcWWmHouC7CwO9ggGngIRBhvx
2qqtGYo2X52oyixs9aC1zwmUki984v0NqOOGvQi6IdEBWM4y0jYb2JT5e+8DK3Qz4t2PBwgwtWjd
ej+2XI8pIUBDXFz7kIfg5kL2an99S6+tDnpv5gwG3gXoKnhvwletz+ughomBBnsa2M1OgWRt4xE6
f+X9QObwCVTa6KOCc10CPgq7rDrwOaFiNn7iOpZgI8z5hrv7aAOThTjTQ34WyhZLXuK6sNwcVA8o
ZQKkaJafvfZHOO0tlISov9WYvmprFuRDGRDez1tk6TsJiLsnsxyp5lJ/8pFujD08glHiAhXuAexq
wY8pzbwNV7e6Hd5YXbgfgsDDStH6eJHZcJwjiNh3lBWD0rremMtVS0BDQf1jxq4us05gCsrzjtP8
4tXfqqED0cGT7W/grVdsYEuDKtzFemGbLzZ3DxqaUWSEXRieV5NOSGUn7lbCfmV7vzMy//1NwEtn
sATnMFL+A6XkhCMfcf38rI4CFVosi4fRLEN3c6zNolEtvzR9m0hpfmnG4t6maiMXsTYO9MQACesj
1fwB0QgksOoYENiXEowuLwZ7vj6K1c/b8KEAwCNzuUT+hLaWCKrx+RSEy/7RBsfUdQNrwQJen3Mh
GyD7uY36/UKAELibbHNgFweEv3eAUj0Dhl/uBeJPMNMifA+G+ocwPO8e3CUa7LeyOoV14d81mltb
EJHV4QLgDVCFi1re8olSGSNogwaXXQbbSPSg77M+fbk+4JVQwZofQHNrI1DgyxM09sJqRwMbr3A+
o4ckKUz3kHV3LSeJBT7jxtlYwbV9iAc4IGJgBUe5ejG/WeMXugpKXE2peCo98UBadpQ9/Xp9WCs3
4Nx4g1gKBYiVIlE6jEo2DruIVBypNr9ndQqA6nBhyv123dTqiMj85oIDQxVsMaKwY5VXs5BdgjYJ
TAAUHvouvm5idR+8MTH//Y13aOdY30Sr/UX3Vp3M0C3wExdbe3/LyjzQN1bEIKhJ2wCOLj/azoPX
H/9/o5jX7M33S6lF3YX4/gQKJ8cczh5AyH9vAqsO2BbAIja6A9+b6DxHgxM8hfupdqVI+Eacs3Kd
QmkTSRaAtYFuXPbEUqeDf3VDpL/k0fZv7fCZgFBuuA2cv4924OSQm4DS6qy7shgHcpdcDjLPLlBg
2mtCdo5T/F335Pwqgglk3PB6RA5keSEA+y3RAMCyS/YJJMR/SQXy4euLtS7IyHzK8HUiQU9311m7
6wu9hOZ+MDAv1ZvNJJpuLLxu/vlWm9SQDcw7Kzb4iLYPSENl4Psq1fA6anlP3eGlabbSlWsXBRBJ
kHYFeg8sHkula/j8Qo6qpRea24+eBp/jjwrtJnYByljJipg73qGS0BW0QIxHrefc+hfn9e0vWBIn
obE+bd0Kv6Dz3bNZpy+akb+P5IBQQ9kHewQ9YUuYGvXdtu+FTS8muRuM+1JcRrJxplbcJ0ygxdlC
rg/ueuHbstBvg8Lx6YV5+64EP9XJ2OopXF8re0bnAxADuoAF1BK8yLkCfQa9gHC2+mYHGmRto6WP
RiiNO8C+6cEFyVtUB6kR9wRpqawFJ3cwUuMmdyAwdn3vro54VjUMwNUwZ7vfb92+qW0B7sbsIq1z
UX712ldabyRql81Q8/GATChS3ODVQh/cEg8GIWCNyLhiF/jbX6gl/syoC067V9mqveWXt6oSLyBu
g+iERHfR9fGt3CNIDiNmCQkGh8ji/fhkCDy6k4fZJdQsHr5MLNu4Dlcn8I2BOaZ5c/YNMaJvE+0q
l2a6s3LIEqFa+HdNkP+ZP1B1ADEBsNuHcFmZfWqZXYNAc2p3PYjgyvbTv5ilEEwnaLtDjWAZaIa5
qmRnaHahvE+hdAQ15bqA+sD/z8ridEnuOmg0gxWu7cgFtES19oaJlQgSrd/oVEAyEpXs5XuWNGFN
AlEyJLnBBRkx8DQ+c7Bo305Tlh/HxhofIfhhJ04wbGUOV6I8XPJgmcfTD3mBZbkeBKac9C6CdaNV
J3+QpyKcPtm9fqGju7EhVvfcG1OLPZcOgKGCiRwhWCDTSKusebDrqY9Dk29t79XzgzIbiJUgd/kB
Gzx5tQNFD0T9gTpUz7ncCMPWJg0Nn1AmQycUopWF+0lZThuiJnZBc2JRDw+hc2cVKm47fyOI2TJk
vz+mjjmBaTiEIVG8pMq9NbonIPbRSrGFolibMPSw2khWBz7enQv3ng5c8qo2sktaHIR9HDeSQquf
R/IEMRLIVz5oho20yMsJfZJADTz0L2n7Ly5AgHb/tK8CNbUUj0bZqLH42GQXyI6gjXGizctAvf7O
F2gDue4NVi9C6J2DHwhHFXmAxVulGcGt2gx2dhk7Q8ZpBcjekOfiIUjl0EQOt6KMZYfBh/QGUzrx
OARPmtz0X51ebRHMzDHs+1wbOh+BFJqLlkhQOYsTNWR+0yvIjlxUAcQgyhwyzpyp2VthFSZBoMtZ
fqWAxgl5gTjWsOG11s4zrCKkAQRgRrW835xoUwKbcRrSiz+Et1bBIA6UJllxuD7hq0cgwJrO9yAS
cIs4PivBcT7pKruYtfwZ8hoMwOQ1b1Fwk91G5mV1QCHQpK6FNkc0rLwfUI0b2etDnl2snOhd347N
o4Ks+qlv+y35tjWPP+exEV3A7WPx3psaDaXbkWEXZb4aHrsC2BmvPXudPyYUXWj3grZu4oh23Hiy
rG5fiNKClgBl4bk29d4wMZjfmnzIgJaqzk1GkgKNObIYwQXYJBJlyCKAekrQEXTU2DIBZ/I+HZ2/
x++GoO8Kgrl1w0Q2bbGoPKvDZmqKEg9+KBSAm4R+a7de/Gsb542NZXNQA+Kt1A5hY1CHuteR5zeR
P944Pd9wCWvODbgRtLAioeWB8On9lNroCrLyykaJOj8GbhyUz39/AmYmCaCQcD+DB+j995FiHsXo
8/JSZPrQtV9RFgWf7Gd7i6FrbfuDPdYHbSC48Fxv4U2oDe0unY7lxcmmaGY8BKbaAKjn70eDRwo8
qIWH+QfhQs+hFSW5Li8CQkA2eFxuwOLmbmn+rS3+Wyvzmr2Jb8G+ISrH6ctLD+Ug4YmkGP7hWRZV
xq9/MRzkSoDVhdhjsHx7adOtqhLiexfuJIGIJYEu1T+j/De+FhmT+R2JDNmHtEkKBITw2664KAua
UURAccCR35WXb7x61vYAbPzhK0MguixDcjY4ZAC1/aWaOrzmHNpGDqkPU9m9XJ+3VUf01tJitwEu
oQWxhuJiOeCMH3KoC4V3vUGivPBuGPMTn5r7aQqfJ9+DNgSDsIa1cbDWDu6c3sTRmnlIljU+2vHO
MoqpuASh/A4263MNbo2NYc7hwPKKRsEDpHeAZAEut7gkrcaD4hWrygtpvU9uOyX5xEA0geHldYzL
Bnh1twM753DnAAaUD+RU1vxm6LZoGFYXFm8LlH3ROfAx18JBiQE6i/JS2y209Iw2gTJElnTAAF8f
8aohhCJ/8HSIkBbeKi9zxtBbjpM35GC18hjdo0sTxBqpCtMNW6sLCDAqwHtzaLC8RfNJUAlVPyCz
uwN5kMW/iFpRZvzv5xdbtEyD1FMDbhBt+VEPYRL15fpczbf8h80xa3AjCYXa/LJyILjydWXT8kKb
6VfQnIgfG2V1ciZv13dyd93Y6sKAbg0UL8CJfEBPWITKwSJAIAbhI/pNIrN7LMCEeN2ItW4FwRoi
G4gEL9vtO8VIAZqrCrpQZhGRenr00vAAvb29S/XeZVDRjMYI6nnQorIn477OrMe0zo6dAt399d+y
Nrsoo0ESDtlFNHPNP/XNHVCmaU8rC430IbroyWh9a2vob414LOyGNvitssL4F1OMgkzwB+QJQNHs
DN5Y5GYPzhkUMy6jcTeDigj76tr/XB/V2s3m4QwD9ugDl7B0KA3kgaQeEPM74cHOd1a2t8nB+UsV
2z/JmzkjC8l7ZM9B8Pt+JAGF0kHRuuUFBcQDlA0PUFZ5mIotdoa1MNhDigvpoTkgDez3ZlhqIdQm
pLyU1jfiZ3FKX02I+2TBV+WXkbLGje255jDe2lsskAuVNOjfhXAYEKjxftuQorq+OmsG5oIA9LhD
FFeXO6DWOH+tl8/39A2jt975X3x+5mtE+AzmzOVjqCxDPfNd5Iib+8gHYUnTblHUrY7gfyaWKXHk
2qF7EgLhW2WyvBmHtniwM7pF/7WaXUW0hI43FADgjBYPIJz2UZgCMBGPlcG3MR3Y0WBGGXsuWDWG
PM0PYD6yIKpZpID5MHdfqRFCONenc81ZIW2O0u3MiY6mlffbj+pWFdLXiHaMKQaw52s+DccKopfX
zaxN6cxvaiOuAvhqmTIIIA1rTeXcmJam8Yh8QL+VldiyMP/9jeNRqEIZLoOFxonDIhry478ZAago
EMMAb2Muvu+lXZgFtVFcpvC+gBznRmZwLY+BgvbcPowa/Qf6r8KpNe8aRLfavQu5jPzAiyE7FuFu
yIw7wu3YszYCszU3+tbkwsFRhNqsJgD7SoQmYT3EpbixUcVz9MbU/UEYLC/5t5YWm2xyJeB8pcTz
kAXHSuRH6EPuVMn3inmnHgQpURHQUwhqAWLIL1XlJ1VofFIp33j6r+4RhKAIZHEl4m5+v0cCCmnR
ukdo7w7dCyn6E5DoG2NdM4EOB5SHEPjhn4UJrzX8uikBE0VHVvYpTMsUgoR6+Hx9M65dGmjQn8Mm
tNKj4en9QHQNzMwYTvll8Ickoy8uR/b1vvbupKejwHi6bm3+2nL5ZhZnIHGAZwGB9Xtr1JxoN5RA
zTl+BXY4TaDiRG6yvLinuXNLQCW5cYWs1WVn5sv/WlwcNmJ0qJ9zoNtG3t3rpsziyhSnUU/oSijV
7dDSvaH9aBQaWqDQPI0C2SfXB726kG9+wiJ0sstxmthUgltDRIOTZOXGM3P9+4hELdQ9PKCE3k+q
px1QAVkt7jH6ZBc/J6PZmMQ1z44+lf8asBcGZC4NLrBqrBwhMFZXNyCC/um4W2QLy9MNYMFMYAn2
7bl0E36AtplC58j1ovOhk4a3Y4PVPjExjInmBMSWIHt/QPmmSjpRBRHPfEhJOP2+gUap2ehfrFL5
xsot/BpaPYBZntPBwMkCKbsMeh1uFqIoC3bpqV3dNH0u7wOLeXGhQPkxMX9L7GPVHvAisAhc9odS
CDE7VQpa80uWJY0VCf/iQG7Yufmr/fifUb2xslhObjfjVCtYsaxfZJIRHkrXDSz2ywcDi1MudDGg
1AsDIp0RxS+WfhJ6d93G8mD/MTJj7maFAcS7H/LLnZUJUg2o0/fjbc7qB9dwDoEB/dVGqccBkueW
lyYpS8+InKKuCl+u/4C1Qf7hxgIlE37MEgsnZcggCocafpGphDLn0AWPzfj1upG1DfHWyHz034Qi
ATdyx4LG/MUe0ZPNeJSN0GgxLob+dN3Q6mhQwiZ4N+PkLYM35fUEcqYku4g2+JGx+hdaUcAupi/X
zSxum/8sGorM4GZCpvpDV5hVDX3NKie7cMbwJMk0nqoQPGTWc1P0UAxxfrfWXz6L/th0kSFFNhmR
/od2CyxPjYgChQji/yDekbNPJTu5gkQt6aI+yDc25tpMovSMRAfCO/D1zX9/s2Rd7XQh7dvs0kP4
VHzi4jM4JK/P4sLh/2dEM2M0WGJC1P8Wd3Zu9S2Y2lErgnR9aD1X/O8eRvP3AzyLMF0Al81kvO+H
UFnZNBIojJ5bTqFA/clWGyHqygDmpkd77nvEhbXcbUVVKcPuXHIu+525D7Z8w9rn8aZH8+YcX9vL
3LsVNsFoUY+cC/1wp/8SivFndoDihDyWTQCYWZJ3DqZTWWYdkLORgcr5C9Li11d35cyH6HQC+AgX
ADqEFt6T+wZ3xqwHjMqLUv4T2EqbRIL+XdAwj+KdlXkO32xTSgZW9VTDfRXVAeLW/wQi3wCqrywD
TKCuD658QOKXHILaTPHqBHXIxR/Rmuekt6jAJf9mrv5nYjFXJe1kMw0wQe2TgwY8L86qg9yqDK8c
aVQL/rBAgZoQB/v9XBFHN60GKuc8l/dG5yltb9rn6wNZmStAkOF9wdyKE7FMEVlhKieBCudZytgV
R6hFXv/+yqYi85WPKgQaSTCK90NAL26Yj9LEiatfTaOPTHJqtB335t+FithWWHIgvYDhRss8sM7v
7QxF6FFbUHKefsr8sfis9F+7DhjwkBLF+wFr4izcK/XCSng0DM8VvWM37VZzxcd1mDvVZjE0NJbj
+bzYUBaeCw36BcIz2H/He2+L5vLDTkLGAjXHPwJBECBZJnQHzwjTgrX2WdW37qvd31rh7vpCfxgA
LFh4+s+ka6AAX8oOCmNIhTF27rkRGQhCoJc7/d3T18E+whLPDWnYTvCwiykyfB1mglvuuSwiXd6U
4cZW/fgKwArjmDlzaxUKdMvrzdNUd1XaTOesUEkJMRueHUA1HBnsVLVjlIcPbHzuzW/U24n0mLYb
butjZDnbt6EthlwquDaXgCTtTSBBKtl0trwnV9hJlnrxNNxOUMAGgfmjEAnoa+nfBuXYdzMUFAlv
UON8BGFaBrroU3s4+9WuMm5zueFgVnYevgpUDzb1iuSoKrjhlqoZz2aRpOre7U5G9rdhA4aASxE4
UqQiUfZehCVp1RMndYGjL+xflsMSy3i9vreXZc5568ECQDIYiuN9YCqzKdR7adsP2NwiQnMk5MRi
PGB6+WhMZ+en/83j/s4bymjs6PG67dX5w9sahBMQ6ENk8d6xgV+4NmvWDGdHkc96RHZz9J8dscVR
v3J8HRtBVwgSHhfR6mIOyxFyj8DgjeeuNTUWiombIi+2JG4XaZg/84itjawItsKMvHo/GEZKo9Pc
GM9/FM0lfJH5avIx9kwQtoxP12dudUhvjM1X05tIw6dQGK9AbXDOOqg8lwnUY7c8xnx7vUkr/Wc8
czoYVw8aHpbjsQSeHMTwsLnJc1hAXd4vDqr91lh9JOwsLkcald3e7Dbi8NVpnHGLaLYBz8GSUlj3
yAigGDmeM9XxyNf+pwHaYblfxyh1HrrC3PJMyAEsRxrMgRuCcihA4TJfavbpBhLRXj5NZ2OSbN+l
+fgbzNYBhTyyJcCymYO1NcQcs6F4mPKqTQxeFEntoe0hhxYxmJKUjocGuFjpp9MOGbgRNKnQ954q
VaFGhIht5l9ujxrd61HhVOqZKgcS1KoQR1ba4Y72nfvgjr11cUCtmMhCh/f1EOpjYdHPTtP1X0rX
GX7lXkmOHmXG53x0fxlBX+wgcMSf/Cwvd90AQFYALx9bXo+1CasfjbIgMw2MZlMmqlYVi/KhTI8T
acq9QWV907LBP1JX6Egqf0qkDzZHwsZx15pe/RJ0OYvdlrtg4HP0xSkHL3Ls0kl6PULAOWuaezXV
BAQ+Ptl3hQpOqYZQvFVXTQJpUvBbE25GVmn2u6Cdxfu0NOy9nRogOLfo+BQwzp56U7BH4o5l5Lr0
dx2ayBZ6ongsBg9dJUhIxakJJiKag82sBtb0vnRyd9eUOUkGx+uTFnryOyXkP+jF4LHrlVYiwtFK
4FMBD8nK9A5EcuZDaVfmU1e6dxSpn2baqbEaTi5Jyx0juR9llaA3PpXj0UHIjnKMtad+MFM6hL88
r5wSxgWLQJ9Dk4Izc8dND1Pac2NHVJd/hVJPfTd4lYmkBcRWItcfAutOMvaEhjInLvwhvaDz84dT
5/1xzHWjMfUdgZI88gNHw1VZJL3sGxkF3OzQN1+tiYV9LGuXqliI6dsouNfFlRWWj0Zo9Alg+fYP
8PJ2btKHNvnOQmp+swE43Bm9MHhsjEHwYo929SMNSusTCbv6ziyxG1ubvAqzkl8mZ8oiTM0zNsa4
S0v5WhqD8Zzm6XRX0jH/Hpa1G944zJOJF6jBT1yPhRH2ol0fkYf6nenJf+o7FMUZJX1ShiM9ojag
Y59p/4A0TvZUmTxsItJy9Rk54+4Ha5iOTSND3kXY/T9ph7oqFCiMJMXbnsY8yIxYD0Vw77T9c2AM
2a1gYCR6bFxFD6wxQHs7gNgBeiP0ZihLAU5N6e4sCS+bzZtk9II6Gfrx3Li1xjyzn7kz8u8VDdXj
DDuN0JRovXAURf2bFED8fe80/vOYYu4jHzVEAA9U9mBYFf1UtM13O2jKL11jf8tTIHzGfmxi7U6Q
lO+Nbp9jlSZj8PZYpOERc0u+OKO0YwixWQlza5lATrPeQ98sTOrc/OZN6CdNRtlB44ypJkZMjH8J
cJzSQpLPYGRjkaXKKjHRgbYLBrP7TnEym5gEJb13W6kwUFTOZNijr+VHwH9oeGGQf0faeaWFN0Ue
6DUSqy8VFrnBf+ipIvK7gB+skndx2BOdTH5aJ54kfC9Ht4gr8LbEeMZYe0eL9sapiZvkNAteOpeb
J81SGhd0pHHVOS4Y6EIS9VNaRA0dzHhqO5APsUCchOqNmBc+z+EJO2j5sp4dQNjefum0a/zwUb+M
JpezpAwaHdusAC9MxvrDVIQlilqVG+EMmzHzeBnbnYLKYsvc7hkNQ11spyw8lIWoY6GC4bdGcHAr
8Ij5oWpW3Dh25kVE1jmF3E0p4xHy40c4HjOuvaxHm6u2PnOn6uoY1SR1V7I2++EZuHsihudU7HAx
HYjw9cnhrXdoeiPY9YWlv9gqVzIewsZKDK3lgY59eGy8zE3amutniF6EEc9F/skuJTsIhjK3BtH+
rQaC6zKkqoEbN4YjSsthzC1lPqice/vCADi+9P3xwotOJUqGUGCtJj9RYV6ftSH9kwE61KNUxrSj
jZ9/7WhfHvk4WvHQeRVAsGZwO7K6PvldakYpKggAqrRT/do5BZzdWPDEMOXFs4Yq5im5UMNKE4im
/4LYGotYXwHHWBRfkOMtwaRjQCk29WWiS5ftTSOA1yDV9JD3kkVGWFtR3ra4GLqJ3Xdt2MV4F+nI
LtDgUcsc3IRuWu26om5QBe08fhKtjd+EH3WnuVR7JnN1P9kdAVNPKHYOxPF24LIZY6gS1Enmje6R
UtPapwBb7oDpQ5BELfUdt2+xGzPOdtOAt1BgNG48MIPvmhx7WteufyMADI0H34UckgHC/gyYoftW
qyL2RUXijri/C+JPzyKk4qnhTXnoHJgNlPD2YWpWEaH58LmSRZC0vZwiUESYD2kGXKSjuHmTk1Qe
GqNrdhm83olI1u+KUvt7AVT9voPjvxEzPYkhcv/GhcjSsypVHxsdEFjIXKM9uMHe6fLA3gWZ9pOp
hCSOMaLDJe4bqOgMTkcTAJ0AI0yle1eMoYEWd/zLS4MqHjPgkEgNXYiyh9MYjVycfDJYO95W+VPH
0cXmdG3zJOqiAefHpF5agfKXNYbuRXQWfnQlip02tPwnV2MWDeHYRsSCWi33ZH+olE3RMYvJimxC
q51XdFWUN6S6KewU8FCnbm+bCm8yZyTsKLCJcaSZfHbRn/6T+4onWgT6aDPSR6kNEjI+qV+153QR
9Lh4ZFvYZkNeW7c4smmMhKG9b4I8O4BPDL5bhtMRCHwcMmDyE15JJx7KdoqcqXBvZGXoBwTxvntC
DWjso4ynfO90/nPOaXMatGp3tTSxZ/0JHexpDbJMZfqnhjp635ZeEIXaLu8ndBnGftcEiVF7JQS4
EF2B4deMnaFBCEmrb3llAjzsTu4NslPpvgUeZt+HropMswijsfI7AG8UMGCNR3bN4BPovvo/w0n/
FGhu+qZ1aiEUZXB5yjYPQtccNSWI0I2sAd2caNxbPmb0vjMydnByVX/OJyONbU/JQ15UTlx2RCQt
ZTwxoZy198xaHCpILd0hKsAeHNGjOKjM3IO5iOygwnNRNCNeBF4eFhet8A4sraEbVqNtMxnnywas
YFjTcUAMMeTu0+CiYO/mBrQGAKYzYlejUbW1dZ+kfj7s0q5jx6rL1HniRXqsO9U9lBNkhQwh/Qec
o3E3cEof6y43H0RVZ6CstY09t4weIHXUDUfoQAVRWZg8QTqj2fNcpjJRKlDPIzh7Cq+OC8d7bBFf
7iyV9V/8kOkxrkEj9t0Jxu5stSr/5TYy/0omn+48TqakN7OfuZVbUWr0RYwYxImrljhxpxHKAkBn
H8GrQ/ZSpOYONfcsanUXJN4UDjup2BCnJTo4dePSPTdAsAJuMfdILCV3hWFh0+HJFlm6/jbWBN0v
AykfQ7SVJU6VoWDuTiNYWZowGpA/2VG3NnaZNbKd79HMjHursb2DW42T3oPgvwGb95BGbka/0MlF
W4CU4hvCiMzbuSgznjOX6zsPalfFiRPeNAhmIfuFIqdKuAtKNU+Q7oHQ4Fcv8j5qamx6N22y/aAG
BKWAcB5T0uPaKXENsqL2dyPX8gZNXuq5rwGlC2hdfXPsIrhDKUN+CqRRnLquns6+QZkf5eAYrm8F
nTwT5bm0jXnXTVYMpBx/7AY4hMyehlghLYIrBepG4FaR6Kb28nMHyqQnRGaga0ubYp8hoXpXDTp8
UVaRNjHvG3UaBgqmHJmafRuB/YW9guZBnV0DDQUFDfJb2Wo0OHJNWdSH+RBLtP/ELSK8Q1pLY0/E
CPfgMT8GM1eYTLbVH4u6zY416bvEzYPvEnvhPm0aCfqqtPw8gA/oTmc1BFXLOV80avaScTXuB8ev
EzWFDhi7W/NTaDfsbFODgc+OZXgOtergjFW4s6muX3TR4hU+lVVMmnwOelQAtSSPnDI5VbuaNl+M
TnS7ivvlXcVVcwttSXmPFw/Fne+0j14hhufAb+mNKTi2SufkN63Hf+P/4knWOwpChDibXjbqA4GI
9w2eW+25bVpE9sIKoSXl9ukuy6k+F2NtREYf8J1jyyIqXTwxSmDXXpzUs/e+8MxHgoP9SZp+vcuy
tEwq3mcJM0tQ3w2tvjXzqdqPvh6fmFvKJxdYbbhP14qqXnV7kadxyMMb9DB+zlPXSBSHmBS1+zzm
ZaUf7AFvpQ7uMEZTQLe37cLdzzLysdOZ/SHztJWksnpNc6HgLHR7qgWzHmo75HFhdsngg9FSTL2G
7Fco7xwrk/8UVQegLmude1DshgAKVVaSAz2Oq3rIT5lZ5zGVWQNQuXnILCMCSW4TGZM9nXoU/HYy
5e3JIIruHS8F/zago08oDQBOBbh6MkhR3s5AjH3RcBqHUx/eWQ3Pk4YTstc+w7UOuolPrlX94kyG
j6YDN+eTBmFL3xoo6jrFzUhZ+I8trBIF7VQlthTy0S8r99aqiDwFynz1gxoOWgnrxAcHHO0DdyMk
5Ir95EHyM0OlJSaVdCNP1OPOV4qBTzH0d8YwWAfq/R9p59UbN7Zs4V9EgDm8sqMkS2JbltML4XFg
zpm//n70wT3TzSaakA4G8MAwwOqdateuWmuV2NhBbIZ/VLkh9694wnOhR+F9kDXJPvI6cUM90N9V
XTjauHBhV5VcDIFWpSBWa4JQixaWkMtKJ5O08SgMqmn7UW5uUfoUNpHlx3e0o9ceetPPbbfLfRvA
ev6tLpBBgMDs3o0yLLpRjMd7Sx6iH3Rm0/dmKfUfELf/M4RR/KoqAnOpRZ87qxL2WeP+bKoqeSmV
MHdAL9LNspdlJ5ON1iYc9XatrKcHAnFvM+m4bsmPdFsIUYotsT53TSDQXVIvhPvGQ9LPJnMiPolk
KTdN3dXbWEqffKmT7lz4azvPGoRntSYpoYdq9kAGOnts1bA7JYHQv2q19DLWCa08czGxXlxLfVZa
UXhFqkaibWCcIeIXWr7jR903y/f7xwyqxyZU3T9WGjUPMP/6e7kt0juVK2sT+H1nZzQ9U+hI2E2S
n0m1yZgcAfONaNzprtdtozCkrUQa5ps0EE27q0pv4wZa/qAUknhoU9HcFLnZ7hPfjTaFon1WKP4c
xyBO/yCBptnjUE9PLj/eRZrX8hQri2e9RhWolq1Rs7NcGj/qNJS70xsp3BDxigfDSP6UcWQdW7mI
tr2nE5cFlfJQoOm8TwTpg593ycb0ctEplHaaQmO4qy3B2iLv9yOBr3CIeXztwzJuSCoo0SaWSECl
qUDEzQtMuwfT0L9moM327ijyouzD5GskCOUXUKv6vc7ZOFDTK+yssNpngXjKDiLX25pFQXqrTaQj
LdbHJ67Uwm6DRD8VAc3meLm6D5Fpyrsk74WjWhtxYXdy5RNdGP5e9MqMMCCu7SBPrF1K8tP2muK3
GTSFHXPEjwJ5ph1NMFBZ6EthN+Z5fiJgHm0BRJJdiOwoz9I6Wy576dGEx/DBT8rg8xszpVNyz/pL
8JekCfB/mSkt+07XRsscHfDOuvxhzFbypEvJw6kLAl+GnYxu3eX308qrdCAzo1M3T31458srNYaV
76uzImNHy0xTCvi+9Ry7m34N5nyVgmd6LOpOiKvBL7oiqPSGyR3Xu6PTZTGZwntF3A/hGtZtaQzn
RmYFzEpLtE5vMRL5m0iw18T21j4/WwIL0FjV13zeIOWYnQrv29u3kDUVeEC0SxNI+nKJB6MY9Ijs
k5NU351K+fHmr0NjgOSFYqg50Rovv+6WXS2UrS46iEd+l0kPkQF7a3URDu+UxqfIQi0ZK5cmaDHd
RXmVa44rJs+UgMirD8qf28NY2EjYAJNAfYW3yJxjSgXBUkALag4S21LllCmZik+3Tej8zIuKxDQM
BYopmmKgqszp38+KHo2aqTR5zTSn4Y5EpelFi1ty9PF3A27rSs39GlQ1CYJMtA/IjCTfZm5jINFY
jHmqcUH2xyhp70e3OcEY/SRX3k9xaEhHvrWB7cS0noCRCGJjE+7M5fDEXOjNUC00J/NCO773vV+3
p286BvPpozzOGQcmBFxhtgtiOSKeSV3DkdNfI+37gsEml2r3HHxRIgu0JhEzZ1CAW5i6yyPnOlXl
J/GfywFpuWXFqS/qTtoa0q6QXXjcenmvuaSHM38XBS0p2/RTrwi7Ls3dze3hLngFoES83plU8B/z
oj1Z3VrQOc8OEI3N0N2H+hvbofxnfGcWZn6h5U73u1DWHQ/UUsKWNN6x4dEhm6pTtEEFPXE5gRnB
skk2iR1BY2dqLJ1KBQdxfq95Y/O6qdgH7YPp+tt4hZr5paVBIu7vjEZxKlJo/mAL5HFvL8cSAgEO
ISVs0MgGjMXZboDeWYp1UcrOSMnMaw5J6qRlZ0MqHPNiryXVF6FOvoqueqis9OCTz1P737d/w9WW
oNSNGwd9B8RV0eaxQCQWGs9Ya3Bg0mwiP/kwKtVKOXHRBO1rYNvDhAdLeDmROW8xcgnK4HRV/kcs
3XsjMQ+3R3HlBqdRnJmYlbNBGoVeXMqDE9U/pBTVovS5T2Pb1/a37awNZXZr8/4wzczFDvRxns4B
gfeKk12yQPg8dZWUqFLNpX18gA8IPQRYmFKBHhx7mN2rbIWFQjaaxRyjScmNe3buV4dCLYpE7pyy
MrwUrBm9rIu+NHnxW1Vlp75fHOMwix+GXg5eMz0w90qX/nN7MhfK2kiTTUIS8MlklFAu90UieGkI
ax2oAzkQA5anKRP4qqGtSNWmjd7Y/WQ6z6qClYmz+JfXdWkO2rhsNLrSORr6w0id9w2t2sjhV80X
dU2H7OpemWwBHoMmYbIx5wfbKGmNIGV95/S9+FnWvH2p66WtUagizBhCW+vSbaDHP6VxrX3bomW4
8WCyiF6vYMGdquQlBM3OaWgQ3jUGTT2ljZ7euagdtaeqSzeuUOxuL+RVYMBoIVFMgCJaYF3RCfxW
0ykrmZ2jIg21TYfkSUel3M8QKDRrOC84M9pHy29Ue/+7oBoyUXhp1LfZRpcLqlZVg9KFhZ4md0Ci
H3zZs0NB5l0rbflr9sb+bn/tTcCcifhN+DOPtWKr5yVtKOxX2GcJWcE1TN1VvMg8gvKn2DbBG6mo
Xw6IgpWWNm3G2edRbVoIX9Qkjus3RwGTGeps3P/gfxHLuzTDEQBuIVe9M6rGth+1Z0Tm727viAUv
hgn8F6DxiVQ788f+IFDjKNveifKsOQ0mmWTeI97LbStL+w7RZWqbqO+DxplZSSy31DQh6x22JCXQ
o1ZO9bT7vGk2jXbs22+3zS1cMuq5uZnzr5uhHQK36B3JB8LR/zblT4Ol78fw52070/xfBKWsDxKJ
AE+JsaUr8loj5pbvaWnvkNr6qLk5Tnj4FubqZ6OS6HcWbKzWeErAVG9u270OTifDKirZXAsQuOcH
KovbOKYj8OAEdJaUXIFMULHTtIpM3a/Ces2ITT3lH3WNJ7S07WECEGpBB7jGQQqCpdVVIAFJHF8l
Xi1a+SdfU3xZCrVoC8BWBGnJlp8jYnUxoH7Zjb3jic8aHliugo0QPzeuvgmMypbGk54eFfHRl/8I
3d3buVC4Yrwyf6o8lpGfuzxzapeVsRKIslOkKLSS9PUC/3h7+RbO3IWJaZrPnoJmXUx561F2zKSC
c3gQ5NNtAwv39YWBWRxXqkrcaD5jkEJKR8reb+46eNFh+K2RV0KDxbEoErrcXGM8z2YuCgU9WQmp
DDqG/lN3f6zhElc+L88SSH1kjeaQxnzezuXQHuO19MvClobkytth8n88I2aBfdCqlLHgjztWCXS4
GBrptQAldB91krZCsJCmb83chUEnZ2J49DvQCJvZGrIqHaVMHIH0W7YUfFOVD6MQ7P3ss+r/Msep
ZlYcTYBt6koKZcH9XhiWLzdcqEWK12vN6JSh9wKseOcrX9zOqeWK5nLHJl55Riy5J+xBX2BjgAif
M/FyAXGoIq5GJ5e9f/RI/CenGQaVLEoPvmcHYXqArP1zdIsPSgve5fbmX9gyU4cUMkYwiejVM9uR
jZVrZtKAwZRhyyB/tnK3rHx+LhfWplEw+DKfJ2tASnpXm3/e8fsJ+XlvgsjlsXm5WF4VVKHZNYOT
ePSM7UUibs9cE5KZPjLfihAm/t+IMjtXdSuGotUVAFVdDABk/phG2itZ+1+9T7lDFL8J1hjaqdkf
bo9u6bwhGEMeT2eNrhQ8ypLigeSGQOmrrzoxdn2gmHrbxMLtP2nS/NfEtIJn7lWtdL1vq2R0AmOr
/igldNaPlbayxxe3AUR8HAeCT0SZl0YqKZGVasSIMm61gabiK/O0PIh/vz87su4giLmGbpHT5fvW
OnjSvkPRfS1rt7wa/1pRZqOozaFJW6woxU5U7OCrsjaORQt/A9ip9c5VZjXTB7ji/t/3PvD12PS/
x3L1JJXa7vair9iZ62KZvl+pYzEMjsY7rke8z6OObWt+5bzHDm82oNbGtbCKm1bg+xrg+Fr2mAKc
rhwAKrdNLG4t818Ts+jV8koDWVFMeCCdqiiztbXWbIubi7ARQr1sEcHONq8A8CGrQp0kDOFj2slg
dvQtXbY7uXzHWHDEpFJlOhji0C43WAQnehgEleIJ6VOgdyufX1r188/P3hUxj1YrAdYK3t7Yyr9b
ALnqO7zJJHLFLBHeUIS4HAEytEowhJno+MU2yDfeHRAUfe1dvrTkU2mARCYNquG/XhoxWmEMs4o6
mTmCURLr3A5N7fX2tlpadDJvMC9Jx5JumM2VGbtu4Eme6JhGt7PC8hi6mR1Y0s4M97ctLY2Gm58o
nryVxfPocjSgZ0lACAMlrdJsDxI9q7Ye+cYVOdklK6itQOc1aC971W9NpBW1LgREU121F3YAkG4P
Ymm6WAtJg1FN7XWu9KAngCPcURudQQE46hWb2DB2TXbU65WwcGkPk5ShkSjPSJNK0+VsyVWqqXTN
6R1K+nYb/UhB+KTJypNjxcjcPYI/rpQmn4xk6CUXX1qVpMhaumLRCM+miY1F+9r5DiNWT1tClZ4V
KTeJ8AdbdrFGW1tcdgI8Eq+kXq9oVzL5uhCmXu+YgITvqzGXD67X/Lm9+NNZmIdHrMZ/jcx2sFsY
blPqPHSTiNRj8S0FdJAr31gZK3uPKeqnCFhSP7t6gHRqm1ijAew/7Ae6nonlgyVIpzYbH2lx+lqC
gb49tMX5s2CMofCDDtnc1eRxqZZRocKM0nLblHgYKitOefHk/GthrgwckQWsIOMPjmUcQmE7IuUD
MHAtAJMWdxu5vUm0lVh7rs7t0uY7r1UmLvUHdJXNx04f7DiuvnhlXD+4TQGShoIJmePE/Co0tKFP
gEDYSd+bh8ZqoNe029BImpXAbemthcTWhEcgN4Miw+VxbumeFwkNZYE8Kf9JpOBRyxt/Ixh1sKkp
h9kWjS8ORZq8/R2OLN6/Zmc7dvDyDpSNPzil1m2AJe5WWXt/tXbnh0KbaJbsG0p6f199Z3G1YQWN
5cOzYWRuR8YToFo6mMmeYFt/EAepeqBZhPUE8h2qRQA+pk+FZBcmEeR4OjoePDkrNkKjht9u7+il
jTCxZKmqT+/4eSFGGxG4pBkBJ6h78L82xVb0d++wgLIDIiVoapPpu1zTwIfSFqAq40iAUCOzBOj7
mlVraJalc0PjUI28F2Q+uM6XVgoTJHlr4aPjXtqmY31Psreq4Vu8sSnFlB4n1/Gvodle8cw0rdsQ
Q+4AcEPMtmCjnvukR1DGUr/cnrql4zAJHZOjJD2ErP/loLrAG/HXlBRTQXiUO7ofWcIBbbhTIVE3
irvwiygG32/bXJrIaZ2gscJMuEqbe0Xru2YJJTJ2nzMVfVLRRpWcPuq3zSyRjwlb/mtnfqmK1hDK
5UDUFtG0NIOIVIFIs+ilLEafjfhByciwcODD+zYW7/J6TXN4aWrPzc+i+GQoXBcQ3eiAWq2GTTl+
yap7Sdsmsi0aK/HD0q3BfchkcrfDbZ3tzSDqi0BvZB6KJdojuVrbvByDlQldHBCVOFTrAfqAV7rc
K2YYGJnlsW68vdqDIgjjB6Xw3I2r1KSPotjYhWoXvVSJv6YasmiZwIVQz+KPeZCvxLDsVI2pLKtj
KdebkrrBKH8KJJVOu45krISuC+EFkb5BfZNy2PSsuBxoOQlFNS6YL0048bhPhn1ePjCv+pvFN8yp
ETGRGHzkSVhndvrUWu8r9BJEB9bDZix/QYOo/c+3j8HC1oBmzbZASgDMwLwDVyVKQzSARHay8ZM7
7rXu7h3fh/8+hfq8JOcqznnmJVLbF5JT0QpksAvT/t++P3mTs2tNLEcvbZRYcmQr3ERSb9Mz4R0W
UGzEDRLmc0PNLJD/SOJBER3Rj2yax7+1vczk0E304VDGoBXfVDS5NJCbVZckiiE55uMQKrYA8+n2
CKYPzK5+tur0ae7+qZXtpYFabOPKVVvZUePI2DZWcueGGmzd5kHptWOp1dGm7KwRLmT09bblBV+O
7hGosqnCRsl6NjS6EIupMMEjR6gI3Ub/LFi7Nv34HiPgyuiqTMVpXgRVIlcKjd4XnVhs6LMyDHeN
K7ob3xpfdSVZCRAXR4ToM/05OJZXryS1s2RBBFnmNJX+ESn3l4lJaAtJ+DyYa0oLC36NIvi/tqZ/
P9vbQgWzVe4j3vzt9zj+LpUnGueAE0GxIkHr7PYsLsRhtBokYY0qEffuXClHMVLTKA2Qpm0B5EaW
bTTK7dZ/Y/Opv5ud0hxoVgTjphbyl2OS4YYY7khxIVXqjWVBLH97apekAg18gYNM/my22UtPhQuP
ELgzcQW0h7Bf606z5DHPDcw8jqKPwApqZXTUYq939/Xvt68DDzs8DVNkoBd2OUF92Rn14FLSCr8N
4r2pOO5a75fFAaAKKLGHKUHPk9+W0fn0NaOeZCa/8tTW4rV+WdcXJGIudLSeBIv5/9znS7Ibh0gK
Gc9aAFXAu/esrwFUbsXvt/2bte0AGWEM5V4VvZ0r75ylcCWlYNCfM+k+eAjcN++my8/PjmDQobIx
pnw+/WBC5V6LmRbK5ZNSPVk2EGgU2+aXi5UPOqzvWnuG3uOX6EeMz43nway+k7S7XBa3ev1LmrjT
woMEsVTqP711t13an43PGoYM+lynPQvWawG3uQzum0R6s2vBCIibqa4HfmkOaG6tLi3GiEFKwcei
gZ6Z2JFxuj2Qv1Cvy0tuQlXCzQKPRaQxh4JlI2CLkBD4mdx8sS/bRO/A9Snai98E4RdmGfprlny0
hqr+3OSyQiCaB74txJK7GeMcIn5tVQ+9bJRPAGupPo5uGHxphMY81GrfPKiB7zl12iR3Y+glB80r
o0OuAHETBxAHEMXl+kgoUg1bLR36+57Y8ejx4rcr8BB3NIqNf7RF4J2oPPXU8k3pC3rqwhdv0FBM
HPzcaX0kM5tyjG1XjyEreGNkp/T8pmfSYGy7qJHSAxdPC71tzJ9CuI5AmVXltQ+tlzqr/wSdINuC
L8Yw5sagHvfkwfy7chi8bxmK0A/lYDZ3dEMNwDq1hf6nB0v2O5YHYXt7Ja4vkinHIOLkyfCh/zu7
840UtpWYaKx28RzDGoXM/WZBSA79mYn5002p3DL1c0xY+yaCLrW/PYIl/0U+Ymp2Rrvtq4Aiy5jJ
vvH0Z1Hs9oFwHIvfeVLbqnvvwUK8bevaGU9D+dfW7AD2Ra3GXomtoTUPHrJNurzyLluwAEIC6TXy
bASB83KRlHmpUnDzP0vtPt9pa0Ja1wERUTFefjJB+DBXhTS8nHShJ9E2pX9peAIV2oTyOaprWZyl
YaC/SgSLBOWkrHh5L1Zh4BWC1JrPgfi9fUjNr7fXYWkYjAP2MZHydatP0vtC7nuW/iyh93rqzRH5
DiTbP42x0j1prRivaE3JMr/30l/R74jLESgn6HrwFpfjcZvGa8e4TEFJFcWpy4c7yYQhvSuDaES9
yBRRb0q/mWIe7boxqp6MGg2lME19262RKRMD0gWVWVkvGS7K3Jl6XOyHUk2ZfNPYKLkc/aDjgnya
pA82mZA1n25P2PUxnzw6MlmgEKYqy+z3e7FUt0IyJs+IBoiTtnyl2OWbiys04cOpk08gWgRycDlH
PrG2CqEzfDbEYjMClKv0HjWJ7e2RXO+syQq5GOKhhXAlLf1MDhsjfBbaB8nyN934dpeIBUJSCndQ
EK4YPb7nDb0qptGzkoi2ZkD8Fxu76/+8fRyKhtQi2NbpTTmPHLNBo3iXxc9DsMlOw5ru8rSgsw3L
Afn389M0nr1GQqnu/E7j8672bQx2Qv0BMY1TUR/C+iAVb3aLKu1jiejwWiSu5itPNcUYxJ7dJafx
owG5GyG2t84WGrYG+WbKtgjVz4lpSG0aoVln1XMu0/HrkGXH29+f/NHldPF9niAWUEQguvPzEaii
H1hKWD1LchU+tqLpfxKF1r+PNL38oLptd6cIomH3frfGH7vez5PlqVyv00DgSnPQV3O5iuuieq5/
tbEdvt4e19rXZ35YHCLUOcKyei7CYKPXd+078iGUQuCZED7QhJM/LzeaFcVoWODynnv0CgY7VNbi
0aUh4LJYFbKFzNTsoCiepKaSytIP5ZPgfhCV1RWYXrGzxaf3k0Z+gI6+bOPZEKRGRnPB9OTnGls7
L+20jVuixrQR48Swjt7YBJ9452Ub+LvqJhd4ZWysui14dbt0PsU3aMKPzLXomSi65YaT/cqOkWgi
67UitBG92QvUUU9RK5tbP/PNfWHFAmIQQ7yl4hBuekV+8bpaezJdTTiGfgpyD6328bW39EG3pUz2
jhW8kBwlOQMpxSwcHzq56F6Tmju804MOaEklGMKmKsVhm5a58eaX1eR0dbw6t6BxJZAqcxboGeLL
z768LRS049/sQS6/P92/Z+4qKPOuqvRpCYaXRP2iaj9un4PrIPHy+7NNVLdSmCaqID13cSA6XVlX
jxKICUQXxVaBrO7LwRPC4sWb3RYbioZt3CJ04bni04qFLzdDPRROM94Z4SezWLlyr8/G5fdn01aY
ZePmDd9voetKuI9+xS8uwEuxwLEmhpmyTfPsQOV7fdejwA28+WMMOkPrEc5DxiFG8U14LPyYDpDf
hjTZ3l6vv2DjszNJgoC2eximI7SFEP78TOaRl3gSIiEnV/LRH0hoRJ0PiAJmgT4Idu8O3ZMUZeau
aMRvYRslG9XVT6If8nuUFiA2mgd3BV0qtklqvvAGjbZK46F6loz1Q+s1r0aMbtnt3zyvUV395ilq
PdvEEjISmpRo6SlXcxS0hC9W7T+4hfSFVsX7Umk3KR1cLbU/mon2AUTQphnlu9u/YbYhrn7CLAYb
LDeiUQXTJo7fBOFeQZjvfzMwu1C01u9Ffxpj8xklrSJa+fwsTv3P7yeI5EE6bYB5XZZLIKlzVFpO
WZGi2vSYJx8b7LxjDGdGpkk8W6cypItiIGIEHcFBh8W6snnXBjG7TwKU7qp4GsSk6jduB9QK1xo1
z/zZ1TzNthpKnKYZdmJ6SrrvYXOnSsWuKT6ofraXhTVc4TztdWVstqlMYBSyVSqMZ/heCQ+uliPO
8DklV5vUr5n1jATsvlL/tKKxD7Kvobe/vVzTWK5cwdlyzbZcL2dqLLqY7zTbUGBg3sfRduxWXOmi
lSkpCVkALeN5hNnFmVvEnZmexnhDlzYpP0QN0f/u9lgWtwaAVm5QcsZXFDDdFTySFRyfKtnJ0t4q
9tmaLvKiCzgzMZuucczQqDP19IQ8Z9R+s4yVt/DSRJkT6JsbbYr2Z09JJIeqwpeqjHaHz2p/APnT
H8pw5eJc2t9IsShUN3jM05Hp8ogiZuRRQWIQufncjg+uDKMm+xx7n3pkem4vyTQf8+1FDYXykDkl
XeaPF7WRlVSNrOxkILXoZR7X2yevu6+Gn1l9TLQVvMTfX35lTocvQbUDAbq5vn4xkjHwVHZz7Nat
rXc5yqphqpVHfltuxz2ag77WRJuR5AHyZWa1BcjYHZIOJRxXEOKjhcwLmodcKWaX+Pe60sT7SDPj
DXi3eCP4OWJzjVjkn6pc614kmqzuUBQ2niqtSD+KVfFJC4top1b1P9oQN59osGV8SnU93Kay2d/1
UmCgsFqlhV1kJtppSPb+LIOwpnNb4R4G3YVGVZNFKPMx/QRZulqrR1zvX3NCPrDFkOekCD0L1RSk
P72hpMad9p/d5BvY0BX3f30GLw3M3D/gETMfAwyYwwG1mS0KjWK91rxs2QgXGbhcUgj6LDJDCS0Z
9doSnUFNt8VYb0bho1qtXDTXRxE8AzisqUUa/Nt5FZAWT3otC01xYlU2iv44pK+V9eqq2coRuV4S
WSIjif4YsABAgNNgzy5MUa79VmATnDJzk+iboV35/vVkXX5/GufZ98fcqP0+5ftTIt/cW/3OSldg
IItD4AGD46LrPJWHSxO9RhdCwXKDk18b2wpOmJ+t+MWlQdD6YyqbcLavoHGJnou+WqTBqTAfgvCQ
ptsoWXmFrZmYufbWEyKkpZLg1DYbOUPDkMfqyuFYmqfzUcy8+2CkYq34jEKv9nWCoNf2trdd+b45
qyhn9BdUMp2mfmr8x0sSNHZXIuCVOZrf470x6CWKtQEptS96/qcty424lqRfszE73GaRa7IRY6Mp
NuKA5tq9uhZDSgtnm7uVI/cfsZX5mRvQhs2FQvBPRob6u5Rv6IRLw52Q9o/ua6LIm1q5Q8+98X83
+i/B+p0GR7/ZR2W1v71gy2P993fMzqaltJWLhKd/GuVtI+9Nf6u37zABoZV3HvoB15BPgWTJkNdh
cEKxXNEPrftSrrFwlkZxbmJ2/I2ybY0o8gPeFRsRacL6uNqnc2nBzk1MP+HMibm+WpUCko2nwPgq
JTshPRrFRtcOt5dj6fycW5ktB7eB5AmJx1y5ENCPxVo3j8WJAulBlYMeKFe3b6CNQ0g3WP+UiXfI
vuboO0q7dwzhzMRsLRQSuW0Vy+zsGn3FjZke3/F92lOpxI1giNVZAFEJUlTUge6fPN0WRBS2V26r
xYU++/7s91tK3mSkw/xTYz1RHA/TJxN5quA9h+LMymw70RBEC0pX809avJfDhwiPb65V4dmRl6Eo
0e6Zidle6gZEtsrEYCG+0rvNNDfAZ9Nuxch0YdwyMns8dmYMvDpltjo/3Re1iC4V4q7aj0bdNcYJ
Nbs4+/i/rf/sltR6X/LBu/inftijIR6uuebFI3g2bbMrslUgJur99H06lCuO/sbOfTy3L5ZlXi8X
gtQyA4PvI5tZ/Y7XFH9Wfr42e1opdWiUZciCjLJdfNX/+Z8mX5tdjXJUKya+1j/V9b1W7FflOBYP
H5pZUN4o1wDru/SydVeZxkCHxhN1V61Am+4pQFZZ+fKOUZxZmW2hvvONTi7xgpG50RKUtre3v7/o
Zc++P9tCFVpumWeI/qka71onTO76bsXJrszTPM5qMtlVq44RdMDSKCnTU6f7nbtf3zwOygLwQUjV
SlPO4XI1ijoCWt573qnO7KLf5Pmhr1f0FBa2K82vFfKB5AJ4Fs6WAihOoOZ+I8Ced23L+FWI/Yqn
XZgq2aTXB/9h56pFrai6YsT7xHX6TtkO0YMVvhjdMUGc9vZkTb905gkv7EwjPQsQJEUwW4oQrhML
3ylz0kTjJFvZVqefS198l7OViZtOwi1zswtENr2e1g2YE5WvSei4/mFIvkXqB/qbrlyI17t5wnBS
QoOHhcbxHGLvIpo2DpErOpp+pKmCkT4hYn977q53wWSCtBk5gYWkk+7xakCgSXJSeWN46q721yLE
FQtz+P5oxmGV/LUQfJtacKyl5ZYmCaQKoBWaXJFhnC2HVNP9JU17yRk8HRyU9jFPhqOQtYfbE3W9
6hDN1QmzS4YRPPLsROYhzArQe5KTodxDs6aDUOa/JLfYdcAii6pZOTuLo0L9wYKthXjbvEwz5v2Q
DBWjSoT2Xgtc20xF+mP8vD2o65NDxkYETgS5ghaA87cQ2voAiH1ihdLvH8Ki+1gZZUyGbPzZudpD
Oo4vpv/2NCc2KcpPa8XDZM7C8f3WKsMuhkiQIKU+RsmPAe9Dv6ljqUTBimtY2nxgIf+bLZqFrJGi
lFqY+ZJjVXf1+EyEdHsCF78P4h54OvKqV9wUTW+B3ZL4ciL1JQh+xhQmbhtY2gcoqMqcTVhgV1Ij
SKsUILE0mPsBzSVM19cP9JFF6q5V9JUttziWKTeMFgiwj3kEUHRdLrUCc6Xq1ZYC/EZT3jNbZxZm
Vw69v2VvLEy2m5i/+GH2Qml1Lcs5Z3hy2bC/aDGFoAll9SsGoiJ2XSTUBjOm0+dbDbkBfPEDOuuv
gq/YhjSqG6+sfmcjFBnfD2gJmB3dXLKrULD1It/dXr/rOxDOlQSAQ4YMBpNv5jbkoGnFpod0oimb
4rMAAUhyivEdK6dN6p0QpVTkq2a7XBwGo21cTXJCxU+OZk9nvCI31qgRS/tDA5I/aRWQQZlzFiKL
xtoiTCknoM+Y94kr9x3b49zAbK7M3G1b3JXkGOGHoH94I8b078Y4/7x8GSaUquZF5TBKzuiCS9hm
bw5tWemz6ZktQjG2WosuluQIxrHN7zJx5fuLOwmUIS0OEflW5sFAk/dplDSqRGu9TV0cKuvZkj7Q
GOf2fl1c5DMrs0lyiwQKbKrgMItwKzXB9s/t7y/U8pGIgKRI4IcC6nWVS9BCYg6wIkHyRZNeUj2i
7Ynjy09ykH0oaXur1e62jXvaFT233Uqed2l0KP8hVwqAD0zaLFbI6pH+0XCUHdNEEdVLt8fbo1sK
EgycDjRLA5D/PEdKi8wsjyXIn1GfuYGtiWa50YSo+dwToOxbWUzvNPpLrQSkSzsDdw3f2gJ4fIVB
TUOpqRpgVU6XgkJrsnh81CqqX1mtNfcU+5qVGuKSvYmTSf0Q+dUrtYdgiHyl9CoRX6Yfkto8VnQv
0/ehuzKbS6t1bme2F4cB/Hw2FNO43K9jVB7p/vL57Qs2UWdYLNpAXQVABX0lR0tC5cUdsoPmh4/o
pdAHte0fY1l7oB/Z23NcTNmZwWluz94qsS+FviliMK2+au19phfbfPjUqt07fCl0dbDNaOVAq5x7
I1lwi84QRQTk8k1jbcQx296euqXVAcxLdEVlH/Do9O9nI1HGIafgN5BnCmhBk9Nb6O3VKwIbGhDz
NqW/GILhlxboVRp42jjt6y6HP+3kukTTx39uD2MhwDo3Mr/VhrgujdDHSNZBmyVGprOtAUBBlvfv
MTQx/iaw7RU9O6QDbZRM5VerPlbCL7d+KLtPt00sLAk3M7l+8GTIVYmz+CqKkiAwhEhxEvWrZ/0G
Snb7+wsHn0cWIpk8tqAYza+gTKrHUhAg0IfZY1l9bYtD5Gv0of5428zCkhAuIS05qS1z3c32blsU
UjZAnHcCeuPQKuorfTPeYQEmsAz/T54Cp8udRcchbSBXhBJAn++CpHuse3dXlGu836WBTGB3dEzB
eHIpXJrJpVI1B5O7bhQexZH+nWO4KfOV8ujCokMsBthFiQKU+Pz9m/XpqNQjd5qbPYnDU/z77VOl
IIFFzYIeWLC/L8egCxb9aE3Y9zE98miT4iS59Tq64oqvX5wqri90CxBnwdilmYEexGbfdGytVj4M
QruP8vpr4Ecr1eql8APhBc2UZNj4dMSZxZhAU6NSTz38r2W5UwfNYaPEwR2ojX1El1K7Dv1j6tGo
KB8/pGX2E6WIym5QHL09qwuBAj+DHciM8nKcw+J73afhuRWi7tH2+y6m5bGWfG5C/Yvi+qTvh6+3
zc1VW6fYF6wPZ5faDQIwc4JlC+/CjdsasQZYffsxl8JfTWm19D63xK1f9O1usMBn9boQfy0bQ99m
rtqVdkbn43f4ELIok6QadJYrgqJXmiUEAH6J5/c2tDx7cK2Nl8DvW+PEziG2/xm0oihoNWHoSpx+
0BK/qOjL7Mh61jz6XvQlEnqP9opR4x9iPcueYkHR78VSrTa1q5vbRjDe8eTl4POkBtYFlH/uy3Q3
pu1uA4+5r/ydYuanWjHeDLBjbc9MzC7itIMOVSkwsUkJ2Hr/qFrCtvRoOOitARaXXM30/EDjC5YQ
MOLLQ+qPFq2VpXh06Avq9Xb8RtXbvwtGcMRqcTBQaZodzqgbSVSN6F92m9Z7MsSVOHm6/i4Tt3QS
njTdUHaDajh/Jlshb+RWRmNJinNQYd+DWNwV0kvieVBkP9Kv4PahW7ot8WbTPMELBFV3OVu0lvOt
1C0H50E2vuyR7vny9u/D5tVwINRkIaFdfr8pVOp/UT04MG7rre7/H2lf2uO2jnT9iwSIWijpq+Sl
F3dbnaRv0vkipJNcrRS1b7/+PeyZd2LTggnnwWBygclclbkVi1WnznlejOdU1QS6suTYXQZuGHgQ
kbQ7N4JH3OTUw2yHIMyJvmTN6/UxrH9ekFbgqkccJs+RFfdUQ080FE6+l/Z9ipT9dQMra47f/8eA
+PuTKLU0W60pShiAK9g3RoNRDBvP/WLYw3YCIeJgxJvrFleHhG52NNG5opxmnFtMcnec9bSwkVPd
pvGeKa77lYsSGTQb4lHi1OOdef75bhyasm06BxpV0BMPhpcy+4sBnFqQpiwfqoG2duuE5fIrR7Em
NR3FoqjGIF32fRqDMLJtnLCPtoRs9WbTKs7GugWgT0Hpjv84YpFOlt2MTJsjq+6ESfuA1CzPD4aK
KHLleGMh/pgQP+HEhFbW+twi8wY4peczTXhDK/9evt6+m06tiF9xYsUuXGNpFgwk1e+cYm+o0BBi
u0g+EcKJUAggIDoHOkX6vkd5CdRp4YR28oPyB1BlV+kP661ZbsenoZqBagISFaLcIDcgkBKEO27J
nXAp3lrtt1fdnpQ4+7604lXdEwp/64SROwSjvm0BpoysX9WsuG3XJ+zPOKRl71pIFA0DxjGS/WDd
RQlkk3fRu9dvry/86vbC3UFMNGVaF7B5aJ1oMxI+NNTs9wL9Z+4xt4IbuxjFhYtJ+2NE8lV11Bul
5UY01Dv3a8KMO1CG/rg+DjEflxvsjwnpMZfNhp6ao0bBTOW81UO+i8thRp+RqqFqze3iNgQXtFDc
gLjY+UGZeAx1JbAHhBr353oTqyhHV8YBvk/kvEBsjIhSfqDUCxRxp3kAkZq3t9l9/8tRUQisjADl
MEHFjsIYWoylq9aw2qEbQQcY9hAU/5mmig21NgBwJhMX/zWAKJAuDlrrHhRibdyEFYDxWR0kDZQL
vlxf7csxeLCAmw++RFBZSmOg4IXSIQVshO0UzKbvDffXv385CMHAKKQZBffjBS5igSI85MGQnm7R
3QlowZYb+T5O6M2HHGYgByLocxHpyjVKFzh93hDNCOcJ+AttR50XRg5dvjf01+sDujzm55bEhJ74
96Sjes4bWNKmz179wADUJgBTQuf3up3LOOjcjpjYEzsVzTTGCw9qKiCEscxjXxd+1YWTWW6a5tDd
jpJBfwnq5QizTexm+bS4XmPFYFkzQseJsQsgmR0/QYLSN5ZP18e1tuFODMkpFj5XhasLQxFUkqf+
ewMg3HULlw4f8BiwKqGnSCBy5C09oj8XJLm1DcbYerNYOcR8svG96vJdOuTvxjJ+u25vZUTA/SB1
K14pl2JuGsgih55MU+iMzq+CwtU42c1lEOFjoFyBEikS+DI5GDG5BVI1awoz+1OysxLFmqwcUoLA
iIqHD4JUU9prHYRujSTG552veX9okqciV6zJ6hydWJCiFtvp2cQi8GdHee733edZFdytGYAWs/Dz
+Af82flx0RPXSU2jBB0vFO6rjvpDfKMOFe5eJAVOTEhBMItdOqEZExosiBy7ZTMiP1iMimzLSuIH
ViCMTZEfBI+avNQxn01j6LGbhvYeAvGl6Zf1nsb7WAtwHO15C9EEqipyrMwe6muQGgXsC49GQ7pq
4qFhedN1SHUbY+C2PVqHb78HYAGJdJS9AS6T8XGRNbekNyFoUMbvblIC57UZ8v31g7iSP4JwF5K3
EJYT+U/XON8ERWFGRT+gVlNVT7M973K0aOkl9fXiPu6fYv5QDOy+4jcHsrCKegfS94JZRs7nItHr
JpOBJHubQwh2GX6OtbXVS+s7iGhuToPDFHrCEJGjQoRs+PkAjdRmRO85kq7eXTn8HsmzdiOxqtjl
Zyakk5rlFXpr+hr51k7b5OP81La5Yi+s7TawAOD348bGg1uKOWqNkTrXUuQ2syEGLVj3bOgq/taV
6xOBJZhxULdBfCOXopJyNBehRx1qo7djXnFktRtQBkLKOtpEBCrYaVsr3OjquFA8QFoE7SoXRzfX
MjzzS6yO2cW+jQzlr+v7e8VNYzMhcSSIJ/CUkHwcp+6Q0iqaQ54+6XUOGerMH9LbrxrwfuDjCGsB
YZQdKSQh3LyNkdIrQCeUNUvAVA+llWk6syD50bldtGwgsIAVcd96VRer+NfP3y+C+8xD3wZSOpA9
kzZwhfYao7G1Lkzs+oGz1PIzwkEcPz/XmfHsxjX1c2JBg0SV6FkbF7oPkQtFpxKISCUnWk9Jw5O+
7BFCjUGbRMF4OzYJQ8ODAuBZxAFwAufH34zobPVz0odaN/p2e5i1/TT6pre9vs/W7iDB6StYzFEn
hq85t8N1DaAIDXZMUAD2fKe39EnX7prugbrLHemSTV6W+9hd0KCo6ApeCa9NkXLARYt5vMgoo161
aLGZ99AledWWPCj6h7kHsq24HRyFuTwxJN0Vs9mJhHnRhws1wcDM/awAgez1iVzbESa4xtAwquNl
IjeIozyUOllVjCErvmo5oGyKs7o2WQg5wfmEkAcgV8mRFkY/xVWOEl/N3F0HX0p6em/GLtQvFK5N
7Cz5UImrGxoMKMVdsEKBLNgG2XM5hGP7aYnHbV79iDUUL6J4l1Zv12dtzc3hEQJ8K16/Akdwvvss
i1Gr7LD7jMS5oxPYhljGf2m6rggXVq4IlC7+2JF2wNIOZIQuRB+m/9K4fWp+mt+7kT/VP/9iFyBR
5+DaJsBdUMltdzxjhVlNXZgPG7AxqlSc1qZL8BGhUgKRVFPubxjzlA1l2/ZhPxfhhH64qG4+Oa4K
2r62l4HqwDbT4XuQtzlfFQqggjEyivOSJ5vfMVG1ia+5bSQ1wZ2FzYwCq7zqPC3ImEZ9qJchz/61
hq8I4El/qNCPlX13yt31TbZ2dLCVUSdHelPI6J4Px9XMpiwK+JmoheBg8tZUP9mCwrEqXbBCGfLB
kvk/Q2JeT97x3ojattEKQ+zZbLONVU6HZYnuTFq91mbv63F3tHK+Y+CqCaziVxbTDRZZsQdXyuj4
GRR5dTxURZu8dHW0euUunY7LqTTqJ7vrnsa0RBVXDxqboum/23SMQRQjP7RD6fmAjd6lrvnlL+Yc
vgrFEIQwFw/zaiRew3scOKO3fFbcucOL43zjkUqK8cNDyN7K9QQuAdAt5GOlvTTQwp60CB7EHqFg
HZePfJ6+VOOADshm9PWZblhmbdLyq9vF71MPiTibQQl9KYNGd38aOlTd+PTcuyhpEsGWWxwdRrat
rmITWDu6wP2gXcCCPDleEOd7oy9jlNxTTEhB73h9yNEF7ua3A8sE9ahIHID0Eik4aeWRxfVsgDbn
0NKfSrInP64v6opfQNoIZRuAykCdLceLHKrqPZj7JohCt3711Z5vBxnjwQj3hksUEE3qiEk8OUAL
GMkiu8Tv53ka1MiHKYn7VlyPBR1hBDwfKRa5qYLpeVzp9TiFWmEGjsuQjn7p5p+m/SXR36P50a0/
/8WcnRgUzulkSHHFvdyN8MavtYPWGr7Lvv2NASR14eGw7rJ3Q40T9IqxPoW2tW28zfQXGxevUKCa
EekCweRIAyhq25oWjw5hNUX+s2u81pGiaroScMACdq5jACSPx440RUbncqfWB0i/ZN+0xdt1S5f6
HoCROW8Tf7BV8tgrF8KpwY/cwsmaWFaad2lDhtCBcE8x7UB6HVTpZ727/Ql/ZkfyTRPPnbYBd3qY
u96TPrsPTdJ/Sbxmd30HqIYjBTcNGY2yHJchjEck3Ixn2nwph7dJxeK0dvptiMngXhFym3Lm0KAg
QOpbRKDQfl/sQ9QqrowVD4keGvCBos6CWo4MZuPLmFV10k+hNQ9+awDCAuhH+3Z9rtYGIeR3QH2E
OEqXqaCpNf/3OJZLCunTT5wrqhNrBpDSQz4a8Q2agyQX7CVVoxdjM4Z9gvCyTfa3//7Tz0sBZuOa
fcaXdgzrabM4Qa6KMNfO4un3pbOop8DZLSO+71rQA/ajck/IQ1VtR1XJWWHIk+BKY8MpydCsG5rt
pimgoffizUFhIwOqeGWuG0LvjYfH7WWJoHQ7W3MTPoYUDNCelQYxVPxy55MOFvupV2yvtT0MzRW8
nEB0dcmoO3IN/3s6YfWXtyr/7OqHylI4FbECUsCD98X/TMgTh66FdvLcYQyXNt2D6mzq0BgYNPyx
qA6Upv6o2hJr7uXUoOTFmtIibb7AIB1+sOJxTA+8fiuI4hJYnzmhjYMa4iUjsDY7FrCy+hhqHi5l
tC9ZCbi00XLyF+cHl83/NyOdH9S4owJYYGw7vllshEhpf3/dwur6oM8D+Sj0hqOJ+/w2g2IDmZoY
DqBu9PERcIT6CWneIoiMpnx0Jocgy6YPd047e3dJPtt3182vzSOCf6Qmgc6+pBC15xz5/QltyTz6
TPQHc9oMqr5KlQmxYU6uz5ajAxcAXT0k/G3O4w3xPntolbg+jjU/+oFmBKDRuMSZ06kuKWsNFBGc
t3bT64pQdq1+AGQvWl3FLF0yH7rROEfV0qO3Ggg9u/YhuVH2h7n4OduZz+kPCzS5Tno7uMpD+yOK
PehmAemynDfkZgIxFWPRww4McwFuo+J5otZwXCpNRegus/eL7L5otYRwJWgEQAkjlvF0mTRAjvUJ
ZRh3mHdtC1GCF6T7d0gtB3az6cgSFHC85tj6DZLLGiQ+9AcKJYlxW7LIt8h7NR668qfeo3sov69r
lUIGWTspaIIR5QFE4xepR7fy5rIx0aq0WPuocwIekaPZ0wDPZpDGHqx0j15XRKZgAPxhW/d5/YLD
G1gTwgLzZRjuEZBsqkKVsjbEAZUdLMjWkZ0wgWbARS7Nm1NGORQddfGKt9jBS12/0+90bXxh/F0r
sxfab2ub+8w5TPVTyt+XhAHaO/jV0uwj03vo+8rXmhiy18exz17clgRxOyr85fryYvoEDAKtq3Lq
rM1LCNQSLG+d/eO5iT8vz3r3aanrHdSAggpSQCzaNtZ91P60ygMzH6oyTKYEj/FyY5Bm2xQ0sB3o
vPDIR5b+hWYv10/wipsQLQ8iLy/EUz96gU/2X9S44xQx9D4MbTt/mkHnfRAyH1tazipEg/Da0pIh
34G2HxGaAksvLVkWD5rdtFiySmurQ95C73DKhvnBnoc2cJeq/eLmffWp0TxN4e1XLX9QaCJ5iehC
7PGTQdpGbpMMNZZwdMEURvUNmZ/b+bls4t0IsouludUtIk+O7B/ATsDpOxcFyJLkmVVlrAtT99GY
H/+9vmQXVz2+DpEJse9REcLROh/NvGjWqOcE9RRue0HZ54kPfG4fQAE3vQNfaKzo+LjYIpI9+SYZ
a60dvbELR9BRTkVi+KUORAKyc4ppuwgChSFRKUI2SigeSJeyAGrm3Tj1IakHGoBz3X1E94Ppu1r6
agzJvMd8q3BKq5MpeOzQ0oIKzoWv94qemdTqQjIdWgsCfNnjwl/bmx8cYmgnZqSIBhFFNxgTzJil
vdGt3E+mt+u7YmWVUMTD6RJpGWwOaY+31CwqQpYmdJbkn36pi09ltZDA9CLy7bqllSlDSxZUfNEZ
KbAv0jl2GQXWMS1hKaI/wDd11Jh3H43Fdih6FefjyqgsAP+BtkO4AhC6NKoyXYgT13aNfrwX3r8U
xb3ufLk+HIUJOc+AflInYxwmiPbQQjKtJs+jqt931YYBBh+KgyvyP+dHlqG+maR1VIVt6ozIlbBh
W5GieGbR4igO0crqwCU4rhDpRWOxvA+MuJ69jlcNirnbxb23l7t2uJuK9+uTtnJUARZA97KAhiOQ
lfYAiyok6GjWhN7AbObzjkx3vQbZCYJUyiPvkuKO9kuqAHZcJs0/7ihBKYtKMvKkkoeIZtanZozB
FcMD2jaq6LFyjg7BeT1aqLd03/L0GNX3zFUcLku+uoRdkG+jHIJnwEXWY+mLcdYM3oS0y/N7qOgu
geu4qpD9MtwFzwWOMOrJohMRUc35NqkdqNKPdOFh3HdfCmJ8HQwSDGa8iUArDrhLvkn6akNqew48
KIdeX9LLPWoArAVOYCSNbDzvpKNGItBQTvrIwjgbNrkeg+ND929nS0I38okV+bRZJuN1rC8s9Er9
dUQeLFrc7fWBiB96FmdIJqTDltgUXH4jYSFl/878U49KNfhe9lb/1MffqyR0bkboSAal1F5SmYaG
BwMLEzPwiONrt6oY4W7CrOG4YVug5Rai8OcbY/GqunU7WOD/No+F4lRdbu7zj0s/P+vc0s1nfDw3
HmeyGaJP19fj0iOdf186tCDIn6D8gPXQ3If6y0zvWHZnVXfXjazuXooEEqS78SeRLtiYelpstyYL
M+chbg5z8khtRXF/ZZ5EXhW9F0Lhy3bFOE+iyLb0ypxmCQt1MDf6Q6bYtuufRz0XUB9gfWTEdJNx
i5pazsIJ6p2G4y+JKq1y6bThVwSr5n8tiF9wMgBmDAMQf4yFhUF3UwHXwpK7KnP2hEaHeWaKdV8b
EEC/KEYB/o2AWPJmSdpT3qL8FHbc9Uczh6p2cH3RL2u5cJJI44p3KajLLiJGPeLumE0TRpRHj5OX
fosXdojsHvzW+qPWaUFHi71F+oeEaFuyTMFU86eUdopHlNhcksc5+xnSxELyuPV4rrNwsYc8SNPp
CNTotuXd3gGTHiD3v9NmUVxJlyzMH2NHqydiClCJXFAJgNTX1dqBhfbghJNX3CVteoBQwK4BJ+u8
sC0EUZ6mZPaJV23MdgnyKUMNOTsmYJ7Vm3xbo1/Zv74gK6eQQCASGo42gOsXd0jfey1dDL0IydwA
WBGCiH9TVKoC5IqDhxUPtTSbCN50aWN1Doecl+MUgCQdZhcKDMck+5SUNKia3O/GT03+z/VhrRrE
iwTMTaIPWYZCoP1GW9iQsRAqi87Q+sm8qx3PT5OnxnL8ttKRSchvd2ggtofYOdRmVrplNI0vQ9bB
HZj1XV9sZxKjz1uRnlhdrj82ZOh/zPH46SjGlSCd5iawkH5PF5WA1ooVQcEI5Cd6AETC5tztuAuy
sJQ5ZRiXX6f6a85ec+P1+gKtuJozE9IBTBfLyclol2Gv3/02vP31r6sGIP7+xG92OEyR3mAAiXGg
APpCAkzLeoUvW7klz4Yg3S58MDJi1jDSka+dzvYmy8GxNQexisNXZUg6PXXTNBPuuDK0ez8xNzFg
hPk9M1XbV6yq5BPPxiNdyFZKzSUvYYYufZDnv5wCapU2REeTHdLfW6d4d2rkDqFa5471vqSFT9m+
HKGhzI9erwUFol/9oLPFp9qhXiBHx9/wuAnGwfE9L7+b83HrGrU/gYe4vDfYzki7LwuZd4u3hZyI
7xm/QRzil/nXAlLKpVEipbWpHbKJZ32TQbPLtX/pwz95Gft59mnW3yckNjpuANHw6iVPOlHdvit7
FEcNmQ1RQr+UK0uHCXLmrKwExoAafNvamWLO1y0Idk1DNMvLyUZuz2VF7bwKDTIFo4seQRUQdeUk
YAx/LEihYox+75k7aRVy8mWI9un01da21w+bahCSt+i7wfHcpqhC4r4bxqEpN9e/v7L9z4Yg7J8c
5qFr9ErP8f1RfypGYGbv52UXd4rTLHa3tPvPrEguQ6d2P1kGlsIx6SMSW34c7REL+bTaadq49fr3
66NatQd2ROj4IVNyoV5Pcr3QdMPgQPCzoIoL3+GhTnfVGG0M7TG+uUPfBqQatxNae0BpA/TY+STa
yJhY3RjxcFrMR6t9K9jNJXRhAbV/kHZCbRqQwHMLs2HiGRpXFR71h8zxOxUkbXWbnXxfGkE36x26
YDlOo/3NKt55rgh+V7eZoKwUHC14T0vu3Cz6ZaobAxsAAju8/5Qa/xQ1ig0qcL3KjuTNrREBcBoR
2IGHS51+X/ePkfu8qFSvVjcYBYkFlhuhnYxA17I2BwEOrcKc+qj+tMtdSfwq+6rxYFG18a56mRNb
0hElLDW9mGPuotndVWzZ9EN+P7Tu7cGqYJv835CkM1ouFXNTA0PSor1b2f5UbrpMRWkvrQ9qZjag
xsD7Ac2Cjl4Z+FVmcx0PnWcdbXOYN51Zm8+Glc57yPiWh2Tq6xvpcv5jEOQyGBiumQtyYDRZa0uN
gtTRKDZUN9Bbf6OH/rAgJLsF9RAe2nL9IScuiUFCax2rxHwhM8pZWqlwn3LDw39sILyHBYTAQDKe
H/8BAlVR3dnmMansBcQQ1vSTs9Leg6mnD8jQ2Y92PkJWJqkNEIcDAG1HcHWxa9eKXyIXGvFLXCjJ
gdwbtTGUc2SeKVQZZ7PwmjZMUaLnRokiYunXUbZNpq9N9LjEexJ9G+j3qMoAHb4bXXRVZ5/d4XXp
Ep84LCgA/Bitf6diumcghKrqJ2tQpO7EIT+5bcRsGQLJ5EF1ABpPcq9wkltOUcU2Oc4cQr+J33j9
hsfb1ttY+m3X839NCVyWA88Mw+cL0zYWnpKmhRowBWPlC1GBYz8SNdJYAIhG0zOOpgdolmQAVTOe
VGVDjo2eswc9s+qd3Q/DS0Q7sgWQ2Jz9vmVp40PuVUdue6QP2eySXctjw7e02T7Yi9ftGkTTzxOb
my23k/hLTJ10V9UI5W9zIvL2kIE+rcuHjvZdG1btttI23LnrcsWUixGfz8jZDpQJhJLCZBUq1y1Y
Db7yFO/BzG9VqHiVDem8OXNjJY2JYUD/0eDfmdn5gwrhL10h/50qkKQjCkbxwBZ/fxJ5afOcDX2d
taAtT8bnmenaMUM63++9EbqWCzc306C9zqxo7q4HR5eDQ45ANGmj8fCjIfnccNTOrdlEpnm07N1S
PSDeU0riSOGEOAjifYsSP4oEggrm3MSSolBboAZ3zIY9Tzaz6g0tVz6EAfQKCPCtqGMj6jo3AP3P
uamIMxyhNdFCsTeqXyFHmBS+x6v8k5knxpeloj/nOeK7gU1kD46K7jmjDLw63ItULBJrDhotVGit
BBMNBi3jVvTO0ca21sZjZuX9pur1Ylu6g9sApjK5980MrW8IsyYbN/H6z2gq0vyxa22EwU53Y41Q
TM3ZT5FCLRt6zEat59Nxae41bxebB1NVUlhZXvhWxHJg/gC6Vu4by+Y2mccGJuby2ZxTXxver2/R
lTDh1IAc7uZLFhO9hAH7M0gVO+sOFSZvVJwDxSgcKeY17F4bpxxGNM/PGhDB3uwLxQ30v1lyJCdC
ZyyxkZfT0dW/szSkyb5UCShJmbiPtRYWwAknToKcS0qiDmTDo94dm2IeLQg2MTb6gOqVv2rqxT9p
m8aQ//SWYHK4sfiItFRS2pfOBI8SAU6GAh6KAHKZzET7Q5J2Zn+cRqMPvDg+ksZBFSviN8/mmSG5
UjYvy2LnkdEfNbIh1WYudhNVBDeXcQMiQNQDkCrAgC7qjbbFJjwgQBA7zj4S1yVDh+yus156Ve5j
xV2cW5J8fzUuHV/MtDt6xj9k2drJYzu9GuXORh4mbzc13afdQ4F2m+vH6nLHn5uVvCb4n3oIn8Ns
ZtrLPUuo/YASsgpMumIFCr1gyAMqXpS6xJY5udh0kqTWQOr+CHlTf8m+MtVz+9I7gGfkxIDk4Vjc
TEtTtP1xzrU6yCttCFKIB7xqLB/BqWCqVA8vTxnCe4K3Nw4aeJZliWPXhU5dnncY0Gv0SlgANdoc
gL/ALPfNjYTyONEC3QEon+huB9uJNHnpBPGZxcmNI8dDv94nKj2rlblDzQv1JzwmcIXKZbVqzBl3
rMo4ju0hy3aeE5B2N79f32crTgFd2SjMgg0M3WPy/aBxEi8l7snjrN/V2SMzNkouVoUJ+YZoYx3F
NArwZV7gnRGkgFpYitOiMiHdD3PLutJjAt85Pebfh+y+UfWUrlhAZ5oBXLyFPy64XCG4p3GzLpdj
rrfWpizy+9IAvJXaKlbMVUNQQwHNlWAyk0tEuVFoXpbPy9FtqvvFMB6HmKV+NlNV8LHiQgWtM3JU
wF/g1JjnZ7+32xgMpS1GlE5bd3lt9Sgw0vLJSip1+lV4yfOXAB5dQg4M8g8IaC/eeVHSjtz0eEiz
zI/Nf+3oZeq+0f4+5VHg1DcmSHA0z8zJ5aGhTxfOapjrl++0uOdQewXB+60n59yGtOeWuZwK29B4
WGpPRXlnjZ+TGxXzLoZhnC/RBD3EMkmQrNTse5EVbyfF6b/0/+djkPZARkndGSSpwnnI9qDBjiBS
cX2WLp0YPJhIPgjwB7BP8vPCGGhmMTz+nGnU/Rm9dnFsjn5cObvIQmHlurWV8ZxZky5rq4umdmjq
NEzpuHXc7DmxlS2eK1sZfT5IUokXGbCy0s089AOkCVInCWe24S7Qxy92FvS6X7cvc/x6fTyXzgDQ
S0TtgggSvcIyxrMXzfh14qQAbui+Qx+aKvYdlWtbmzThAkASBYoORALnu8wakr61miENIX782VYJ
eawO4eTr0h7W0dzTZgRfB33Py+zOz4Rrz5Ee3UhyJ84KoKPAuKATwQLmTUq7l+nc8mkkaUiS/ZQ9
xsV9VmZ+rj0286ZxFMDitT1wakyasqQezN5pdbwUrLfRPuqL5htFGuQxeGDt31GbKMLd9Un8Mzhp
EtHki9YvisHlA91EUexnSM+lKrj0+kZAVI1iN4Du8m5j4FWMEfKk6CFv8tcqq5sHR+uJYk+vWQEs
AM0jQH7gWSrGehJzplVvJJYdpaE9fe6nwHO+XT8zqu9LIediRh0r0zQLmaG/GOytK4x/rltYW43T
EUg+TefmZDoEI4jZvZ7dVfo+5QrE1uXlDP4NocyJoAO+Ri5aOENaT2zAgjfdl658FFR3zDJ8CrkV
q72Rv+bj6JwaEzN6siKureEFn2I363TczNwN5p/XJ2ztuJwakJYcFHvOGKdGGkba58nexNmEQnjp
swoyU0nqp5oCHbK2BUBRAMwyAimQN0n2jGgmJd6fSRg9zG9KOk3V16UNZugdT/NiSEJTs/znqlYF
s2trf/rrpe3VLWweiYdfn/aIlfotspq5/mOIj7dnPVDgOZkmsWwn675YJUOTFAwdR+2nu9OKH9eX
XTVR0k2ZaaWTZha+D+bBegjo9vrn144hUnhQVoBG0GUA6/DSnk23SNCp6mzQ+bYpW2APTZWG6dpy
4BGLPAO6LBDKSJtpnOPYjYckCTN373kPRP9kknGvGWYwZb+uj2jlnKBugJYm7FzQNsqhBc+gkRyZ
cxyWKOol0bibO+NBn9pXUkH43tTvQa2YKUKmlVmEJBooAJEQFRUraXgkKvW69rw41OKN9u62e1tV
FF3ZBkJ1BBVEFC0RZEiXZc7cDgx9DaB1dvzKwMSjL4oq0ooFIOpFox8QbgCJSifSNLVRSy0eh1H6
ED94k8IZX04R4qIPgh/sNZAnSwfSmFJXo5bWhxWhvhZPdeC6w5fYULG+iZ95/kiCHSqgNqJ92JNf
ZBZjdDQcMCDw3DWf2VQOG+Sxaz+auLNvjEHV4/eRiLs0KJh8iOBLkkku7UUf9GaKhzB1XD8yuZ+Q
rdv9TJ1DVx2beNpq3RJ0ZHd9l1+uFh6AOrYaqmWo+MkQjKLHBWrZ44DW2wWybuUxSdj2uomVrJ2w
AaEqvDwArpV7SVxjdtI5nYawKAc/1sDQyANS3XHORcdZ0JfcT2PXn9CBazFNEa191EzkecVjV/CB
OVBUl1GXkFLqarTNdKHb0acpBcdd424ILcEanD3QpOc+2Iv82jS3c6lPftwgbUmZtrWggetU1e8q
tfB/1zdoilV4mLWtjG4xNFqJUiXe4ucuX2tnxhe77sJYN7WA2Zn9mCSu67dR4ylmYW03i9IzMmR4
9yOcPDeVuWbRgoanhTDphidgDll2BTD6Knmjtd0EzwUqKFFxvyBoSty+SLXMaENGp3tekE9EKxTR
/tqkUeOjnI6GWGCVzkeSOEOj0wRNkZq9RcuVP7S5X3DFll0bx6kRyUtCa7lBDqvoQq84DMaTCqR5
mRgVZUSsg4NMJahz5YXXO4LitAHuMNv1++Q3uiH9Jf3BLWdf6y+kCBs3VtwsqyM6MSmFF2xxvLnS
iaB+JOADI1+YqVLKVpmQIgyAjCOQvWFU+vJE7IfyRtEjRMZns0alla+i3opohu/H5W9m/qxUuoCr
vx9ZV5xG9OyjL+x8Z3U4pK2l5+C8cccgQ6tUqeqCX7WA9UZ6F/EwKAHOLRSFbtd0dvowa168IOK3
ySp9TBDY/tHiKDDtwEiff560jWMltdkjr5feMQttVw2aYJPhwIroNTGzHzkxNwrfLiZd9q6i2UuQ
X6CfTnYsaWzRpGUebOZ7b/oGATW0cPh5bPljGm/T7i2vmzur2V83uzaRguMTtIvo2UAu5nykI3US
omc6iOCKY/Jjml/+b58X5k9i8WRGn3fvLTifwAt3P/JW0Sq15sMQG1lg+ES+96KdvxN0nOaCw2g0
/6Rodu3tyVfqo6wGFKdWpDwFMIU9mQkmKXLn4kehWdY9i2L7S1032jNfSBlQSGH6QOq/pV6bHA1z
ZrcRJH3sSEEriisOUfSFup5VQr2vW0AumVuDX+xsTYXzWZ/J/xmQcTPu4HAnLtC0yekmMzaGu/+r
vXYyBhk3ozlxqk8TTpXVpVuj1TbV79t326kBaZ2Q7IO8Yo0xdM67/R6Zf/N5NPzhtkR+54I3ucnS
TltstMPHd8TAze+q8rxrsYWIXkzigMUaTAXnp8Wx85Ro3ozDmLzFc7xlbr6nxr3ZKMid1g69C7kR
wIU/+Dqk+4WOUPare3hPPXpOH/TqL7znyedl/VkTMnH/8Z66yx76sdi3hnekubHVq/k5ttEdBJK6
v1h5E/A0NNsLvlLpRvOKEgi1Es7Tu0tbhqBMdeuLqZe8M5hnoK8Jnge0/cnvSWgNR6D+8AC3dXS0
PLxkzX1f1/d6DxqQ8m8wbPpHqQzvJQxH2gdttYzaELV16HELHGLDXjemQ1mpMjJrfg1Z+D8AMGkf
GJWn2bRL29BhWVBbaAJ99spumxSGn1mhA/3QKlySbzcvFRoEEbSBQeiD5eR8kydF3ZTEhlGrBDDy
kVS/rn9/5RCBbcERGmkuXgS2dOWMA64cowdYOSvaIK2/tyb1J203pP9HO8KhnlxtXUzcMSZmFVrW
Tqc+o4fUAzGWIue34pbRWgelFoE3Q3Qgxc+VaUesrscqbPqgq+6LZRupmMou0zMuMgwAnYCcFA27
MrRXMyyzaSNs7QIUbzb55PIjeJin5p+E36cqzOGK6zkzJsUbUaYX+uLCmDX7FQlyQ+EI1s7p6WCk
1bfmNI/THt8n1YvH3ub6Lm5/tUaCAobi+bS2z4BeAFUlHoIiTDxff8gBVUbk6W1oJj+ctA1K1Msy
e2M2P6/v57UZw50vQnaguy/2s1FNEyiB2jaMOs33+/xGCnYRWaAwgg0GkmcU/2TCITTmWgv3sjkc
vhnkMeX3N/98ZOEA2BZvgUvFkRwbbywph1rCIaHfHevrX3z+IyUOmPWl2mbaIa6tMm8K4/RrnWbg
c/obA7gm0TECnMQFw8X0/zj7sl25bWbrJyKgebiV1MMeu7eH2M6NYCe2RGqmJopPfxb9/+ekmy20
sI18yRfAgapJFquKNayFTExgSqD3TkCjI2Qn+k0zrMys5lvAiQDAcEDRYrTG1sxwYJaeqHpgxTZj
aO6pwz92af/FzrtXMfmxT4HrOfLndCERCo5PRh38uyCxFQi8DBp5ZOBUsUrvkVb839bxAA2+xfq6
ooGXv8/RnGueGSaZcns6O8ilGW0bbbUErQlA1Vk5Vtg45Oyur5Iz+J4Q7TKdfeJHBXpWh2LjFFfM
Aqrbv+NntDXdpFNY11TzyMmE4Udg8Cxu9zEYq2PXDZGfF+jl60VyXy9XrAMEAvzXDNVAtB4D9ZZV
l+FE53PKQUfUj/LHHHR+TDHaKfr5131ha/v3O7cKACCQKPyGjLtwRZnV5gVIZ8GrAfrp57DZsHQr
PgjrUOwMwMYDYrISf/F5O3VbYI4GALZvdzXbzyRxtjIea9ulZiSRXFTgNbqbs+12CCpwzpyXxTz5
efU2sjkWIGkQzVYSdVUUcM/QGm5Yt4NTrCcBZuKr6cwc9rWTFDNG5adABMdh3Jq5XT0X+G30oIFm
7QbLLUNaMl0MQAz3bRntWvzj/rmvBXAKeQfpYNX0jazB9cmEDgxAOs7zuWgAlWWM84swuhfTzo5d
bskHTGTsJ7N4dZl9WMrq/W97kGFBtxHLGchGa4mwoilnVHsV8rD15rkf2IYnX9M61AFQyUMEbAP8
/Xptpc8MXs3LfAbdcdTk3w3nlL6TNe6371McS7A7cINo1biWMfG+XvCGBwb04CU/CNLZ9w9oTdcu
v689SFuJ3FUIbnikJ9iDHCrAZhbf52L6FKJWfF/Umq5hnN/8DdGuho6ul9K0Y5lJyeazS75PxdHa
mv9cPQ4kolXFCIMbupPCSKMwgj7EDR2fLf5k09PY/4FCqVz3/xeh+xmScx4uBUTUIQOQLaD+N1Rq
7TgUPQdwuPECgU5pe7QQk4jBW85uug+q18UCsNjRON4/iLWNwkQmaiToBrHRt3UtJCs8cNMN43Ie
rTerewPcMN9qPlo7a1h5UwE44Pb/NgsXBtnkS9eAz3M5A4ePxKP4eH8Fa2UmPJ9gj//fqJ2e/hRA
F51k2QFi1O+qrzNaUJPS8cGwRzs7MgZZ75D3Xh4HWXjJPNVtUtW8e+MiNDfuz8pCgcKKBq5QUdaB
9eR6L+vWXjCUbEnAlyDHFg5RxXf317oSe11J0IyYGPsZpIWQ0PF9z+OMfEzN5wIhzhhVxfNsbCxo
ZZoOnbYXK9JUMCfoh0uZC3jPrI+H5YtR2XvffQ2KNHLzfZrncbN8yIZlD+qLuLN3NO8BvZ1GhnvI
JnGoy3NjbHUcrFwLvGIQPwcolmJkSttlHxzWDjVaeESrea785jh4X7u0Rl9m+df93V47T0TpCooT
w+/Arb8+T+iV4VYOKGwGPsVutXPouGEGV27fbxYhYO2DjemmwygPgbqY+YhVMhIAOeKlJK8GbzZO
cWUZwJ9TqA540QAYSlvGbPcIlnrUNwT7XkbN9PXdu3T1eU0nmah95pd0Ql9RFveHptxyrWu/H8GW
iwIHQu6b3g8uJuHSJhzO/RKzvflOIiTlVQGP9t/nlb5dmCefLTbtWnw+A9iRcQJB88Yhb/1+bf/L
FqxhbZkCzlUG0fJNsq0C2YoWodCtkIwD9Aya+gEbDlJUs8gB3p7HIohY/TSIjYT+qgigfyGbD8gk
vFyvN2kRdjMvBR59vKWHGnYVCNLNH2SsUa1HfAi2Xw9999rLbQElFXVpBhoVN86jemsqfO0cLj+v
hU/Z4JSLDMl8NrOkqeM/uWaoHVsgUEFRHwMp11tUTv5ozFaBAHMAyCL+3og31o4AiXZw0SuMx5vJ
Zj9vJBrFXHGupxh8lH0Vy/cP/6Nig6yab2EgQRVdr5cw5SIt/FkiPeGa0S5EkP5uU+Hh4QzmNGWK
0GejfT/InHHyBnG2RDySiOUbWqpMjZaawNAb6k2gigaygK804OIq40noMVHihNPsRdpD1No8tulL
0DwxDFUVYqOct+KJrsRp24V8MShJ03TGxY5/GN97oIN7f7JjAEKDE0aG/WaUqpz4ZACYeT4P5V5W
h/zz/QNZiScw4YbbpoBS8C7SdHaYagy+1h0OXJjkCYlD/1jkQf/Tkq0TA7yB5BFZquwpk423k0WX
bzR13V5JpNnwnlEwLQokXjuwIiR2KlSuZqY/DTMSwOi/v8AtAdoRVeMwuCmxkAx6W6ynXDz8wedB
Saay93BOeo2wNk1EnwWeMf6MyorzxXI3NFr9vmuNxgZdCLCuNXoEPO6cBkjMOHwvph1nJ2Ed/mQN
HiJ01R9o6E0pM827YOABCIy614yc3OT+59dWgDQ93knAbkdfnWbUieMOczU1EyCY6bOYMNqOcJ0i
bybenfdBTkGpMri/QDeqv445R4MqAOLHc2U0O7+iBwN/i2UrIbOiUUAndHHiADFR9HvXJxIuPa2d
HPDpw8kDQJZlbCWXtgRo4cLALHBNlzYEgOxuDlKgrG0o1e9HnaZViBOQ4EbgA1pgPWCYsiHnYwgR
rMl3i/vWup/K/pc7f62Wo+GMUTZ00TIUcduX0bjwZEn5rnx/2w0iFnSrmMjWqm4IzRkgAVWTJWiD
E+nmKAi62HM3KrsrqocXrauQF5V904MWyx97MY6Df7JaO7JHvqsb64MLaoT7Gr5yYEhrofcZcQvm
EvWFGPMYOm3Z+afKdWOz6uJSDO83Y3g622Akx9AT0kxa6OKkAfiHQxacKq+NmsqOS2Ojcre2CCTm
YMYw4ATIKU2CTcPZICYN1Sy3GguZ3m/pEbr/933NkPmkSd1wYuHJWeKhTPov7z+Dy89rykQNf5qX
AZ+f21hUdUyDrSr36gb5wLZWbN0KJO363nfZMLclsGFOvKriqkL/3tYs6JYEzVdxvjRzZ0FCXr/J
v/DMvr9Ft8ERfCz4HIGHhPIZngnaAqy2r4M0x+c5e1kc8Bd3NJwAj+j9Q4PxyEGbYTp/sqZLodqu
occYc8e8CE+iYzEw5uJ6azJg7ZJfStB2bSgsvoQuJMhyn7GY9g/0/WErajBqzBDg2eij1e+GyFnR
9yjhnxbbiFwDjcPvTjTgXGCMARlnuvD3uk+xG0RHY+qf5rgRn4bs4/2Tv41Trz+veZTWnaVrTfh8
DewRJo65Cyyjh2Jr3ndFfzEch5F/ha4BaD/titPMtsvZqdITeFUt+urW3+8vY+v7mgI3skYfK7J7
Jwmc9G5vv/99iBcNOoyR6kFi56Y7D9Rk8ESSpydffGBRxd79frv+vLY9LEMWo57weSC0jGMUyMR+
fzR6tQBtg8rJLR05QgJmI8Zd+f6RASwAYQNyDVBWzItdG5AJmTJW+0MKP2dED05hbDi5FTVV0ICI
SfB/gCrSXFBAiZHWghPYv5pHdeYmVVOf+8GOUB3aCBZXZaGHQHlT1CL1x7rp0RJIZDPC3fBHP35z
7Y+T9Y1stcOsaSyc9v9K0RMaFpge5r6CFBlUiTeFKEf/wZHDH+HSwbbjoaDZV4G5CWqPc3pKvGqM
g2ELiHR9Bf99X7OuS5u7Rh5MKRBQ8ih7suUfOAhHQZ1iMAkNcehYuFYqjBORYsKUxKkm34P8O03u
24wV73D5eZ1M3emdPp0LmG5TPJXuj8z9YZGNaHptixR1IjohgVWP3ovrFfTl0Pb21KanMm9Ay2W8
ZEC3vb8KZaC1eB2VS2A2oIMcW+Wpn3CR17BKv7PqPAxPXYGpIOlnceWZO7cJD76V7YEu+E5YUORE
FXYeSk/wz6ia6nkB4Y5uNplYk0mcuAfjbAD8fbs+d/lG2Lm6sv8E6bUhWYlynAQEEfrBmt/ypk/s
Acxqc3gi6ZaBX7v0ignwN6IHJsg0XbM80iyOCWW2h523m46lfFr8f+8f1Zo2KE5IdMEps6I/d7s0
GwEYhyBOlgwZG/DFZYf7Ela2DIP1CEdUmvR2XGFMbWaQsvFOdvCZdccOCG15/pURGrnNhqiVxUAU
yLQUJJ0P/PprvWvGIsh4PXmn8SWwPrpbRKor54HqKbYKbWneLc9Z3wUkY5z5ADc1E1r9U9XNYzCD
E6jd8Cy/1Ui7QJ4yLwrR9Pcs2vVCLH+wy6CdvZOYmiWqJXsq8vpx9LwkL8QPMc/GA/b1s+XOyezV
u/sHtrZMDHUihwdAlFv4/6wuF4CL5/5pEvVj7hzz17DZZ1X4fjsEziakn1X4dZsfRo+0w8cGYkbz
kO3GcUMXVvfw8vuaMrizQIYlxWlxQAUX4uD2D7NxNpbHpmujrGqjaTymW8glK/b7alHqMlxYPtl7
DUs5FkVOXvgX2sjmv+4fzsptuhKgBTXIhwky2RAgxiU2CrStIjmVtzRCeyP+/dN9aSsXCjQ8aJtT
XGQYxNVCHObxNDc9XChCTx75u6Nb+c615QA7wkGhwAZ6hJ7yqGsRNJinJABK86I2/exmc+S6Ym+W
9b4ouv395aydzqU0TSUKlgYDHpXklFnmCCpvjJdnxRPgYze2bU0OIkK0lALtS9GSXWtBVeepUaYu
ObVcPoxt/0wxaF6UW9X1tc1DdynG8+BjMaOjpSq70J5lxrEci5ZRirnRE9IgIMjGAMiGQVrRA3R7
I8WFgAHvcb0TinhzUfYOAXyN0yHbFhfht3efDBDRAFmDgWz0SjtqRy/uzRiWPm2cKjxlZeKGUb3s
zOVwX8TaGi5FaIfv153l0rZGRuct94CsvKFbK58HYI2awEed6BYHxZAdccYmCE5A/nvgTburqnwj
P6j8veYVUK5DoQuhleIt095LEqGnmHI8aEKHxKHzufXeGm9vhxj/+jvtX/vNsYy1NV0KVH9+cSq0
kSJ0bAgcvvZZGcMHbOjVykUB0TFME2raANjXr3+Gh35rDDVgEgBRQo5hERF7I5mwtgYUCUGrjDob
+ty0IGqa2VzPto0x/0fpo+/jeF+rVu4gEPAQ5yLiwHS6PuGHV18ls8HMzoLXdjwOQdTl4thO/xK7
VQNz8tN9eWvLUVl8NVwE4ALdtHSm6AVahnJwuz6BJ9d6+IPPAwxBTfrAUuqYqSgKU+GMHKxx/k8x
sCjc+PlrB47v/t/3rWuNWtKqyqYUrHRFOy2xt7QJTaedMTh9fH8hW4K0u9LUwI/oKiwEhcGhjKsy
7qcNESsgxRgfUqTMaKtVrFSaalnSC6jfA+SjEdm+99vnqgB5kbCTKrCey9ovI5TDEowidVGN4kVu
hsjELhjiv7/U35lQ3S5c/A79UcKybLTllGZnxyf9qbcLt9mBpO8NfOjAKi7dYoeiQ/vkCAThweB+
LTNveJJAr41avlj/GqDOvP+L1gzV5Q/S/F9XZLLwG2wMnNfe6PJoKD8BOznLzpYCu0Kr/yw3HmY6
cbd6AqKTFSVzU3Hb3mDGNYgma9/DxQhx8kC/+BvtRZFvdh8Fhv0jp536gz83bWwGXbYfi7CNrIb6
sRzHKep4JRKjb7uEZiNN8KB1EsZo+YTCEt+HztaQ1u2JAcEZIHrAUFHdKZhCu74GPA0zm/AlPaVD
y9EXYZpvae7/dBpSH/qFh3vKSx6lZtYkhs9/TaT+hoG17Cj9xT2BsF18vn9gyvfdaBCe66rPGHQ3
eq59YAxT90D6PYNg7s0t5w+lpKfMLZIwbDcyWasX80KUMnAXPsWcMq8gA8vPnW8j/Pqeo0MvLTau
5pqVVEUD9AigPQdNjNdC/EUa2dzL9NTXVuyWx6be8lxbErRogqTCTcHVkJ6m8TwtOxb8df9Etr6v
/M7FNg28YHnp4fvGz4ol7rThtrY+rz0jFsMD+CnH5+sU+fvYaTced2sKdXkAmoJ7PTOMKjDT0+w9
9eVyGJw0Lthb6WzBbKz5X4z0I7uLJlYUPdRCL/apTllbWUGantz0hYQPs8mSYDSjrgA68RYcxqos
aBQGXZD3RafptSxqCwMJcYdgUflLmGNwqH1rhwWY9ObO8jcKkKs7qEAJVd8ooJa1HWy70ghhu8kJ
AE87sKvvWif9kjfk3znrDvd1bVUUnneAPgY88U1GkE7dWFPHQKK8p7GdPVv9srOy55Ju9WttCVJ/
fnFYswsQTFtCkFU+UnCLlMND4w4AL99wBms2JkQLLJrp0YF582xtQdbkhBOyzJLkD23FXrLFPfZL
tnFEK53caIS9kKMpxDzizZSGo6rAhJ/ygn6fKcarRivc2ZV8IdSKG7/fN729HwzjMNjV1/sHt6aQ
ODcwhMHjoVat+dnMJWWN0gceBMUU1e0ckRYseuRziVxh/fG+rN+pZ91HXArTFtt4AnRxi5eestob
96XjZIgt/H9bFoyPdjrRQ9cOXmx31IiJbWKOrQYY1DHkynxBoyJrGppoRs/Nzl+s5l+a+1+IWT0F
qYcQQfbPqWdVUbiU1rNrouIOBgu2H0riRpMB3MoGE0cxQeASuXIIkwoBDeDw6+yDVxTpQ9vz8Kla
wIkZVsBuAiVHGNdFnx65kY6Iwpz0Na8ZoEwWM3wKs+p7Wwj+JNFtlQD3gR1m4QQgDC3mh652mtfF
m/pdWg9WDPb39IUX5S8x0v1Ix7GK3LniscG86ZUMfRvzYgEnpoUi2VL3w4M1omqCXnNnEVFVPjEZ
TnEeLnbcpChjZh7Ldo2TVcdiol8XMuQJGNTxgz35A7Ebjyq6kFMKXMW9lE4YTf2cHxxZYZbXFvMv
lwZzcv9YbxwBejQMGFBUlRDu3yCgtlbuZmFVFaAYj2z3rXbO7/8+5s7AHIBXPdyx5okBHJXXsgiL
swOqrpMsNpoEbiwKfr7KXXs+BgERlulWss+7UGQWkIjc704Tz/vQ2nvpp/truL3nSooaBsGwGUbN
dFD1sphTq1sgRaU/+EfBEo89lRlCxoQQM5oHGS0g3wVE8X3Ba4cDIDA8w/CCVU2P1/YSja8meJ8k
5OJ6fJr5w/s/j84zNNKpd8xN+2xa1iB34nN5Zni+sj2lP979fVhHTJbg4PFb9fzUkrmDDGwKBM/x
g/Ot6zbSISu7c/V5bXeKYqlnFuLzwB5nDk1AL5bcX8CNH0Et9GIBun0FBddgziXSXl7qPPbc+Chm
IJG7vNkIV1flgAsAjdhI5QV6j56FqYq+dsAhYvQ86YOfw/RMtyqvWzKUL7nwvRWb/FqWDQCbBbiK
JxB70TYupg3Pu3omaNHDQoB4b+jggC336GyajJ67TsITfTKajcD15sJDV0PYEcBeIct2A37VgfuE
MRIg7p4iR77t48n6+92Hrto/gdmIl8Nt35Gdwo2MA8xwQM7z9DeQ9apxw5eu7NKVCPXnF2dBAjQB
9aYkp7KMGxm1W2TKW9/XjK6zoLhOXXwfyLlPzfstOsJsVf9G692tyR0YWMfsMCUng+ZjJEv/hQR8
Y4N0tm8cLSqGmIT0UNFF3k4fTZNpb6FODbvkCDDedH5e71GVTR+D0UGZMptReQ/mMkIDQRs3FVv2
tWHxQ2EwFrtmS/8x2sFMbFqBHFfCUESkC7eGzW6CL+0nak8oewLJLu/L7DyF3T/g+Rp23bi8+cR8
kR2PaT1uPJxXD/ViSzRX5xkilWZBs7NP850T5DGd/7mv+asrUpgbqDtiREp3c1bLiNfmBKUr78sS
GvFQPbmYPZHtByCm3Re1uhgfEQFSG4pGRltMNju0kkB4Oads+VxWzkdwa+3vi1gxeAaa9f9XhF7Z
ZmgWcEcPmVk3fw7rv4gXl/RPNuxChOaBaNpxNjcGVCAA1Hb/75iPiQ/4UPqVgij9D5YD94AyPZ67
N8l/H7R7qTH0GbiIQblYP1rLryH9dV/GqgJcyNDsUouxRNduxgw+giTVAv6L+UfD26ifnoS9NWa2
ej5qrB6ZUxgSPbixMIOHmAFXHCSGSWb9PVfWvjPSP9g2kOEAe0fhVyIYuTa1YC8LgPOFN3tgkkMm
Hlxgftn+4f6+rS3lUoh9LURmNHeUXUSvbRYDY/ZHT8V3Q+Qb8dqWGO14CJ1ka3SqrBh8XopzI1+r
P4gS1G0Eo4Pi+LgBk56QnbNagXrs1E4sXsh4NMXEwGS+dfprBgBsrQbKimp2Tu9Ccmy0F/oOmue8
g3D/qs0NJ34TJiieAA+5ecxwmwDKVJp+4WHbmQB5a4Qpm5bw1Q7NY0btR7rkiTE78R8cPprQ4dH9
EC0u2uHDmIKtMvXgD81vXv5v6h/zd2NJq9VgdhgPNVQZbiZic/QBDbnF4Q2LQ0oTx9pl7e4PVoFi
nomxW4wO6yAxXWc6ApSY5NS3LH9YQMF18CaRHuq+20rOKsd4lUhATA30UvhrBFnIwmsbVgagkhsa
IJGY4/KxCCs3Gpvsq6zpR1jsn1wisSYCcwv9b1UqKmeY4VCDCXo+rcY8PgjmBvPUjvkuMw6sFpHb
/cXSXSefJKCG7+/niikFD5eiJwdoDLRDU0A3SDMyNaFxSptfWQ3kGJpGM8bebf+pA5jlfWHKW97s
KJB31ESHulKaN02NBcxvrAZZVj2nT76NNN5Cp3LPTZCnOoQBMdp3d07l0chh/hZd24pZQguPSohi
X2/bogAKzOciY+ZpMofYsL5y/iHNycYSb9t51EsMeM2/axS3UG0Za/OQ9qZ5Cqy3XFrROD9ajRFl
0575SZbuEESHxY/7+/pb67WNRa8nUheqdowMgFr6hRkZUiTVyrJzT05TdDuQLALK3Sb5jnaDcayM
3k7GyvxcyIpPkc9lf5iGoY6lHPqfAQ9E4tHGfA3bnEdh649RYXjDweI5/zbZ/fCx5lxGdrcUL3OH
CVl4KeuD1cl6b2aIrI2lgqJ2gr7xxfsmlq46Cl9YsWGM0x7psCr2AepUJk1Jm53HjXxPZCF2fYf5
8AjoSFksYEpOqSTex5H7gCA0261GzxUze7U/6s8v9icbbCPvncE9gX446c193sQewA6Rfbt/ECsq
hsekAh1ELgkvS+02laMTNoKbwckNjo351OA1kO/vi1hZypUILZxvERJXZQMRSOjYaAwSj/nyQP79
AyG4JGhKR78Dtv96v5hsC/B4T8EpKD465pF1cVNANfKNy7JiD9AD+58YLVAYulyORgkxpVslyJaa
9s98TkR3atslqrpvwCC8v67bUjgKmpcStYtSWoQ0fTMEp7QMYzkEsc/Q8JvS3RA2UVo9WcveRo7a
Mn+Iajd67w+MAHmBvwI8FtFEpqmH6PystUgZnDrqPonOe0pp/2kOtpqz12yQA6ZIoEij/eJ2rC3n
i1P4BCOARdfEoQBYZB+RHH6ENJGXf7eKx9pxo00+zDXtvxRrXWtNBbpcXsw8OPnNp4kfWB6HW4PN
WyI0xaSSEjrKDgN7WfOPvRQ/JkF3otp6xKxdssuVaIoJdtLGNzNsoC2+NOWxU8ly4zDbu/vquLYa
DCfhYYkuKSCvaP7Qp5gdaxfLPwGFJ2qtDxP9VAZbwIJra7HR92MAgwA02PpdNmDG/VygE9OZ7F29
hLEtrbitvvd0YzXOqiQgHgFMFsEkAO+uz99t7LFmRoZxK1BW7gUL/LiVcvpsVyHGYT3Kv/oOJfvU
NJZoEHTeu2D7OrK6Cw8gucyzCAsA+g0h9uNM6+6hzto2Hm2f7Vo3Lx4ZL+tHj6JNYyaOFUvga39z
vUbEXtcaETqB52QUvbdnXeCCx8CY6yxqXMY/DJP0frKy6Z6EWwZ7PBGLfd86yFD4gOrsxzR4zilZ
EjegfM8aX7yaktGHJWTwTf1IX4cF4wCYkmqitvfIC+PjuyHCVAYX3VLqkDA6rM/oZH7uZGVqY0DU
lYgSfhVDt3dA74bCzX2VWzkjaAEawVRsq9oors/I4j4OCZS/Z9v8UZePDf2HT4k/bLU1rTybfkd5
porSwcGq3VNj5FnlSFB8zdaSpGGO4dqtdqLVlYBtWk1dArxDr3JLs+SGVyxgkkJ5LfKM9hiw+rPt
kyNpt4ZUVy4qlvOfLG051tLRgleQVU5WGIVdlsbtQtLEclO5cYtW4v/fsGH/e4m0A3IkJ5IQXNdu
/gzsdad/5p4djf1jK9/mav9ubVD9zIpqAOipKMFea0NTiNlDhOedJgbOmOpYNd+h6tFsfrgvZ0Ud
MHuG7gDoAurceg4FLXycsd7xTtJt4tz8G5W8jVBiTYKaqVH9jcAR0LWhckfGljELTnnMxzwKNx9K
KyqAhCPQ4tDi8Jv95nqrqnREb0iTw3ejS6tIWHE0gj84jUsRSuMvolQ7BIW0o0T05lsBLkwjTtlz
9vX9RwHaOAxiAtvtNqHhlmxxJDMwbuB+IOmZbajv2jlglFt1uuB/NxHwbFE4u6mH+gIl1iuAfLFs
nLTyItpb56onTfMyEx98hg6b9ASeqridpn9hUB+aPojsHA8K3g4bp7IlT7uQw1QZoBBFkwYpx1eb
O4c6G4+ZhWJ8Gj42w7BRmVrTMx+BG9wnogJo9LUSMIP1LpAD0SiEoXvycxoB7rHRD7IlQp3hhZ7l
pJ/8ylDt0uGLbX4ohw9NsNFXtaYGqtlD5c1hm/W8lsMoepw7mp6o6P5mBNXIwKfH+5q8VnxxwMsC
vFg0VAJZSUtrA1Srl7UXosYWSBNUV2D4OqJU6OWA6mJHwpvHvoRqUHZITYBuLOGDR4bd6KdfytI5
3P8xqwtGTeJ3/vaW3W6ubWOymxJNEbkJjC1Wfun7rTm7tXNTsLjg/oIFgmu9Pjcy8C5zagua6Cow
1Lbbd6MjIknMjSBhVRBmL5ErRrMO3rLXgvJBtAEFaNVp8KuX0bT3ZlG+enLrKWtZyqLpdxmETf8n
SD9BxzCz3/2P4WTTp65l3t4KaHko5/QL8rtyb6CjhBFuvwibdHu52OnDME7tTqaut6/znu8Ct+sT
aU5dNLYFnsSO+4+NpplDuXTZYy39MRlSNOwQK612mJoDk0IlmoOfBcEcAQsaslov/ObOjQ86tbBK
8r5Bxw0C6kPpG3TXLiOP+FDypLMA7152Jqg9S3Tx1OE0PZVU0IdwCEUT8QA9F34K3hR0dfJ4oou7
r9umfhwyO9w7VC570YkSeCluHRGBKfIe+CqHooGBzFg/H42c+REqyvJzsPiIXKe5OAhO3SMzzTT2
DLTvzP1gfHB8ZLwlSonAHoz81lhejTQDPYgrP1f4r177Kax30pfy0FfON98rf8jC8feWIB6Ig9mz
Y1SHEo/cHens6kTroDvMsyhju5vrSLQ2aI5khsL+wgjwqcolLgEvFgVjtnwAmWIetWXGY96yNPF8
iT9AWnsHIu8xAfVt89mtc56MZmMko9eUB0zOOTHI5UWMyarhFUPV3gFkg95uDIzsCGRikVCOQRpv
aj+FRTCbkYTi75BEqax4HkYvRvEKHVR9iwx/RrMXv2hp0lEhI4Fprai05c9u8SWcvmns5sbqMKHF
h6gu8H5AL+b4OtWNsXPEUiaLnZc7q3Kmp36mJkZ9xwk/Mv175J71OWWT+Rhyfw7jpSDT96HOTDep
iY05H7A9hUNRRyaC9z24mX5V0yQiQDFXv7KRfLdmXr/IEu+XIazph3EhDFDt8xyj3dOPG2cwYsx8
FF+DcJ+bj3P6UdRBeM5J5R2kO6T4rYv/1NbumGRZh+kVECUNSTNK97moafVS5YaMp7ENo6Vvh8Sq
q/ZzbvndWQYllBGqVD8An55GxiwM5DAoXikm5lR8wi00bE2+uTeogf5+XnxzyuGXz3n1GoyjHaMo
Yf1yuizYO1WWHYCiMT+HzA6SEawGe+E0bVIO9RIB9bU/lR3GLIiVtfu666dHWpcFWP5kX++8fiSJ
D0/81Luz94iCGRYqKpqURvlz5ul4mOacvhFGaQzO7+yz5c3mEIVsQu02yybjwW+K5VC1vIvszMwf
TUbCo2UMbuzLPAfJkhkcmt4USWPO065ruYMe3T6NZT3nD9Tu28Mkf02jFefQ2x4ltsQGcNBG2LFi
4IHch8kvDBqp1LxmE33pp9ySPTtzZ4eWEWd333+smNyrz2uW0BiBrW+knOHBlKKTn72ywHiwbGPD
L68Y3CsxmgtJ86kf5mxg515GQfp3S/d5u0/TjRhzS4oWw9AFpxWmHTtL8ui2D8T51PQ7z3i/l7pa
ixbGmE7ut0OIE6GAzW07NBo4z324Ef2tZQwhRTWGgbgW2Tvt3Jse/aSGY7Lz0polbgB4FyyKDBow
i5aXsUEKFhemAFpA5VQxGysjcUTIkiortrqv1jXwv1+iqQhYNUnW5PglfprYy44YG0vd+r6mG0Oe
o2HJN9jZWnZeAniy+xq+EkdjIhCNOAaegUiSa8c1zwWx2IzjEv1bVbxY44e0ONv0ARQ6G4qxupAL
SequXcS3AJwxe9lN7OyQn2gOkO8GzFG9qBffV+p/8X1eEQ/zrLhEIQegSuo4RVzAYN7frpXcOISg
XKU4efHo1E57mQgADyacdlXCfYk4Jz/kmO7U0ECfTdFY/dtvjYaunJDqgHQVratxi7RqzJM/e02T
nhqvUQTmYxf1db7Hf/yrSYdnj28RtqqN0sM/NQyhYCpxtfSEochGm2dgHTp1IjzaHQbRGtEfG54i
8LG28kUrWqEQ69RMBGKSGwqXZrGDBvBK6SnPEjiedmtgaPX7qKCih9hSqNNaMnfkzKoZxShJ5YDW
nJtv/VJvZTlWvIQCSsOzEMUlFNk1zfZr0KKEPfVORXkwABjMdmR+f43iSoSm3JixKIi7QMTY7IPa
iiwQDNfvHutBstPHyw0vAuCG4AVwfYNKxMmmnVPcIEC7PnK28YZeOQocsJpHUdPHUOXrz08W3npL
4eLuBLGXeO+eqcKvR3cMhnUxO4+OZM1QEsOUbRVIOJ6qj2YfRdPl0/3Lv7YAPLwwE4bmEKxB25/K
JLmXL0if9lnMc6BObRiXre9reiTMduhheOjZ/8KcvSAbOrRiSNAfjDQ2FBWg1nr2t804IDsoenhb
N3yk4V/AAmFSxIOP6vPwzx9s1YUsbasQz7t1KHt6FvvF+WgYH+5/fnUpKJ7A+SP1d9P/IwISBN7S
sPNU+m8YAcE/Hdrskd1K6i2TvyVLU1ta214744l2tjGTH4uMfZWTgYa9wStjq6jdCAQ8X+4vb8Wg
+CiJIrBR+YSbpiBiLJk9LP9D2nftRq4z3T6RAOVwK3V0Gtme5LkRJiqLChQVnv5fHODs6aZ5RNjf
BvbcGFA1yWKx4lpFEWcNgF2TuyUnN3nysi1Epm18hhRcOzBbUIrr65h41qIzOEWxHTw4dVipxqj4
vgjPCADaMRyCpwsd0WIeyAxyq0AeqgDLkhfOiCGp/tNIpn0SvL1b60qQcPF9lvt+1eLiW8Yv3//a
aHaY9B8dFdOSRA+uxAjuM2g0jCZv4Ijl6zeCIZ528EIUH0InfRzM79tnI1GAK1nC9dF8kEaVhlnE
YxtbyZG1cT4d3yECnaB/pxH5sNv18dtZRm2zxfGX+Vdq7wt4l7pCjaUagC6tgFfQ0KQpOEvOUrsN
ogHc0rJagGtXF9lHEDRnT92Qg2neanVFClUWFgBal8PGwnlxAVx8vSitKlLqZAxII3D/A3hJAKH4
7Q/ajdmQnZNlf8xB388ohYSJF+xZov8u7UTxIyRnd/UbBHvRgIcWSL+oSjGDuVHf+HtgKD8ign9H
7HsliCvshcO7DmvhJ0THfInv3lUU3tM6+Np+W00kVgIz8ZggQoEFeVRxtrsZqpqu1M5icFyCFEXF
+qP6vKDonrvMaZq4KBf6OwNP6o93/Hp4MmhHhR6CEfJ6i4xg7HUzBY5DDWI3TNbld1MaaIrARqLm
HGjrPyHCGkbw6xjTNGax3sWW9T1zraNp1pFhPm8vRqpYiAJ4jYgntQQ5JFtqZ+ByAu+80CNSK8jW
qHosZAeCrkqcNPrxkAIWhHi5D5bZrsSgj/UHpftUV4zcyRaBBAnHU4HHbIsd1RPoP4eq8HHgzZ5U
u4DsQZu6vU/SJVyIEA49a+q1ohVEBN0+TXfebvvz8hXAk+UzdegJEK4dMnFmmy7wklsXuKmgjljo
viaKXA0PS4THM0DzyX9CBOtM9Aokey48AITlzhDr+Y2m3Wntqay+j90PyhQdWKo18Z9zYUpo2Q1p
kUIc0T8mWQ7ki6OjwmGXH8t/SxL9jYbMdamj4Awq23PpHTXFsSh2TOzVqLW18QnDscyOsVu0+bTk
86nTx71fjfeDXT/1k31Aulxx+flBbByUWP1pO/Q6D3MJsdq31BrDIokDMy6a6TgPXYgO3v9J+UxB
t4NpGV29xiami3Yk2poBm8RMMMA4KoI1hUaY/DQvNGIakxnvJwS55FeSPbpA5m/m0/ZiZIbzQsnF
Ln4vNY2+NzIkb9N9np+69j7owk5Vv5fqHfroee0bHOQiF3CR5rnrzYgVNDAkJGWxo++YaeOUJf9J
EF58Q7OQ/UeTVeyRNpxeMMYRbm+UagmCyXGXvvR9DUpGyw/NiakQs6VnzUEpQU6Ad0XkJem9Brln
V0NbkG2H+fzYLV+aRDF/xn/iq3tyIYP/hgt9Squ6prMPrH0jIFHDfq/Ox2E86CsGof9sb5ZKknAa
ljekk0NS+OnTnq592AIEwDRYVKBMM2TrYVua/Gj+7Z1wNEFBXSsdsHead3LB6ZIr7Av/tVv7JjwE
6O51KkPzEUgbd0Xywy8+E0CZs/Ln9jKkYsAdgZwmh3J1BbvSjaPfeeuMLHMdxFNGbkluhp22RkVp
K2Ib6fkA/p2PnwOzT8zTEFYvFR2DPO6nekX936R3jKJYbpdje8v6FCUzjHYptlF6TH+pnlA9f50G
LAm1Cx3l89jPVjAVLtoU2o0q4pUKQSyNZkEMF4NX9lrH5wrz8Ehw5bHd/SjA0dcwhTsrvagXAgRl
wNgxcYvezOM89U4cLbAM3GcnS/fbyiBfB8a4ANbIgzdBGfKq6gF3AnNTTAcdBU4VzKnq+/zvF7ag
z1ebLAnelvIzuM88FU6M9PNgLwCoGueIE3P0Q+bRHCDRqA2VX2x6hHv2ju25+L6Qb5hRdCyphrC2
XKOUPWId/9v3he0356F1/awrYn/aBfVeFXJJrzqwmjnmETreRTqc1WEeAWIPsrzrL9NZorlBf5b7
pVl1xT5JtRWOPoIJGzRxOv8hF8ccDFbawoHGs2i4Ido7MKluRM6kwiCRrQcdIpgFQwMaMvCC79qO
85SU9YSsLIjXkWOqgRGzOrtxMBWvsCFbkAX8Jh2pX4xgiBS1VtG2Zjpzy5WxY5Y0H7UBs1JMK2qA
raH3gYD1o8zYrsmOU7XuxmAJu9q7L5P5CIC5o6cCgpMpug1SYbQmIycNu3C9wWmKvGTjo6K2TKcX
Oim8M9XXBTW3mq5nLMGTQL9ay85SjWTJNvPyxwtabi9a26flgqxddmiG3dIAp/xl+yLJNIPD+aEo
gxQn4B6u92f1l3qaOvgcQWmH7UfvdqyjuVd1PnKjK77QHJscTPLo4X6FKVESfabUw31K0jIcnQeK
Ec7yNJGnNggAcKAqNkmP5UKc8Ab0bj8vQHcrYiP/hADUoE/bmyaLo5B5Ri8F2EfBz8LP7fLWZq5b
5omfxqtufbDGadllybKEgzXdtNTeBchIpsn4MjKVvsn8AiCIwTDhEiPHIQieNF0rAgPQfnhdD/U0
7yxiHmbTO5kmfe6nYL+9TpU4wTqtZj37bQNxGVqr22k+lK62Q9UH1LfLB/TZ7bbFyXQRuCPoVAYI
Msov/FgvtrVkLaBK1xzIq2bx0lkl+kdL1Cu00BlVDF2ym4UyFSgNAnR6vqIzyLV+cigbgJLq7lh3
BEAVOoG2V6MQIWKG6m1gu9Tj+KjNi0E+D+nPOfi1LYJviHitOF4SR+NHK6lobGnp1E6Qolq1dLfl
8DVTsRDJloCCMFI4HKUFcxfXBzLnWZ36Tl7GTYf4wJ5vbeOp9VXNobJVoMgClFbIAqSNYEShZcgS
+WUJVvMfTfp1fjMsNXc1L74vWNGm1QroKwC4wJiI5qGyVySzZWp7+X2+vgu1rYBWnVgOvj8Ez+gt
1LM/uv7TLRXBoWqX+FldSMF0pg+SvqaMp+HDcudQxSJkFvpyEcJVT8eyqFG8wyLo3QTmiK74XYEY
IR1vMZrSaqpoXbVngmZpS8s8k0LcPEYgEyHJk7MclWkNlRThHQDt2WIklGuWPYTF8JLZfriihbb8
/PZ7eLl5wiPqemPW5wNW47d/ehDiTCrw9tf8jNc6LBqTRue9g6Qq49ILTpTdlsGtlpy15BPJfxX6
HLHmifY/reA8GgfL0G6Y6hIptvIvgNuF+hlevtKqwA9I2miZd2l2SldMUZ/fsZE+p1dHQRQNz0K9
Nas8U5tMgu4q52ijHUXxedl7BvzN/z4vOIP1EPSdiZbNGNNChXMof/flPjGOefby1mWg2w64uOhH
4ihU4nRktgRVzVaUdRFThzYynEzhZr8+DYziojAMgjggcCIKvTYGsDezl/m0ijGHGU75V0Aj9frN
XKlYJl8/AOC5BxgYBKFr7JV3SJYCdToP8Hht+8KWp966MR2F4ZGJAOM9cCqQ6kDuUbCeNjohJ71n
edxoFJMBILNUpINfG06E6BcCBMM52UtjkQYCSE1D9CNQ5YydRAISJkAvQM+LA5g/4TQKw2d0zeo6
vl3aT/30cVuZJBuEFg5UTNCSgihRxA1BbnYKOk3DWVdDSLUGkJVVGDSqSunrBwAKBVQaF2kZQHiI
JRs37dy1dLIKhejHOtmjGfuxyh9nOOr1cGPTN8fv19IEy6w1bu/0PqSVJ+chV03nSw7EAlEE7w1B
IziGOK+vx2wG9dyleRtrhR/OTz6dFPdPJUD4+ZhwQL8hhQC/2AFQcB7322cuud9XCxAelEabPX1t
8f2m/To7N1Md0fmmcJ7fLgX8Q5ijRPcgRjeFm5EXM+0CUnQx/Jb2xKxzn57K9rQtRLZVCLthDPEP
HDzhLNreSIwg99rY+dkFn23z0/bnJbcDP//f54WTGKdcJ7PhtnFbsYgMUT3u/GSN3iHEhZcNEg20
tYmvr+dpa97aRRt7402fBeGIOc18UTh40pUAtcdE7ywCvL8z6hcvLPHyXMuISWKvX+ZTmVfsxc6L
8ZM9dcFuez2yMwFwkwlmbB1tpeLwbN12jlPkZRuT8jY2tTeXxdBecvF1rtwXC6ndtXKdEl+nzk2f
t6Glt2E/vXkcAEIA6AneXfRPAZn8WkhpgFuvbnEkJJ3RiXlelphggkXFCinZKRT4sUewvugBE9kC
HW1JPA+YCrGtP7ZNXL79IK4+LzgkGh5ebajw+QT3o41VZkqiUuggQG4RA40mZ3O/3iRA1nheN1sk
ZhqmcTq0qzuoJu6C1aAKz0oqyQGQLjKmXJTwBDp6UTtWsZIYOheWgDU3WB5NAO3YVlx+qtcBL++z
+SeGH9eFaiXwQlliQUzZfu76GZ2GQWg6HxL9VtNiS6PRtPzclihdWMCrFQiwbYwdX0vshqah6Wrj
6Oc6BPHIQj5otcIOS5XsQoaweeAX00nNZeT9L6C376j/e3sRkueEZ8PQ4AMCQnQtC3rga25TVmCy
is32bl2ftGY85iM56dOgOB/ZSi4FCVffqwtfQ68mYNSivMQs26xyfCXHAW4bDoXlYhIcPsT1cTCv
ajFlyqFjzRfdO1DrbKv6oSSb5eDKw3VHmfc1sgCQyWeEpgycX8GzXQBV3f1BvS5cp/32oUj26kqO
sFeYxwzqcYAc251CUr10KsC519EOPGpOXoYpZg5pKTyNTZovaIUCJUxgdrgpftSmZjgMRoRGv9Dq
347PcS1OsMioHiZl0wK1tiy/9M59kOyH7NjYu+1dkyAE8TgBNSveTQC4BEEDKBlsvTMzIGgaQOLv
MV5aHwwQUdD20+x99YAZXjYfk3Z+u2ZDLJxJjpCF7knhjpbo/EF6t01jDHbWL3PxP36eK8uFYVvN
sQ66oATOaTlEuclnVRUWmp+2YDqvFiDYgMHRyyDogXCIebZq55Kjln/RM4we75No+4ikd9TBFAPm
DVFTEJua4cWURZUDq7Oq9SdDC7Iz8AiHs9G8o0gKXbiQJBhnyyOYIeV0IX4P8KuoahWejPSKwtA4
QJsAdIYYE1kASRydCQCq/U99PuatQpdlG4WQEQlosAu+Bp1cpp5kdgko7zllL5SSfWkFt9B8hWMp
W8WlGMEO0Hqy6co4YrhmvrDcfl7G99wOdCnpeCXhvALK71p9E88Z+rGheZyS26U/zcdtjZJZMtCw
+wCmA9gQ9ur688NoFYRYThY3HkdbNHd9EewKckOy/GxYitdYeir/hImY+rZO2qAhHlpV13Kfpc4X
EHGEbLJ/b69JdipIqYN52ICz7InWGeABBqk8iGH05nehK267/OvYL3TdomdJrFD5aWth7BgtyYu7
G9i99nbcfg4t++/7wuNlzrRB3IW+aps+BV5/BGhGBEQBhVWUHcWlFCF2BPWf39k6VuGQjwct++J6
CgEyxQI2LehXUXdCB76gWLmeMzYQXA3PxCh2DzTupH6i+nwuAm2faYUqySI7FmDLOMjkIK0GT+la
kacmaC0vwT2BuxY+jAglt5VKth5wceHLQBQCP7OwHr3WKzvH5EA80xuX3ftAaMegR7DLf23LkR0M
jCJ3xPmjInbxOONa2aPZQY5fF6E7ZidTa+99RwVkK90vcD2DKpnnKETuKQ3AOP3cYb/au5L5YT66
ig2TCwBDHCACYLpEEFkSoNOqNWagl/XZ3gcFeKECL5a5k0hQcKwvHkSIjUJr7hfe4s+wXb22K6Yk
HO3Hccp2wAdQrEUuCb4emFrgHIs9Pelg+INPF/h74LLx6pCFJcAUZlfxvKvEmNc6vNpVmfoexKQT
6g7oferQ302G4ejPn7e1jGur6LKA8hM1Wo7I9qoLpwW9nzmvlDuwIbVOznSwjTsMmbkjIv4o6RWv
vYSEBs7EhTzhFSMJQKABFpHGCxzlBo0qVn/AwGoT5ocKOGa7HL1+5B0Zhiuh4pV1u6zI0I8ZW1XU
VjtNxXQuu6oe4Ow5II6LDK9gcgwAc1kGAQ9AENznbNk13W3mq0imVUK4zly4r0xf3KICPEO8dh+Z
14OK6ewtquBfdleRRkSLMsbLfXgC10KswJyn0kNwSdwXyp4W+7StbtJFBB6GPpFjAPOGoNhjYJkk
AGFUPFr5h3FezmMzxQzsJNtiJANYSGGAwZjjsiM8c4XN0haz80FKCTmtNoDrOblJu+RgaWW8OnO0
LLyaZ0eEjSGINqIxmXZu9Xaws+vfILysrpk7BXG6LNaCg6/fLkxV4JW9RJeLFO5SZjt50FtYJJtu
C/Ki2c3BW90d+ENCW1cYPpli+IaOYAP6DRdRCAnHufXaKfHgptPTWp698/aByfQCMI0guQSszOuW
Nv7a+shtpXFj1I/T7N5r5vQ4YGJiW4x0FYgEgI+lI8slzuV1K9xyA02HoIZYhkNZaN4fs3dyVaQp
M6pAMOOk0y5vuBBOHnQjM3AN4Ev3Nlw2Yhyb9hxUWZgCfCxzpp1DnkdH5WfJ3oxLoYI2aNSsqUmN
LPY5qlWTof3vpcuSKNNVuiA7LGS6+AJhJtBgfG0khjppADWCxp7JJ/eZhpJZQPIoD8afbz+tCzmB
UKnGnP06WgyDZiBa2aWzsctUqAzS54hztSOVbgDK7PVJaXNiDmsWz7p7267tc1L7H5pRC3WWxhje
/wjCWvSKunFZjjut6PbbK5TuJDLfcF5wqdC0d72Tus+WRC8TfmbZA2qPMfiPj4lvveeBAoymx7sQ
UWARzSEGk2f0wE6gMm4XlLn+zPS316oSk5LFQKuBR4CeL5TMxbeDFCmzzb7CaIUJclFHO6/DdATZ
u8JUSPQcYlxwVcPdA56ncLlSgFPVlok9y2cPxewZwD5ulGqP6fjrzYcDoBOg94C5DlzlYocBa7Mp
JxR8ZmZfnFNmHanhRObgKqosEpsEpxs9AMAGAdeCI+hAbdiAWwDcRaz5pzQ7qkrz0lP593kRrc/M
5oKaC8KvVgMg3EIBtfiTmYbieVBJEZ6HBv2taV6CxW5wBngmQaghAbY0Kh9IlpkEdj4QRMFHgVYJ
cZRb6wF1NiPrGhfjl0CrDh1Lospud4Wzhgywh0b5bJhdaOeP27ogeWqv5Ap+S0qCyXEoDsnBNF1G
MkDDfUrIuVmBNJepng+ZRlhYHEARoOmvIsyFzavWsUn7gHLPt6puoiGfPr19PWhwxZgV/sU0tXCJ
RupOpmuDW82gX/ux3+toeAt+oK98p1WKSVvJffUwk8YjZuThPPG+dl5P0BvepeBnhJfvg4wr2a8j
xuzWd5SQuRF10fSJIX8M2V1bUzu1kYsnSGXUy7AvV+M0opkm6Jz99t79zUMLMdOVHOGlbVw6tiS1
0HW6aPeJ5kRgXj/M+nDMuydgvxwto4rsZIwYprxQdjoNfhvNRDUGwO3C1q8Q7AYtwHMFnD68jtQK
bUqiukTFfL4t1y9BMoWlDiio9Wl76XxlGzLF3rFiMGq0XMGx8dwBmYKH1C+ieaT3Y28eHTLFLlUk
CiVXwYOXASwgGMfXNH1TU3S0aTFDDQ3ble2wG1QBsEKCuKSxKyxm0QDOTH6PJubQpb/fsWdoa0Cb
GuBZEflca+VSWu2ELE8aGw1gEncL6FCMXVB+7Kbj9I5GLxQD/snii72IEdspAHegBSq3ZNmn1q1X
PduzItMtsYQQgXQqiI/gTIi1odlE6SELHISh061RHKryHtjq9gdPVYSSnsuFHGHbtNFI7YSXOa3g
cW1BSfBj+1hU6xC2CrTgBHBn+H6f7z3z1LsREHnZ7+DtaEd85gP/89YyFLWEl7HTeg3EUDUiG9dL
T/6SfG5n+1PObBpOC7XPBWD7FI+xbGkIccCyiCcShyWInPTGb70ZDmzgNOmDvwTpLoPN4ni0XVSw
NTgEU0n+bO+nxAPw8J4EIOIFrNMrb6kfbHMAYwuEgkCu7X+gtPgjSRVviVQIEkhI5cNnxz/X+j0Y
YGcBWmsa68MPGmhhMX8CEJJi+2SaB7QgPpeG5BeerWshTjNTd1gQ3iTFEM5OG6riJ+n5IKDlqFFw
k0UnpvG9QUODYRaT0Jtv8+DW7lBp+fJ2vxJZFjQbAm8azSJibOERjGWQokFsob8U/U3WvX3gCMmA
fwJEzFMYG3ta9RrpB/dX7u3TOrJKgN2EZhXNzm5bu6RnAuOJQjtWBNCO6zMZy2oIRpoiotZutL3v
K2IKmV5hKBz2HfWv18UvCv6Jsel87UPnAh5naTEPA8Cgu3FKVGNTMm/oQpJY+QKRuEVTggo+H9lb
h0dW0whUtGHlvL3708N0M3DoUPkCo5roHix64rIFT4Gfgp0JQPv+bbYajcIvljkEF1LE17N2qmCs
ed7G86sX02IPZHROpu08p6V/gu8ZBeWvbU2QHZWLYhJPQvkImYTb2Zm06xeX07PQY53RMDUjy1bs
neyQMEWHzKGFqsgrSnF3JSUavdD/YI5raOgPtQF/yhtC39hvL0YmCFUE1EX+MhaKvgHTqqmYCQQl
TnuTkDQJM1s7AlJ2l5L1HYUxPNs81QGlAK+HYDzTwGWAP8DYKDHMCERt3tuRVXmZ9Z8AvtoL7yPA
+ILDdAy3Tw6gmwHIzN5hBiABuFo2us1BICBkhNY2TTSS2ph8LYBtrTehQrkk54E2AXTzcZ4ijPIK
K0idlVKf8T72bKlCiitKTC/yUva7H75vH70slEVTJY+MoM6oIAsXtF6Lckxc1BETltz5PfntdGOU
AYIew46nNF1j1hc3QWvvKWGqcJ1/W/DjL2WLVsit5txOCWSvKLdY812NPr9Jv6XatG+cl67PI2tS
WAqJBYdIpJD5qBvPwF4rR4UcSJBWSL12OeDrl+OsF9H2jkosA6AYoRtIu2NPxcs0NFMwB0mPST3P
ieD0hPbk7KpAVS+VisGwBqfEhLcj5pBRE5xzvVyR5rLcG2M0It9PTpkdKPxs2X6heoGMO2fEBI3t
9X6hQcMlGgfhtLzTkALxXeHlSCw33jr0QP9NPL0KS+qOtQO0EgWRso6c7piwE8DCmOuHBOgxtaNC
vpA4PT6SgojPEc9hEFq4ulbdDfrQWCXCVRItRYmKNgBYzJOXpafe22+rgvRyYVaET6SjLPcKuZLQ
pO+KoCtjnaShBqKwrArCjBkwS1NoAgQ/GMFv8rt2VOHR32F38WqhNMyTHQFqquK1RlLSywYTM4To
NfNu0fRUhVnf27e0mucQ6Z5651qtj3IUIVGC/CIYJsYyZM603PhuDfQ5t7lL8r7oQ5p5xRNwSQYM
O7vBviP+78xb2ptxsud9C/9V4TDKFJu3enPINVhZ0WNoTH90/KEt8eqVH4m9oJfJxjNBVI1MsvwJ
BsT+EyQ6DW5J2gVQX2XcucEcEj0/D11+5yGSJCDuZSdkRO/6qdnNoMswUnLQnOo8gGNtW0dkFwxd
VEiKc3w5zKtdXzC36VIGTJ4aqAX0OGXaKXtHARAgvf8kmNcSvLkd19GDhIqEg347qlhlZAcGDwju
pI//EBVdf9/qO6vCdavjsV5v+uqjDziI1Pz5jm1C+GCjqxzYGSI4VmuYZW35SR07jCPx7CpVn4vM
EAFv+z8Bwpubd7aVtSUEoAvlMFbjflrAjoHb8gd1m5up1+twqbVst70sWYUY2QUMQXIyJRTpBHs0
owe584ugAiwsiawiiFIXoFPlbydvQurdgFE5YB9ctzp43a8crT7b4mVHdyldUL6xYo3jJB4Gztq7
pA/2tZUe/EHVbMF9YdEWAYUaVQwkeUGuxn/FhUOGvkcfrARpjRzKENpjcwLD6DnJOuCEVOZ5Ql6g
5JVv279ZTfalWcxbfy7uyZj+3l6tzK3yfd4jzQdDYRqvfwcF2fBYlw0UtcOQsB307V5LabsHINoY
ZqlFFFdbsrsA4edQr2idwvsmxAhaU1t0CEiDMm8ToXcvyr0ng31886Jg3pHx4NTKMNzC7Q70pp6X
GQ/oUKDhCH16IXXBFgsG6xAskNuyJLbqSpawIDAiO3WS+GVs1Ac7CEsz2v6+5A5iGUDZ4DlWEPEJ
vqg1YtDOmTEqWFhPueHsk/aOVn+66n6sv4EGUyHNkLifl+JEXyAZezRJJxDnm48GeCy7swFE16y6
d3TQS8/3+QKSk++tP4bL8kzTp2Wedw1Id6fvLPnTuAct+LO9fun+/lu/mKSzRmtlGPWt4pkd1keD
nbc/r9jev7bo8h5aIOPptbICpIgWBesj9UGW9MjIU5p8rvRv28Ik8EDwGC8WIyiL1xgDc4Mc0nLM
ka9f+/S2Xb7p2u/Wvx0SGmrJbUWGMKFmRIoPFT2jPBM2tsLfl93By1/Bt/xizZ0B9wVPexVrw/PY
hlUariroDIlZwUJ5SsjlJWePb/uFiMVzQSA74NRKZ9w7q3Zw9OpUBuYHdO+dtjdVvpp/ooQLMoJ9
ytFriNKr27oYQEx/piqYIImHjGQD2iRRv0LBWUxuooWszRsH1rr1QTTmfgsmf7fcVdGQvmwvRqbt
8MPxQRsDdxglu963cvbwoPl4+qri0IK3ar/9edmxXH5eMIyZTWlvWlhHV5zyaqf7gD1F08FxW4rs
RNAuhOdb51NXYgUTShFQi5pl3GY7vTpPPXiYFe+nSoSgX1UwrC0hEEFye1el94T78u/gJkWOCQMK
6CDHRJQuTr/pnbvYk+EhYAhz7y6t3vF08J4qvLwIhpD6uT5szS9GjKEucLbbMZwfAGejCCSlu4SY
Ab2PiCJfDUDa41A4nT4hbEhrUB3pUcXubFdhTWTuGnxEjCUi7EYlUByn1Q2TLU2KXWpb/2408jPR
0XvtALgRqP7Io0Vmp4EONzXComuee7eJTFA/bqucTLEBDwCWIyAcurg/11vZ2RNpp6muQIcw6gdw
lzl7kAvUp7IGQRl1WfP8DnnwutGIifAEUB3X8pgdNHbfVnWcY0cXZGaOLPuKQtW2FEP2OqHR4D8x
fNkXZpSPaVjBDGiFYvLuptoN/bR+qMps39jebQY4Fz0rdw3SQ5m33liteWYNMOtt9t2hxQs1q4cx
b/et5d67nf9R8du4KRI8WEzuYFobg2jA6RSzvTxFZupLUsXI+v50O0rhuWLydQR9yE1aAvODlXYZ
dvoCuhujuHOH7ghQbKbQPunBX/wK4S0z9GQ1QWkIg7mAePfzqhPQag7hYH9613Kh3nwQFqcuXNYM
z3NrdU4VW0txr2nNUa+Mo5Xh0S6aFryX2YM720+9t3wo6+aTu6gcFflC/5MvdtxV2QLslhTyg/nZ
mp9SK9R7kIsoNE5mMVBYwyvn8bskmu6c1F1H7bLBKrvIog8N5pn1/LC9lyohgvEebLAl6lXexMz5
0dCTxn6upsK0yh5sjuGKOjHaWl7VWbthCbw0devYRLld7+4WLYh0dz5p1U3Xu4r1yFoV0Ur6T5rw
rAJJbba7xqtjL/uG0g7GpbIISfKQWZg2L7Io7YExXN/Y9j2GaxUnJjMRl7KtaxPRdnar1yZkF6MT
1vYzC7IIALOhi8s3FJ9Qm1M8KrIE3tVqhSvnIQegZ71fxyDnPcwDQDv1Z2Nu9uP46PMR8W5v2CBa
HFWsszK1cVwz4NBCOsaThZwK60nqVStFzgZDHb51s1TfjVHVqitTHCT8oTPI3HDEjuvtnFpvaJcU
Frdb++fVCW7rxrihuotq1uyd80TVSyHVnUuBfNUXJn4AdDOZgA4ej/0h70IAxq7WbvCPeQkw1JCZ
j5V7oqp+UL4K0Xbzp5qXOzEPLxagLXcdJ+AIoNlai8ojMffbF1z6efQa8OfJMF+N4gSVnQ6mi7Ei
AjSwur3vhtO2AJkq8M7Mv6kpJPuFU6pcGtA1R08jc54YOWvDU1IoPArZGv5aQQA6GkiQcHt8cS6U
0LnwLbBcmM1tzb54ucKDld1bOCr8LflLUil4+smcmyRjWEIDMDHiO7t21B6RoMG0wxpbPdvXa/20
vWt/RzjEY7+UKdipogLqXJejbRZo7oeqKSOg8BxTTvk7lPsSELwpstxjXe0w4XQgXXZI3HyHlDAS
wYh1/CbuqjUC8vbBp+SuptkdIEjOjdPusJooo9mvwi73uTneUsCkaXW380cKhvfg1kq8c2e7e71e
d9trkmqCBWvgIrLGXIxwTOjSXoG3y0cK2Xkke48c67djUQM5AtlVhC2wCOgYutYEeLCF4+ctpnvH
HTI8mqu4LVITcCFALJ2amLxKGVp0Y9fxQ8c6LwCgdWh1cLXHytsPwyPVfvYAN9N91e5JlfDf0sTs
n2UuHYYI0IE8agDC78Le+5jOcTvECaFRpUIdlV6pC2mC+tXJ5JqpiS70mrJnmi07VpaqkEeaYrnc
TOE9dGc0JgY1ipmJW56awQ1Z74Sl24d5bp9dYOp1zfoV7Q+fbLM7FLX/WDmYNHKsKJuBHTi5n7f1
U7Vm/vcLM8JK1It8Xlv1cqBWUtSVVsV7LL0BF7vK/34hgcwJwzQGLrUB/qIlOa30yVI1d6v0RLhl
LtVy0xtxcgVhUWJ/XABUl1bnpWSHkvw0AoVPo9o04aUfSuq0XoILoY23Fqgyik6RiJOVAnGnEXUD
D+Zv1ft609ICsL4rSL/jFBTzrP+aFB+RTNCTh9l4bNiD7zxp6xB25SfWfqmrLqzI3gZxtW3RsGJH
Un01yA86g1FbUVo2+E6+MtEXP0wwNvni1Wm34IeV7gMjxc5Hy3zax/pyNodl11poaifxaP5Y2196
8511hyz5Uwznhr1s6+3/5x79vx0CoOP1DmHyvzHyClavWo2o09yHGe19YW40Bwd+yUr1cABWT2r3
O22mx5UOkY2fC9zpk5HoN8B1+rX9g6QbA1YrB815qO6LkQlbwGXWLhgkHpYxtOgZowanSUt2g6N4
+KX36UIQvwsX92mdRns1Zgzk2OZy06AuPTT97aikCJBdKfRKYoIcIGRozhGu7VxoSZZVeP8Xx4kw
WTe4U9Q6aQhGJ0BapscqUQ1IS3XrUqRwi9clS/u1h7WvBhbl4yHwv83IQ9Pgscz1aNYxp1Fmu3n4
OucHTAtFpjbv3elhIHC3AxUFgzSMAMOXA2hl9Fm96qIwAs2qWj6T1KxflvYImsmwnk5j+8Fhecja
7zb9OpfxthLJDMulTGEHXDOrDMYNixPkpzbM1uy0LUB6qheLEixXQ4bEWEssypnaPca9oqZ9CVwt
XAe6M+znMT1uy5OFK3AhAS5voZj4CqGUDmMxewu0qG/zI+vm3ZQ4KNBM9y4fGylNxfLk+/efONFT
sUxWjLYJDQLWWIvecqZYjuzueQB2x/1GtxDwQa7vXlMC8d/TYXRM9Pc67OhgCjhvDtt7Jr8HF1IE
FwG6bI8j+hrilqH6sTzZ7m1Tl0cg0Mz9c8Oe7OJDYt6BmTT02o8tMGyT4Wmmh7o+b/8QqbJc/A6+
2xeWBlgYppZQ/A623tWfgyJiQ6hb+96/cz3VmlU7K5ibYdTNqSggK8u+a9Ujc37Bfub513JpQRH4
uXNiuhzd4pvfHZnXhnzw1lYhI0odXdBr4YSR7EbTvbDxK21WjQAcKbaaR51+0pchKuipKJwQUMJR
kIBVzrND130sVPdS1tiCoJ4POqGhxEL9+Xqv/bVdcwDZYQCpmro9tQ3/ibLlW+G0dYjR+t+u21V7
PTOSg+PSAo3SxZ98MfvnMW9+TMWgSqJIjx5ajqoCJycWO1y8aQasIh9a6+1+36V6nIHdUkMUlvfl
oerL3chU0Z8ERNvAFvyTKVwuWOE+aD0M6KF98wGNTntWmvuq6fe+vhz+j7Qr241bV7ZfJEDz8Cqp
u+22LU+xHedFcHYSTdRASqREfv1dyrn37m5ZaCE5yAb2gwFVkyySxapVa2mDiO26vO/r/mMq0yu9
LWIclXE3FLfCMuO/8PyTn7JYDdcXZjPOLwFbeiHItaNiFvxjoVuQ3ehf6d3bZXur3n9ib7HTDE00
mjBxTOo9zn30l0M955f0yMdlM1uruthkvshHveRz3MquGiuICX/tBpxgKY0yHYU2+Nplg3M0uIwW
T5d0cZ85DR3A7I/zuMia55Q2P+ppus7TNmwkSH/tzo54I3YonGzcA6t2kQTXLXT7InxZJC98zRoJ
BE2QP8r5nUH620bv3iFwsKtJdaNrzXVRqdgTf9GvGOCJb1rILUEGZImqaj3gLo0G/cVmUF0Vqr2m
wOwNwMp0jrMxs6sec2JqXuqTs7nNjTa1c2wWi8idMLQnQ/FYlPUG2GheoE8LiG4Wz9HR6fmpjlRP
Q2FTHWaqZgj74sYElKLesS2Uz+q9fWJm4SeN5GanBTBjpsNHpdm/ytbbGMm6S/w7kjlSOZ0wK0vr
UeFEA9XiXW7lt2bHSahJRwBghwZBwt5UJXethHbo5U2wNjiMDc1NJlisgLo7t5yB3VOMPWSCHFZF
EO0IU7oRlqxZCOw59QNwLKRvF8fV2PHSEDYAv15zPSRd+V9+fnE6BUwrkZzA57X6myw+0i1Qz+rP
n8k2gcPAY2NZHB1GDT9fAVKORvCkyNgjttBGfLG2XVDr/38TiyGgr41Y3ADA2/bjwolqEeVbs7Tm
YKcmPi1zOxTc4YjahvQmAKuX1wlodMv7WvLIsKufuEbvtYxFl71rbYdC73IuwoJqERR/597VZipj
Ta6QTyqQlVPDzrL4q02yBODmjUn8bAq5cmDi0D0BSBn+nZtqoNUB4mio0sEFgXssvlFEIn3qPbat
78aXh7USi82JeYTZlgUeWXNZtdeKWgXlrKUEvu1IqR+AP4RKlqHWHvrxTTc6bCPketxiV2pbL9HV
gYIv0UUgGMzqPecD9figTDvtIKzkjugfBY450sfOOiBCY0bogs9my+Jn/8RoUayHnh0AgeaydjSN
wEt3Jh71dNReQAoNOdwKiZ6N1MHquGaOdN8DdBWdPOfjSkeVUkhGgOxMQsKUO2xHDPtIeHBryi1i
tc/bASM6sbXYca6rqcBhuAsrrwQ3vnZT1WYsZLDvWBoXdb3TB/rIarHR5rk6RNy9s8dAs2jpNqpy
OxdMD2iQ5HbMmgn9qtkYBsVwrCj0+y476dqqQS/NdQADRvZ9mfNR6dQ5bQPeHLP7EUigOLHTPW0j
lvl8OoIyCemH3ySI+qfeFJOlBs17JJYcqSYktSgKb3SLD2rNiDnD6mcpC/jg4nb0TC5He0DA1PrP
6LQInXqLc2Btrk4tLAKWcXSq1Ju5ShRocZoW1XtEf0Vq7f58SSBRBvCuC/7hTxJsmZmiHYKjcqjS
I9WuGzecxo0Td/VoOrUx++BJKAFyrkxnA6Ja2ZbhFEBi4rVmMnbLQ8rHcDQf0yGRUx8a9pfLg5vn
6DwaQwRxMrjFKoHW0SDKwrOktNiuq+0w199zNJx2qkIZU4CAYMsv1lft3+lcrJo2GBkTDix2hfOF
1+xABYlLUKRt7KSVnMf50BbXWO71wHlLGKrrA82+6GUTBe2VYf7K8++MVDElN6P9igbC0LaONSi5
bS4ii197+fPlOV47QE7meIljaSEJBxk0lCs8neWhPjpPZsOPFSN7Ts3ry7Y21jNY3DMFzfwAtXVk
+YPEkLdI7wd6FabIebrq3dtqf93y28A899uiF5ndOnj+qeC+Kn7qJkNDERy2+4dDQSxtwAHSzNj+
f4zx8fJAN00vbp4C8iamOc6zSmO9fQNWuuh+jsGD8HGjp++WuoPyRuiO5L87DpZwCQOtQlWuYcjB
sKvFY2dcT3xjbPOmu7Apl912tPi/TYmo6LWyzeuM5VdlDiFtTmLuaRs7Zf2k/v8dGSwOHxVMVmr7
mElh/AJvdyjF18trtXZxn26AxSHj55pTBgwnqGa5Ya6BGWkAUa0oBtBQ5De95ifcHh5G/hc4zfkI
wAMaKTiMbwnYm1hbajVBdGL5+aEy8lAZ9aEXIhqbNlLdvjKPJCviod6X1o0/blS2VpcRDAEmGCiQ
7V8im5Vh9M5U4wAK9GRKYzetolY+u9oXCWDo5RleNzWX95y5h3IJ1WuyshOiw0thBHGcGQ1t3GaH
3I2drRrG6vkCBsv/NbQ8y2yv0KdyRgakIHQxXrtWhDMAsc5uTfuX1z5dHtZKxQQLeGJucZxRpy4r
p5n1LoNn0gDXVreQKH9xu6Nu/ei9u7q8GunGs371uD6xuTjTshb9/i2yZiCh9Q7UvzWpE/bDnRNs
xJWr2+7EzuIAk1au59ATRhXbQQbwlU4/Lk/e1lLN9k9iCrvE25iaGAeb2I53ZmhRb+eJIJaglWFm
G+cMNe3LNlcv95MxzX8/sZnJwG8aKI0/OO5VDp10EtVWfNnEpk8sjquG2lwvasybo9R94xdx1jiP
vVUcQSIY13hLdrp+QAn8ypjkhu3VgwzUSaigz8Cb5ZuqQZusDu5FHGRNH3nNbQZcEIRi8ue0FHs/
/d7+uUQU/B/lO3AhowSMxrnz+QT+2cyBXirAm2Hs2zr4GOsyRp7u5+U5nV3h04WDWsHcBguFpWUR
CqR8tvAbnFSk7KIx+Oi8DejXloHFODqjFcrNcGkOWv02jVA+d7Pvl8ew6u4nY5h/wonr+Vo59nUD
E44jQ6t48pV/yAQN2+HRKF/taSu+XD0mTuwtXL2sPJX1LeaMmsgufclHLRyD/bbA+urUIRUHKmcX
taBl5iBPxVB0E1ggSh5BXin1D5fnbXXLnnx/cdxp+lBK6FUCEOVH2fgEVaqtiH9tBMi6zAHGzIew
ZIDqczBkBtLDCAp316LAovfxn4/h1MJiDFxqPK+kj1sJrBUBBmJb3QFlzctW1i5ZtK3q6I3xgxkx
fu5hindeOTQaLllwfZiM7+T4rmV9qGwrqvqNQH590v41Nv+YE3du8WovzR7G0Ia/Z8W95m9JDq5a
QBoArbjI3HwCjA+0CxjxXYR9ZRDWHCg/Fl6esC0Li2XpCjLUdHKKhy+Beim918tfX9uAwACA3BXF
8wAkB+czlHrgRM2AiX3ow1a7kmOEguq01YOwdqqAJtJERgb1l095cGULF9Ly4K0q6p9djcOxKCLQ
LYYVdnyThVa5AddY9TEfJSZkGtBOttztAc3GwhthT8KxUvqtM+yo9L+2hn2Q7vvlCVxdHqTHZ5nD
uRqzCK5aAKKdqUEaiBpfB+B9flz+/Or6oM0a6XdouEA44nx9aGpphFT4vDs6O22YYmV7IDcvIjpu
WFpbJLAmIMY3ZxreZZhPUbU2uY6IwBRO1I9lVGp3TXvTsXEuQiZ5Xv2FY0MaCu3cug2diiWtBpe+
oCC8RG6riUVI9OjyzJmrA0J67rewwyyzcz51QUvStG7L6qGUXEd7AUHVOlPIE1sOapvTqOKuANMc
Sq9vBkDt30QDXoLcSemOKIhr15lQEeTujcPYl+NOA/laiD7cDtwjcrwv3G4MVYYe2DQwftitbNEo
13UxyJHRRaQFE0rFlh4TjfvvokvVhocv7hsbKXhkwfE/pOA9AJgXpygdrSHVaj4mnBZRoyfM/mYr
ujGDi0DttxHkapH9njVIoU90PoE+QA6clK1MSqZ1uNkgmC2ZzgjQFuZ4zIdWe6tsO3uy3Jre2KBk
2QqE1/YWqr/urGQxw7QX0UFXDtxxQUL8oOWQStGhv4ZdsFUGXEylBTY1/dTIYirbiWhUEbgJzj9a
laGPhPFo/cVFdGpkcRFJjxXgw4ARLWz8/bTVObs6UXhPAhCIN+WnwojVBGDzz1kF2hC3P+rUgYCJ
0sqN+HPtLLJ9UGnN8mQestHn/mBLZmeAT6LvVC+POtHCWjQ7NEqFqrM3zobVRQFhF5qwUJsFj9S5
Kc/vs9HJnfJBtzt5NbmkBRNv6oW61xVXl8+J37mmZdwOeCP2EvinXTAnn9uyiOdWRLPRAzqgDclR
2Of15Fn3jt1AUyL3Rz/0rWYCyjDlu16lSCBPvf8VU/2uy6GJdGG3cQ/2pWtPEzZ8R6hQdzoLWeCA
JbhzWWzpGih/BjZ+JQXEYwvG5BG93CxE4bva2w2eeIHf5odU6iIFyRWz7ykZ3nUh85tgEnWMFI+9
80mBzk2b+3c+SlKRyn3voUZ8E7my/QrmjOmJ6Y06OBb/ilTUh9Rl9WRk6PosAau6kb5b7QY0IoEI
Cs88WX3XJc0Ogypneh4g2hqpkOozp2eRsxK6xty8nTwnDQe9cEIoFyUgBHevxtZzwmFscQqQuggH
Qd71QH7LQfkSAU2i9nn1Wk9ffPXYAi0J3pUDyNfkvmIcIjCNCvO0HOMRaC0InvYCBE4yajMnSluo
hXmGf+iCuo5pj65Pq7XQo20j/dlapI16c/CPPmBvEUVFbl92Lf2bowBoAIAI0YX+mX2Ht0TxSuDx
q8D4YbI6UvZbKzaO7rXg5NTIfG2dxqScmD3J8hIQcj2CavKrSYKdqiExM2Z7rPjGTloBZM/qb9Cy
NYH3RF/Vwh4ZMNaBDOVDaQ4ibIp0fAhyrb1u3SC9aeHekZHLaedpZnBjcD1/7imqalGnT+MdOnPd
vUVLcpyQLDgMGbE28kRrGx1FaxdvMuT4Pm1010IXjgxo+TAFKiJ6Gxc6Wouql409jjldbvEAGUS0
rUFg8RMPA2nSrrQZnjaF7ZK5tWz8giDxH+KrNmSD7d5nNRcHA3fNres2zsY9uhjjfI9CaRtxKIBP
IJZZNgJh8/V+OmZDwt3minvymQVeNIKAaWOp124BoLrmcSJZi+fguWd1xK/sYXDJgyHf0J+Xbkzi
Wjx18vkliJcYKMCoHJ+XxZFORwCGPWcvup1V/NMUf+EWPuD6DhpxsWrLZ0k/tToIldCXT9z0IfOy
Oxck25xsobXWbjTUwoELAwQau35xLfOyzQweDGjOnhH0DbqK7Thvnb3GNy6Z34XapQeeWlrsQhdK
z6iAclhys/uSj3rINfM6hRKrI4sI2Oi46kkY9OOV5andGAxJblpvbj5FluyuBlLH2mjG47h1py98
83f0A/6FuZkQsSSi8XOfyU29T8d0JA/M+8e2vwX8p7Ol3LR24J2aWARYjWVI2pWSgMP/Y+ifs+De
7PZp9ZSBv+/yNt8azGKSCWhEc5NiMI4tw6C+Hqa5j3ljN6/7DCZsjoHQCLQIF3pVgMe16cEbgwR6
OonIQ66n8K5RodywtIi//3dt/rW0iL81V2dF2sISWkv0CNQlLCoLZR3NtCz2qYX7qWiheZt1uB11
ibrr5dlcWTeAnhF+g1EGqdPlQMFO1YEUvAYblgNUjyncW5WW12njXNHSfWtsbXfZ3gqHFCi+kBcG
XRUYKnBSnvtiaoFuNhDZBKwZhOSq6cbN3zTP2Jd9AliMlta7Pv9KAxZ69Ndoj1GhHzv2j2894+0Q
YhrR+FzcG/4WueHncw8xIaRp8Cie38XLChQE9rQ8y1KZNMabqLqdS7/KwgKE7Kfq7WMXPF2ehs/T
jumeX3YebsSZ7fl8FibqVppm6zLpiqex/k7rdwIG7tqoYt34uGzqs4OdmXIWL2RQZ7PWlUomVZ0C
i7MPyl0FrLHvvfDsgcoY7H2XDX6+oXDXo3McuSawf6Dwej42g2hmDq0JldTWvhRxvnFrrH4egS64
YlHB+5Rn6oi0pHSISlhG4tb4ZaXPl3//Sr0cA/BnRicUI5G4WCwOgfgbsrOaTPh0bw9Q3zGvNfnG
/KQa9r39UNs/yfgonWHjYFsd2L9mf1dzTmLGTgEf0FWlSoB4c4On/C+QdaDGBjgLWEXA+iDjd74w
onBI3pXA8VcDi2x6UxRz0+JBY68bE/j75j6/CM8tLc5o15Ucb54SrTIN2pUtIAH2zqh/tzLmv9TQ
AgWTQet+Zb5XXteks68r2+1iDrrBb02q2HfPo2g3dvDz9Mnr9wPa3tCBYsl9rfeveDM6CVBb4EIo
KncHgLv3kqXZj4p7Do8K5aT/qECXoGSe+r1PKP9qFd6Xkrdm1PVuc8gcW3ypjamcdlkZFPesNc1f
xZiJ/srFc+AGbSj0RROMRh13oQA4pv5tUXfTE61rhryQNjzmvvaae1XwCFWNeheQVj8QOSFNlDVV
noyZyw6o/TpVCHUFa+fV4D6KROGLa9FXoKV2cw2PTQ4cIzGzLBQA5R4sUaHLgWsQlshsa9/1Kb+p
86m7Lg2HhRkV6mi7Y3Ztt7gHSjXkBw0OA/p5NM73IEPYC0LNOBvM9MFAVI8CCzqSTFsi6h36PjKt
IgtC7uj+17Gptfu8ZJKGzuiI76M/kqOu9j7jv9KAfdjAYI+FdqVKK/bA+fKUly676XXxmGuDfWgm
yq9Lt512eQsQFNpUdLzkqIxEZw+RB3Kl+1R0LOEoC747ZqH9aNHQsi+mUjzbgabdqICqSFqD9426
c6GmGOp7h0l2qFxZYoUNJSNDOvk3xg3/scX9CPKr4ocC7+a+V8gg+q5d7OuO9jszyL29Kpw2Crx0
PKL+A40+q06vxjzo8IiFugGAL0AgtuYUGUZVXqN1x8VXRhGxyfzOW78B/YBUsXL8PEZgNkRaA9xI
9KIXRlRpU/WkD179olrmP1VmW97lYLMKW9SebhovM+5FSsDGkbIaiBDIMXVG1r3RmvOD9IkXETDS
HzySOneGlaGPBQ0RoKVHlkGaPdQrIaKNPnpvCA2HeEfiNNaHLi3tlzEgjgpK0CG4aHe9ZnXFd6LV
m0PBdUz2WENAwx/LHZJ10FSQ7bD3NEPEptPzazdtjaNmcXbwMtDXFile45o0aET7VERmWZoH16YI
Kmrf2Tj3P8dM55t+cWzaqdZ5jFXlPRq89mbwlRaHAGzyafDP5ePFW7nRkO4H7wb6Q+2Z9P38HEOa
LZuqZiruJyt3P6jjlTUElJz+mFouxx5Aworbqb/z9EFd4SJxQzWaQdy5lB09owrCqa40SH9/Q7Yx
cqBHcjexso5M/t7ZOsRtvWHHC7Tij2pQD3mtj9/9Hh5jusW+H0YzgmSKGVF9tO8bvJQO0BWeduWI
Ft2S131MGWnvhnSwnlAxogfNVOlepJAKmUw1PhRc0+KuJ28y6NlV4SAzotmlFwsuwOgKwuhDWXf8
Ox9Is6/d4B/ZQO8vo8i6eqoIojZIrTtJkZ5igb83Hd4/6VKNOz/wKVCdlSueqVWRKwsv1R2rhl91
b0GnhIHCwJI6Pwi3ZogCNJZHNYFDTCCAAeJBx0sktUTo9cXwaygMO9RLMR7SHhpBeQWFVUr64r42
eBc1fU4fx0ZuZfIX3vOf9zP0uRGF4t4FYuB8UTWM3wskHxIa5F3I2/YGseC+MSF/ojNvgwFq4UG/
jc0yLsg7ztTIy6g3KKugVqjlJ17txJOj3YG2+gFKlXWU+n6FpjNzDzGeH2arbYTbK3c89qyO3Dma
BlB+WVzBRtESzRFGfo9TrgVBG3rrGnCTbWwQTNXy9kUbLs4GE8KEn8pJZpoBNS9Vfm+OsSXAsrlT
ZYxSf8njy4ZWR3NiaP77ScSSFqWmcHrCkLhP7SJs6o3YdS0UQ44OQAsUeNDev+TWbHJDQrFUy++p
pZJc5i+EjwKM3+MvVYyPae4gd2veobnjts/Hnx2dXjZGOEfHi7lEkgUzac9HDmqb50OEHFNpg4gx
TTzVyiLM3To49KAheHHM2gopNEBid+jJlSgdGffco7esJv1u7EaIgk60fEcjv3EHEep0RyDnGCm3
y15aw6vjQMADGCRn92mqB1cs9dUeF8Qv9NHQOxqQ/jobso4Bs2OQfeVQ8dQQ5T7m6HCJjJ7I2zFH
C6qJFrzYLbwpRnIbqVoVVNO7xKo8plJ4j6AkzX6lzG+/ZDoiqcuTs8QX/Wcb4f1iQwcDT8dlLqoy
UmeQZtAndvCsa1eI2MKCNXGqVdCQjHPtjY0ZjpyN3OriqfYfqzY4MQH4Qcfup5JiRYmX+XoPeZcu
RtAh8DgGIUGjIb1DnODQenV+mNItbPLKk82dU6vA0c/sUssGnL72ewEsVXFPLO+uTXMImaTmq/To
MWjIIcvTx43ZnV/CC9dzQQQ3i9mgNQX5xXPXqyZaN43u4azovPbWLYbpliLDtRsdbu5U45RHzIIu
cFaawb01uMENV7l2RIE53ZLWmr380k8xFz+Fo7fJEG5+P1NCtHV/DKzuSVnTH9eeIJ7poSAEMIeH
l93ydORO6YnKye89w4hwU4W9+0IlSrDjxvN77eA6NbR4n9CKahICrvk9D95KUBsRgE4vr96aBWcW
MIfgHhSJlmU0SYPObX2OVIUxhZqjQyBo45RfbAMkjgK0SGHj2eCMxuG0mKxABW1f6vBHpSGC9BX4
/ZqQaVqIKlgMAvzI3NLIWLMINk2AZtFzg87exVlYS2Sli77D8hDfu8HD37tVjq52RkODJO9c3Jw6
6fNnNZhbAkJrFwH4GnWkSsDrNmeqzj2QSFHpfqqsxDSoPJSjZb7UYP568kxVXwcUWC8X9RZIZbnd
Pitxpea0CPamMrJff7ywKL4CU4SE8m/+yPMfYvjSGjMuraQj5FjU7XEri7ziObPM09ySBopkpGvP
DZi0qapMZl7S3BrOfbPVJr31+eUijtpU9BYoewZxJOQK1c/L87NyVJz9/DnOO4kJWmETA3g/L0H+
txE/QPneb6lvmyuXMpAK8HpsMJx4S9Q/QHi2IevCTTqPVCmIATQPfEwFpODAFTB6dOdBm+Bxzj/K
Ay0A8UZltjtqKTCOPcueIOoZou3R2lfCax9LzdB3AoWwj4o28p0WCKxChJ1I2BvOFhRyMfv/ubuw
ewJA7XV0jC5mvwpKNWoUd5eQLMwr9xmgjO+XF2BhYj4XziZnsQCgGC1JhVa8xPOeqmvG/gyLjRHo
APbhFNCRv0RNbzECvwE8ILW5kfAKSmFlf4sH/NvlESxcaDbhoJMasCHk3qxPICVptYYMZO0lfm7y
MBi0/FXP0xEPMME3TC0mazYFQCcCiVn+bBaoPvdWMAloI8IqgRRDFtQhyW3+vdCQWPnjEeH0QoOy
A+J7PFgXZ7UwUfDG21AAyQPMUVtEXLzlxp8/oX4/KeaYaCZXXzpXQZF0cBo5Julk7QhI7Hi+c/Xb
gW+1Xs4udBIO/J41VOxsPMDnNuElvNNgQzrqahgTw+DNdQc55V3OwKjX+/m7ga0X//nsnZpbzB5t
PbQEuzBHaRkiIxBPKtvZzo/LVj6/CTFneJwhMYqK5KcuTJM3Hjd1f0zEOAuRuwdfJrY9hmX50QPz
GdgMSLlqf9noiqsjtMMLdNZGhyTCIhDxwK4yNWyC0YmFk/ngMhoW1kbAvObkHtCrIBJDAR616XMn
xzYbrB5QtsQuvFC9pv0ftpf+9odTA4td5ErKbfj4mOivkK0P7b1tbIkgzmu8dLlTE/MYT64VSO5I
QhRMZFc6uMC0H5FKkYjbODvXHBsgRdAIo5oECbJFCqvRBz9tOawoEWrBYYI0zN79q9mac1fAEgNO
ai3WPPM83o95JZK8D/aoZYQSbwnb/XnZs1YeZ8CDQIHOn9MM4Khd7Bp38BmtDPR4Nz025r5As6FA
YjQHpOemckCp9iq3CMfWHO3U5GJkhQbcr5W1IpF3Vrsbm6vLQ9r6/GJ1RjzEqelj4vrscVD3kE3/
8+8DrT5zH+OMBlrg3Mc6vzUNNMLypPOHMJ8LElvUymvbfZbMsoG/xcosC/EM3EYZUN48ycsXM3Nj
Ir7V5OtfjGIuv81QRPjxYjOqypO241Q86UOE6ZHdbeWwVgfhokCGChyKZMtrZhjTHpziukhqEyn3
6yrYD83hL8ZwYmIRw3DmekbJDZEM/VHIq+HPYlScV3NVDxkL/JvR44sp6oRe+SVzeRIM7bEb+ju3
fwKm7k/HYEBQG/IyCOZRCV3e+RPaH4xmmKakG44o5SO7c/n7n09EfP83DzkiYBvUAefeaoyy4hzo
xcQGE5dwf3HUSHJ1TG2xIzbZKLquGvNwPQZorkI6Yv77yfHrQ9620LN6SgKjua7lXQAwo9SLUB+c
UO//YuZm3QzchwiU0Zx8bqwDzDXAUS+T7KOzrnx/Y+JWTkagjAF3niV7sE38xfdNZTWkYtqUoB72
YJkc5Ep+F4Eg5Ak92iCUZcGLXVXPmsiOgzW+XF62z7sHCVljVqlFAQz18cUhNgmW2dziPOGG+Uo6
/QtaZX5afboxyM9n5ZmZJY7LdplCp8/Ik7H2fukS/ErIFF0eybwJz69kmIDwEfLZ6B9HQu58mSqD
igESMjzJ1LfB8vfIeYBjpI9BpxL/hSWkOxCrI6fySXg96/1eM/yOJ5Ulbzwqskg4NMoZQkEy9Ru9
yEsU13w6zFhFFzV+PcBdMK/gia+nQdpRy5v6pGvHdg9LY6TXlD2ORubdBKM57birR3Z1DzRwGTK/
yY6l63SotrLqWUKSd5ebRRB2nat2LXftMBViuL48Iyv78ew3zmtz8htt1RqkEaJPGNF3VQ7mXzI2
RwXWHNto3mTd7S7bW1tr9NQhwQNGoJlM9Nwe0n++QJG2TzJqtqGZaVcmFTu0J94NZJN9aD65lo4F
niPk22cBXVDAnhtj3Gl02nZ9Ypg/1fiz0L561ouQDwaodhvkk496pV07DNlz+mOyNt63azN7anze
WCczy0xNC3JO+6RvehTNzPGDeuPLVOlBpBr3yhJbHaVLiaTf/uZB9hC5XmSWIBx8bnGqZpU5q+8T
ojf9XH40rqhVQALZRI6gnnh50xGrvOcmeCIK5mRRwACdcpjBI9w9zsZKr51PSK0g1tbtObW42NUD
JTURuRoSNqJHou+0+0qQn1O+hXtb86hTO4tYEVrMSH3pKDw29M7gZawRLSpJHg3NHzLL/2d+Ec8j
VJmLSMsakp+Rzk9TBmRurmXfQRvTh1VV5j8u75DVeUNlABhLF0/9JYDMFb2aXGkMyRDQB9nIK6+b
dkWfb7BILZHev0fjoxowX/rA0C37dXo2WDkxLdRclFC7YGzULjWARUoHzQobRP1xBjBElFkd+SIa
Uu+k7akYeBYDvQSdE1LTAIdRg6Ck5vofwibnHwcKIwAwkBOAQN3ySgB4eBpkUfVJA0IR1EhCKztq
5lE4b5cne+V2A5IJLxvQQ1s68lDnW6Z3UAIvBOwI/W2qfxqs2bjb1mKEMwuLGEGiRbocSQ1Q4rTv
0AXmQchbFDXAu8/MQMfI+Iq3e+iaKro8spXj58zu4uyra1Toaxd2++6V2lnk92DDuOqrpzJ9/XNL
IMCY6W4R130+0tOmCfr5oHOqD6h85FMimp893vDq6bKhtcU6MbRs0eNmaoMnk+OuMqGQfbslGLX1
+YUvBHqfl3aKcUyAgdiBABZiK9+16g2nQ1h4A4oedW1p86XQJRJ3u9em6Bqs9vXwqswmhqdElVHu
pbcxdSuHChoKsJ0CnFyfGUBNJ9Wg7Z33YOSt5Y639rCbeSpuMwsaKpdXac0UaF+cGRIByaFleRON
8yRoDWSmg6C69XL7Kk9vmbNxuW4ZWcxjU48m5LvHPkkHBT2Zt977KNAgdXkka1vodCSLLeR6PZr0
fcRGuX+dzSgL98o2Xxzrix3E/52l2TVPYgUK/tKhIxiOyuPCi/DS7p0o6+/KYePUX/Px0yHN83pi
SFgKmFpdoeSdyhs9c568yvp+eSwr9zGI9P5d//nvJyYmAqViS8OsuXgLZc33wjIiE6C8LZ6O1aF4
HvIfSPHD4CK+MAfq5ZRgK1WldI6Z6+jxpKl2d3k0az6A9B1aGIFEnstB56OpKzTeuMUcr5I6eBIM
1RxW6S3QWJYfD0VDj4NQ7O2y0bUpPDW68O58LPMpbbCFDHILhEpuAXRxqzUvl62sDA19Rh6y1MCk
QGByEYqzvPIzKD3ypJCtejQVna500vrXPpijYuHL4bEM+FZ301qQ6iGuAQICzaeY08WmEjp2kjTg
Hkp7dPsP5rk3rBh30IOK0HF2oK6Infwuzcu7NJ1ipjbeOysHB4jZUW4ArzQuq6XXtDwAMLgcWNJb
TThmNgTXXs2t/t2VmYUR/Idb0UZ71WKMUGfQaU1rluRGcCwyQOQ6dssnSPWRYyc2Q4zZBxfPHFAK
/AaZow8A9cZzH7WLcairrGQJq8tHh6R6aJYMUqHVh9PP0PaqKsJM2C+1YCFz82iqabm/7Esrm3HO
QaAHAbUv+1NjniB5ymQdUBSzy28BfS9GvtVuOcfxn0b5r4ll+wEeKKCJ6j2aVMYV8qp3pXQh2fNs
qjLs3OHJtv/CU6CdMS8hWHogb3s+qxZBR2lm2zQpmu7D5dOL4P2zNiF8uzx1K5sdew/fRxg+AzEW
q8cnx2RqcGlilDZeaXc1/8KHR7d4v2xmbYWQXUGYC9QDMsaLY1kE6A7yMkaT9HFw7vwtleG1UeCN
N4d/gJB8cnnZ8BErQTFb2m6kN0J89B5g4Run8cruBZAB4Dm8KtEhucyooHO90yVgcUlNnGOv9ZHi
UAWqpg0zK642s5vMEC0AYqA3fL70gFJXDSWZjmLa9LPL7fd0CH4M3L+tay0NJfI6oYE/RZdX6LPV
uUyNohGAcN5nmFbhDYGcOqknDhiSY8WVH1NTC93MhlJElUUyRSu0Ibeyb58dYzaLBDxyMgZQ0DNG
4uS+JpMaqdYQPemM2H4RxuHyqH5P1vm+Pf/+4gbFwxL3d4fvgxiUhCAUhiY9BG1jPpEEqoC7qrYP
fBz+MYv2K140H4ypfachSWOoJtJIn8bKcPaT9BPFtTDITRCP2Q9lal2V/vTYiQB7xezviKIi1i3+
Ao7nL1OWRWbWHVr/f0i7sh1JcW37RUiAwZhXIKbMiKQisypreLGqa2Aw82AMX38XpXvvySRQoOrT
0pG6daTY6QF7e+81yJ1h1i+iqACckqDFRWrHUYfrgOMnPX1toFCPt3aCXnr3WjT0KAbbpxrxjc54
FFIecHNuVMCXoBO8bUEqmVW+URrESbnsq7gFZSkVAya8ikU4CdY/DGVrXgplyGMUm8YzDEAT6YFY
UIaupf/QtK55GSPhUo/2B04v07ch7qss0BImLi6nRUAr9qOpGtRMu37c+BpuN8ifP3PWvHfQqVmW
lTSrLx1AQullZGDafImC+xsE6u03JztFCwjQRNRkwaV35uv0zQ50ajHGY9nal4LR3K8TtrPT8Uvb
Tz4xhh3MXBLPqKOg5uihFmQPluGD3RBoSNbFCYqW30F18FrVAZrc8KvmsJOy0mNRNCf8XFDCdkQX
pQ85BKRuYwelRigjFUz0wajwAG9YFOpdJx5AJ4RDTGb9Mkf2GJUmOtxm86GvonOeude6bKJHVTaX
Pi5RNU7qHS3BG0mTQ0rG/ndEaiDaedoGDaypvcqBZHHBh4Oq2Oci7VLAidRTrIrBE0a704zs0ZyT
j4TUxBtimOj27tSe6gSuY/lgmZ5k2bBTMBcPEiEC09F+syr1Feg5LClA2ylhhKnVniMhQgNNo8QT
Y9LtOerFtcfj7Kti9CyL7nNiu8FQsJNV1aFttBc7TQNC4ueui0+K6yercx85pPSTtH2AZPFncKxP
sUWP4A9BrLcPpnYKxJDtDWpectUe07L+6PDmNNnReYqzfYna1NR9LUsjGFp7Jx3tAo8ZnMuDu7OH
Chag47EcnY8G5c9ZLNE3dhs9EBM9R42OKmQ9fIeexeeSDAHqpU80N3f14ILgkj0VYohPuSaBPGdq
Z8bYCczcxYn9D8yvHvSo6/3CTSO/mNzIU2MW70sjSkBJSJ4mkqLiOKTPiWoD0ln/aIXt7C24EAXA
6kOwZSi+kchpHuokPdAe9m6oZ9EK7B8yBqLPrIMd5SfLyUHugNSmD5oWwMiMf0+TuHnIGtcInFoH
gsQZAga8twfaWez3UfVNdZAOo9zewLOufIIQQANQGTpoKNYtiYR5URpDK6R9sTT3m1GWn2O58ZH/
aRe9P6bp2xB/KhdvPkK8ZLKuVb190d1Wf+KWGUH8cDA/j1pZjD44ajibbBIY+p6jgD0GoWzMk56k
+q7JfxOdHQro5GrQPVa/6jrosKkuZd+iK0pq+pTrDfg7NCjIKHdw/54CaMZPryI12rOAt8zGnXOb
jKCwaQOgQnDW4rGxKAknPNYBjTDUhdLKb9VTC5+ppnphUbwxa7cn1/tAiycU8NK205EJSdt0LLVf
6IzFf1/peBsCMKn3h2NvD1LDE1pdEhgopB+rel93f11MeR9icUNXBTiH1TxdIt9N8J3Uvulb6SFb
IC1x6WF7oWSu48E+k1YWMwW6SsUBCbYvtHEK4KSn5mCy/qUAptOIie+CkkTcXgSTPg1710jMvVlN
XdDo2g+zHXcV6QMu4nwXwX98khJ6Mi6dL8eT1MSzRosvvWoCkNSG06SyDCdsFJ/TDj7Xo+rqXdWC
3Sim+pOCC/aJaqnfcO2rXlfXQdNBAh+e84lctbGABpx1ToZBXJQpczizjc/ULXaytw4mLoC+sr5w
kX1z8/hzFuW2B46V4RtNg6TBVd+LVH6zje5s6tVltIwgkdXFyapTNEy+iF3iMWjbjF3yDc0bpDK2
fU7Q3NuPUVSCwWmeO+hNi9b6qI827rLatyTx9abZW7FEoQvYsVgaj/g0j0k6vRgZsb0hdc8ozL7c
v5Jv369YLAAB4J0GFOhN9T3OGGhMiaQXu5MRLrO68qp+fO7N5LnUNY9TuvEGuk19Z+g5enQ22nQg
zS8KHmIUZS7FZFzcqYDiShwz/jAWqnsZhAtnUvCL8WXFY3cp2rHc3x8snX/8/cmHM5qCRY8Czwqm
kploXzg9Hy4xRNvONWnqT07e5ae+q4kvUV06gFMXf0JPU5uNPeg/GYBXDwD4QIQ00skD7A+a2YqU
vYK/a5+bpBOwrq4yy7OdGCQfVSeVB0Ze8jIWmdqJyP6nbMzopR/LSvhm1UYfVKrLZ7zw7Z2dRRBp
QAtGfzUrov9oORQQLdnhGsZ3AN3iCYhM6P995brd7d3ScT8xbuIAGrUCZbZ6ODtTy89WW8nHmsXJ
RdOSOkCJuTuOBsSIZc87aBIYyWPfKuh+mcL50Eo+fuScDp9kUeHERh78yzBb8KWxM/0EfFnu1THV
coj508hPuWygKarIATrRWzXX+RxYLAYOCNSFcHZD4GfZNRSpNeCVzOSFtN2Xxox3tS19VpOgwCmR
2/V+GvhzsqlwvLIBIfY6P1x1yJrcPCxZ62gsMZPhUgLE0ye/y+RT3J2yGG1EkCBK+/vGnrsdJZ7I
2G+oKOJBu+wk4r3CJOvHEffGru9DmZ8ghm5tneu3WQNawTMDBgRXnLxLkFjtyLqKWDFe0vo6FuHf
ww8BebFhV2XBEh1fz6JwMcBMvKt1XBu5O+RwMbY0z+ijzzqF8c3fTxeuKNAY0NQGvHpxQUGVNXdU
RNTFUC/M3GPTKedx2IKjrWQNgNP9J8riEMKuMKph/pYcknhwSTxk5Gs3l/3tT/eHs5I1vAu0mDit
hnBuqSOQXv7GAwKymbr++b8LMW+NN9mcMpmyhYkQwvUjdWktXxs2qK+3lwSWf37CzqD3WwZqJyxu
dPk8XS2ON3hJxt/rzm+BNEj+Pp0DOclGHJSqzRt5p8pQ/dSVhrwI25E/k1yfDgKWUWGSEnMHGRbg
7e/P3spOmNlQ6EDj7YSbcB76m9nLyrKx+orKCxQ7Qe8WRwvDKoBc4GrLhHxlFgEeA27bREnaNtj8
p7wJpduTNea46S6ypeZp6pPpUFRV/TOPXfVCOj31HTWAL3p/gCsnA7gjc7UOECUcsosBEq5EX2uZ
vNhWU++aUdf30hm1jXVb2ec2sJdwQp0pnTdqxzZpemh1VvJiDM34oVajQD0nMnZjT7agGX9wQ4t7
Ax3H2UgcBTugyRb5pdCNCCQdIS/xJNMnmVulZ0AaJ+xp3X6Iq4n8EGM3XRzHjp6aadK+p7FIYC1M
B8DN8uJrN7HkgePW3lU8nvzWBJEvb1n07EoXz/HS4CgkwdaFFNPk0dw2ez/q8myXwQnDU1kMjQzV
QYu8Luu9khkLhmaKzrjwe79yO93DxTkcY9X+6CpLAu2o4Zvpy3o3qvKgdIXXpqwgdUwKyD/invZG
qnZNDK2/gYkEWYiKPOD9/Cq1o72lbPQuMsc9JaTDyTvFZmDWmn3qC5jd0NTKPoNT/MtQnf3LVRP1
26rrdp1l9A+mMfBdEnf1IS1qEepFD125Hr2SX0DBa5eMdWbmESOFzght2uHapXwoNuqca9sCWwLS
zhQY0Jt6UpVH5qSDXXKxOp1fhrJsvwnIu5yNrhw3am0r2QTK6iixAbjuoI672OdTwysSSzFcWq0v
9hO1WSi45GGtwSQSSk1kx7syOztmxn/hGRr/i5HOYrTQ3gU2At2m9x+3aIUG5G0zXJgx/mh68Lxp
CpepKNsCnK+cIu8evItx9kYWE2gNqUvMPXB2WRQweR3TUG65Wq+cjBSgcwNz6qLDtUzPoNZSu1pG
5GWYrmjbQbDzsbA+G9rP++fTWjqG5AhS4wzSAyhPv5+4MdUyphwuL7R0fB5ZuZeP+RdHiR86RAtn
TZrXCcocG6fi2uAYWliMwpEBkNTFLMbZABZXKqdLFwOVEYWT/S0yhD/lW1rWN4EA2sUjx8HGQH8B
D6z3wwNY3KX1UKeh5Z5hrcK7LwUgIM7X+5O4FoWCYw64JZxwcDi+j2JwMN8EtZNQSnjcD1C/MGBl
4AC4lWzs89VIFt6JGA3AyMvlSkVloUvCkzC1yQP24sGSpddn5UNG2fH+oG5uLkwds9EgmWmD4D0s
1qiX9jRQ6P2EY/7o7KtpI6m5OZvw8y40Q5BqglxxU2gbzcrkOXCbYaMV+9oRH0dUJGk7bcAw/jT1
3l1Xcxw4wKPl55hAqC/WRrk6ShIKHgMuyQNSQdQXJeSXRFx4/wzGWNq9VFD3QVvGS9UzRIc2dvrN
efEnPDD/MxD6FhjLulLknd4lYT04c+36pVLatx4eESmvHiYQ1e4v2uqs4tX2f+EW2SgEUqostiH8
IkwbQkXCN+wv8V/TJBZjWkypbqkht0eZhMXQeg55cNuN72llFNh1xIFIPOzNsXLvv6coBm7BGjAK
MHt9Nzf83HrNy9P9qVrZ3wgC6WKAH51b1KwmnBjyZQx0/+wrp69bWIGVhQcuy0IXB6QxINIXnw/2
nV4jbUnDSkcxQEMv8rGILPkdIgM0SDMnfXahUxbcH9PqxMEmQAfjYybkLlZmyFk0DQaOB/CtfZPV
/uie4jj7+0PI0QEXnYH2uJiWuDNq11qlognrT2Kvt66Fek3bWTNuY4Vu7iZcfogyA1PxP8jAvt8G
Vh7DUt52RNj9Qeoxpe+7CkbBkHH6BAPp2hvAoPSttLIP96dxKV0AdCoig+3NTFTq5z/hfWStroHp
BCk7JHW8MzTrgB72Hk4D35TZnmRZ/Wps+yLoFFh1cTb73/fD364iSgmw/ACIELp/QPa9jw5BsYzB
BaoM9Wur/Kzzor8GkQCW8ybCshNdmHpuVRQR0NS1n7u6Lr4rYcqtjbI6kD8FPxzxKBEvBtKkESex
EZWhUvvip+p/UXa9P1W3HzHIWvPthCcd/BCWkA7Zu1k9NUUVWqnb+ulgNYFeDVtUipX9gDCzDzAk
LE3URZZlEWWmojGaKtSz7InrJoTB4l3pvpL0U5FaZzYZQWxQKOigB9jlGx/1zRgBIwGaBP/gcbcC
+Bgom+rUmMK2le6pTbV2j852+7cJ/CLK/Fe8eR5rs+RyzmbTMX5IRuAfIECVj2xX56cyO1hT5+Hy
vL94N8kMQqLKBBwLKtKgqS22Rw2LKfjmFnroSMXPBR58Ya54GpjAZwYuadKNzbIaz0RpC/kMlBCW
ZTTXLdopbfgUqiZP/KGyd06Rn90q/dFDU+z+2G62/jy2N7EW0+mWBSHcjeFgXk0hI+1BNuqZTsbu
34TBFQmrDFDFl/U6rYrQnsdBFGbwifGmpvMzxQqvboaNxGJl7iC2AOE1CKkAr7PkSsBhDPJnfNRC
Yp6n6rNonkj3vU3jjWm7BS2CY6vjXoEgPKpCAFK/34ak7kQNjIoW6qX57BDlTQKUiemxsOGNmENo
WRpF0DTKPscab48SrfMdkzDdvD+vN1fP/Gfg5gG4FpaTN8pRmhpLADGgujn1hqdHu6jcyYRDPuql
EBJ+0vv74VZ2C8IhVTDmSwcsjPejFjbVoAGAUSfZQ8ogJP2p35Kq3QixZBe6daLZFu815CNPmvhi
0kO7heOb9/S7VPvPpP3/KMjilMzAw0aVa9DCLNsPxV6Ijbxjawjm+1liSYlvtsEsSVF6QMxCZyTz
zOH1/lqsLT2SGoArUc9ApWkxCksvcy3XGA878iNmmW+4H4buZGiP7jjhvb8ldb82aajbzS7iLmSn
lk/hIo1NErkmD4fpawK97LrZ0gtfekWDBQFbujch5hG/OdpHTVa9mSJEhbLomebkVYB5OEDwOdSy
Kj+2o3I90ZVN49lk+mC6kYAZ7/idKDuAQKjPOXkuEwovONZXGx/82pqiFstMkzk6crzF996QtLIi
znmYTY8lxKkUWsHuVtFm/pHlxsR5P98xwGXemKnBjNoa21Fn4YhSw+kjfyRbEjvoYd6P4S7QAzIu
E6sFOiM0FTPCMUMJtpDQNK4GgGZahmJfrqofVeq4e8nI8KWkdblrFXFOEtgJyMayr+DPQw05jX62
SAsDo4XajA4krm/XbhrI3JYPJUI8mGiFH2vd7E9RITVULCVqkZ3pyIOmt+XByPGFR9De6j2m99Sz
ILJ1gjBzGqDhmnjjjE0W1DBgXlDVvmklusft5JsjqbFTvSxQFbVp0AJ1k8HtGgKJTAusxAKD1K8N
MMT05wFdaTbK0o8aFcNM3fVzPYPkbxpp3hiVjtc1sISCGqn5RBKLesI0Wq8ySAUjPtWch9TIz+bg
DEcdlMJD6tLynHRu7gMyrl20IvlSFw4wrSVT+ZdWKtR0VZKVAQraI3jfY6Md6qnqdpKk9q4TcfUh
jQxyBP/S+ZxHMTmg7U2CsU+6h6HhyUNR0gx8Ra170OCj6el5Mj62jt6GcewAUiArAD4hY3eAJNVr
nMBJhQ8O342mUzxYU5sehWs3hz7Xq50bgwQRo7oTwJGVArXTZiG4RdxPuJ35yKIxnzntgkLDRcyF
JLuGkmI/gBy77xwNJnEMCsFKRcO57GLrISFAzUS9IY7K5NUOrQI0JmI48ED/x4XMtjJhZ2vF/lgp
FSiQbL1YOeO5GpseC9QPZ85E7ilroAd90vuPTJuL3anDw8ZJ+X5AXSpsHSfx7GRIvAzdDqjkAC1h
6RrbWzZ/IrzLdi0XQKsDpwfDGV3/dP80vXkGA2owdz7QBAHyGvnD+7Mno27dJqyhkCG0/ZizQPDx
oDn8LDlamZnYpBKtHCgIiG8cWrG4SJeYT8PoItVNHQ1TmDJl2vTR0vSLcu3f98e1GmYuYKFCi87L
8kWgV2OKdwmnoWnVmqcZ5pfeJN2hNO3qeD/S6uGFvIBAJGrGfC/uowzi3rLjlIWwUPWdGPDkwcgD
oKJf0978fD/W2t0HIWy8eVExu2X6JMyukOlFPHRVwTwcpY9WJi6aqQD+YyWYRSIwMneDvb96cqK9
jVojgPk3qWWVJTB3yjoemt8Y3K5294e09euLpKEh7lRqJX6dluC9AJRp9xuVzJUtjvmCuCIIGRjB
cosDS5i5k614aOTZQ0TiQ1anQeHaH6B1W3paQjc2xNqI8BZF+QWdDhB7FsUJ5gzpJNFOCt0p/wVJ
+l2TJv9iSOgCg8w/NwZAEX7/1Y4oV/WSDDyELZXfWfrZKeGpYPys7W4Xa1te4SvfEnxooM8KVAje
gsseKQhYPM1Lw4UKOWjP4LELO91n0xa6eivMIg1K00FCk3Jyw8kJE7P2tOGEpGnj4bC2Gd6OZZHJ
dzkZADdBECMPy+GUVx5R5wqY23YDqLr2qb4J9AcG+Capq/p0UpIhEOkPg3MdymeaQ10rJnD9+93a
G2X0jblbHncT7bQmaUdEk+4noqWHjo6PHJfZ/Y91NQyMR6FS5AK1syzngEOFPCZTbjhOfpl+APhI
0073Q6wdp7MyHRQEIUl70xOFvkplsWmW3424L3XuAYfFytQHGeB+oHmll0knujRQ4ACwDzY181jf
LBCH/HNROXBV0gA3HH4nyLNg497wnZsgFwQbA4C//y7iPPQ3EU1epz2PEdFt631VQh+nuir7G4y0
vKE8xmYFUstWf2N1G74Z5fw9vIlJB+SyzYiYtZX7osiRXr1SFyj7Kt+3We0Pytp4Ba4uIIphAHOh
Jgeo/PuII7ruehTHHFav+wnuO5ENmDn/miY/7s/mahygiuc+BDbLEto8yi4SaFDBFaulkC+EDEP1
LXLbPe82vuS183y+PbAb0TsH9ub9gAxNCoAQuRtWDfiEbJf0W4axt/VLvADBswLcD7cR+gOLvYiG
fUYaqWgI/Z2wqK1DzujHelBYJvu5TccdoD2ZN/sEQJM1Prgp+Xl/Mlc+bDQ8kAcyim7cjVeTJobI
NpKchsYI3ddcRqU/TjCcZLU27e6HWjmBEQpsQuCgAYFeNl6EaPW+RE0spNrnSR2jAS8JQY8JvEM2
pR9Wh4WDCvBJ0DHhCvV+6Qa9Fm05mjRs085zONnDCX4/1FvVqLUwkKCbgZqwFEa//H0YwKbaqmQx
YNh9G7a6KT0CwuReWvGWHCAUkfFbi2MLG4U4s3QBhE+XW2WGhsNXdLDDBrqK11FzeqhSc8NLogYM
nidbSh/GOhp6BXHd7GqaoLcFS2dPa6pfuS7Lz6DRqNozu8Y4Qq0Cgvt23gAFbljXWkTDI5JKtdfq
MglomsPCOhuqyUNu2Pk2zJQC/FW/RmEAR2I08iWSpQrAWSpOQ91XpyTOqNe6DYUhSuSe45qjKGjL
1gdcCcoliVbUT5Hmkg8mj8FZifLRp4kjULab7AM3uzjkZSfgbN9FOxO+vMgFS7mL8knCStu2n2G0
QU81QLleo1syqGAV4FG7LOA32k+XKB3+KXL8BSxxoocBmG6/xZUIsLYO+xpLiQfQlCEpYMw+JFHj
HqpaJ5dOtjAjquXHaNDVQZW40yI7ZY8MCKJDHPHSB0lDPUaZ6JD8RuCBpNFxsvYpYASlUT/aqM4k
OBb6YpeA7I/HKXMeKjTEjkBsyEMKfM+jUU16ODrWeM2bwf2Ijov52Ea2vtM0vfBSU+iepYj+kFPl
/Co4BiQaMj3EACYFGZxNHmBQ84d54n4UDdyzwPFpD7M5554BseXDi9444d8mj4g+8vsq6YOMdAUQ
9CTy8JiDVTxrwZGKCIjC3WwsZHVmkMHLNnD41Pv4eArfKNMuMMAd/N0rRzsUPKG+ThL2kEPj5iJr
23qAD8vwRBXQQRHkvM51A48AbqXaUcjBeBWx3mFjEaW8RDLjU5E1fOMoXrnN0HEE9QPANqDMlx3H
wWaVlbcUfkjxtCuyT1r/S6oKfAjo7wz/VO1Wk/hWpQTP47cBF1c2iWFapjHbBscnbPKvivxT8Kck
PtrkinKn1+qTL7egWmunyduYiysbWVvEeg0xQaWJZNCAi0f398/glSsNgrz46ubODiCCixBJ2kOZ
wOYOcp8ukHgg8+pwP8LaIMCShCoF/Jjn1Xp/JIrIBBkI2zmU5KfB4dg15UDybTHG/yi3L09DuHej
5zfzJW+EM5XZ41IF5iwUha3t4ZJVHpsKIltaX/6j+t56hLkP+ZxZNPVH6J77sExrgqxJAYETThVg
BO01zTv29+k4hI/Bd2PYpjilFxeCPQgT/geYX5t5pS79Gqd0F/l/P8VQhQIQHFIHhC0rmlqfaWnU
SjuM6t8ygklT4Na/7odY2ydvQyzemVWVdUS5CGGfW5bBEWoL/zVvg+X6oTMGvVCUoW7ZBkPKe1gl
ZzYat+VXOvAJhtZq9Hiiv9pNi4w83SLZrm5MqKSZqDejX7zseVfCzgol5h1TO7+BgYvOJqHpjghI
iG9M3tppNXs2IrFC+eEWJoNasoiniYURS+sgHsDn6mX9GQ69pq8nzk8wePKAA9G/Y/VAwO1IxaEr
0lkVC4qAk2tFT7S3cw9dDrjcJGWyb4xJOydIFNHzgmiiHKEUm+dCP2ksJbD3bFCkh5EcSpiu8ssk
N05lBc48qpX0MaItPbiJinbg2BSvCaTLdlTT+r0F/ee8s6EehCpv0Bcl/hsvLpRFhQLsFYhcFFMV
ipLK2uFWAUBah/yZBSoorgGJu7iF0DZroCJyf/42pm8pc0GVScaMGyx0Bht6UPzzIOsgoWbkATB0
aEbpGwW8U+4HXd0ekJojFC44t7DOkpS0Ax8ZQeV4HqvyFRC7jzA1dDbirH1Zs2Dq/8WZB//mXeZG
eq0KWOSFA6oCY5J41rTl6rvyQILY639CLEodppuBIY0iaAjdMzN7bG3scuslRjr2X03ZH5b/m6E4
4EYVVoOhRPVrTw1kJ582zd//pNDLg+LNYJb97RruFBlyTxZWJUqESfExo5pnWu1T3yY/RUFfMNoa
KijWUZDkkqa6Z5ddMNrVRgayvj9wLwA/QABOm///N4PV2gJGg7RlodQyXwPlMQfTHSIju/tzupp4
zKQonO7w7kGp930cW8WFyLSBhbrgAYe4EixUPWlYR2skXxvb+tml4JNPwwkedhsVmLUhIitAdjDD
Mm/kdDu9IBJOLPN6+hpUWbE3n++Pbj0C8L7QkQIqYpl+mE055aVbsZAWT/qQYw6fi/bb/RhrHxhy
D2g1IAkBJWuRgOi80yWSWyeEOV8s9120MUu3qpFIDd8GWHzBtuZWDXwKUausn1Lta856SC8cbees
iyfGdz0qfYN7HHq4SdmXvroo0Xn98PP+KFf3ydu/YvGR1zlYjWrCMPX8CQapXhozuB/uRAmhHuYX
8S+DQ//o9/2oG3NrLXqpQpkAW+EWCJ28DIeMvrYZ2zhU1gcGwDbSN7x3b5BjdR7D/yBOnTBVIqzr
8ZFVACxYZQVnU/7FTrLveHa/dA3/kZpsY1b/4DmWp83cOYKm9FzBX37lsaPz1jZK5Mc9qXW/gyeO
70y8PbHe6o+0rhKfsqj4lCUjD9sYb1bwsgo4g0DfAl6B8DGrtB+tjLACQsogiXh8NKTpQLJcDUE2
Ovmucs3v49hQ9JFdd9e7NIW/kq6/SmoDzgLY/16MsOTmBfzKvcEE+Pr+GpLVjxCNEQANAeSB+Nn7
E6ZgLTBLseOEpsBB2f+mrVac5UDNo2NWxr5Mc+H3JdQc6qlE7t41bF/lZom39uhiP2v5FcZi2iGP
e3kdoEiCBubkgEouEnuXtj0kiUaeux4aFfwYIT3CQUL1B6V4czBQbfABrNR84BnqBzzSrbML8yF4
sNruB877cldpNTnXNhqpGR3rV7fZOB7+XBjLJYaGPGCJFOybG0hP1HUQ9M9aFGML1CNq959mNL5M
NoDMXfnsdAL9SX7VWRei9HE1tAagNAKp9inyzGxCGYR8yXVx6kgqvdqqzzH7HcsEQHWy9SWsfmwo
pyIPnyXNzMU6QaajnRokIGECST9i9ztKjve3wvpO+E+E+S94c6clnVWMtoHXit4nQS7aQMuhKlD8
fRvRpRDdxKRDhfoG5GHHMQTHmemErKo/mnD5mhxzI8T6ofGfGMsnUTUYZlP0thOWvfaQ9RQ1Uzr9
YvAj8JSQoWWkO6W0hwJ2tlO8pSu2lm+9GaC7eCxZneXmKT7yUEHxPiJfHHotUVmDlvn95dqKsyhq
TjVwfkaGQdawwIb3SPdU1oG5Jem/9jL7QwCBrTmW5aZr2saQj64LFvav5QT8C3rbtUdsKLNuJAOr
+3tmmvxvoHm4b3Yf0OHwoAIyPpwsn2Cd2MZBt/X7i0QgbmgLaST8/hfIDMz4l41nytrvzwqveOXj
RXljfAuPUbCbRMlCo+HQLHIhV62Jf5F1grYEXAwQWOjBLraWYamYRAJfaNEGev4cfemKf7EKeBXP
Sm9zQ5nOZ8SbVdCqOIqpJA4q5aZHSyh+aNL8a7ItUqZZugc65Djdb9jrgMS0uOwNBJHFcSJQbdgS
ul9dDMhYzxLW6GUsRUpNESdmLlw8E6JyT9rvPGIby732Xcz55AybmZ/2i4RLr3UIBJWxG0b60TX/
QR69S8WD1UxHEW0cZ2vn8ptQf067N2sSQ81LoMuFbmt0MZzCa3uvIy/3D5PVCUOXDijvGYe4bF3U
rg7D9lK4oaOPH9By/TB2zvVfhHCgJYHGFkG1cbF53ZaOkWFLFsY6CnONNyVbjdXVQbyJYL7fvCKd
nKyJ8Fiqcr9NvH+B/nXnSia6f2g33rDu46kfRM5Rx0GhRclfTQKnhsP9OVrdVbAXAu0D3KAbjAqv
jMGgOUeIGkR3kbm4N4ZMD4y81P2m6c2DY0Lt837Q1f3FHJy9c/sb2Nb30ybtLipINjOBIaUo7cdS
Piq28VS4uawIKNNoBRt4K//pkL2PkanUIrGWimuka4ZnT/2zgVYG/NS/W/Bj+Mvx/ImFNt+MgLx9
VrIidnpdK8QVNiQXZ7Q+JlYeOKT4eT/MzVotwiwefkKxMadtKa42xdMyMtGbglZfpO2EKHD+7+9H
u1mkRbTFeWPohaZsC4OqKEgskGyr0ARO6EY6fD/KrbYW7J/zrMzFVZOPLNrrTVhuGcRvhVgcAzDA
/d8QTnM0h0P709wSq5gn/l1K/26qQK97v9eqJm86vEjFNSP9WcUG3uQ15NXsKzF46ETDS2uaG/O2
vr1nbPissIYk5n1IGsMII3WVuDZwp4kPotzH6IDSjdPh5nybBwZHcBhrwT4TScD7KITQQWO1Lq6u
9kV8YOXn+1tsdRA4eyDwMR9zSzQZnrq9W8aVuMrKFJ4BAzJ0W4+qHw+sKTbKJluxFmukio7ldGzF
1SHoWx9hBjnYu3rauDlXP9E3I1pMWB2zasxyjMjhbgrFJhV0jXWWEzvhIH+U4zRuZAWrw4KTMvIz
076tNuVQuRr1JsquMSyAxTWvRr9xNFgpbeT+qzth5vgALrLCZIcRaEfNOs+uTJ2M5PjXhMB5oyGF
hRYTnpqoDLzfaCDJT3UWs3k7f9e1Z1L9kOnrv9hs6ApCMscyb+s6vKpatHwwgi73J/uUZp7Mj9C3
vR9ldZ7ATQbyCW9NFFDfD6SMSCajeT26PPqFO3RXavaP+yFWlxyMcSTLbPawX+xkjSduIpw0u4rR
L+FRADEUA/jvjY21cqbNioHodQN4AVW2xUCywuS61vP0avT1CaM1UYnpGq8egAtS7OIU2uuYoihx
f2zzpbI4Sd9Fncf+JvMsyyyjThSJK9AbTyUw+jg8fMvuX9pi+m0q7btW9fsyHv72mQO/VvgIQmoa
zylwuxaDLSobEFAmxJWxx6YSXhs90mGr5Tj/yM3YqI0MHmpgs/LK+7FFColHzkxxrclhmp6Alk22
ZJpWdh/UH8CRw/ZAa3NZWqu6PisquPdes8xvARD4+8397ucXXykrikqYHD8/gS4SPdTO3x8yQPpi
/tG6BiJGn0/XN6vfyXjMCgsK+h2BTrBfbICX12bn7c8v8qe+gly5ovj5KN9l6SflVBu7d+XL/B/S
rmRHbl1ZfpEAiZq3qqlnq9xuu+2NYLdtUTM1UcPXv6AvcFzFIopov8U5XjRQKU7JZGZkhOMADQCe
BdA2ovn4/PvTgCQkzJ3siK7MKGjQ3kPozQKlobld/8UU4nV0ycKnXbSsZugZaglKMEffoVFbgyOL
/DbBUDQDv3z9SKocAbpxRbs7sA4X2kJJkXdmTcfsOLrN0S69G3MAleYS9pHDjP/RL0+9xlerjgpO
NoZmCn8tRzcr6G1AM8WyI8nLeA7J/dR3LxPkda8PTbUh8O6Hq4YhZNCk29oiDQucLM+Oa3tM1yf7
/ccFBBIQ94CyFRK9Mjaarxlh9UjmI+n2wdds2F3/+kvwJnoDT3+fnG+3KphaHzDJ+QjeqcJ198x5
mgno34LIqu54+CntXlf0M9s6CUdFkIOMDV7VYIILcVlL01ZBAmDKC3s6ViCBdae30r6vjFtIBDNd
rUux90BuiI5L0OcgpyKnn/yK27WZptNxbY7GeL/kgFut38AJ3i5fzEaHhlXsOlhDYh4eGtGU3Gxr
V6iqcMPmxyqkj0buxX3tvmSDjudZseuwp5FUw9tUdFJIyza37uoafOBw0hx60Z/DUROE6gxI6xOG
A1lajuoIZBXHZu+8G4wPzoHTAQj7J266B02164jfD6ofqbGdzZ2f/ry+txULf2ZC8qR5ElSpv05i
CJ/MKdsCDwRX8+SZ5S6o71ltbq/bU2zpM3tS3DEkA51cb+Z46ID4jdQoKS0RvmBfDHEXaIyJ+ZEC
AXCBoryOmAOtDHLHdRaOU9lYjB/z7tk9WPzT9bGo5u7056X37jiaTlL5+PkF7QQFiIy2IQSk3U1P
D231et2W4shgKKCVwZ2Hf2RHnYYuGPrahh/t6QlUlNt2/QxqOY0fVVyrASDbIYIaqIFA5OZ8v4FI
Dx3ZHRmPoC8Hx8oGdzAI86ACEkyH68NRrQweIR5CD7i3CwpDIyhyEEen45FCxj1z3lbNvab5fXnl
WW1wZ07L8TjEvbUtmu31z1etxsnny332E5TlinTA59vubZbfr/Nd32pCNMVaABsiKpdoSgD9iBSi
9f1sDj66cY6ZdYe7pbSBBXmqdMiePyR20hGBGZTtUAtHx4+cIVyKsrKsCgXQwOFRjn6EpH2tkx8J
+TyVL+hK/UxvuBf5Mf1lBBvq7Xtr46Y312fzcqh4x4EjEfBAAr6fP93zJ26O9SG0o1Y6HB18Q+nc
5hQ6C9+b5t1RKXr7wWyBhDtEjnCaznc3vqEpDfSP4LiCGK5Bjk3H8HC5684tSOdnJqwJW2GBMqCw
I1Zotp3y90FEg5AAms4XaWqj9tvGzEl/zD6DgX9uvl9fh8tdjc/H3PzZC5dBAGnLjjMzHxAM3jjZ
Bt2aFX/vucej00Ke2BQ64ng2Sbua58OSuKBjjQFU5FCiQXXz+hgupkgYCPHAROEGaDLZT7IkNc3S
KZK4fIB2Ce6X6z9/MUXSz4utfLJV0WBeLdzFz0NrzBr7KDd+pq4mgaYbgjRH/ZiBwTzJkzgZbSgW
F8CGaPy8ygIg0zj0SDpe0hmHdp8adjqGcbN8T4JdRct/mKZTA+LmPJkmrwn9ioQDkB5dY+67HiVZ
lA2dBwY+dM1sqVYEXtJHszlqT1j8c1O1bcw55LXD2LEeLeiXtFa5mRZN2kI1YaIHDRsKHFAop5wb
WcBi6qQtM+LMH+lutHhzX9ZGrTkcqqEgPQvEnIuRWLIv5lVRjBOav4/BOB+dML33J/tg9eX2/XtY
8D2D5wbGwFd8PpgMqLZqykgSIxkYh3x6ys0pCmud+uGFV8dRgQHXBSBE8IyK0Z7sAUaYb0D/NYnt
uUMsOW3cIXsCQBzKHrXmAlEtD0BcaJeywP4Jx3huqgS7SMKLMD3WdW0+l2bqvLhJ+G6YDgZ0akWk
1E4GZK/WUk2c0uPW6d/s/u36qijH8Mf7QhgKeALp152pXSBV0KXHfAFAIuS+t13TOtldt6JalBAp
OPQAQkwUkdf5GCA2shQDeKGPIfndL98X9o2Z3+b6x7utIGmKjg0cSVBuy8/9cnHHfAhKegx8UFOj
f30g6BJrtkOuy86IlT0LX0Q28cSSmNWTNQGFeDGbZk6PPZR3/a46crLkERRmf9Ruts+J/1wx8vMf
RgeyHDAiEnQDyu2NU5Z7ZEmw2xYQsmRIbxfuwVweM1/XXnBJxSVGd2JJ2tcMrHY96fz0OIAbcGuH
XrnJQViy6x3Dfc4MMkX9AqmszKrXTW4CCd2wlUZl2do7ZOA7nVdXbB4MFzV+wFEVtAdhju5iavbp
sQndTVt/NNY6sp2vdvj7+gQr/CCaLG3QCqILHWzS0gVoDQuxZpSuj1DSSjc2mhwOJETbW82g+3Xd
lDhVF/vnxJQ0w0MZeCFnS3pcFx4by1JvmrWEBOGQRGW3gg45jNYVeE6uoytSblywjYFZE+4Rj9Pz
jVvlbCETOs/iwkV7wJqx38iai3QmGt/cz+YyfguSznn/tWxhVgFrQaERJHySj5nbHGLSDkuP0GI7
VCBpNKt2mwCqen1SlfskRMIMLwokMGTibNbYldN6ND2W84IS0NJbTwUEWXZjuyybosoCzb2pWkRR
2ERNAT0/gFCdz2Vj2TzxoNIGdxP2dxWenXsvXZonPj4a8y5vd7XFUCNsZ35zfaCqjYorR+j4ANSE
yODccM3XmtDSSo82KBvpkhVR6607x0k1E6q2g1f/HzPAsp7bAcfQhLAZHoe4e5RruvHHoBuKas0Q
mP9nQvz9xJEKnRrPKVJ6bAFGbtO33n8M3Yci/HR9xhS3HObrrxnpaA/IOhgzM7BU1AASsCy+g7F+
c92GcrYADvmzIgA+SRFhGZiTzYMAXjMYdqv/2K3urhqpxopyJCdWyPmEtaA9HBcLa2I3EHwo1q68
rQNH53J1Y5G2NtSVV8aXBGNJQemwAIrGGzySB1QHrk+aejhoZhSkjzYi3fPhOJynSJeK9Z/D42Qi
W0b790qvwfGA8gNtnAStVxfhbYtSKsi8piQOEBtGVl9XOzotH/yZmP+wNqCaQw1djOWChNnzGdSg
/BqPwJQ+V44HpTOi8TmqhSEg7TdBnC5kxaWFoSP8jTE0SVx1S7jtneXnZC/pfQjww3sTQZg2PAfQ
DA3UI5Ah0pEpktap0SqfxL1g87BJ5x4g/rhBLMo2XhnoUMGqgSGSgBwMIMG46KWBdXPJ7bGD8+7m
/VC1kefdcFQDru82nRGxG0+8zeoYg7204oYA7aH3VHSPBdfc7CoTgkgLNQ1RE5IvIXsG5cRiZfCZ
yc77nhR799f7x3BqQAodFrytIPmRpsexqMmmSqDu58zeHLljrQM468YiHU6o1RRu0mAsJpylDy5g
95epI2NX2sC5BNU2KGYv8InVVLukaRGQUNzWkGztj/0/JDZEvPOfCemOYdx2q5V5RpyAGz0fkWHS
4WlVt9ipBemseGlnkXTGINZiP0/WJlvZrk7qjT1r3KUq5Dg1JC3+CppmQlosfhVumuKO8aewvAPV
hhNE4BbKdKgdlXcGYQBCQMGnB92f8/NS2wHKzQbGVUVNC4D+rMsJqAwAno+3s/BpEEo4N0ASo0PX
QQ8DzU+Lvenqv6rNBa8fooKBjNNFRDiNLgd+2kUugBnbZCVP5fDSZDoiVzHpcjAPJVRB5AqZ7Qvi
lBErPmRZjZi6ZhWPktL0Dqlvo01pAWP3PNHlUGZ86sAkEVQaPgDlBAooAhQ/wQ8jA0LcwiwHyyuN
2IEO52o1kZtrtpxyDvFyBy0+yGEugs0ix003dYURM9+rjnNjJndl3tg3VZ+UGt+pOkaC2QyRcigI
fCR/4w0ZqzlbjdgF/+xkvjoeOtyKrzi/mntAOWsBcjZAVoRA9Evbrh+aFT3x2HY23fl8S3V4Yd3v
S+em5yvtqnQw4jB9AOuR375cvwN0vy/5G5u5iAF8cWymbcjzqAq+XjdgKff0yQxJjqZL+nDohYUs
2FhVZGVR/tl4g37rm/XnP25sDSfqftsMPeYRhOKT5+tfoNx2YO1FbxpeqUjmnHsGyK4vNiRJ4bTH
HXQsIApn6YSWFCaQ7oR4ANwD0HYXZcfVmkEyRoN4GQnYB5dNstqg7vt5fSBiLSTvcGZFCtinGhW1
xTH8GAx9n6uw2jdzGmcgTtqk1fTLgcDTP9hD3AGUJTgosL/PJ641/WTovCaIEzfZh2Nz4/IiqpGr
2qDP8JYMqK1eN6jYjHgAg5cS3TcgvZNJHF1IfNWUdkHs59P3Jay25tJ+uW5CtVKAiAC5h8BaEMtI
Y4IfH4K18WM/eST02V4+8FZThFItE24iEVQLTg05/uyTaV3yOg9jz2jyqC6tJ4P2oElzqi8uVLKQ
cMpvrw/qkp0bfTGnJsXEnkSjPbHbpM0ysIyP08EA8VLqNjtaBU8TYJcWTfdGHhxoPnweef/BXOfd
xMqP3gLRZVLeurS7XZjudXnZ5yi+CfQDEM6C/s4FiUk/09UOU7wv7Cl9ZkZ2nKpil/PqbkjAX8zZ
LyvFx7X1tLWpjipO4XNA2iaY4iARjAtb2rnQFioSYCrC2B7L4eB4ybCBVB470C5lu7FqmwdG8x95
GXLNDr4EWolR45fRoQbraLU7X4m8LCAVlBhhbNWj87AiiXkz95X5mEHx7wEEVfmhATfVw9jN7GM1
d+ZuALbt1qqGX5otodyFkAHAPgR0CHfg+YfMnp8NWYc6n5fZ7qYreidKVzY9QCHZugGhGf9WtWUR
gc9m/ND1tHuo0cC7rdvO+ZT0pNmmTV5vEja3B/C/pXNEO6N9rNu0eL3+ocqlOvlO6UCOFrPtKUvC
GHgOuqGMLRF6Ob2XYZmSDRs8eph6092GtNGtlcoVuCeWpUNjtRMyBmOWxMNibwMK+bNla+gK3opA
hJwaER9xcjJnOiVeOcOIaFcmOxrsG75Z/ffCuMSuw8YS0ACRo5B2XeG7ozGBtTPubGcf8m4/Z7qU
qHq2/jMh41EmQF1qxL5BPK3F5wqQbjSUHqdJGwKr7HiA1qHGg24VqECeT1g9BYbnDTSMefox7ZH0
nJ19Ov66vulUFw38vw3uEATbF2jOHJRc5WrBX9Y5CgBQ3Z3Dj9ctqNb91IK0uby1N0lSwEKz3rDg
pvV+VG+2jihYdXY80IcIflGwUMioUT+sa7crwyA2IbzYNYBshN+s8edKKtDMNxs/210flHJtkCpC
2xIE8cBodr42YCtPknwyw7hEm+DOKzlDsNNBHgwtBpvrpv6UD+RgBwj4/2xJ/qtCdop11hTGsxP8
cimk3nvv0QmXx6ZiwNe4R2i7ffcSAlpa8wYtu9uFk3j2yf76dyjX0UMyIQDPL5pBxN9Pzi+nvQHZ
hwU7BTK4HYQQbPet6NCkjV6k6m2F9qrmLtcZFH79xGCed2BZcldsnJfVLqPG+Z6ZUXtzfVR/wpyL
2YXGm2A4xd4xJSRRDRqtIs+KMO5Hf7pF38bnlRELbBhz+ciLstmZfbFsu9ZzX7yktG/LakWb4lqy
DUdvQpxRaDysWcBv6FqNB4e13b63R75x63DahMB87qeCJtuGt+QBl0sDQY6QagahuuEEzM9DNh4M
UnK0mA8GCD9WP4kLOz/Y3o3r3rgm9JHRjVHy7fUJU63KqS1xEk9WxZqyFj0BIVAzjc8+BlaZ3IxL
Sn8GtBk2jLc6cVOVg/KRZIZcEspQgLic2zMabuXoEk/iedpb35iuV1/588jE4KUPyAEY4M9/3jVY
WTc9ADpBce/FVhFfny1V2ZcApIY+LUQvqNRLjiLoZ4uzykliI0uXZw+EqQ+LH+Too/NBoNDR73xN
vEdjcf048Ovgx2KYZgpCa4sf/Sr3NUGZcrRQ4CNAokPR0JM2+5AmNcTPkLa36dZ0N4Wh2RwqN4xg
Hz1pjmBjkzPpK4joBrelSDwazbc2mT7XrN4NzRz1aIiOuor9zhIdsF5pE7VliBWj4nQBQPc5qQc2
YENOxgNIaEfnC2urjcHxLvzemlSTwVc5fl80diCaB1mg/L5lqHKkfoKjZq/xSt5yJArQnaSZRuUy
nRiRPL7ZeEbWu0ESm6CPbWgV6XL2KgMBoEleiKyQAFud7/o6nwZ7zBCLLTvLvg0azSTpfl78/cRH
jNbIEBPhUNHZ/g1+3w+oqG2vHyzVOpyOQPz9xEQ7gYyySmFisT6E7l06HZxRc3Z1o5AuvD90kKAf
RrHmyeTPHdX8vG4E0vWWjnaW+34Kx2aad2mffFtr88mH5NH/b6Ikf02TuneXFGay+pDY22TcgHfs
H0zAo6BCYwH5J5dnwh5igyn3w3gJtoFxwwPU0DSxgHItTkxIo6jRRTn0PUxQvIJsoGQ0Q1Ddaigt
4YKBPDj4sSU3XRVePs+cw4mYhyRF9n/frd/aUoNaVloB7Qz6JYG7QSR1vmntvApr32xxGYwb+qFy
ov65GnThovhUOaABevI/I9KNNsIXcuACk7ir6yfqsKgt7Ec+z8+InYeoDRDjj0LqZJ236dhvSqaT
alBFIycfIF8ys0ikDh0+oKqR9Enb+7l2H6bafi7TGcpc7j/U1UFaAb0YQRCLcUuuIC/6uRCyx/GQ
ReiCN9aNbWi2h3L72VCwgyFk/0Lx9xNvU4Ro2GhSPM076u9LFx1I0G+7fohU1xi6BZEgwvUCGJG0
A1eSAUyBF1rcgWEXGYncfkFdl+xNf7Du0rEYbpAthHBZi4bb65bFhrjYMOARACECFNeRVz0fnA31
5IoG8HM1z19RdTs6ub1lM/rFimYXQkh8Y/gr5AxyjWdSngao7kCvXOjByrK5/WCvtj+uqOyD0eSm
NCBP2SOuPsyQb9wgWd7tr49TaQ+td+D+ByAeteTzcVoDYrE8Qxousz+l2W8aPpXpp469XLei2v1Q
lkUVBBECOsGl4+cjXC3LiQQxUG87C6HPBNLF5iVvkfC3NFBmjS05E8GRfs+N3EZaevxRpi8TiRgy
RRQKHu3X66NSHYCTUcm7k6Tm5PEJljjZWsGm0zgt3c+T86Upps4zBjzr4zz4PrWv7+4pRVIo/NNG
gBsKEaLkdw0w9BC0YCNjU0RpEfFp9y+zI9oU/vf70przwbBXYuD3rfo1gWpLluuKX6pg4e8IkA46
n6DUCtJpYkEQe82T7R3cZGcmt9cHoUzYntqQ/EA3+zbekSKHYqa3TWFtCTT/8Gx66RvjYxBO95ZT
fbQK7m2bgbyatY48QcyS7IdO7UuboOttlF1xc8Yc2g1l8FKth7DzI86fWEsjOh2n5ef1IV/SSoqN
gYy8EDgB/MeU4uAE3iAb6jKIDbPN+IFBsQLp3jX7OHaJ8zPEs/ODlXMkh1mW0MfBX9ZD3yU56iXF
GKWMvvJlKm7QAtB+8JDH3nGWQ3WZJvOWlvRLk1buwWi8DpmaaX5/LIEaqwtSXtAa48aQ9jQIbB1v
SRw8GyckvKqnXYP/+Tr8neJgonAsejJEy/JFXs1cctvi1PLjCeKZr0H57foCKLY1svKoRYYYCk6P
FAOvnbeAigXVQpayZzfLvi+u2UOnobq5bkcxjLN1Fn8/ub+7vkEP3poHsTveTSwaE83VonTEaFYX
7ZYA/Mu4Lt6GXZv6qfj9do/a5GFKoBzWHJyq2YLWShMqKEdzYk1aejyhAfHgRRAX1V1e3ILH6h9m
C3wYQn9PkJyJVTuZLdrYrcXLOojb0L5Nuv6F28HbdROquxgPz/9MiL+fmOjJ0nWtnwWxk7DILN+Q
2No4yf0wf7puR7HBSIi8CxrtPKEKJXnmdMwb6oIXM0axON+UnmscICcxg8/XKDX+U7kH0EgQCoEE
/CvNWm7jGkDhKIgJ6x/ZWO2RDLnjJf24LuUtn9/NMiVcV2CKnLeHdk/5CZ8ahl1SaGki03vb5Tfa
Z4RwfRfeGOkBQf0I4h+ZysY1OtPNhg7x6LgUvxaUazeNX4VlNJuTcbCGkNytKIOsABhjA7bob72p
C+BMoja3loj2zACramlqIh7legINjMZSF5/mSge5NJre4x4qyitxoB027yH22xkfr28a5fkKhRAJ
ugkEjf355jT8NO/zvgxjHyzhTwPT6aAofh83uADJIG2FNllpU1bOwFuzQzBlfsuB+dExDaguchBb
BSjuo2ggRCfPv581NemtNcTVYM0f3Jz+tMGs55X5NsiMT7QEsNmv+h3x+ce2th+aVUeloCp4A7rl
CpgJmp3RgX7+AYRDs4o1HuAZXhD59qMNRYx+eC4qAXvme+hebmjtb0z/eH3hFF7lzK4UQaxQVmVG
GcCuv/wIm+WVWcEN+H1XMHHmuu5UpTHUDSw0LQk+GSkkQ+/D3Cw+MCiDM3i3NF/AlUnXZOv40+dw
zj2NeyHCq0sHEmg+kLFCjBdweLlVKW3J6I9+BVeG/upPrkvTDyUZrY9+ZVu/szUEYwHIFr8MrW1t
14aQLjIR3TyiKI5p573V3bIxCx6DDDLUOTS3bltqjhtm9FPEOmeEOog5R0NX+Bvad9MDdVfrODtd
Csavod/4YRJCSRpPX+SmS1zRmbW7vniKow1NXhOpY6Grd8GKENprCrVn3GoZ347QvzKbXeG//zqA
DfSMA7oOcJJ8MhrEgkkb4DoIRn+ThvO+aj+4faC5PxU3gVAXRmeEAF5cEOd2ZjJObYtow167aKLO
TZI6T2jh3NMiMyLLNzTRjfLAiw494P2R/rjoxF6DzOlJOorqp/GNZ/azl7H7uaiOy0r6qKwo7qMk
Mjtjl+XOxzJ8N0cUIudT+1JAUtTJH5U73EXDeMeL9H5wdSxXqtOG9kOEusAS+Rcc/1M6rB2k4NCF
3NfkzghJ9zw3Y3BovSK4tensaOZU5aMR/6AmLjpFLyDnGeHcsSiSSpb55AIGmqe6krXOgjRpJeOO
0eKOj+15T7yd7qZU/ryQCQeADCSB8k1JZ6gK1bQBegDwWWMZo9/Xj6uqLI2VgCYZCAyQGpPTboth
dM0UzEBa1QcvvRt/+zVeiDvohHfLbvqRLDvWbEp/a3y9bljcjrIfJEKqC50tOGFyYEIgNzs0LZ6J
pflUJZ+J+8nhDTggwBbevE7rj1G39cRCXBiEeqNg1hA1Quk6hUJzY84VYo46r/YoOTwQo7prKsg9
2JA1ioYicXcGcFXXh6laPyDZ/rMq/n4SIYddTaseFBfxXFmfqmV8HRmKx9dtKKcSPOXQk0cN6CLr
XUMNMKvQqRI7kBUskinKqjwy1q/VcBydj2Ofb5f57bpJlZeHSAioadDgfdmbNPkZ91vqwgPX905x
8LrbsvyHi+TEhJwVa4d+QqOwGcRpnv8IR+u5M8M1oomvKeCo3DyiG9SOccAgaSv+frJCbpU5rAC6
O54y9ma77Lbm0Fr0be+XlQNOlzDHPFyfPOVOhOgCwiq4JqRNzy0yJDGw/TnyfX4yo698WLZhEmQ7
m+bVxhwGc5ci8NouTtJq5lQ1VlRXkToV2hau3IeXlG2ykNmhx2S97chmptvBPXTFrV9qAnzVtker
OVKnGN9lh9TKBxO6gB09kmAz2feO+358GAIMQY6G5guoqUiHuQ7cviuXjB6d5t4ot6GnOVKKewrE
eBBgAOWSSClJoS/oF+yUIxcQcz4fUm5Gs+Xuaiiz6bhllYbg2JFxsH1ks6W9IB6bVssnL04YhMqt
/Nac11sALUtdpVWxImhSQLiEdjXgV+UZy9zWMRtzcOMx9yI2ROGia/wXnyo5WJQNfTxYCGB74P07
39YdILrTmhM3dtwpbu3i02R0n4by3ZxB4GKAR0UJR8hPXqQ1ZqcYhxUkF3E+3QvUdvV+jy0CE9Bj
EAFOl3GmWWtVwKVnbsxtqOwemuH53af/7PelrZunBSPuit83p13zreqLXd/luyDoQGM+RkH//pPo
g74amBihpH2hlDEQr1jBlu3EDiqieNtrfNmlIheWA7U09NkAs3cZixvQKWIsnZzYWivzaU7W8GtQ
l300OC2/Sxu4GH/yuoegxpPArmoTRV8rPDTIzh6CMcCNDw3DQxt680M4aantVFsSmRw056ANSBCF
nG9JgPpac/UHJ4ZOwTPCtBs3bZqtbyQ6ZhWFY0W5WfTQwiWhz1k6xlVp5izxaie2Cx7BSOSiMbTD
E8jKICKQb69vIZXTAJcujjIKboDxSd5pLcOFVUvlxMSIob2ztUG3GjgvK/mHreqiHgK4FgqKF6rh
QVD3TkpbNybhM/WriJiPq/lSOA+NcT/qAkLVWiEZhL0KAtnLHnFGi8Zrw9KN3XTi0MADD4Kbjd7W
a/1/aEZGPuyvKSnBECQgeQPvPlzI/Oywj6Gni8iU2wE0en+qwJcxBZJ9PJg6HLoJAok7J1gySEqb
y23uQwyJc+jVia4QzVFUGoW4Fh6sYG276NzyqnIMZqSSYqQct0mZ7gqE8U7wANkamr9d34GKEAb5
SgTuYKzApeKIHXoaNCE5Whd94MY1qX87lG1qv77lnfXZCYbvy1R/SlowsVy3qdogeBeDcBEcnLAu
xn9iE6rJyxRW2I3gwN60VWyRG9uvNUdLdU0KDWFsdzyLgCU5N1InFeTGW9cB/+kTAx2axzSgKuUo
HDCtAtmBAEzG1o1oE7Ln1HdiRrZms29JlOnUKxTvAdTz/pqQvF5uZZ0PUTUnHg20oFVGZGT+lve/
uf/EayAV00M4v15fmz96o/LlL06UKMEhCJC5kqB+3o9ViGsAyJzhwzpzepfRwjs4VutsXYYCuueh
6WLNV3Ozcq+/74Kxf+qahWxokf9iPpvjAkzOHt03AH7joZ74Bzb14O+oCFSQwR4BBvbrH606MDiK
yG+GuBsuyj2Oy+3On8Q3zzsDL0D7BoqzFKVKHbZRuamQGfpTV7IuQhaH5zXQw/DXaQuxyAqVJMfz
dGBA5WiEYAXKPXjsyQEeMRti+O3oxKv5ZSHwOn4Y8fYH6YCit/6BNNBHKxICVgi/CY2Z82NCSuQw
zWl1YnP9EPi3UJ+/vjSqGQNQAK8U9JuBqEw6631Jq9QgCJIMlr10xfRUmrpuGdUlempCClcpBZun
0SdOXHRkjUJuQEUEzhIh7C7l1fb6eFS5dHQ0gF0fpOU2elqkCbNto4QsFuDBaZ96m2Ypt7Yx3NO8
3k2j/c0o7cesanekzj6Pa/1+hA44REzcCWDyBK5PGilbK8OaOhO2m6Hbdt3c7wDTgB91rGnvlkur
uRxULg7pUqimoN0FzlpaPOY6w1Cy1Uc53orG1D5MC0Enx3y4PqeqPYJDFf7J3INLWvz95D7Imtq2
eq/3Y6+NE+OxPP7Dz6MFViTqIdUlN0rMre3TEgyEsbMc2m2to/dWdSwAIvb396VZstbeL5wcv19W
bulGTpdXcbsu3ocgtyAfDqiCfWgNc2w2rum89omZ45lbJdHkU2PTmlV5KElF934BtECBdt2tY078
1eu6/LiMM0ozTVLcNUsT3qQtcoc2pH+/NiXV4U3EZ8qOHyUwSySfsMvkKlgK7Z8URoN4DKtNsdpR
Vx4Z2CvnIL1z0IB3fVFUh1bIFuIxA/DXJfSS5CaoKxcgDZobJ/y83Gflkdg3140o9i8KQniOI7mF
+0zOCIGM0bIYQXmhKp/LeooIx/LoYHM6I9KhNNNi5GWORxGh1cFZDwtHGSPUjERxRICuxuZFVIgC
pYxiq7w6ID1DCTE0+QtkC7ZuSXWyJRobcp4uSdEr3q2o1s118pwOy0NQrC/XF0Sx6hgGAAAC6w4i
JGmuvMxNR6fDXJX0hdSfB0gQ158zzWNHOQ4wSAsBC0RmclbO8LoxB9EHxsEjAp0kDdWS6ufxDsVr
GUAZ4DOlCyBFXW4NeOfFyxzVy7bxNHGlIugDFdHf35feNK3VTAyZCy/mrNnXfnXP++njXFdbbqMx
JVi/o7/hK1pSNWbF1MvHH1sLb188psFWIj7rxAmTtCdhRtsg7qddVW/N2+rVaKOp3ySJJvxXbAJE
Gv9ZkvcZEJIBtco+iMPWONLEe05cdpOCliAnOkCZzpS0Vr6dGLSoGNr2qwbcje52DViUrUisLz+u
72zFrjgblLRqVg1dnyaH91zcbcYgZKyJo5QjwWsa8SDe1RfV2KXmLTrp4crG3L1rQf1p+rtxcB/n
1PiXjXBiSXzJyUaY0ZVtzsJp9sP3urYiHr4FzrwFg1lk9z9zXXVAOXEn5qTbM0hok9UOIH+lR6LS
Fw8Gje9UOGhIZ/6dOsnpuGZSLeECp9MUN4u3J9OXUhcD6AYhHZ40X/IOTxxcNBPUr384jiZC0gxB
hmbjRuA+pZgkFr7M7jczcyK/1MHYVL1xpxMlw0Sqtgu6fgGrht3PeLyxF8dZX/Oge+CN9Qwx72cn
aH+xxDjYbrZzwGLYEJ2siHqgoqYBTsRLhrRySiFxR2YfAMTwKW/9QxqmX9lkak6TzoxYz5M9nhbU
dtA+C6wIdEuKkLw5VoiiL9EcJaUZB3k3ATywL3iHrXBmJDBGP87SL032jaW/y0yTFVb6BeBIBNTA
ClFAOR9JTv3aoxxIR2o8uuDd91w0wOWfSPnpun9TYRqQdf5rSDpFBRuHCVpJfpws3bbt500QJJue
f2iNLCLLl7Q6DqMf9U19u7xbnwN3LeIFE9kp1LxQbjsfo0etYmQZwIl18rhWt5mzyXXsrcoDfGJC
2hBQh/WyZoCJvotcfqDt+4MGDAHpZIF5xMaWLiK7BDF3miImyRL/K8v5F2Lr6KfVK4SYRFgR0inS
NLk9ZZZdEi9Oza9pCi09g7XDpq9BmuZlPeg8oLfqLx+qxrjl67CfwZZwfY8o9yICboxPhBGyCERJ
Mjwv3NyPxzZq3a33WgJw0GiiB0V4hMfJXyPSTCbMrH3DgZEJIifomuXsx2A49Zdm8KePRmiO3+s1
nXb50g/A/Ser5gmuLJPAPwmiASggXABRSgCySF4xP7Zm7442xQEdJtsBbXwW6T6hrfmw0OWNpflP
e+5vQXVyzEt+F1Qc7Nn8rhp1CsGqVxua19AlB1yM6Lc9PxvTlK4jbxIvXo0xjXI68Ie0yarYzPvl
Y09D55ASpkvqKI0CiyPUPuAZZSyLATZeczYLABrLu8y+h04sCu2Oc7OWmqtbtdjwaYIzEeCwi/5l
kGLXJT7CiwnCK+j2MjR7OWOU1/zjyldzt5Bmn1rjDZ3/oWkOCQm0lqGBH+3ZcoE9DYPM7NYUN0T9
bXDeACH2ACX3wptFF3irXM+pJSlyzNek9drF8IAeP9gJGFi210+lioIJQwGwFRcE2vblyN5MynUt
R8uL/ZJVLKpAO7a1lg58BFnPvq+0/Yw7v4hIa/a7iZrlHYNoxcPk9uw4TpzfDjldbtrMZpvFWLxd
W3rH61+ouiZPPlB+EHg0NzwyYpUXO78bGuRJ6j5i3j+44FMrkuOghVUYoCpBgb5CLXhr69K2ylHg
koeHR9sjRHfOT2LZO2ZCbVz20P361jvJXeI1rwnkpK5PlurswcMD1x5C5uVCR6oEUtIzPERIIUj/
q56BmGh56rzkzaqnV7tjuj5I5fY8sSdtT38I3cGY0XGSruY2qZqnpP0/0q5sR1JciX4REpj9Fcit
ts6srurumhfU24ANBpvdfP09lHRnMkmUqGukeWhNSUTaDtvhiBPnfABG42IwSA5D0+KaIBOv7Iag
HuEAgxSyOKrltnc2WRmQ6t5ce0ctrtKZrdnrpgPhnrILnJci8wKn/O4YMiRr4frSRQgNCGw1ZNSR
Xp+5mpV56IWnSGhq4lDGaTAU1V4yLTC7tSaHxeEAVYi5QzbtinWej02vuN0DYW0OP4VCBXl0PyMa
3d12uhUz85sdqkZskBXMGJY6SovukevfmM5akLnoayAEe4cSguhz+vtZWE6LbKgo+MWPRjz8TvLy
geTWSpvW4vY5MzGN9MyEbAq0icrJBJJDduhlG017qIZQrJXcF3wAi4+KO8AUuL/8GRwdKrBDj9KY
c3QYdGax9vUWJWNpvd5emYXxwMyE6ndwPV6h0KkBDutaQOaR9/oB2QMrAMfbo6HarZk2e3MUKyC7
pdtkcmpoZ4IDCTIn8wlMM73VvHI6RsmzRb6K9Gfy4ORjJF0nfY71JL1r8hTdVn4LImJuHDnPtrHD
wPpn5fr3NtP5AV1Oa8nLBQ9FjRc+g2QyJnzeEU6qVgoIZiNScO61+G3QIG6BCuAHJhvdPRN8dyLr
mB3xKTOhetKA89xAb9zUTrMb9fx1LNwvWIU7G3XH2/YWwh9ILP/f3hUXkpBeOTKBgzHJEEJGXjvp
noXMDRUYa2gXVuPhtsGFDYj3FZjd0dID5NUc+cWRRKeNOyAWcSOzDorn//b52fwNTeYWuo7P2+23
4U53P/J5FC4gawLwCYr/l3vbK8qu0jV8nrv3fvn0kT4/5C3//f60F8/Ojh7hkqpjfD8/EGMr6fb2
7CytNrrvAfiYir+gaLv8vJK2xhDU2sc6501QO15Ex/oNTY6bou82BVTpDC+zwaSzFhktHVXnhmfH
rt9DtGwgChgQCN70WRt2NvQpyc/ei6PbQ1zyLwBXgCQFLI9cXVdZ0VsOwC02bvovTD/5K9fUyufn
11QvedETic8zPQNoywn0P0er4q01JXpx8OFony2RU5OmU21vHi238sIayNKdDdGnFStL64HzdeqC
nkjm5vmOJk3w8hCaeSR8l4/bXu5JvVds5SG9aAWwfUCzJ+no+VgMr+2NvCvJUSAxMJjuweME0tta
HaGYtXY8T9mhWXUBiWu0peAmNKf7/dK3GQDRA5rZybFWZoLGgB5SMu5X2ZZvUKo3g9zxk6DCw/m2
uy3tKFRmwXwMouBJpfbSKs+sBCjTwQTyXNxLwDQ9gY4Bk32HQnIftrT8ZvrI1Le5v0bBs+SJANtN
zWguICDzWxKNZxkoSRLzqLftS8r9+2zkKzfx0o2HhByEvyd5caCnLwdX0EHmqZeax6LeQ10piLWo
Td9uT+DSsk1QU5TOfeC05k9H8NYAFuCXwDglyCoERs9/ch+UcqRwir8JlLP2Ocg9o7iEeMpty4uj
w1UOf8G9d1W6BQecbQode8Coh+4v4VXDF084eSRIv6bMu2jqHWeFejSYl2e3Uj46iriatI5xVj5S
j+8zI72LS7aSqV10iX/NzHP4KOAPlUgrmOE7WYSZWAlOlocBP0Avjg842myLGcyty8HB98fqUaq7
Nv7uGa8fWBRoueKdhqYDgIUvXc7TClqXqK0eu7L6Ylv93qfxL9l6/83MOwTn7J4dUeeK+8oxcY+b
MipJ6m8VbnwkLVJn5TmwOGn/jug9p3pmKnX0dkwLzzwK4CzsFCkmGrjOykk7zfz88ANa7v/T9l53
OTNSI31NdZUAWU0dSQK8QLU9d0tro+o2C3UOGE9vriKvloaGHB2ehWjNhlTL7HwYIV0wwdOto843
mrVPk0eWraRUFk0AigQLuNCBibr0B9Eqag1cB3x5zL/1sXwyc76xIQr2524H4Ps/Zqab7Gz+HCPh
qV2a1lFpXL5k1KKRzbn21o9Gu2ZqeprP1wr9vMjg4EhFf8Ls6T4YOjfNNLGPkBK1go5a3bZmtA6l
a+dtQBNWPvBRqW1ZyDLy6tgJhdCGsIZGJja2At45a7J9A3nOzZAYdhv00Mzd1e1QhqTU6zsPYm0B
c5o+GN2W3jmlPDG0Zn/SWZVBE8iO9wm6jbY6mEMjVbbQPkc7iXIMHO+V89OhXp+geN3oz4hF8sDv
+zbsU5L81jgBALXU/7I1XfuGxyLZaKmqH2o1IA5G/RDt+RZ6hJE7NyCqqJuf7TgxAkZTGllF1xwq
u6RbvYvX8lULxx5w+5hR1CUALJq/6bWMJFniAgAojI2KQHJ+2zcWohh8Hl0LoOKycPTNjqQKdPHA
3g32UdYPenoqy/u62lO+1kK8OAoELpD1RTrn6pmdCQlWrsS0j7kZQodI6CsvvWmnzNwOWsETkhix
P4C3MxfvZM0y2df2kYsnt3kd0SFPV4LjRRNI/eARDPjAVVOySgQnQ8ztY5P+kL0dgss6MsYVIwvL
gZMOXQYAKWIs87inlHSorQZ4eV/3I9MEx5ZWodsV3BOZ/4H77tzUbMrSJLWk36f2MfFBJPJYIcGw
RrG8dHAj1wrkIHgT0HU8c66c+SPLXVypZdc8TKljUcYJVOLsT0XnWdvCXiOHXHCzSVoNBTwd3D5X
nCWt1SR1q1nmEZi2766rtkB5nW5vmAU3uDAxmzafJnHX5SbCRsOIlGE/+4Oxr4rhcNvMUuQ4UaV7
IHOChuPV7VNmg1a0rgmaYP6lMcTdWI07h1sA4qciakCgF+TZGiR/cfpwtiEZavkTxeDlRTFqCck6
injf4c9QbLHblblb+L6PKts7CTyeFPNiG7R37ax1hHlUDrohPRpUMV3x6oUNhFfDVL+FlpOPW+9y
COUQt1o5ICCBQv3PhDT659bkYsOFZm2s3nBWnpqLI0IlEyAFPM6upPb6pu6GtkNflWuyTUzsSHYr
z5TFAZ1ZmH7B2eXda/no9zkstGn8XNj+vtXS+6odQ7ct1kLgxdFAVQNcMXjToj380pavle04hcZH
twukq21i29jeduuF3YN7/x8L8yAesnfIkRA8SxSLvycO4L5DL756A065DxhCWzaA14i2r/piocLV
V3kcm8e+Eb+12EgDbzTTgJNqzdI0KfOrB0f1P5ZmCyTQazoSBY/TvjVsY32ZlA3csGURqKJH9eeI
GHAYTboGKFejsjqduGfeAM1q9M2MCIWtuvlisWzj8QKocm/lOnWXPGESugHaAsLyV5QfFhmrhjo9
OTaDngdK5wAYW9xGd2bdHmlj21FRtnrg16P5bNK6fbH1QQUmAvImcCo2BLHjSiSxG8170FhG94xO
kiQQa9oSuxm+5d7ggLi39h5MUdUHx9PKFxBdZqGRxOIzFi+75yMOWAu80aEyZbpvuhg8LbHifEti
q7iPMxTxAleAd8dNLWfPq6b6BJan/N5P4jRS2X5s2kOFBkwvibw8Ah3ALoE23QDlPS0ckjgqHO+e
JdJ6RNSGLDQXVaSD++Y5hQRlWGp6dW94nX2yay/5G4Gqt7F9Vm8r1o/bSnl0W3RljT5KvQ9Fj/C0
dSQNEQC5f6vSpYFfMhIQ0WqRZdXDxoy9fAtoM312My3Z50aTb5pOH1cWbum0sN0JV4AEoe5Y07Vy
5h+WHJlEexFaGgA8f5ZJVLBNdHtnLZpAr4FnINUK5qrp72cm6rhKLahu2Ucn3rgQ4aS4KTj72Ynv
t+0s7SvQffxjZ+bqrqiSFL0T9jFlr6nYpPUGgokZ60M6QKFVNEjnr2XZlk6nc5Oz2QNIwixL0BQc
/X4LiKAzbpM16c/l2fN0dK2CghB5p8vZkzbyToPfIYrU8TChEsnp1NyPPXvTrDV65qVNPBF+oTaM
+xwwuktbmihV19UMhy25I9XvpBArD/M1A7PLNu+52WQCBvQ+iu8ctb3tAYufRyIfWU90OVx16neO
JXhCShNIWvl3a3af2nKNDGAhQp1EJaHkDk+GR08ecebMo+TG4AuD4Lka70H3LXR3Xxavqjpp+hpo
cqn1CcagmQBW0Kk9dTZdZacgsZJzJEtIs0Fo/AKeny3I33aAXeyNtvvEoM5tOTwJgY16uT2X7wHj
/JoC6spxIKGKDNec9WVo6gwQPcStpsyqsK6s+yb1dgQXI4PY+lhndmBkAm2SnvZGBtsJUj/Z4b0+
BDwB7cPKr5lc7+rXoOsHfSVgZETAcTnvJG3bdMQNcXSyuwr4qtiWgUh++GYTxRARI0YWpeKR6j9u
213a4NbUFzjFuFMO7tKsVnLbkIYiR+7dk/GQNHd1t3JDLzntuYnZ8Sg6Q4x2PxBwV702jzldCQfX
Pj+buBFBnzR9XMxp+810v/15jhWVy3/nZ3YA2lIYHbpyyZF8sYcmchIzur0Aaz9/dvyZVpsr1cAA
H/aOLgO8OFbOpKUD1sIbHWES9Fa9eXO0UWa+pQELD9xA6wQ95dauUQb0a3QNXI5e8wG29gkwClZZ
PJkMcANcupTk7lgVIyEoI9hROipsFz3sss3teVsaFfAck0oHMkEg4bm0whNcuQJ1tSM1iqAynj3v
kRd/ZdnLfzMzW55YyXEwFcx0BnC85Nl0nwa8NI0kXTkAls5d8DVMIjJomr+6BkG4XLgpFeTIILqr
JBBlrQE1LbD2lSNOgtje3R7Ykt+h2QgPQvSyoftzNrAsKbnhC/jdQMKessDCcfefLLz3hZ/dJLzS
3FYpnRzt7vPQvAJG/pHvo7wNyjgfJCYzP/NsiyJ4MLFziiYabPpUM7aSzF/C5uJyIugus8CNdEWB
Bv7RumllbRwVdeyXePCTjVuW+ms+VH1UCif7YtiuE+nCEi+dppJDIYgKGWnjiHMkR6uUVq+F1P1H
sDvS19sTsOQySOyhKw0vU8ROswmoxs5MejYax9TMdtTnXqST9pHE1RAwwe+barXouuQ0uCxxQaFr
yLqqtiMlnClgS+E0aBnaNu3+9oAWPz+p1YAfEnJ18z47j4MZQatS3IEFgP/ujzRbOwuXpgzMqfj9
DtL/V0oI3PUbi7oxOWrDkZV/GYkXCsC6R+uu7T/ArI2ewX9tkcsTSnG3Fo6eYDRpCI2Wfc6zlfla
jp/OTMwqMlVfDArgdXKsvJEjK1qWj5okMebOJmAPU/rWbopiXzIlAP9AF7lhlh/gkgZF+T/x+xwi
ARAzUygM2MdMNyCRRjd9sXIGT348D42wAyF+hpc3kFLTop4dJMTAPi/NEY8QiKha5fOEbIa08m3f
ew/3rqwA744aO/ijkGi8tFIPrsy5B94Coy+cT03h9sEAIgA7INrYisDu259JJ4r9GOtjwJWThLRn
d5n92JsWuMD73IpDR3L7KfE1cHKSLrZCpKoqGZTKYDgEufmpRg16A1ZL1HioqjcZWCaaIDaQvcBh
4fxUupsexrTDnalURrdqcJxvQge3bsJ9FdqWKjedKcmz6FgXJERUfeCW8ZOPs1u0IkySndbscldv
f6dKsBMZ6S9iV8mXtDCKjd0NRVgKswy8XOX3OO6yoB/LfkuGsQt8bIu9HrP8x+15XdrTaDOemN6A
70OgfzmtZt66TSky58iaO8+/Qzbk9veXnAPdE2SqUKPgMf8+64x+KCy872M8VqpaA4jUOTDIyN82
sziMMzPT3898MDdKs6E2fFCXYWtFnVh52a0NY3aWj6TKkoLg+zZ5gB6CTU7tGuHp5MCXDm4A94DG
Dlxj6IWbdwwZ2tD0eQ6qkdxM3IPfAqeSAtWpRjAH5I033NOhb6NK9Pbm9txdjw2GQQQCgompF3hO
ZJ7bg2eATNkG/QieNdCOd9gGh+5tI9cLdGlktkBjzoEgzmGEVTvOw8RbWaC1788WyKOCm/H0ff3v
rvqc1Z9v//yFXqvp9yPNjFw98pnzNIjt5BITyGyU9LtdqVthL7UgrlyE6HXzwHtzRwZLD8DHDk33
rvihjWu1qeuIGpbR5I7ErTuVqGbHLEg7tJb1jnXUK3Ew8WSARj3fVgX/HMtmxSWuZxNNa4jbkYJB
8hsFncvtRHQgt0bhWkfH2gr5OV5reb8ey+X3yeX33bIfMssFg0uqHvAf8osF2fo0ur1oa6OYnW2p
NVpmM42CO2Hx3K6Bg6/3zTQIXK7IBgBB684GMQDYCvAmBjE2AdIfTfGaypVds2jCnlitEOQC0jbz
as5av5dwrKMaEzvIyZCjxU1Fupnubk/V4oKAGRXgMqA18T68XBBN4BljAzt39MGa+mzmNt12fcy+
j0mSvMhq/ABZF+JiIEMhyQ4fm0clEBEYGq4qnKfxi/1o9m+3h7O48mefn/mvaTd65w34vGEExj1Z
q0Qvfh5xCEAOU5rPm8Ui1qj80rZK+wgIvlXt2Vpn0fL30b8FRVwPzKIzxyVOIVAhwqWp7koNOMnk
9wemB4zR///+ZP/stqyJKnStwfdtdJU/+uVKjXHRa88+P3OmRm9IX013fvfVU4Gt7/I1AqElCyA3
xOGEtDTCl9lZiOCsjscRW094B2HsTJHtWiFW9sTSKpwbma0yi5Wd2CaMOMW9DLNhJXW1OIaJYHoS
/gbX7uzzqAPFqecI+2h6n0j5UJNQWZs/X+cJwQJyZJSwYetynfVagA+192y8Pw6IacuPjGDSCoDO
O7L2cyhODCIkgF6Fc9SLSNFXWj6NwwfiuomiAKfs1Ag+r45DOsFWhoXwFCpQ3dZqvGrT91W5vz1P
S6cfAp8JsAwa0CvsAt7wHBevD86yBIIBmpU+ggVvpyftA/C20QdsATuH5Biy28j3Xa6JOSio+wFd
d9Q6rwrBLczvqBFXuzHvgBEjZmqebhu8dmNAoSEPgDQpgcyfNdsrPc2g/jE25rGpD9Tbr12y1248
Ia0n/8KQrlmkQNGfWjwtreNg9iGUHSKWGFt/XKvcTPmueXR8ZmbeXUW5DtLKUSBi0PLG3Uk75kez
N4ovQ1qQY0JJBtRc3tDDWAoFJvwhff3ANKI0r0OKBxDluQBfzbUUPF8AAsTI4xRDWNRqxTMWF+rM
wiye6LQuRcbINY/pi6L7nBz+2wBml0rc/H8AbGTBIMK8WKORnjzpao3OBjAN8OxaKQUgyfroAAJE
0jCXW6PGY3pvfYdC9B8fC3A6BEXexFM3RamXloQqs7To8Fay/R/eITX+uj1VC3lFfB9JGGTlQTd7
XcjjKEq/M9rG5KVtvoC5FH31oN8MnISHXCn0Y40BRTmfobTbGdvWSYMn9ucZWvyKd3w3KIAmJo7L
UXJlK1mlKL2OPwsLweXz7VEu+RvajlB3B5MI2nBnk5j4kvK4LezjoB819tX4c3AOqgtTwwKAbbjk
5rdP1tcuq3F5HHvkXUEUsuLP0/048zaQxgDvbHtTjDTnKiylDeFUF+qlFJmd3Pwx7rW/0F0T5BYk
sbq1/P/CMQciavQk4+WFPMn8ItKqws5JJn0QgcaRiHeFJ7Z9rP25X2OqUF+Y7lOENrPLQVfCAuEX
xBlMEICirND/eTYQnCqANuK4BrUKHpKXLiVTwxRtqfETl19+Kvly26MWJmlCgk54H0JAmjkLaRpA
Dc2sUMXJRMdIFxXmX363YmLBaS9MTPfE+RnDOUvsHibsrYYboFph+1g4wgCen6CE8Fy8TmYL4DUF
ONG9lp882h2gWBFaxhFEhUjvh/q4vT1ba7Zm530+UMhf6h0/aemGEgwn1L67ELk0P9+2s5S7uBjU
7OQ3QJSrGU3DT235E1sqqNHLaspHqpI7B90vSQ6cWafEBG8K6s5fo9ReWDJ0q2PTTElGdEbNj7FB
Acaf1Pzk2p9E4LYrS7Y8vLPvz7xusBgvRVPxky63dvxKvAdbghppP2nlNelBWBubPlrJyiNncVTo
8XivoSIqmDkiHidAhKEr4ZT2d2LjypXPLzrHBKMlwLThkTlttTM/9w1qtoQV/MS0x84ZUaF4YS3a
8CG3NyR/jABApwUe4cAYgpAUHO6XtqrSkCLJQejEh1Bv9cBO25VzbeFgwC2KfBLCT0D257jqqgL0
lQ4eNhJYiozmsULKRLPebvv5khE8i6fywCSHZM2GketV10N7Kz+lXciMMKPRuHalrZmYnOJsVQS1
K8VA+noCA2jE+ldoPlQoQdwex/VrBHoPZ+OYLX0m9YJLjnHEeWR7AYCZdr1FcH3bypKDnVuZfsXZ
UKTHhyxWVg5R3zYss1/14KNk8ZOyneOtLMziDj23NTsBdOVLoVHY8kaJdhd9owEpCY2WQHXid9qq
beO130kio8RXRy1Hm8p/G+vshHDBb+NbzMlPqqZhhnRN1TyIapfIvcVWDvXFxbMsz/UmfQfUqS6n
Nafo0SQ9Fm+wAOQ0nyo37I2t7ayYWTp9wEX9fzPz2I2j4GGgQgBHTEngMxk0ZKW2vujqNoJg0Le+
10kvB0KJlvJUEszZ8FcD7hzl/SBr3dWLk3VmY/r7mQ+a3G+yBijZU5FG1A0ZSmqg1Vq7IBZG4upQ
ncGzDQDGq75Zs5YlaMHz/NQBT+hChbYYX/z0j3MhCKHPjMxOBjC26DraY3M0JD1l9NdA7so1YP1C
OfnSxuxgKJDRBJAB4Yhodo77oPsB4qza2KaA8fr3nvtWr1EdL+1cDAsQPMh+g2VhzopV5WZRZVLA
z1AJBYlDGd81yX2BImXr/HDct0bfa3qkp5vbG3baJbPY/sLsLDRiucbcOIHZGvCnER6OUugQEhX0
7aYhaGxbC+8XPBFPCUSu0/MVN8js7shsPzOQZ89OJI9wRgB6zcbQWVPYXHiyXFiZOUnjCVrHyslO
yN8TdXCtQ91/r3wRUXAF1eOP25O46Pco6+rgUwM9xryI07lOJUumZaeC/G3or0b51JcrkcOaidk6
FX1p5HYJE2W1belPxjf6ml7doiucjWK2MsDq1Dx3sbHw5NgbxV8W++JDHEN0v+zia87uingl8lob
02yRBuV1aNBk+Ukv3Y0Q3+v6UOj9yo20aARyW0DRTKWdOeODZnSdir0Bp6t9X8S7DqXDwv3IQM5s
zAbC87rOmnbE6ZqH6LxpyggaTn/uYniq4nUBbg8MZHbbFUZGPYAwstOQPucFuGo+93+OP0dCFskJ
dEYhEXwFvAXdFYGuV5udfA0EDgci92X3KR7WkPTTZMxPHCCOkAxBmnRqPL68irQs6YBx6bKT3YWy
23P9+QMzdfb92VWX+WJqJZu+P3zt0jet/O01K0jbJZ86H8IsyqKE93bPVIbXasTaJ06jD/DrYzHO
RjELpJwa8hAl77PTWG8S3wjM7NDQtbN4YRxI9U9KQUi6X9cGTUcZHGgSeSo8UGgpPRLevSRrgIQl
Kyi7eBNhB8Dl85uNO62TxHYtT0ZzJ429JQ8qXdmAC5cKArR3ZIXpIEc1O7o6LRaQI6gruG4XmdY+
QwtNRX+lanfbtxbt+KikAqY/wbBmC59qvRzKAi0All8FjfIDj7aQvVBBrX27bWlp0qAWByAE+Mc8
qCxe7hLUVTmLW706ySKLBPtOAbtvCrJyOC4FOmB8/dfMbOLkUBAvbXoMyBBRyhhal0sQ1XRhYm4y
1e556gW9NAMlv/638c2OTFVp/ai0sTrlYxb2zhO3SFCsJeIXJxFEcWAnw618JbjkSjtxyhHLVXXD
XUf73Ti8xtWfx6N4Z6M2N0l4gstldjJbTSM8y2mqU/lF15F1OcXofLo9WQtHJpQdkNed0gYIL2Zu
B9yI6Q8u3LvP1MG38whtbyvxxZqJ2XmDaMlsqQ8TBgdldzL8IsDe3R7Fwmqg6uejFI4rDKDTma+N
lLTcE6k8KZbvq5o/ESW3lreWLnpPR88umAs7M9fKcwK0IV5UpzzP1B2A5r+qzgXpWsnNh8ylxgFg
FRICxeZulN3HQRa73mNjub/NTrdPMtHtvUj77nVMQJTJtAK6gdJim95xf2uCtVCJgRBBpYvu3hp5
fqis5DdrkdQbLe3FkdIKa5MVYT14X2jX4Ux1rc+jzsydJl1/L3wtfhlLnTx6SZp/sYyChk7tk6C3
FRpcFKGh2YLDxpVxHBiVTpFgaf2w8MdynzpFtZVp0YMey7P2issRnYb2ECIwSPbEEWaEIkMJWQGa
vpQsqw8jJ3qY9ob1xbfyZgOOD/cFOMQajxq9/drJog1jx2k3SVr5+Kuvf0rBbH3vGQIE5J6RfPX1
xEGXouqzwEKbFcDV0z8TZuWbkm7S8g6SY9kd+mlscEz57aeqtIq7LJdg14C8UTC4DEmugWi7Vrfr
jVlpbagKAoK/XIJ0prW8zW0fWzigsQN9DyUrlA5ApXh5bBqyGUoh0/Lklm9d9qkeh0Di1bQWKq+Z
mZ3OgwBfcsaTcrqdOQ/S7DEF2L3c3h7Mex5t7sl4xiBWAlJx0pC+HI1Kk0SDl5Qnbo3uPrYyaPqh
bB0WsmCBbQ7abrSpFhFZAJzbSRp4ZODBQB3jrnGq5sQaTvdm09IHDmWVsE318X5wmmwzQvLiueEm
CwdhWiFVOvCOZltFJGnysPTq4XVobH9X0H4MiJRYSSm+i4b+7tqC7frBbzeaDt7ERHpJWPm2jHQb
qnVCoRqMKpEX5JwUoYEnU2CQ/mTFjQqKovKCmnfpSlp6moX5LJ2fK9O5c5bbcJKCjdB/lyfJfhfJ
hoG8RQf1rOgPqb8WMS28K5FYfZesxGl8BU5M3NrQJYvFiQBF4qiT1L6aKPKC9OHA/Afjz4mtQAEO
QAEoRcwFbjfhWyNFwa88sQqRpkGfWLPGALRw8MMEIBkgA0PEeQV8G3OIDrqZOPVy7NDayrRtUzAv
WnHlhTXC42Ui3nCxN+c3GKtoSQEEL0/VgSUPmKr/9vnZ7aXqNBED1fB5+/uDX/y4/fWl3Y6yCkqR
QFVPj5ZLB0upobV6C87upG4gQeOWPADZbRWUsfaAHOTKVC25MwT90F4PbhREDjN3tnDFUK1PYa1k
yMjssyoJGh1RBQu1Zq1itGwMNHeo67qACc7uZIsWZp1XuTgVEur0rzaC/8RHA4WsgtpbVUGZ6tzz
nQpM7T/WZjez5g2Jpzmw1qMfPo3HINGixnvz5ClxPkv+luh10PHvt1dvacui+256f0yLN0/OGGkP
5oHeL09WAYWf7lC1PIgtLWyGPR123KnC2/aWwpyzK2geD6qYuKOh4uJUj8lGUw9DDJTGWnPyipE5
LKNJqqbVBhhJa/3eStih14xHGY+rzSDzFQMYAuqEkJHHCw6h28z1Admw9dryBVhFq6jzm7Boml2F
9PHtObtyw8kM5A7w4gUlx1UMjTRQ7FkZhUahI4Ks/eRBtN6/qxSqwu7LbVNXmxmmgIVF3R8KwDiL
ZuG666BwHkN5+ghejgQosOxQpFrAOv+Q5muEQFeuN9kyobqIpDTizPn9jf+fCioLDAsd1CLq+Sbh
qAdvOwiC0pVbcNo7F3vr3RacHO1+ELOb57mUw2RnJZk8es2rLguEBx9YI9AW/2NgtnnHFOQsY8zk
cai1yOvuDfZmoa0KskXm7vYSLXnDuaXZCYjIt9RjHdNmf876SOAxWm7j9jAOK66waAdwFojb4gWH
A+LyXJdxp3iiUnlMzAoF7F7f0zxGZ3NxHC1y74/pir1F13PBIoFoDgy383tEc9JcLzuMKzV/FvpP
Qy+Dpv1hJD9vT9+V1+G9O0EsCYCISOTNb3TZoKcB7dr5cTS8BxcyY6ASAWPh5z5ud2mu3TPTWzny
AJuZex9suhO3MkpxkPCd46ghnaBGgfEdCRuMrVE5RljWSMSUjgtKzi5xNlpeJGHaxsUhVi5iTFWV
Xz0ed/c961mkgV3oDuwqdGvxZIw6i6KRILPq0PRztsVbtAkrvcNf/Q4kcYUbWXX+NUt6kCWkjgZh
M68D4Z5mArDPyOdOuMmmHusm8OKq33RWL+9yB3WGoQE3fTsoY6eczgnGJi0e1KhpG0Jp+9Qw7r7l
eq5tGHjIVNNAdxmOLrJtbeR4DzXQ7fxcDg9Gnz1XpXv4mm7G1Dl4rgzzZ+2g5f3J0ciBdiTfgCF9
3IixA0GgMWUFerTitMTmIdUFCi3Y2hB2we8dhoRFtKdx6OXgJBxqNE8wofSAkNwIU17Wgat55o4p
rsJu7F9NTWsiTZpOxP1abOtubDEi9MrTprJDCbzNjrDkJStGZ0u10QvLpgZ5RRv3oW4kv90mh+Cc
KvKNVjbII3NTCzn4o0CKF1dbrQNghQz4g91qLKpTVQbKrMxACEQEA+TT96Xu/y6pUwSSK2trDgKF
Mc9KDz2DhEyVxBbkP0wSyLgFp2NuKAhU59VWt1QapISScLBRRNM7oH41Se3AK6BsI9oxDkwbI2RO
ScLMyfOowE/+Zrt2etdyaIxXrd9uKSSCPyE9kiZB7I1fdZ2yFMLdzrCr/aZCRcTp7n1oNWFrOWbA
2GjtmarqDepuIEEuc0aPtTR/qsHW37zGbg6SgTQm7ZGzHwxzjWL+He97cSRDbNLAsY9mIuwMoMMv
z5cxzkXcoUXpmNbVgz3IAHSrJ9G91bbzAAGSgJXaSTjmvcuehAs6ar5r4uZZyZ2ug+eizzecmgF3
GDwgfuSVH7EaD0BQqRYpOC4FDUaVRT1LgszRA294a/mv3tCD3hrCEcdLcSe6ZNNCGByxQZI9Jb2N
Ay4PrPglkd0mlp9ICtHWekfxYhKW/WwM9f72UXR1wk4zgJoFUnAOErP67J1cqJxWIxuKYy1+mU0T
8q7YxOOPJH3SVttvr0Kima3Z/eQ2UA813L44AkxOgK2BajpVf9xqPzMyu5pSzUJjaAkjtf3VzT/X
7tvtCZt+5JXLnE3YdIWcvWX1xqA45vB95K+Cln731+68NQPTip0ZcFJexwSNoscUh9KIZtno9gCu
7rjZBM183rZADO52GMBQIUh4LqFVVr3U9opfra31LIjLC7Axtwo7q3XjUDQigPZBVGsr774VK+/J
87O5EsXYO1zDWDIZ1vK5k19iayVqW5mud1TAmQmzsZFWHGFC/m14QVY+aG1E1jo214zMdqHnZiUU
zLHmeRxQc2vQT3kVOn9MoHO58lfpXV5AE61viyNyfDb7H2dftuQ2jm37KyfqnX05DzdO9wMHjamc
BztfGGk7DZIgAZAACJJff5fqdJ/KkhWpW/VQFXbIIkSMG3uvIfN5CiH4zyfXr2jxkzZOxr1POh1U
jc3AbbX9gvoW8qzYZXFixl4RhxLGM5ELWaLIhs/2ZAVQbcPhy1nbFkzKt552350q/oJk+qWN4djy
LwsXXkHAb7jwK3dO5j1z5qT1Q4mB7KInMkBl1BST/xXxBYSOs6SpMs9cSNmfnZ4JKg7AUSCjfhq+
znoRriSUHdXWtLsCW7Z9v9Df3q9vhTItsDAusN+AE57sFkBGx8qdQnobzf02VnuXrAy5Qi4nY0BI
craSw5dgeDLNVaf34aQviGCf26yg8GWDLn0kvJxmjXgMWYdRut1tGd1qr05HmN98/oaXWjgZNk0n
pCFGGAi0Xj4smfrLlRtM2I9vcDJhEedBkBDEcpgGjvmyWKnD15+/wbnF/aGFU3GZKeaqVZ7d3RJ3
V6GO0FeQWre9HDT9C1v7ufn2saWT65KcvXHyUPsGMWgpuBsWfgATSvcSYOP8CyHlECF2iJxTtkFj
x30whl53q+WqH+9IsGlAy78kHH+2FeRVgVSDudMvYrC27hTEFqP2toEsvcvfhume2z/0fP/56Jyd
X0Biw2QNtkYwx/rzcTtHzCgKePTt8sVqsnH6O9MXGwBuezBP8f1j8x+OD78kUi4AXd5q8tCwa0zG
Cw2cG/OPIezJBmD7xhmSUiFcSNYmhqp+YQ8XJvDZJqDJBSIApCl/Scgg++2WrHLYramymGfWlHL7
b8xcWGygTnosO/6Sh+l8EYsoQbhAyuuluxPe18G9UAU+N9AfmzjZSCZlzxYdj7F+nVPUty4Ba8/2
EmYqss8AOP6S3un4Umk/IewWUkupKUXqJwqbyV8G5xwPWGBCsNlC+uUXaQzV+5pGVsNugTYqxLT1
QnbhDP9db/2Xk/JDEydLQmqC01PX7Ba5tzCXQzhvY+n76eAqnaPuWq29mT0ZhvWiFmEOEHPtNsFs
ZO42A7R65yZOF6d6jShL0iVAeqiXFUpPLWmzpXZgpdlPdYF8RFhEBqXTKS7nPDLwNoXVHi6OTvSX
SeQnnXY8RT+swgm8zBqts1s+YGzkjZZ/FSH8ewPI6vm4uILEf3KKRCNtJxrF3W0TvKkZYrl8a7vt
hYE5O4PB8P53I6fR7ogKIajeaGRxqJOGFng4xB//ViOwaT46MGEhnuwnbNCIJ3jFkBEd0xsbPNzP
99vj93+dXH88/2QZNmWpGiERE+F2TNh6ildlbvTO+fp5M+f76o9mTgbE9krDNcFr6O5b2VwFyc/P
n/+rX/zvI/6/DcQnjEFGuelnCd4VLfke5MGc+kuxeM191zt5MLUFpLt2tLSjzF2mogqRB/N58fmP
OLvlAHfy77E6jS8jTytdCrB/2/4GRrLpXD6Z4FJN6GxPAvWO2gIKDZBb+fPaKQkwQHPIGOQpkN1D
IsILLqlwn32PD00cQ4EPy9NvqYuteWC3NpJb06TTMtphj7sw8y61cjKzo6YalRjxItARyaAVk8Hh
CarSq8/H5FJ3ncxvl8xB6VYC3bXkCFzMX3YuO867D311MrETaHtDz5qzWza90KRF6nSX8Ed6yfzq
XPT1oZlTURIWd9jZIdB9S5EKmribLgTCi+63yfsbN4iPDZ3ErKgyWL3x8T6DV2I06qt+sb5/PiQX
Bj44Oc/qElAUKfAugyOKkSJcHeq8a+ILJe7zzfxxwTw5ZDo007kGF0yHHxbwo1v30anvPn+V88Py
RxvH2fdhpYTUKK9cenY7umHaqINlRRlpZ7gjXMJRnJ/Hf7R0fNsPLdUqJGKu8Dbl8rWxrRe1IKf7
+ctcauJk2ZMoGWZLowk+Lya1BnGveLT5vI3zg/LHFfxk7Im91HJ2sOglPIl+VMNKXZLlODckLvLH
QPhFoF+fqmGVbCKcupjA1FmXUG536+uEFQTuCJ+/yfl2jkJB0ANH6ehk+xKJIUnIYrwJqiZad5kK
R+j1XYm/rFKMHcYFb/k/DZ3sYL1vKR2IEDuYfTVEMmMz+RsxxscWTvawaUYiwnC0kAQ7OA+0l4w9
zg36h+ef3rjLwTYug3LQrYq+2+6L1++H8cK8OnbCaRjzsYmTbcutnU6gGIXlwVdjh6xWn1xJ7Pfa
+opbZtbrH5+P/rm14kJDAMXJo9dYfLJWFtQuxgi1udtxfAmgjeyz188bOBeXIbKEyAIsniAlcTK9
klFZdZd0HNY4wM0E67F6q0aa6+QbA5rm87bOdh5quoD/QZkVlKo/7y3GwMu1CXChdKN9I/OgTq03
svbeXPcCDeBsr31o6Pj5h03MqxthGhcNxUOK+Ghair/xIiG0548ggl+hWajO9EvCw+4WYqV56ZGs
FbeMfZsjk1lmY1XPnzd39nWOdnPwR4UwWXSyJ6NmTR3OEuR3UO8jT1H74/Pnn50DH55/MsloF8Ib
gh3jSVSurAwh0pSsaH8jLilin12gHxo6mWy+Biu0DvAivJ5TTu5ti6X8EurwUiMn+5hbx/A3jdDI
MA9P8FK4hoVR5kBN/PNOO25Wv+wEoLhCKw5Z3l/k4ko42zm91yF3PzcrijIr/2Ev3aqPOFT4u0wG
rJhpeaHRs4fBh0ZPRqoKm2Fwx2NmOYFuYJfPJBceywNP5p+/3dlOBG8D/rFwWcD//7yChiQZy/E4
w5VzHUgUBde1vrBIz74LKBvI8UFQ+Rfk4eQrroTtdLcMhYEyuRp6ldbdTRw/fv4qZ1fPh3ZO5kMS
NoiU+NzdCit7oeJCR51/OggnASSywJw8WZs2mUsdE42n987V5M+PVjxfCJXPjgU0Fv7TxMmgmxqw
tb5SuP9/cauHQF014YWhuNTCybq0x7kPFoEWKLmDWd6or+LyQhrufBN4C4CuIOpyikPRUVP73Bq7
2zH5ZjfPBoh19fJ3BvqPJo5D9WHXh7MJcJ+w6701zo52b2K8kOw5t+LBJPHtEOYswCuexJRWZbdh
TBC3wopyG0qTzkuSJ87zHPzkBtpE14H+O7e+j02eLEOkkC3VuLgh16S/GhXNwwXiF7GzG6bm6fPe
OzdAiGYBFcJ6/NURmHBHgYyxIDirAS3p3zzppah5ft7IudUCgpYNTBJwd7+a6XoSDtEcXRgDcWyL
cEtidinKONsGqmLA2x2NqE8jmpBoTduyb29p6i7ri2i7c4+Hd8TR2BvFiV/sSFQ3urgkVR10tx4D
feNeWOznHn/MuEBI3IEQ6SlGbOziEUh+rBPZpt2Uwif8r4/Ax+efbCbWJNqmJdgNg3YVsxRwob/2
fPD/YbSJQmsCe3UYb54sEkSRjqxCow4QqUuj+BsfLxHjT8+N0xZO1oTXQM7REZM6ULOxxXWYPA1X
9JL3hHM6DmgFly2g7jEILoDRJ4H+ZCVz4plaHXrj3LiCrOaSPDoeW7f0rSMPcdXctskxc+3sLOs5
8L4C7lWluqMXTvxfEo7HH+Ij/sePQRnJPfUqaeE+7UxRrA9ln9x1dvKmWKlTWpd+qmmztt1wO/n+
BppQ66i3v3kVrdJgCS/ZQJ5ufr//DJSyofaD34Mt/M+bayyTHhAe/AwH9lpJlKxH6Ve5ms3TJCpA
lyjK/nHQVam3wLvt8zn1u0zax1gLi+FIEk8AcvVh8n1KVCWQtQbrUw+HBVjldTnqbhdJBgmdeM6i
ulxbofUM+d74IGa5K5vgdfDGd58MP5xJP40EiKY6KR/suAbA3O3s69JRw2pAfbYoZ3Pfwksqb6Gp
D6Tekg+1ta2CJa2macWjZeclyzWOsyySZd7qGnWKia11qI5/UKk/J/t+4TyF08s7iKlXweg0OQh7
TRaTerWIYF0DaDlSlJ5kT1Z2Y28TF0eFrR86N6oyK2q/EUfTC1326/RFMILIChBaeFeBM/7n4Up0
uXjx0g4H+dyRnUf+B+Hwf75P/5e889v/6Xv5r//G379DLHKoSaVO/vqvQ/194JL/VP99/Nr//rM/
f+lfr+9sqNnpP/nTN/Dgfzecv6m3P/2lYKpW851+H+b7d6lb9fvT8ROP//L/98P/ev/9KY+zeP/n
b9+5Zur4NFJz9tu/P9r++OdvUNb8MCuPz//3h9dvHb63nwcyA5j69uuX3t+k+udvsf0PsFmPbBQo
rMCB/FjyNe/HT8LkHy5mrw+oORjd0EnDYDA+qOqfv/kePoJU3FGV5T8fSa6PH3nJP1C2jI57KJT9
kGlyfvvPy/9pfP4Yr/9iCDN5zZTEtxFnYcj/WETHZevF4KzBXAA1RBgNnuzMs8WoEKFfbeQA69s0
qpelqMvWWpcashKewI0lDVvfup7UojfUG8w2goc1ILe9tYHcnNibYWx/tMK1bloi61unpA9h5SxD
Bsm+vlBN72wVYAcQ7gu1OjQNHX720wIHSDo4ZR6w1n+HDa/sUjhNWCvksnygYecIqmuyGknWTT2E
8SfvuY9nYadclPVtNDHWpjKoG5UmJfO/ED8pvzt9Yu0aiMeKtJY+7fFAq7xhnePAQyRYIOVmD2nH
ycZ2ZLzSbXsd8Wo2KVeB+yLqxn936pqspanYynY7vnWnZNr2UzS0WVjZDazVovCuqyIPphPuUgww
Snmp6lFug9qOv8Sh+TkmYgCOdmzFxgZLUOXUI9AA1tquHoOItTube0cYuem/y64L8yECxsubqpsZ
HmpZ4oNPmpOFbcBS/lYPbgPipVhyTMAKfD/QOCLuAQEaNitEzle2N8+wxBiLqkbOqSHhi7K+y/54
WZqgvg+X9lerTSxIHpAwjUWnMm3Iq7RocF0vBxjVkSF8N0rZWd8493MpXkXUfBEK4n6Wiz077CQs
il3QfnTtpLB5Av0wDouF9SRlwTTBt334ZhIBmHiY9kkEWcaGt1/rWkbpMsTWOq7qQyC8oQgWnlHW
7YeQq4eI9vOzD0dPmgQFg3RNSZZN2HnoRVP49rxpQ4piZlzvqpD4O8bID2NUPjYJJKp0GWRd/+o0
TVHNdC3b2LrqG0UyazYirfjCsjZ+x70OyLnhTruSb1QcvGkB84Hej1Nwd4PU7jo/87wywck8b6ip
voBs91wFYd2mvYVpmFZdvCltrwir0smapjNbgMWwWWN96Y1dwa3DhHOUTkO0zBldGve7gOwdwM1l
AtswwHvr8c5SQLpT+B80rtTbBCL+oFlL8HJVnfN20Hk3O8OR/ogJ4XdztS6DLn6UdluD7+lGaejT
+8WtOqjFjuiw3jTf28oO08AIlYHVaO2TwdUrKygjnDpD7e1NoO/rEDQZe/biAiSKcdVYSrgp7aqx
YB4sXwb/AV6w8xdkFaf1ZKZtnQA8PnO5KoOw36KqpwBLwRJbZFc+a+J1Lyq4D6q5XEeDatakDZOH
sQWIHboO0Zx3cT3cCnxSCGp6uC9Qz0+tLqYYkXF4WuAQ3+Bgzn2bgV/aOe1KhULvhsZxfkblSLaN
XWbajvQGLFZyY1f2lHNVicxRtZSpos2dsHuxc32+ZLFJvDcralhuiWk/uQ6AwwHbUNndGwLIPwjb
87aUfXhI7JJA8lBsWoYtJJoGyB62wJQ3yn5CURsEoq6XbwGqWE0bZC0FkAyhK2RBdLbo5HqAzcMm
GKONVZZ5n5BrOlsEq4TxIqYiSaf2pmXdT2lVPPVID1lVzKpgBOMAHrJPzTwB39Dn2HLmLX7pdACd
7aVWcKyt4+ambfqvxMPrdMO4k6Z+cDQ6koxu3gAcAazsrprjLdOsaNurJSrvJtMgWzXtwDUoPFI9
zy0PAOc35fXsTBkw9a/1BOd3U8U87VrxXAO75oUtOMXs3ap6+JdVdUgPybQsmxZw9RrmPlkyUvxq
+2sY9mQPCmMD89/MH42D5R4pK3OGJle2dQCP0bkaE+buLZz7uQIFvKV8XS7ayztAEGA4TzHjQWMe
SXcAAqTgVp3PrgVFMdyH1pbv5CamUW4vLVS8Y7bp2oBlR5ynvUzVxrYfLSVrmGbaC3aDeucNC6yD
rD5niup13w1QyJ2DL3atX0JG1yCjiBxuuR0GrMXuZ1e5BSra3mIh3I20/Ep7+XW2FCDA2FvyNiDX
TQzQmwfH3syrfbkxhtx7kCreaH/ob5aI7DmlRVUNLCNwcX+EFNVL11BxFQXD3WR/sfhxQwQZR6Jg
nNrxvJvsCMWdsQDj+GA1XQaePI6ZJLxpRhFklLos9QOSgwIyr0Som2t/1GrX9VhCCX11W1NjzfXF
IMYZZsZCvc5uh2A5dn567ey9TpYTpjYPtmEf0MyW45fEKVnW0OA17qoitkobRCRmfxHhfvCldQOi
x4wJXIn7wFmbhO1C9VMmk3zG6sBGWIfz9RS5PIfhMVvTRm4jGZB1IGGjbCcwf0KSwvfg1jE3OVRe
yyeeeE9RQputFMGUuwGVeTN60Utpm/1R2T51avJSGQsQUvADfM9AJLUf87LX445qYVZS9G4meR08
dQOsMzzlI001OOsYPjFpaZWy8NW8goARzQaqvvR2Sd0UZ56/hrLsdgzDooL+wXHwDqSMaMYTM2du
vRg/gw59nXIqNzDcdTY1reAbJWNoWrIkr+qSwlWhgVQe6SiElaN1LMRLm7jmijXtPW5uTTrM3j50
pVrLmX+jon+Fkwi83mcCuKqgsM6iy6oiwzWLAG5wvZvZ8pqc0BZajGW1biLpZzxwfioabz1+ZMmg
MFpE4eijLWi8hxrUtLJz8pI6d33Pu4w5FjzYm/4JKuAbhyidMtlHBy4i9yEcXHfFJwJ67dDqnA+j
feVgt81C6HRaUHu5JyAHXpVmAj5GKVB8yhBOXpMtnnuvX9ZVpYtQzKkCtSotq2jjdqjXwMS8ECOw
VEI20Mf0C1yC6iLUtZ+LcEluaEhyiBWtmEjGHerURWJLniYWXTbc6dauZYVFa4IV2FIoxGqetgYo
1bB3TEpHf15LUq6nga3gxQivMbrI3Ff2i0CiK3fcfu1yQONnz1lNIU4mNxbXvl8/lnrxgQYTBysZ
0YVE9xnSKDG4RRbJbSR9izFMsIVPsLRdSrVhqDmoOIyBfFd3ddU6qRKM4xRvc59CmSBm7arySwhb
ODdlTGihG8QPMP/dtrgGZ96R/wXVCsBgoFjjS/thsKarMKAR6DXOtUuAxXMY6nSClAizqP2CC3Wb
sima4MpptxsDWFtBEI8cSIioSUfXNQSd4jrZxBDZ2kYGwYLRc5yKaHwEIlJkneleR0T7W2mNQQrh
hHuwzYto0f6eBDUIIlakOpCKiL0VVTlkSLslOWul80JIP2QTH56xZjaAROZQZXRzZzDNe2MHalVX
dbQJ/AZsxxn5hKp2v2nYOd4vUFGQgGhmkJqICokICwW9BufvUc4xSmPrAQGpyYZSy3QBIBt+EWtG
qp/c0s4dTBFxko3soNp+uzAGIlJZp6WQv4c9bWYra17ZHdhgzhSPK2C7t1C+fA8XrQpdJRt30a+d
cuN9GZRDMeG+sILsTfVmoMew0mPorFjLB+hdi3DchCiMkFTYy6t04ccdVFMJS2JP7Wtlw+ZoQcCm
DKbVEjPnKenD717pynUPuxqAB6H8EiwQXgGLYMIUsYh6sIcS2sxewuabfhy+Bn03gXpKW+cVKOco
DeoSMjA+FXBZjadNEy5rBGBb5fQPUTRf1fVsFf7Y9A9d7Y8FUM3BD91UPBt4wK4smizZSHBjp6jm
F1KQPu1buQDV6CwsVb37DuohMJ1zMshdEPLdPDo/Zex9dxauc0gG72VL4X7cvwY1L2+5aEURcBmt
u8Tjmzb46RmcGpXv3cbx/KKIHWewr/Y3AefP3fFuEjLI5lPJYPCo1bhqAbWpZLdJyLQcECSuI8TU
UUPhsTrXwEfRcM8s2ykkimhF3/YNaBX2CETTdWgYtpvOe6+GEEG7kpvJr4etHVs+eB9BCgbomHjV
wRKdKFTUNncNVX7mVpj/wXwf196jRncfgHHFf+I1tt+SGvmNSP9woOF122ro1/R0fl4a+W2Im3tJ
vGunJwxz3ZnAAwCzGY6WOLwEUDZhxBB0+EiplDOBTo+h7rSfncDsUJutbpdYLzeEjUvhKFLtA5J4
mwY8sUxEvM+HGCkaDcnY3vQ/ywTVVYcduqUWaQxPeUIHRGo4z4leTO4PEGpGGx6QFxU/GLApv3hl
bGVtZY2gN2EG2rxOkCUK9M8alfTHkhPnPhiZ+QF33jaDZI25doXtamwGIXIxQ+leVdBcEgULdVnM
fa0ReY3iC5zo+nVTut73OhiHfevB+6BqEL6MAmzBVrnbpaYrPrTJiugm1Z74GQpoWvpQwaUBhoC6
7XNlW/WaQgcIu4b46jvQfrHgnR2UcIvkw8TSDoz7fEx0YKWwLNl6JF7PlbekDq4meSdmEDxEswLW
tN3E2h2vaCO2eoQ+GFadvh5tIla+gUI26ae8bLB7IlvobKJaflc+9FCYAxpTgufpUENMonkCMNdk
yvMEWG3S2IdldK5bXm9nauRaWF24CwgRqVuSzE0kQpNkLEjUqzwYKnkQiT647bKKjZshXToXPVm+
skVKqOBYYX+TlDTZ+aEpBCwoX2LTPMB5q9sCy+zh3mecrenmb12FdZiisPKDlsND0E+rqPdwWDdR
SvDVhECWyLKof103d7gYbBu9sWBhy+k2tNpDzcR2hjjjm4GBRBFUzks1xBuvGq9xRV0y5MDehy5Z
TRI7pYKIE9VIBLDFAeAwgtiyMxfGiQj0p8pwzzlxc1xBe8g1DVDzoRJKSrrKqn4J9rB4mTIJ3xM4
Z9rxKgAUp53FDci6qxa9+SBCJFA6N9zo2IeL5dJtWdjt7QBRjFmCaVdWVpANll2+oLZkpaOZuMwi
mNkX3AtoOir400B504N3Hol3ngIwE4Fzcmg0bpqUez1IqPOdjDzzQ7ImzPso4PkkEuchYSECA3O8
I6D6Mdcr4/KhIMKB0LjpyockEZC9LNuoLZC9Gq+m3hWPndLqyp6Hasjg0VuvaBdV927ZhwVdKrPC
bZKvTULZNm59s6F8KXM9OnGZxg18RmUFEvXgu2tb0LfWghdNLomPtQui55iWanwQyM7uiRMO28BW
CFK8duVWFS+IDto9vENfvGC8VaKfs1bPzqFzxuGhj8TV6FUIerGG02RwcOGAtGZcWJFJ9sHY70ZN
TCYgabSlExdr+MmOGfJpzcqe4j4lxqmfyxk3bpdzSFuF9vjDbxDTFKKN02jyXomHU7Vv0d8IAnBz
dSr3BaRmhJt9iNqwaBMbMk3sdSrJOkGKHR4XoD1QvYOSLMGFHIbJy6htKINZfKUdXWbATZFdN01J
TvzWXVtLFz/P/fxSTQjU2jbkG4NIDCV6LG44Wr5OSFQXnXAf+az2yqVIJg9IzMyDn4ZzyQ8ucveQ
SQp3KEFZOZuaBld+gGJxSbVWswjrJ4lNLR56F8cqaw+a/AApB4cRAYWX65ht7aYHLCBClsSh7pOt
hZ9jXrcpiYMpRQpz3tpOcjASB0EF3/jMEi6YeoDr+KlqkrVTSorwzWdX3OFfIOAzrmZQ+3Dr0HYa
AfOwXmZx5eK4cZtkTBnQj9hNkmsegtsn6+7b1NrdiiGZW9gEgVQT0Z0lEy+ttWbgBdQHYazvBBIp
pSXfdUtXNiWPkWiq5yEJaO70QLgHYWdSqKa4d/ZEbltYhTzHY4jj3rTmmAXr0tlyg5xPlfWDO1az
hkHKUxRNTsq7yCu4Ha1IE++9Llwts5PkiOjnfPbpvmsBzkjqBrEOIQ/O6N50fDrUbVUVWjr3iFOr
VDiBvRdh/NzD8mg11bgWe+SqbIAeJX6d1yK+jaLwSy+n+2aatzj5r7WC0Y8MobrBc+H6GwmcHcSa
OUpgbuYvdBOF5rFsB9Dio3CCL5Br30dQQcQLIQMWMthOjDgosMQr3Gc9hGhkIldJT6q30p+QOlRi
alZ1W5OvBGrxuYECQIrUCllJTyImUx0iixCIqna5dySx3sq2qQ7LzPIKf9j1xo7yqrSeHeRH3wXH
uaNQRAkUvjGIimW951Wrkv7oJrbFNdDJiZxxAxtXYQOz1UG3z1Do2SAhw979CioEpiR9xqFTv2qZ
v2LKYo/1QEb4Z8TRMfisizqBVO3seup6CiYg42rPWXfR9Cg65CiZHMYXvCLfcs//ghwvfh0jyDNE
QQsIFWfrEmI0K3eIq3eGEg1DEgK8URxg0WhB+3pq8x4Jg1S6SCioZXw0Aokqe8B1gOpozLmeDDJz
SG2KGn1UzezGw3gjQzXfu16IxGAlxzUA12vKhh/IxFSF086QIgzUWCS42mQBc5AGNnR87bEdptht
HoPBR9mf3TeRuGthFrJZ5qi/g984blSz/9LN061VIlcz1toCXwa45mGyTa6N393rrnbva3PcPlm9
9k35lQty0Ji/kCiz7nVZuftILtVdtKidAhowtZp5axY2ZkeLnWTmA7Q0phTq/RZyXh0rKmfcDaMq
AizrJ4jRRd+ECSSSVC3yfB6Srb5OrkLbDDeGIWpf2LARlvgGQYeMcb12uI5WEEI41G6yM+0CxnlX
vyJ//MS86Se2eJrihtVfczbm4CmnRviQSoigqxug+Ao97TZJ4XXTQ6Qh6nF6CavPauRRiqFJpg10
ftXGQi64TgaFG+ZsQL/l+1E2Ct4dpsNNwqht0gm+NWbX0XoXVOCdACEypzqx29SJFkRF2OxTUiLZ
REvY0Hk0j8BfDiwJHRKnf7Ug4FN0wbRFSGtlPqoDO7zheA2mCewikK0e3PJ4FTJQSm0XgpsKv28V
bDcmcJgQoffmCfK0ep/wZUfGku553JFrBIoS6WX6VBmkEasAJj4JaMmP4EMFqUWtK0pRPJQLbOTG
5HUxLQFfKliXfXDdJ6DlWP2yn6n7VkXq1p3nnwmi3KlekoJ15a5HhSatGNIYIdLPP1np3MnB2Suk
NBNbVFmgylXfES/15E9fR0leWuhX3Ndl7kn7XvnuDV+MvZoTVa/s0GmLhiIWG6EOZsuh3Pt2395E
gQUF995jP7oYVQx3vleEQD/WzHnSOIjYZyVkKoKK5rXtH0JT2uuZuH2xKGxPPmVxwfsBGGDhrwOq
sMEZ0Ll7yaFiUrobQuwsKvlyQxm6HYdqveLGzhSU8CMurlhvSigumqxEAbWNkDsPEYc+hLElbgmE
VYq+xAWm6yoNsnu9t31xTHThJtOwY9YL1vCk0w+tG12XCDUnjiQ54iiNGky70ZTztSjljkVTh/Mc
mTuKncnWd1F4UzkhKRxpkxWLYByV8GZKfeLdQjKt2yc6WVZhjQxIz6KiRlzsWnIqXOMuO99BIIaq
Rriy8PxcDXLle/ogE2uLO+oRFTu/M69594YQ8okuvcN52W47QdaCD3ndRv0mHlVmvOe4cu2fyKtR
XBtiWuDyV7/HgAaXCIPSoXf87VCFNpjxjs7kiIiB1mvTWndWQMTaa/qtos6cQpymXUMpZzs1N00U
bTzNr0ChD/MAOXalbCcFPxYXCKdma1E1JIc2BWrhLbvBLk5QbbOrjRuM5VWA5B/04kltrxOorSDp
9IU1LtlpJHEwDSfvSeAGn1Zesw85DHZayJY2cY86hFL9Fa4X38PWeyA1Cmro1ocxjHMEaQ6cKihp
RIqasbqvABvKUEz7f8yd15bcRtalX6jRAxcwtzBpyxuSxRsssoqE90AAgaefL6X+Z8QSR7X6brS0
5CgWEolAxDn7bJPHg+qixBuGMMuyMVoobLJ2oaSai+RbPSknVp1c457pd2wa5nQw/JxdblmHT/Na
VeBii90/6mqenxihXmG2d2viBPuD9vKhrzfjep6WvL4RPa45Ae4zOC+b4thSOq2XaaZq06smdZIH
1bVOTKU5ggeJjU1qbaxgy9WwTy6jgr6utAeZ9nfuqL/apMzHa1HXgP3ywKQAi9befuywIgae3Ng+
573wJzbU1hXfNFu/Qd2FW8+V1+iRXXvace0rupOhYQAkS92nT1q/d5na4mSFrbc1ak8q0wPgLHvB
DIabS7AwYuwM0xp3XV3f+VV7sEqw0sVyQ2/y9LjsrINfPsNhjkDGHtgTtXDslcRbNn1qTN6dtVir
sMQ/Pza96S33kolezyo/CcemYZXFTsInIIE25Xys72n7wmQwVka8BCj3WnEHCXuOOk0+ytLuA2tO
Y8Rku1W2B60z/FD3JR5LfUTra4ZthbfpVuCTJtLt1aNsO6XVK/yJdMc+KMhQXBeGJxBx1Fhqe02r
tRs1CZzU8uu+Wf2DvTBMsLU2xXZCijkoZukdywGHJSfZbjBVGfbtavPfswkTjMT3g4oiKqjZ5WrR
3yTe+FnXAe4MJUSojd7T3DJ/VLYDvajI1X0+OuUeId4SjP4gThn5qwMskk+61adxxoEWlpaEyXHX
zcNJtub9xMQ34Mgx4/HioW9s0gvV7Br0//V1mfg3nWfeljO4diaLaKMhwq0nsscZwaJFCgderQdj
QcTvdUYTyCEZw43M0mDLNpAEzdICRifWYwIzJ1onzLNSxcvuEvhu60iQbeOa7j4YktY5OPQw7DcY
MnmpMq6sxvpZjyaQxUqFUjXMRBwfgzWsCiLf27IjhrQVJdDcj0RTz9m+pUi0g9xdzN3glfbBH1bj
2CQUOoyfEhUoivo0MuqqvEN9iTlcX5jPDGDPaWnunNUIiSe848g8jMjYWST1eoV6UpXAJS6SFmyn
ef2Vpu/pRbhdu4nrRu9eTDGbjyKtv8huW5CLrHkX1bY3xmU7FGk4pQasF18uZBB2XhF7ykiCwre9
e63IbzOMQGgazCkqVtu8S5ZOfR0c+vexS/Szp9WfQGy7iBJVCzPNzc9WnhGl6SxZJLfsobTXIlqd
5Jup2TcGxcnSfOHJYuRBjSKaLC4WiUYmvdhPzc8FR9tiFrHuYjg01+JApXm19ZeRwHzSHMEcqG6D
ZESwzIj0tkuqBzWu3UM/6wAa8O/Mad23JSBEJSAcbEGhFy8O55JeybtqW299VZZlOE9rH6olfZ2t
b7PTM1bOS5kGFiwgY3oV9s1KOSWFu+vVdu91oANFYZ0wjtoOvjHmQdbLaw8VSZef8tLdZdZ4LYru
vM51XCt3inIQroe8Nd88o1+utbUooz8+cqne/K3ClG2MqoH+dGsHdqR5uUuSKmMrl2FH/pfUstdu
aT+nzqFRcm+kCac/nWttmC+J32cRGqPjptqWks9Y/B3mWNQPSUOfZ4AA+pIBBVnZIa4uR79s+31j
sY2lxBxGsA5eMOJ5GPou1nr7plrXr7Vtg2PDpBm68pRPTbxs7UOxJN7JTmY/sDfrJDq+j0Ul1nmw
GHK0SA02Ro1/QK1154FW+uLO7gXjpplAlUYXWuQS5R35es/W6l/ct3Jv/qSaxY+cxbf596T5tOj5
FCZCy0JkVOdcTNfr3Bw8p3pdhEViED5zRd9o54ZIsUQrPTr7ceBiclXh4uQntG4ziMwwBBX2MJnn
0ryiygi1Ij0wYJhib2hpuPvWvXZxY491HSvuwG1ywDqczd+aMhvQzafDzoKk8LQtWQ2lZmj9I/lL
VhH4MBeP+dBbn21zhUmhHJnuU8Mk3u6PaUQl8MILBxfHvmD2ivqlwDb18zojKkyz1rkZbEge+9zo
WUi19smucvdeJW5zXYxAijsMM6671bJYta053TRiyq7S2dHufGmOL1VB9uDQrv5bInHlCbZ1Ka8A
G/Qd2nJGFqqfy0t8Scvn6rP6yPAxiYWbWecxTzyLeUliP41StHtDri6zX7eMXdVB2xHVxpBEOXul
i/LNdrYltBIXFKc3x2bf4mpIW+pny37O5XIzW0Sh6yy7nWHlzm3VNdaX1LzMbfWlu3GFTWXjDuJ1
RRO6WoZ8BbQtQ5Vku4rxUK13h35Fk9D2xRXfVnc1Na31VScj426T07ybkOTggC4pa6qUlolIyUSa
aZiX5bZXWAcGolfiwfJm463GQzU2Gtx8O5VgdtCMe8+pQftpbq+Syvnsi+kTjAGTMWqys/Ol3/W2
tL93dnt09WvdX6+VnTDPcI3iayEUVYR7J9b6sdFIOKlNM8BTz92vHUW/b3eXAavzkGC9Fxf8UQaT
rPSfTbqkt03Rc5NyTa78QZY3Svdit4IPGTIGcftdUs0U1vrz2HnpEo2rhl66z4sQ0tYYLpocQ4XJ
KFOSjKlDb6DYrR06kapez4WhzhgjpSGTIf+uTZFdtRxd1iVws10ur9XIzBfu1ptt9lVI7w8/xoRo
wEEQFcwqv+Ym7axc5UIfN06xWRbWvafAG3CQwzVxKg6wIiXoHJFEDA2dI3C9F0N1MCj9Pdd4ytpK
Bmro+NDsx0wDzHwsmMZ5+Y+sH6dbNRrGdFi6FpS7GQqAmz/LahGNVWa/4KMvYYV0zA6E/SprNyQR
vT54F6gl2yQBnq7WRAzX6Id1rzotE4MwdwDTrSeCKaGmaUdZKu9zP8g5bkTPmNpV2qksXfIyYUlO
oV1r6mZYecOZBjQXzFgF20jFnG6OwqyOHieYp6FRgTObzWtadnU8a708u8u47Tozr/ZVY9lno5N5
7I1K/7xt4o1j6atr+cc+X8QV6APHfG9pzjeVp955qJqGA03BYtUKh/lmlV9payquZ9mvjy1wNI+X
lKf7yjaetcUkchdwVl7JuWvfCqXGAxajtUU/gMVA3QzndJvZbTDnaK87y60DmSTzWzFl5aNw5vnL
auJPGNkd9hsh4CZ4vblsiYzSLnGfVtNZDvk85AfgqiJy0+mhqcgeuRiGn3te/ONqqPY4sS2fG3cZ
rvzchmwkRFLurLFer0u90d6yEa7WUM7pdz33sGw1u4WZnr5aHL9TTnzekqwPTWb2WCNutYyrcU1u
M7sxd7VWMpooMUTUp5FjDLoIjVZ1a+Q8+am7Nime8VGQ7idppJcq0M2PSwlAUzs4vg9dD4PFge9i
u73xSHROdhRTPTGior/BHHPrbhuAk8NcqQ1emFws7IXTb/B+wSyMBrZcuXRHQXbCZ/h3fWhPhC7o
rngbtXwIRdd317phDGdDs7Jnu5oXN/JSLacQy24hZumX2k+1zDrdVB6bdFq+u3PTPRnQLK/bVi3Y
5F5DWuN5G7oWwszFdcjP5UvaDu1PvZsM6Haiqg9Wb87XFuQdgAY9k1/yERPO0NH8Ev1aBqTczD8z
oeabpNp0vDP9NS4GCHMCK8oHZDcysKoaksgqi3tZCVpJLI6KQzGTwAM2Xib35sJWNOq82nrRGFe8
X2O0eboblBuYlyLq5Ii5hNWFeVrxxMbV4w789EWbXHXd+C60MDCSYHCG/Khnw7bLJ2sIt7WZd/hI
z2dvGTQKwiyLMomvaVqNRdRr7nrf5Yn8hK9ofc9PKs90ds534SwDIRSkYuLTP9TGMyyBAtSxtsVt
5jl3mTt+tgtiDzLYtlHlZKgTW88/ZLPhPeigZcNe083yNtt8eV0Xavs61TMj33KrX3xZlIwKLf/G
KeFRuMY2ReMIzWdwCn1nlUN907UtVrbtkIZSd8D/3Km9wjnVCVqrTuO8aBOYcmV2Z3loug2/yw4b
DuKACEQjJ4m27pe0LnaF0TBB2Fr3xqjG/FyJyY+XPpniYrTCleMhnGdSlUbDY12tUoTF6pUno2LG
RqSfnd72ebd8TcUKKqj6XgbDOPnfZbImj3Vq4uCWErPa9r3/muZC/CyrSt6vlkpuR3xLF3JSHFxa
09bvAla7fwD7vxRDnlfdE6qH5ZHXdNVbvcn8k8aALs60C5vQH8obLRs/FWSOhVpZud+KeW3DS0MT
JwPJEVFiYKdrGX0N5L2BkIqqu1VWW4ZjPfDfkO7sFo293jc082kTMtcD3BXsAcdbxzBh4cK0oqft
vOt8a3EbNq0lSi05/Wxsw94pvWU3acHo2AL5CPjGdoe6yfPbWa5O1OT1GCVmBUBqQNyrIN3e0rxm
+UEDhRoCqJnuQ2qwe421Oe2KCT1CTPiTCPIWRFFmbdOdpDOxX9sj2kaWzfQ2ebK3AqzHjXNnM/OU
oODHTXPmyE+h562pNoRMErbAaoQ4OVU34RkwpEflb/OVLZMC5ussJMO6yY61pdO/JJ2vYqZmjN7G
e2tIAfJpYTVWT5Tm633vPRrKSm9FWWxPyhHj1ZgtVRZOwr7w8Mg1VpUNb1M2xrlg0hBPHWw8Yqo3
NqVK27XpMp4NuWR3Dfa6kZ9Q2En8XMHTmv5QVkOHz9Qq0nMtgOYZJ2sRZLg0auZ2+ZxjDhh0i69f
hnswnnK9ebMKx7tXyq1f1w4meOhWl63WBkgZa/2tEIsJYFd7ak+Zi+Nw0/xUy9z0wVg0k6Sc8ttX
UzpaJBjPRrZjwVERsvoyYqR+p8Tcf6f5hykDnTDtzKOev7aLE7YWnCi1lsVPY2rrCAmgula9049B
65Bv5kINvKwpsmuMSjo3RXI35ukCHmt1j36aQDlkOqw/FwyVeTST5j8x1YNb2+l1rBZINI6TCD3g
vMx/1JY5UrsbYnvMYWyGparXt8665J0Qd/Md7Dd7YPQDMLwhCUmnVvucz2y2VaIyyCWVhGk6Umui
47ghRIZxgKmGH/pims9pvcy7tK+8K1XPFBWkV50F7IKDPpI3orUDTB6doU6wNGwhjMFzAJWiLe81
7vAEL8MMrFKb7gyy7R9SzXN2s7XqF6qXZB8Y6i4ytVREKSqXuFJkuxh1ssYLjDWHwdvEwpWrzbGi
DfRAxf26WpFm6f2DyimCoQkV3DLUumjLeyscbLji5yXFlGup3O4ONyIVDFNljOTRz6CirBC8ismV
fMRe266DdhnFvacxOBsHNT9r5uQ82/lU7uXWMZ8VGSExCuXYFqhmPcBkH092NzSvs03p6aippmcc
531jbiXHQo8iq56dNy2hCk56tdfazIgrfmCUzut4pr6D3q+NRho4GrAQXUL2oJdCw4QfQCZzc74s
H2lzU3viC9yl9IpmpH0wMGIG+iwuBedab4Hmrf596pXafTvkeby40PPSqq0e9Kn/6o1QbdVGWeem
WhXz8vthm7Qro5Qpvyo2w31s7ctoc8BxMKzGjrgJUgFMeqlC7KxqKb6ko3Mylna4pk/BSqrTnBfZ
dUUkS+J2IHitNoywdDqq1VWPxWBoMIknw2TyDgJ6VzRwniAKkERSJRVAuTUWhzyf2ptWQmYJhE8G
VLQ4aS6DETiMink0X2ykha9ZUvAN5G76XVMrcN1EG5VVebLzPEhGNq/acLJNIE2g3iX9YvUwogTW
Pdde6w3HPOl1XjnXyg6iSq3x4Gug8SvtXoDXOR2Skzm3PamlkZdUJVQtpdvhlnk6lLac0w8ZyfOy
rd1XDRzvwfWz4eyMkIHrUijYrCZ2uEjQOtZg7z2RR6VAWgzGBfwqQgHfr26LpBoZnQ8MUTyAa4Kt
UqJrbQze5Gle6oYQU/xsonFZ67hQNoS9PsUTzMoncE0ICwxZisWonuc0fXE3Gubd5ov1BVossE5b
0H5vggFs2Ji1F5WtMg61Ww5Z2DqZuGKx+5/EuM53a90Z3Dy9ZqC1NX2INxmg1k7hwUhOZi+ezME+
SemMzwm3fkYQMwd2X01fAJNL2F0zRGMLjmbU9CvwK3qVRyvHgs3zIOmu87ACFrj5vl/qR8+cbk2h
Jed5ya0YZ7vt7OJ1+7nbRBJmU8tfXIDCsTDdaElpO2lWiQ9khPJtLvq5DSflXWb4ZnEYLoFcxpoX
u7aBnVWC+zxVws7CWeAtlZBcEa1aIm4NnDuODaThs8r50SpT5m7eYGNnI97Lm5vRG26QWGtgJW19
Simkz52haUE9WuYz0SE2AgqMzFKvT67mzm8fUYHXb61EjRTUmF1fk03DqHeEQRTbXuNcRlA2nKct
1b9aUJRu6yFRUDw4MVCcivvCsOcQJF//WoyLvLLtmkNQzfqtl4o0ZI3Xt5aPY2WPePmzVaTTboRc
QypQnd8u1BYnxvegzuZQaYFFx8bZwVQ99fQ8BiDw4qYU7q2/uGtUKDN96imsPncdCLaynORK4lu0
K3rHe8NiggQMOMc/ECzKIIWBEzobNglmYtc7v0JzFFRp7dxYanS/OkOlAmKPS8QxCt0e/JY2O3iF
S15WWmMMOyTgwphNmw9KjGgETWEdQYSTF90vqvvU8tZ9R/DKl80p66hBMvg97a0WUoM9nQttcQ9j
cyFb2VuqgJalHswaQKKe88E1oRWvNXTVJ+FV85XsjOGkWqs75c1GFWBxGmqrhsbGNewIHccKVZ4A
b9q/6ceSrcUZ88TidZFVGq/lAAnIFsIPKVgQOlJdZeSJkXiXBjOcvO/1YAn+D9NAF+CDGHacad+M
ys/fhrx8oABcD+MipgBT1PYVUvp4LueiPCa564xQ+3hPOWU9nZx1H5MYr2/lPvPZyPzRa3dAdNPJ
A04K2U6ZUCcICkZkL5dYGrnDKdI6LqhUvlLKZz98WI3P6F2JgCbaTpx0L+WA8nsmDRdNkg+hr06f
0mJhfj8Zmn+w3NWOlMsVked7DAaXdU+T3l6vJmKbddgIqnBnB2GN47a0Q+KoqXIwOa22KaYRcR+N
SwSZhdQstRbj24je9FNnONNhnQ0rTB1i+Yy8pf1fRwFMWQLO9G0G46xLJV/obK93F6o3L7xUJXQH
ueIBL7Y+aFi9pK6phf4hObHRm8zRzeQ2h/z4U/N6UJLJQB9ragtCo77PWdvGuk0qROidveWisQ9W
K72dCRWaeYzfHIwi7fDpHheKbd9ZTz0vKFUQ0uLjcOmxAFbUSQy9fE18M3lOM0HIHKaj/dXqev3b
QCLdTmQw1Mx14MvQlfGwVStYiXnBg4d1uP1XK5mvKjxs9pNVF7eLK60lRMuyRT1o6pM7FxWZEOQw
gZ2/mZlh1aHLRga+QmqhlSRZEyR67pOygaPDwcQnjDuElgL/r0/6EweQeW95Gb8mjNx+dvq5+kL9
4oW97g3Rv5hZ+0OrZ+lhTvzhUHfW9LPYYN/Aa2ajrIkqDBjpQzUxCDsnOAqiFoLWeCYVNQRV0fZN
lo7HEZp21I1mC7a1/RgY7yMGb6BrLvXCOGduHKpBz7AYq9p19TQzB63ikmkEKsGGCXE92R2DX8Y+
ZpBQDV3pYq4OqtTsq2G59NFluZzQyjeHYrJyWu2U4Yvnrvnnze2YXbIKmVhRFt1TSVx7Uz5/z/1y
3dVkK8RK07KnfIKUHHcuk/bVgs5YWP1M4h9kew8SWSQbXpBxSvPHetW+OBWV5DRU5glbgOzU5sP4
vG7ZimKjtu9TpEKnZrDbyNWndVcUKrv/lzVJenLbzQ8j3qCh1Wv+rhOut7Nw9EGSDMe3MJ45n5jG
TxeZw5TkkLgGsdFtaP30mqZJHlVEWBeB1dUEi6YNK8x1zeEru0MT07psOwTC5Feq2uyCf9ki9xAq
Wj6ymLnbcXYZ9xYTyytTZB6a/0R+hvXfPacQZaJ/5ZBv1lZfnH1B9bMvsgwyyEhj/K8JkwAvs6rs
sELJuysS+Meao8rYsItln9PI7GeURX+aE/xHPfyLLPb/6JHfy5Zvux/N4zT8+DFdf+ve65J/ETL/
PwXO/z+qly9pdP/rfwTCf1MvX3+r3nL5Y/xF8Hz5LX9ql13r3w7LwhVQRjASNwSeC39ql13z30Sm
YTRqooozyb9ANfwf7bL7b923sOnmL3TN5OzymziwL9plTf83ZrhC53cKwsPI90WA/j8f7pfH9Hv1
8q/GYS6O44xwLs4Duo8B8t+8lgBgVe6Mkx7l8sF3Htoybei1e2hCVYUyf4BHYvx3yYVck50BmbRF
PetfbhB1+F/dZBIEDg3Qlx5Nl6Bnzsk/AlKn+C+P4T93+lddtvurUP8/l+FYJgHFMQ3nvdES3Pra
qpdMj/B+g8xvxVaCQJu4oXjmsM5f2vIzVG9qtbE6Mfuii8m7UC8jjRyV9Ng/w5XUXOCKG9r/hDJy
Cif0M0agp6FHDW6GGMb0tNhztLRhjS28wZ9xrQXelYFWLHTbeJFnhEVyCBzSzDPwt7D4Vr5Z3/x2
L7aQDCbdjIC5C+ymXtVrv4B3REW6szMJnBLlVLo+1IvHTUsZosY2lA8mQ/JQUqx+YIbxt3XAMzFd
R2ds4ODs8oeD9V8cfpYhJ0lGsg56E+dIvdziC0nrXBTyoWQyHootXUP8pT9w3/zdMyKRjsB1Lu7Y
1jvPlKrp0M2mXFbP2nWnb7PBuT92Hzi/WL9abPy5FFyccTC/dwDJvHcCfTmaau1t1AAZyrgBfndk
0/eN12hKg1a+gkx26MSd4VvdfBorTCmgrlLcFzuP5a8gaYQImuyj8dQD5a13g/+5xJCu0W9d83SZ
hw63OXULqP9xXV6UBRGgh075gmxgLb/L5gNb1N/eDlJox+arMy9v0a8v0KAySFrgLoAaoeHcthWz
VSLDsvRqUXrY5gjFi2kPfklRtUZr68OFxUebf2Ul66iE93N3W+u7rD9X2zeR/9SyI+ycqHJheIzP
TnpVkSDVLceyh+cRucWNT5FM3nE5rNCP7h1iqXwNkP74wSv7i4/Cn48JFwedvZBFSPL3r/eVUqjR
SztbVDEMDdDm7XJg8qj0IKkkM9QAk6Tpf76kcXGb+b/eDX9e00ebhK2RK0gnfPddWhzYWWPS/qW2
ee3n3wDnk5tM2FeL6C6hoE7CgBNltc92OHfU1d7mRv/8GX613fnjI9iu7Ti4+zg+9/3OAKa1ks6F
57RGs9uAF5hXF94xdOHXRU36/r+/1sWrgjf98rr7727X1txZb0Y2EA/mQ4QxtO657g7PKIj8iy53
/3y1y0979+VyinH0+SxUnUDSXx+o6pBom4ILmZN11RY9jL/CRtxvClrLavhUui66lzH2Cu+DV/43
GwtXdom6cASHrLh4cv1lP1uBUKBvCm6xoKRebGT3SsJi/Of7+81VONiZ3bhYkxi4b/16FXvWzcbm
HqOMdFLKYnhRSHnVB+vDuPyYd1+jAFvBGw2vElf/46T7y82UudWCLtJD+BK8TZVjUM1ZbM2Gzy4z
wZwsbhscKRC7wlTRpuWDTfo3Z8Mffl82G6dNufLO5m/zl2qyHblFeb3xqPRv/eSvkY4Y/DKRVSeE
mYgihg+uenHGe3/TBtWB4dk6V33vku4DdEFZJxixbdZyn5mA96MP3yj/5pAwh7gX8eA/P83fXpFd
1cVEDav+98GvpdGTrrjiFVK0sx3QIbGJQ1ZELFEbYadhXbEV/kcOTL95+QU+dI6wLgvJdy4f6i/P
FnpgO9L04gJh3ArQc1A0JZCptT8Byz9Yrr+9Fq5bl/eel9G5/PpfrpXgaa2VJddKum63qFyL25V4
ZVIiYWZoxgev4O+uxpV0X1Djsttcdt6/Xm26BESwQKJyfpYKGoq9EaJkKuhbG6DLPz+7372JfIdU
ehDaLhvprxez9HQ1Fe17ZObLEporOVwCisMHK+Tvt4RbkGvAhnBxp0bN9+tV5nRbUPtzlQQ6Riyq
r1KW35Vg/mji/PDPd/S3vdN3uA7mRh7htohj3i2MvPeteRldmFnk7wVL4S2HeU6zcIFGokYfSYax
HUc8QkYn+yBl652hEScS13ZsjIzAei8b97vdM1Oqm63FvBQY+es2NM9jUVfhai+w10C8S73HeMVE
wbzUO5mOAzlS43Of2x+9HH97I/kcvi5corBwjaBC/PX7hkTqNCOj7GjZpjeTtyPudHuvknJfmiA3
ZH3OH3zrv711ylEKAUxHhbDfPeKi97Z6vUAIFj45gXehpuIO5/TEdiBCQGOEcCpnyhP4ovdQVNg/
G+nHUw+185+f/x/H/i8bIOcKXz3dH8abuFy9O1x0zTMMbKJozcptjvMaglVqaifm0Bo+TuJWpWjt
K4yxdsg6nphCaDFDzJPwSZq0ZfZB0fm3Q4CGkybRvGR72uzH7w4BvVBzvhnFFikfZloJcZTdOOwb
FfXLALHNzE51l/385+/gjzCnX78DDAIvOcWw5XGDv/TVf91DzNQhRzz3VKQbLSzTn5IGIU2/tN0P
3hlgIhFYcAmaGM4VEjF/+wT2bJc3+vi1kp/m+Whq4KI3eU92UBfc57fiVC2HFGojboIu+kCJfviH
aUeQTG3vSLplkkXKiBmytumnQr3I7Gft3S/l9Tp+kIJIrBef/f29XTYSx8J6EK+gdyuNAblRrB3f
aDEcbP2k0X1CjFHeXb2ku2F8QU4RSuc2UU9tdU48utYnrzwv3a6GC4kmZlg+GRcVT39vz32QT1+c
eT+5X7zu0NDWtns4S8rf9f1eHGsvGCQSzBDOHsqSNO6du3SJh+mIaZFYdklxrKwrVnYz32vpm1ld
S/Nsdd/a5tpedi9rebB0/Dmi2bm3jGjNIuvL+lIxFJk+y+wREzBEB2K+AuJ3RNB+F9mXNf8iLwSb
n2n2uEF9KSD5gfYGtUDgFqsH4LkUqH45NPoUKHE3DWdTBkaPbwoSftbV0/KK9LrOH5okxlCsrMKk
iMxn1BmNfpdtN5TjVcZ9oBeKITu4/o42W1jnLr33BL41Ozyv0Og+u8ljP4eee+XKPeWL5h0vpSjK
4d4942EOm4pw2j5mpo+7o88ctY3kq3HFbMmZb3UIVOVRMY3EiwJfNP+mUK+OcZfBzsqn4yZRWH/H
vwUpTgOTaTvYw86F5tgusOodP/Csb7pz3R9LRDEezRjahXOPPkNEF+IXgnPvgxP+7xsm3RMB2B7Q
kq7T8v76vnicTnXjUjRlreXhtFWcKQmLGK7mZ1lUJjyU+b+zPb2cFa6ObITqF0gHf513HUUJn2UY
1kuNzz+QdiuR0CJT/Wg3/AMVev+6UJlBwyBWjl7i3VbQ56volcboeZFQW+lbQgcoPIHwHmyvI7iv
/rUbntT8sNpvlv1jRPckx4PXYeSgHyFjoShoMGDpgk1GTCi17jDlsfD3i7F3zSxkgu94XwoMOJo5
lvJLBvgaJA/aGQM38p7bOLunabER5FIGnqer9OReg25nEAzP0/UkognhMz8cTdleXA83/SP2YxfT
O0VuZFQz/b0HUmix3jD26Y2srrr5UFs7vw6OVh3gHFK9yunJyx8b9Lzq57ZL9bjpI3OOtDbipe/o
4lVfB1imhLpg+vk6tQeRnEcc2NERqpt8PGrjzk+/DMMNjCrULD5R2/IRRADh6FTG8O1n5H3LNV48
WLyNDeT4ne2dxvFFhGq6T7bPbfVc27AYeMukgWQM2XK9nCb8rGSfQyn4ZnsHu7u1RuAwp4mG/k7W
p3Y+uNY9hPl/3vv/VmvRM+ocNUCUtnP5+69LGQtz5F+9zfN2CnzAcvkqBlS9mrDPW6KSD+rH310N
G1jcJX2MmsEDfr0a0RYQLphsRs1ihQWs1WDpEXbDTjaixis+uNrfOzogX7Aozzd1htXCf1cbD+Wo
IShTCoogBGJVywYOlzvsyq28tmdWnlO6647pVJiMxqM/wNv752/38u29e5sok6llBWmTNt4Ev94v
Qts2g5tJf7xhA1JWObZVFxeK//4qWHCCL1MsUzK/u8qgI+YsPfwyROu95YsiptYnn/ufL/KbR8cP
txApQGHnyb07R5HLSsseUzooV+ywZXPDWcKtmgzsa1xvMz94dn8vhC7XAiyyhS4ANt6VZUXfksgr
exUNrdMfCu2EcuJcJVMeTKKJkgbhlntxU/nvbhJfUaRNJrA/qL/BP/36vLyOjCLY2jKymuWla5cB
kw8MDb73qJY/uMH3jQeX4jKkd1KUkL7ov3sVCrmi9iPrLVoMPEg4Xrv/zdx5LMmNZFn0V+YHMAYt
tqEjJZJkCnIDy6SA1nCor58DVndVBpIRYRWr2bCtqtgOwMPle/edG1OkYKI90kivqd5VG1YrSwuH
zelPnO9dU1YAtLhGbkDjfPn7ZP7uvohAUFN7SlBXlMQBC0ohvaRKbFIFYqA674DfSdaZR36Yh7bC
bolHAmFhy+TqPxugADEUgQ0MgXX8ea7QgN2izlhZkNIGIZHjzwDMRKq6FaLck8RVzsyP+dDl8Q5X
LJu4DqdbLnqHvyopaz+H0JKvnKQkzDoYC5FzbKoGYg3N6Hw63cHzkTs9zdHYpAlWcZaeHw4IL5nI
pSh+lPv7usu9lUw22C4VSvkbK9gI2/7WZL9OP/PDj0qFNhMFZRORatJWsy8EW9VgrmVlK9kGSlaq
YE8tD7pKKTXBsirErzjNwzMD+Hdo6P3iht0SRx+CDlwCLAKAs8kSGrVEEb6HJtJ2x3DjxGjOvRu7
ekReeU+SeyEXnBg71NbZxnaGZVHs5fSGf2gld+y+xfFmlHZBhcL+W9A+RkqxAUkSwt4yihuR3/Ln
kEfrzuHK2y4sYLX8XadwhfJIG1a2oAFDmnQiGxAc/F8loBqKdzPmj6c798Pw4TvRheBaqhGZIxV4
OHzsNteNwaZYbCiqzx4C8WVZIBQq+rxdGGahnRmtHxYGYjiMnCmNgmMWllmHj+upJzT7IA1XHAhW
g0CtjiBxAqWpUDaTX6MG/KuWQ7fNdPf0h/7xyQqP53CLl602ezL0MhONawkTM4p/Br0Co66jZpXC
HGnryJyiasCm8lodnTMP/tjDfDIBQSLmHA5Q8Bx+slDDuNZK8CRKQiU/HCji5haXraEBDIiW/fRn
fkhG2PQt/aroU+yFmOtstiQwWAqjGcG3JjWJqnpVUb+5S+t+b3TmcJfX/SbD0/eORJm/QtWQUy1x
LubyOzR+OHs41JMPJdrMu5CMOfxmrbCMHuRkv4LrAQt1X4JU8ttHpeU0qkoLoYdruXtMd4hHvrQU
UCdkWMO9HtTbLIEbuIHftvHk+LqRsOl5TfMbCYtuw28XUuDjErnJPgdkpuwGyoLrlHsu9txD03gj
FG9ZACkDOeSVryRfAP0ymfiTSai0gOUIcBT+fkyegCohleJMDF6y4GE3Hk0HDWfRf50f4icxpl+f
dYQkJbmEw95oI8X2U5xbCUPfhQoiWlD8zXXCRWTRFMqyy8Bpi9xYVb7xkDd1uUCuEZxZ0D4s3FOy
HBkBgVSg8xBRD99B9oywKUeuAkqLyGkMZWSQ0qJon6zeov6uGtajL21Oj8WPI5+d2LARnU55YdbR
w2cmNgi8pirFaoTcLwQAyzEKfSqtCYugVzv9MJIYNHcw6DRCXQSLkUjwWHapw8eB2ENqJlFxIz9o
3/NPrC3yE9YA5rDGOMezVt6w5h+l7zhokfUwKjg0N/hf1DXszKVKPQ2l3Y/jtb/vM6qyV6l3Xxo/
+FP0z8K5TwbKU7e2skF/zYIN60F77cWdxRCSlsCOHB2a5CJEr17Bz/2UD197fRfDAfIdQuQMvGUq
U2OCdnNZ4BNswhih2h5FKwJ7SvlWTklAhujD2lARrlIZgmZu11MX4wAv38GlqwllUGYp7Up4JpSf
AdHg1A1SB6Cgq92PbjOhABbJF+uZwmAUCAFieQnCxE6Pto6+1f0fmb3piy2x5/GO2gMEZ+Q/CGqp
nycQqbmr4AVQYG9sKvwXsJGuKKjeFzVVm9tM3g3jXQGYaCCGCXl0y7/Uh41DHbK6HZp9nG2QkZrd
JvpWR/dYGihf8RKWobPdqHf9S/crvTa/AeC6yX6WxFliY+0b9z7sl+EGIelCIEPUHr3he1U+FvF3
KpFSmA36QnELf+0rV7KzAmcMncP5ATjpzAr9YWuYBo6qkB7DKoysxmyFlqj51FOPGiS5xiWauhd7
qVkEdTRcXpReC67GNNHh56gUZpHN3Z8ZuH8ct2Q3GLxTtHwepA2NvLdVoVApJsMIq3AMJljZUQsu
1ZHNr2WQywFfsYi9DoFACw/j9At8mKZ8vokUgJgP+kyC9YfzRuGDI/hpDDWpvkpRga2QBH5OxpKo
SNafediHdYhzOYEeg71Jnpaj2Zpgh4HVWLUGX0Cv/F09eLdE6DfFYKBuGZJXv2EwRAOVVqe/UZ1u
cLPFgeciFrLZF21SAYcfCVGCyvHObLCYNTyKpFF6U9sI6yCJ9C2rdkpFOtRxCwUO+oH+vklMYy21
obIkRzquUo5p6zwJrikbp05DqD/TMbOvOLep6ZIKq2DThBLxxbDxlo2Xdf929dY4QjA4pxO+jhnF
NILf3WtGso2thEPyqpWwzTQwgIghjnecGUWdoEeCH9BFZ6730y9x2GM8U6WCfpJS4I4x27UotcZW
pp5IIwLCMYzErWmKq7ZUr0nkSCyr6Tm51ceBiIaCWLYDAEDlljr7ytaD5aK3SKIIfDRXifSWoDG0
OyHddUP55fSA+DgOp1wQMrJpGCqOPBuHYZ631KkiwYXkpW9LmWic1ZMZcaR1ZIlV5jvOFcfibHP6
sR87lbEnK+zAODER6jQOf0gnBBzZZTlqd7Wldkup18ht5G3igYpOFPkljsQ5x62PJ0J8TYhIkYMz
p9SjPQtuZEatGGUQ5yulb6k+bIgydi0xTQjC3j5TpZBAXNJdUTbdLhqhlpvM7oJlq8T/epnFuWxS
aXFXdXRE3IffLopYM+NSS1cylPEes49JzD4iowMCUHbWomQI92aw6o3x4XSvfxxYh0+e9XrUjcJq
7OnJ1sqi/GNNQYkDJdKw1lQwnn7Wx83k8FmzaQNNQLVYzlIYX9K3wea+HwgNGSTAkeZubG50NQIw
SMXImedOvXc4XXkuy+rk3obaYa6+S8MMMLAICAL6SrEUQy2WkZSdMwn+U09yrOeKwUaBKnI2Rf3R
ANoQqJhapgrVFrK5GsDOQ9UIl7YRnBMb/GHoYuQ2KS+5pRrM09nWFA2glMc8yaDRJN8xT4CYTS1N
q3i38Eluc69c55ypg8Sy9mQewWkZ53bn37bEs37lFYzJHkh3JoTe4aj1K5KVbI7ZKm+/wWLkApNZ
AXn7CBw8Pivk0NvwOpc65Nu68qqjLF94JAKSYPQWcaN0kNo0G8a4Wa2FMOAYR5w57QA0eCBl0aIO
sn+9w9JnljpJULh60W2HLyw0I9IUZLEr8Mf3RVsuFV8vNmYVU6Q9bAhXdWC5K+XMDvVhYOAYjOee
hRiXkLsxNwGjBDBFhQL6pjFDgE5F9A14GE461rOWxvYlD9M46KsEGLnWzFaS3LP1pq3R7TtgLdm9
Y3IasfJVFMW2Jm97ekJ//DL0kQ7xdZNAt/pBaoxuSe4qKGygEau3qqyzXWE7W5Faq0wBP/XvHzYp
zjiL4gtDmurwx/NqETRSYgcr4pewccyt4en4WHM+BXxr/jr9sA+bEYZ1pN6m8xj7rT6fXYPUI2pT
SC2VJA82VoR7SOnYrxmsEiW12n0aUN96+pHKuWfONiMJ/pDVhkRDbA/tQwsdLC/MZhFnQn4B8bom
ckEau1Q2sWL2SyWodn4AAzPm6L7MEsgdXM7MXtKvLQ8gBUVDZ3QrH84F9AliAeI0JIxMeS5U6wfh
sf7BkeUWIK1EoiWA7t7K3NuauQDRCHLATuBRnO6W6Wc9WGQQ9+hTXJ7HTnfY+em0NysNCHBEtFHC
OEEa3xTnbPz/dxr1n6fYRIM000KpT7x6GshzNZWN9shXMRVaxUlQbOQwR9gL7hIfpu4B2ETxljXm
gxP7ym6Q8CARjvKjjsXLoI/XAdQ80K9jsQfe98rCW+w7uc8XhaJ9rrHEOjMNDjfRv97UZl5jsykj
rZ+vJiLXK8CqQURU0rzVnPSuKb2Ms64f7QvuuI72NQj9GwxV9DM//9xZkvMuIXQi6uSANPtjOB3O
rS5IBzEnwmYX9aZPafWwq8ok2UB5haiNKro2UBR7ClTFATRtOFzjUZYZFVU53fh0emDMsgv0BOfE
ySJw2tbRThqzDbefahTlKo5WoW5Q40n9uG6vIExWawcoQeeD3Bwb5wXljQw2j/jy6ecfTtf/PJ6g
kU51B6fkuYIy9ITcAuugrLpG1TAM/ReprykmkN2SCsZF3Ur9mSceTsD/PpFbGkXCOk7gs6lQgN6i
5DljKmQRCjVjtNxQW4IWSVcU+2q7srX2AKyMv0bcvyo+OlpSdFB4dLJE6f9j8RHehCeKj+4mr8P/
uc6rn68H9UfT/+uv+iNFkykzMnFaNbm1I6Zjh/yr/oiE4mSDyPXC4kRPBRL/5T/1R3gnytNxgE2M
/QW3XJr7T/2RZv0vmTLu4iy1JFz5899UHx0unZJKaJ2sJtPkcKfs2hA0C4TFT44FRYcSdWUb2KN8
RoB6rPXZqc8yPfBxXik9ZJHxNaUeDq35uHnXz+5fC+/76qJjbdNp7y/zNelCWYVD8omyxnsoy/aK
i4hxYePGYeNaUzRlqrbeA4GNbwUJPJBHWGRd9ubTF70LQ2htDe3F483rjip0aFTXWGSdEwNNb/jP
LvXPDzo7GTjGqINYSfxPQFa8teik/DXJiPv5sNr+1Xb7zyNm14mOJ0jjyCOUQfTXeRdvrET2zhiR
H/tZGfDvO8cuqC6Fau89jAnhVE/Xn/pGZs79XRf4hyFzrG+mEOK7jq+BAo5DGDoPVpsTCKwoh6d2
N1jagXxm3Bwuv393zVyC1eR9P2boeR98qxhvOeEUu4rAwbInb0Ct7WS2oIg3Sbbi7elPOtJd84MW
olOtbwDaPERC3I1w0QG9UNdxWeOz6UtyIMsyZLEPsm9ivtkmy7wynk+3PTtO/dNVs/kbY2wqrFq0
D3WprNUStgmSe9vbq82TPT7mFTaEUADi+7iM1tjhLTT4lOK75+2tZsOfufMd1vGZD/19vf/DrJnL
rCGF1PoINe1BeOWiw/Nt9K8lfBijWxNKhqG9AbRa9ICTWnXf2i8WnJGMKZuUFILLN6mDP9Jf/1O2
xvR3UviEQWsBfRvWUv5rMuc8021T9/zpTWeLB7XlXtoHbfsA3XCvaW8DzC2THtH6azJ6SkdND2Zx
UmVD9d1IoliqOomWpF/KGef/uFyefo/fUoU/vcdsncFhIpIqdYAumJJ/6xzEpOXCTputYtJDOE6p
wBDARz3Ao4azRS39TY6RtYK1K/hsT/eIXaG/NPek6PEbWlCyffrNrCOzfH4fAyYbh0IqwgfuY0gO
K2vf4XtoU7AWa1GxaBJ52VU5gsGi+KxIiVgkdYtPhxE9YbZ7U8vlr7BwbsIifXG08JM6SLfCCV/6
2n+Uakycsf8clP6qo5C9CoZrW5FuLUG1Tx/U+8bTHgG+vcUpQnkoJrjl9d9A5a4DVCVOEFwLCdSi
5+0qO4LiPN6ZTf+Zc8EV9OetENb1lJgNJPlq6rEQP2GAJ3d1K7ajrjxEUv0tzMrbrFBkzA/KnQNW
OgiTh9BEzltK2PUk5OUTkrJSt0n6eF0ZESguiJ5q0l8ZYXGFbeK2bstr0El3mpJ9SpJi47dxhsbG
cyFWXbgKztZwpUt9vM7i0lVbNjhMxntsX0A5i0RNb+U608HZaTWFhOeihsdWwfnC3sPKMQZIIhA4
N2pYwUg5l9450rQ8uzlEHQZvDlgAV+8YEGOD7qoovp4eqsfanh2+9JyYDuKQ0i1LuAOB6d3Zdvjp
dNtHZsE8Mt9KNS5bllG6uHKTmx2gtD5EeLPcg49B6nr6Icc+YLaGw/IeLN0fanfonAehJ1eRfC7c
fazp6bve7dVWVSsOxpIl1gaSWIxJ/kmA116dfu9jnTM99F3jkkHWPtL8Grs4u1tKRgywpI7lbdzI
6vr0I469/2x97A3bKUpTqVx8B91R4oKHsrW6sN/Vw/cX3FNxAh4rt7PYbxzDr3ZdFQeXnSnmiVwK
faPa1pPaTfpkYlORZvd/XtYrs4maOsEQyoGoXAXLEBA4o6vLkDgvaZyi08NesWwpadqOZSfxFH3p
8ObLLLUumqtc5A8bjzQpyycAjRv3zvcxAY2Sh/KZs9Cfx8oHOVeiVkOk52HjprW9zaquWNVQKc8s
xsca/zBHh7qMbRpXHW8DSWbEbIdSwMu6fDZLPaOvsLmzWWXKKtjh0WWgGUVrf7r16Yf7eMagAO+w
z9MWHFsHZd0FTiQW2K5v2iT+XMbRNZi8X50eXmUNjHoD/NOZrO2xzprN2to0h1GOp84q4l+Mp6WW
AZI//TXH2p5NWie3/JhIceWqVcFqjxx1kev67nTjR85jxL4P+6pRQ9sPC/xn2sbKXrPUkL6O1kh9
ckvB0lj28iZmmGHIXap3JFdxMi1xYlvGhvKJI0N5n7WGtxktyIj9aGp3iQz1PStwuqY4CjEsvMYb
sIk/YhN9j9kq5oUDaLYgwO61+l6SG7ew7Z9+j++LaJszbf/5MqbP0/2eSL3KgZHsqlYs7VKjshZC
s55kPFLNLqluBP4866SQ6/3p3+DIDzwXh41NlzoZxCG3T3CSq2Rwnw1Ow5c1PruLkanyskpIbLUD
IASpsppFbbM2n279zxsiWcnD0aNoODphUdi4WMOFEMGN9FrvGrKvQlHc04841juzpUJERs1z48oN
pJwbQ2/q1LGBfr6s9emp73Z0r9SKBkRF7VrNoILDq3+YA+5tpxufJVL/e1clUHbYut1LQxrCaHSn
etW93OTYWXXhd9JBnMTLYlxHfYuRkh3EtwPcNRCIWrlOAihvp1/gWN/Nlo7cSlhlzapyx7T+lBfV
tcicX5c1PVs3cgkFUYWawc0t/Ts1vT/kuv1xuumJn/Sn9dueTW5Q6Jrw7LByo7wXe6UcTOhgGZKB
RsJQyMdLb1VgkLKKI+vZDAKdAl+lXMQsVldSQ0GxGeAP44xYTVmdIz5baSbd4onhbTocTbjdDBJO
9h6FlGnDduzFFSo6M1lnhexsk8D4UrYoz5URwY+U2uq6lYDZBXZAqSr+MUgzmnTXgOpaOX2nAZjB
SVWXyxLwv1HsA2yTFo0pwjvJQZwPfbFepepov8SgRrn54dWgYYH2OR/65sWjfudKKY1iBYZsWA+2
/B3pQLSUO4vkS1xTjdYpKVw1E6sW03mx2hTwLcZGi7FqC/hq7VsfYoJWpuGFu82cVFF3UkKeIS/d
Ju1jUg4xLNkmPbPSHdmYrdl8AM9p623cFi5e7+kSoqQ1wZd/kvYn5oCVOSaEhUf6M+LmMeaBf+Zg
emSVmssm2iqgukg2C5elPNjj3oLdkpNSD6K2Z55wZKJZs1OeKpIkNm0ZnHDl3UgpGNhcrZQzi+y0
mP7hOGPNlvBYpdKjlfXCJRQvAL5XALodSyJyIA17ZZDiM7/OsY+YLeb9GKeFbCm1WxclRRbeNznL
v5ye0sd+gdki3ocx7OyyK11sX7SvdqWlnzIZGAD+VPLq9COOvf1srRvGMs6scChcOZBvKHT4EcX2
8+mmj739bK2rikGNOp8zUpWE6nUjCuiZkLZvDS7HZ37jY4+YLXlCU2NLHhrTVUPZuSlqqQXsiSK4
GHAZOP0VRzpozkkSkrCGalBN14TuCdV1eIyc7gxj4Fjbs/E/WiYKzYK2pQRRpoiq26K+LLKvzyVA
MaB13yT75UbJsjK2qC4v64/ZcLdiWxoMPTbdpKV6welefe1c8cmx7pgNd7XvzbKqqY6woGxhCOnH
i6jDOfiyF5+e+u7MUjkS5bPUxLlloAAXwSFuOSjnCCLHXn22RGtd35b4bZiuIeXRqkqaO2+Q8jNv
Pq1Yf1jJfm/479+8LxtVgBN3oXAXd51HIsV3cFZB64DTtqND6LDw3TndTUem1FzFgHtNZdWtZrh2
D+TPiTCVsO1KujMpj9ycfsSxzprNWslxYqw9FMPtinDZmeWTpDo/L2p6rjzwqbVViwquQllK8cKX
a2XTGyCgL2t9Nl9tE++bqBW8+OABbbCzz22gXLaNzDXmcUA5LVT4ys3Q5wFACYiY6y+n33umC/z7
RD2X103imiBCs+L20U3WWFvZjnFZ3KjZFy/AZr247UMD1Mi2T3+q2luiPcvIZzQTkypqM/in8ioc
KXDyzqx7v/NlfxjRc0qZHvT5EEep5dqYLJp9D1wwWYGhAtyBzYN3Q6JCF/dWGe3j9i7LsNHwWB9L
fYvPdQRWIt6UZnZmdh0ZjfNa1C6K8tE0k9zlcLDJEwMKQUWNy+meP9b4bF3I9CYsuErmrmcbt1Ze
XnWqdG4lPpJGA155uKIB4zDxp7NT1xZN9x3/UjFZyL4SnA83AHWJgZbGAG6jeAu89ouuFE9FJtuf
+mHUloWBaz2+2dT5xmiCWpO8Vd4q4Uor1O6+VXT/Ia/5e3VjW7s8L76GNRYAaa9+I9lwq5WQUi/r
odkpoSf5bwivylz8iX6pakCFkA3M/HTjR86AxmylGVNK1fFZSt2yT27zoUERwcUOb+30VfW7y2bu
vAIAtpiMC12XuJbfv4KqejO7p9Ovf2T06LP1BtR+DoC5TV2vd9apEwE1Ls71u3pkoZ8XuoVNMJZY
myauIGe5D/pR+Qy2MLpVpbFZFNjCY6ZdF8XSsctq1fhSf4f9RPJpFNgz1V2RbDpMK1Z2F5lvQZi3
N7aWyRs/JHTYcBNEC6F8MdRe3XhN97OvNGoyOtxbVqnBrSUNL8vI6/rsOOIno9eIrKXzIdRWarDl
RnHZav9BRjaOmZZUfuwyi7amlT0ZTXJmQT72w07//t2OjoSPm2vSxG5sZz+dwnlRzDNL67GWZwuO
3PXUIIo8cn2gIWu9RsEdSPVl9zV9tuAYVmXr1tiFLoY16VrxS+V3nc2ZyfobPvCHXeEDlCCTjGLE
psJNrU2LOzGnGoJjsJn2pNxTtIJsvms5f9WmrT2E+a9sUx1vLMwUCc3FVDwFCTyaAONH88nWg42B
3aqP4s+jNCRXPjNPcSX5EnvEBopnhA2ckRexpn722nJdE53kSY390vFvjQYczvRYxbeWl03m2VrU
yZKKnUWSuP0ov8U5S+vEuL+o7d/g3HfjiWy0EmlxHrtVm5Mr7zd5qF72m88LVMHP+6YUZ7Hrlf5N
rtb3xTn67ZGhqk3H3XcvjYtUFGCsNq2bE49BMteA3R4v65DZspCwwAQYmaUutRWe7pYX7ufatJi+
e+c8TTKlM/vY1fA7wEAr9fe4B5zDcxzrkdmyEHtxlnLhpPW8vPU98UJc7vmyDpmtC1lepnFa6akr
jwBTfREXWwnbktVlrc8WhgDMjdm3aowJIdVpdR7f6Z7qXNj47IRQ5KopUdwZuUPiPytmgOfNZH58
2ZvPZqU3draGNVHmDkUWb4DZUm+aby5qG2D9wWCJdRn9G6daV4mcet12Nicux1N3l7U+PxwQdfJN
JUxdvdSf0yh7ywqu+qfbVsyplT+sxepscnp+EcfCzEJXVqUtCzHYrr1hPrHWgn/cy9RvhukePsO0
RmM+sg6aZ5NYrDqoywEM26BzxU6lB78d15rQthUkkK7+ocVfaIEqXWwljRuVVswGi0lT7Ij9LvR0
2GvKDR45VI8zSPPnnNunydquUUncUNpdjS4LeJEZu1zsW3kzLdW11S0KOdryb0aGhdTJe/aPUgv2
mfmtz3NrWTW3/Ec11jkgYG9qD2+290O2HxVPWej6PZfdGzYDbbR/VP3eopiP1V/ix7JxcyyjYNoW
ckiDSqBveXppNTiVl4ueDwmLT1G6j/keKfjpDQW/7/daYMXOc2hSIRaMr9KijW75a7asr3kPQ+lR
bhHCTf/qRuq15UrbUoi14PEFFktpe8e3Rd5P0RYbOoTdrJWLKy/RVwIsZmoBf6vKq0beOJ7PP26m
PW6wlEXaJve5Iq6rvnz2HJSWxbNq7OPOvxFca5R0cj0yn3kHn/iKjz2oqrxUNfZ/mfEV07ZrL8P4
tcyWpowPi4+nSXOrmjcWCaTAx1mNCCqVu0tfVtb9qKJ6E7upC5VehjKwF/JGVCaedZum+RphICN3
wzVmUlSVIR8sVnGBaYqyUMWLHZu3BAEW8gh2/8KgwryUMOhI9zqWEbl15IdQZ4xvfm2emQ7ToP/T
ZJit+n5Qt/hTco2wmu6L1agdGSjRrLWcnzKsggY/X2w4T0+9I3uAOtsD7LwyqxZNiBuDtQcH/6j7
5vVlTc/2AMDguIOJOnZNEeh7jN+shd7D87+s9dkeUIjeMf3pqkvG5iXtcPBt0jMx2Bka9u/4xRxH
U5K0NoxOC92MsR/0UAur7ooJFghjzfifTjx1/NAx9NpgF4zKndKcuYId++ln+0PSN1nSR17k2lry
i5yX5Hr4NHxJTTv+pYWGc2djY3NmLzr2mXM9czV4ulmMZujaulNed4CrHrLawygdj52FEFJ/C5Iv
XPrYu+F9JxyshyvF2RdabWM7q4g9Bn/Kme3lyIfPpc6WqSVJlaSZK+OteEs9RHLX1HbyElJ2w6o5
+Gssnf4dN+/v3/d3Ad67YxWGi3i8D1GG1Xn3iiXmSzr4r6eH5ZGNTJmfBBttTCtELK7ix8BMHWqa
nRgHrsmAaS/HlbOTnGSCeKr5ZVewuboZy7nBs/s4cdUsapcIXMg2JhcmGn+Xgr3vKbwcUoNkqRt3
+dcMr79UVs/Ujh5ZeX6PyndNa0FVS7YuEreMhyfFbL8R7zwzmI41PVsbJqZcE1FE7jaW/OTVEcbp
xrkw2LG2Z8fDPKqrRs6VxHVa+dmLnU1SNmcOcDMQxz/jcjb7Fc/OReLooVtZanrVDzL8VSPVv0D/
t9ZBpIZwOXHJ7Ne5VAID64YHEFPQgB0jjVaBCJVtngcqPgVSupIAhKy7Pg/B+v7m5mAyWaU+wP3W
NzcxH7HqVAVjoMArvTMfcOxKPdfTVvXQdkrhBK7owbMZGM2xkuBHusQafdFnD5xnBgQV/I9cp4u4
JZ/AUaszn+GRrSPDnU5UI4VE7Or16KrxlyK9inqJL8LJVd5wqW7MdB1b6ZrTWlDp6+no0NoeaCJ9
EWrf0viTqIE3AuwZa33XtD9k8dKKM/vCkZ9enub8uxFrppZcGBFfx8E3HLbKuUkG5WE6o/9hy58L
eisnrzqio5GbKEXweQgLsSF4Oj7qZmfvWixy1/A/q3WspPJa6RJ/m0nY7U6+4toWgxfc0UTkccKp
sqVjNJ66RGaRPsVqQLxCqnXwRzW4phDI+x0eRAS9c9NctFaEH6EIRtaprr3rcyPGMRtpWAkdbZe1
KiRdCo+VTVN0ELGbrF5WfqpeyVXBSQRT5XYToDnkF9KlRzt3PskTo6xX7oMG8LMGFQjnawQZzTjg
iZMUFT4PlKYuvczKQfG2BT7ZoXYjBY7GSX7AcVKk2qPe6eNmULN4rSUSnjmii15tXIR/tnlb/AyK
qL4f8dpchLETr52Rl0DCbSxKoYhnrwr9NTMEUEYPDFErbHUZRj3gMkT8G7PoExDZkr3KNe0B7Mlb
FGjD2sNSdImLT4VLXtBfobOzSpxZoxuKiSBil+VraFftouha/dbW05+6pvpPwRh8dfIieS4xe7/W
1drbdroO5Vsu0qWcRgg/Mg2EciYnzbZrerEbTGGuKFs3lnD2rCsdF7kV2gpOqt0I+CoPn3DdK+4i
CYNeKfHKJ+5EcNkcuzBf9VLR7+GEPbBdLxsp0HdDqftr2s4WitwMm3gQCn+BrHSX190yKvJ4DfHB
v/fiOrwPixaPSNFAlQujb3hv4Dwds4wMqTPuWiwGVpWktPgN1PVnKbKYp4X+C+GQvrVVP7unWZQe
lfQoEgTVsd+jEmx9QVe14bAfxtDDEjQypTd8zFXIqaJY+TWlwZpSgrQbNWyMUgsHLj9od36cKftI
V/h1MHf0F2qDCZicJdbW1NL+q9wZGIWXurOPsl7eNuC3F8kAubnNQ+iSlWm4ki2yN2qQNZwHEQRt
cPGLrjwz8hfouzmVWcPwJcmSMVjIUkB8HyNmvVwkpl0vKtZW5GM4h4sGNzQM2bi1CMUS5gKiZ5fg
ZRGNNw576EPV6P7PxvRy3DcT7U339SrlXujlb3Eroo0jGdVaEWBpck+1gfVL5V1u99qSS4b2nBq1
hvel5DWvUaJZ+6yD0FUPEx4tkI2QS0lb/6KQmBGay/GVTb3da1jBGtMHbpdico4dFCneihJHXOx0
IpxUsYAmggt/2yicZNGKvtmNmD7vqywXr55RGVdFZ8Fiz5OiZ0Y0+lVn4SRftVx4BVcqrcRVTX0x
qI521GBfVV2wSnuz25WhNVIq4zi4uQfZVeaM2lfwktqtMgoboObghFeCicnRM8FMHk/lh6AunLXP
brKVOxuqe9RY6ZPSZtqNIenVNg9bnYxZMlgLx0q0n0Zsp+Yy0mSxQWBSX1eCcA2B01C5CwIn9nat
kmH9Wsh9fD3iFCURJY2UvS3U7N4uZbCi4AjQjhpG+tRlRrRNqah5bOoWD1hDAxS8cAK7XztKClse
fKUio0uigGoMVO5mZZWOnweHidOX3fijNkYqVrCAHMxVY/TysMGPmSIE204VxK+2xPaj6nn9oJmF
L9CB9833SMKcnYYM8SQAabic47pfBZbXwzoSwAqph9LEgz3W5rpVVfD3CbY6K6GXnUR2ItMWvZdG
yy4YKR30RHFXqmlLSXoOyK4QVFfpFnw7uAPZVRSqgLSonV9ngZIsqloroOvbVPsMgXaTjnVzXdaK
tE7ziiBmbsvNetRzaWVavb92sk48yAQIcWMy5XXdoGqL2w7DvUzziGFXqDJiK/8ZNc34WqONWxgD
BJa0C5eiLJdejuXmmN0UnZrnuKwhKssY8PDUYsnaRbVQV5bkd6vBdDAsDY1OX3itCedGJZf2Zrcl
lUydbLiar5gjjhmdvqK2gFq6olE3moEvveVjrNSrGpgXQ+hryVQNiE7BCFrd5/xad+qyCJpkYePM
Wq30qG7MO6XO1clMtvnWdI147sTY3fhIcXelJfpi3Xh2/LktHe8haMKWqEkly/BjE3slVCfAKtqj
KmuhZzJUwahRFoUEQZAjeLOYYKev2mA0b0NqEbyAVHLX4CTNUd1Pr/S+z/YaDNQFhyRriVcwJucG
BhdOrZn35hDW/SI2c443A3n5zFP9q6BqMwxTcKyZ3AEepbLKdoFuhHfFoKS/ogBWh9z393btcW4J
a+2er9Iwi+27n543DA8tIudlUzi4HUS6vRmHVnqGPSLtOwzRvopUSRhdAEl7LWRtgzy88CP5mxJG
3+XUug+iVF9GtaI9JLkOMWqAamP8H0dn1hwpDgThX0QECHG9cvTttt2+/aLweMZIHAIJkEC/ftP7
shG7MTthd4NUlZWVX7DYnejYkyW4AHramTydJMLps6hBDD8o4jRZF8RORl+OAr9AANYuUrJ2u05i
hpFyzyGiCfBo2OTm+6m3Uz45lJXGhAneUYeaK0DUXhcirzTE6kQ+ch5VOkRtp1oP2VUdLJp8ZlGx
gEDmoWrNtx7/vQ6/RtkAifubMpn0SPdcxkfUM9++jP28iQaATvrMu8PmvD72cMeWyGtNUbSu8LqQ
Xaa648a12Pf69zeqZ3A8eBDs09qMH76fyj2yb5KrBssVocSjf7MxiJEY3LVVS1kIV6/fhnthl9+U
S93iCZX++CxHcEJ3wxQgnLJdPIG0fQALSrUY/8icL2Hk3PRuWWJwj5os3m1h+qHN8j0sXr3fNsKq
bmhxjaF2r8IeceFdmC54+Nf+1PoZ3gi8o6wiZJ13SbtwbMgNdK4GxFnsjKz/mWzcijoRHXgrWhpR
iN7remxOCv0cb+mIw6qnJQ8yVvgjImGmbNj2OIyg4dHJ32s54ev/3c0USPg+hYFJ0mK02BpFMlN2
NJ0KL/Cu3ajo0pwKJH876rE8xAIznA7q329le8Wi7oLcaGIRjJnMdZSnFJ3EQH5zDzlCFz2/XQoR
jdHeC0HWGCVHYjhQzBVCxAE8xk1y6gcygEUce8huzd65a+KjFNS79KN9qX1DCh9uX1AQg/Ajzpoa
EYftj95Mcmjn4TUZwzqnKOQgnbbwh2gXeS/Ua7wvKKA+cqwjxNqinHvrN8DlI50hFHTb8ShdPib8
gMVEA6THelFwSAfFXuLF6ovD9Vn+7ndmcnvCYWLL2VvNi3I+/05FC+xItLojUbXahSlObbyxQw4O
9YqXY8rEPuymbC/F1BdYsvd47q0huUhrhh3ytkEtD5EX12V6LrIweHIOqJsxw27sOCXxZeiT+ozg
yBb6owxPDWoTmc9apsAr6PVf1gNiXdhp478fGUIDco8CyBzggMhH2iHuDZUXeigv3YrFRt1VTWS6
xGpF9VsHZnlw6Zo+AwuyLEAWifCbEz/YxUbXZyQE3qNmJM+NMa9malhhYfsvN5Dvy80j/a1pwVZa
4BepGhtm95rp5Z9PgYuuM/ETZ6NfhaMgLy4ePMB7GB0OtibBgcduhLO/Se66IYClmflQ3oeFbxem
0FIgfoir3ztbIa3XbDnOSoYPxkMuuUW+cYWjVH60cnamiNu2RTK6aHEWttinbrJ0t4jpuqk6Obtt
EJ80Hpo9lpzj3PV9VyaCb4c17X+g4aO/WSZ+bnHunhdsmOzWOfZLxuS/LkrmAjYMADQBJrtuoOOi
wEfFNxKj4ToNNsS2AgqrELGIBYhWA0AXdwek5eJYpJxiamuXDuqX++bMbVsxpA2IrJ7IRNVGM45R
nhG9y7RP54LTVYDg6gE5z8f33mfppZEBqkMUMVjNbb8HZRyCOwdVkbYGtgQjGji5DHXYLJc+qgud
kbPldZ83aT9W9e9u75Bsa+WJ9h8yteLHMETs8AKBdrfKRCEEdvL652ykPVYgeijr+Ln/LkglPApW
e3lDmmS36hGZWI72R9UlGerdRQJdlcHmPtvxQ8VD+DmK6De/1fkFrs8410yAlN6qqfSMXfY96AAX
C/L1oTFO3i1rMBz0bNoiYNuUG3jiiyZesusCIMSLHubxEs3aFBOsAED74JGqsVCRpxzHmw/GMZoB
zhFCh+um8TaNU2qor+0S/t7zLAVFYkyOcTjK19SOv3VD7F98/AjgbIsY9nNUxPGmebHKTl8DXs/o
YDE7U3SaK7oOvARTnMOSuLRPzYafAMp5csQKDRf47rzsbZo99LGrkR/9NNOwSoc6fVVzMjf5ugXY
8Y78+U4z6+47FB9FNyb0x0FXcADCa7mij2XTs9mQrZX6a/y3Zm1wGEiiixbpWHCSIekuqPm6E1H8
Piw2LYyP/AmaeT809P0dAmHCHVkZwpyxFbaUClvTz1mNW493dX9GlFJ83gY/KEGeac62C+UBv57b
2br/HRLN8cmXAWwtoyR/hrV50xIrXxodA9qbJri3bgIiNqISZCgx/cBi8BW1kRnyzf5ym1z21zIu
qj7gY96RYDlME27seRzxQS2Tf0Un7GCDx0plq1W021qcUOkybfdmwem2IeO+sE293dBKZbftNwiT
N3ytFs+KUvr4grD1EJeymx2mUI7sNGKHcoR6DndIe4pOEVmySq/SP3pI161CT+jTkCYuz5DZ+9Sl
aOlxCqHJ2zwjkbZsl9s4AZLKsOAAx49J8CbE4ZMMlfFztJx+EeoBG2sE0ccpTHm7GQGtO8PwWCEZ
Vr026wrfBg7y3HDxU9fbXJh5bHNu06DEllK3Q/im3DdyMfvBxEFlG2wGS7I2yF5fx6shWkw4kscf
PjDx3rWiPuOiTF4GNbdHLyK/7bpC5jJiBfauZqygHrBsmVuGIyfAAwFgy4qwc3QP4sd2Zfhb96tv
3AG1gSqDFDZIpCiDhbBsQ45VI/uIGS0+/IF7h8kQ93dTYQw2NkZs/Zi5BwGiY2Vk/913wnuMO+NV
I4goL8DnscOI8vusoP7mqUMzsfZsy9PVoeoIU7GjDXaksCwbPfdjV9+5jrJHo6UuTYT9hx7lCar8
jou7ZQjCW0BmtqPwNx1r5TTWASPzgp1mdBXoNI6GGl3Fyr5bGmOtbpIQm3SSYlCZTIcZF1QObudy
BjAINeGWJNfYYsK6KJneTf4iL/MagbodZ9tvGHBtDlsAy4HsKWBKvpT7QEOyimsj3kmPj0kiE/kB
6gdFtsHyyQTFbt8Y9x9jHE07qfubNvSemC3brxvvynQWzXXCOl6eDJY8xFw9IArLj/PIW+nJB4Fn
KlXtAyiwJh5SiFX6Gg9JULhEvKfLUBAElpX+7P6hA3vvOPtop67/SXsEduolKUWy+uWyLmQDnWXg
RRevnz4bomOKNfCqVZsoQtKnxYx77hnT6LqcIeTsJgGK+MBXg6UgIy5b5GENycOrXMczMjmz5gsw
vzaHZhHhncr+sSQhkMo6WwUz+tglnMQJQtdjCxcetBInK9EmIPuSOV7zDlURuJCIsuiWLnrWRJPT
IHFaUWkPgHAvt8Ct3q4Tf0b/lyYLS+W+pdsD2qPkgMbbFMlvPNHSDW8Nr+9pb/Ak68miO4vXt3ny
k7/tBA0M79yY3sAtGs+k8ciNU2Q8x+HSv2pd0wc2az9PQrXmZtRNxWsNlztSCU8QToIr0qK3avAT
Bu9R9j4t7hpyemYUc/yUdUPZrqTetUO8nRlvBTg4E33pITfc+ShN/zYLECogqjUHM29ZPoMj3g7N
Cz4zUXZ0/NvNgYKclC2V7WMMpIf5dZvTJxRkD8gSQNsckC+Rdc9zL5sjzLxJ0XtWmpxFKdpchqtm
tVAhtvCKXgWB2rW663G+MNvIylnXHfWE9zNHfGhztwhvAl9BW+gNcn2Yu3T7TNbwt8jQQTE3YivY
ClrgEO3ElF2ypaGIawTWvjFswf8TbblbNjDMYudXNRcQu7OFvyLAsPSb9DJ3JKzmOX5HxuoLpdH6
GuJxPQiQ3i5xz+NnSP1i50k+7+NZkFz3LMXXCbzdsuyHKe3/LvUSiFwnFsSw0B9OQD/EOytn/0CH
MC7QDKi8Blakzq2E/SSPeliy7Rg+eiEwLTJNq1AKjTR1eK89cLEPFv18OfSi3kHAAsqGZ/TQ6xG5
JLqPgDOTwC+pnlcd6qAy9jwkfc50KwK19m+KZ4D8EMx7Fx6V0ImbqyPTlidJg6bBr0/+OJWDnjju
0cDuJLbxLkvTeo+OqOYlbPCp45vOzimRqlqyGVWAR+6TNECnGEV4vdIeeWASHSSqge9oHqBsD3Qq
UOHf49yKS4XL8045el7YcEkCEVzGWsFcIY3O0Yt79yzcvszW8qIfUaQATGGKYe27vUdbgwrAfce/
KhTcfk/AzgBBMjdJnqQ6LDFXEojb0N+BVu8euKxV4IurWWH1w7jDQSUNHteuP5OQIZ+gDl9dnyC2
ZcxyRZKLslgWItNy0RrsAI3HJJ8mcpkG2uRtZqaqNcF3iKtNrWOBfq9BwWiQlSuXTwM1JUQNGqzs
kUYZmnbXbwe/1+ItTqBfN0ry+xENxdFuAzkjVC4q5iQFQiHLsIk28lPiyCmeMNMlwV6F0T6A6pkE
6oUrkj6kchpwtIBrqrK5LjyCPm/10PERz+BaTv2yRbI5UCLZUfBhrTgnOG1bPM1+ZKdHGEyb72CZ
czr6L3gicAV6QhQsmpM8IP7BzkjJQmYNar1DbLqL8+uvKWQn1Q1X1ccgUHnrWbjHycVl4q97wYXC
eMLC7RF5dZlGsd5RSg6KuL5IvAz8P/lb973DHvwUCpmVBjGX/tbfjGOnNPXaQ8KzESrEAj2kdZUK
s/OMC26e090Gb3Atnakcnvmc9/q+GcOL9iQ5Jf3yguHpA7J1zgFbH6cJ376kDNsCbUSLvnP2YIx9
qGGFAmNdLOUWCfnQgi21s6szT2kdQxEX7r2WZNwJ70uPzZcLoetTpB0UcfRLxGwt9ka3ROzSRMd/
ot6dhs2YA+cAEAsEOiqOMk0NedaNgKs2zx1mXnpOXjoqS4V8T2RVyY+kVf/qqYOTGpcFk13wu5V5
AQv6zktEcIdY6xtGLIXr3SPRfn8kRPflTDBMc2oDXqXnr6u3/DQmPIQx3K8jWOOG6hvkgnbfxDYt
UweQY72aC3q6S2f9uZQuOKzwwRZty3iRTFl7x1ffuyYcP35gXUUb/6yEQ/UqQX6NJM+e3Oxz+Ijw
mQWYP6wMuR1upl2hVFQh2ugpWjZZLIIhNirrywzUqNDy8SDaGu5YAqCjbCVCbDswUBUo1xXlDOkG
E7+0yj8kvnvHVpVf2QBlEmo84EDqKSsMwuLzflvvRvDE4Rj6o+l8QCHpAXMDFkHXfMc6Myc38wU6
mD6kq9zLUXw0SlzQn5+jDXc/m/n4zILwrJK/UUTeBl+fAMAu9XqP0qBsBcSQOGvFuWlmuIIhzaOv
sb4Fj1VO4k3G8nuyOC6yoN3pULxbNidnuqbmlM7Q/EitQqAtAWFB7loOy/pzC4U919adplnPcKhi
DdoLLMgpif0QBKeLCue7dsQ4NJof6DacpqH+gPY55CL7yuQAAQyJ2bDNq1wH/cVHUPFOiyA4ck3m
woZ3LdN1aRBYivkBuSce7Pa1DvTv2dQc1YJdjcy99Zk/5dSO+w3GFolcq2LBLK1I6KjwnBF6cq7e
1fUTQk3OgfcQWPS1a/qJ4/6Ohf/sBGgobNWo9hY3361JB/W1W//VNFv2fMARsVHvpw0BXSGxOmJH
BUhcKY9wejUYtSzdH8uGzjuZYEujPdZjGgjZDlmuJXxhHSbaXdSikA+XHG36y+hlG+6VNKxxZCZr
Bi9boj8nYv9OHkZTmHKGj5yYF/b7qsZZB7hxlKB9C0aKYsUzcPaMGQRaw8S/Fgvsnlqum0aL3itU
EGj322fo+/88QBaAl0GtHXNSdu346K9of0nU5a3AmiZH2ncVmvgD0nhckjH4mbrsFsM+GEiEw9W8
mwuImqoK2dDvFfsjzIqOZwFZYdUT5Mf2bQsEEtC7/k5mF/jH/QKZslU74Z31ECubJ1t08zDiMt34
b0H95xNknCUsUKhkJTxyYGblg093Hizr3pyMuYnic7f4xVCjuQKQo8OKTn82+IjMBoSHL87t4p8T
iz+K7V5zaDr/6fc6I2o9L76WoAysN6zKVDyc9wld3pJMgL6bzNlfJH3u/RgXHkMjhJn4d90HSWnt
9q9pf4OSIwjS6dAWesLC2oYoNK97SHV98xVa7jGUCYaS67mJ2c6k4LttrDn0o8cQ5yP5XSQISDxk
frUTCJNbLO8w4+xwDGFMEhoEmzAU1FBn/gwdzHAL7laHqcVS6xRadPMBqQvaWAysD4HyDhlHlUCA
5vFgZBXHfMPZ0z95a/uM0HR8PtM1jGCQYOPnjOezmNT8nE5NVHG5OGybuk8VZH860X6C2fkHM8Zf
sDEZi0AiYRsXTFx4zfC0OHJp/L8B1Qlk0qg5ULiqL4ttu9zVc1R4MqMvK4r1Kpz4KUA6HlCnGGo0
XqhumwK6ZgRjthczWicuDEbP0MVZg7GRF6jur1h1VIyd/zYabwaKA6KD2vq+QOovDsIQF1RC5Hhb
OBqnemYJeslNv6ELvDGkSO3bMYTFM1lbnEobPaTM08D0mLHwadAe4sW8RgAGXH0mWOXSAFbUSM47
sbbrU0dV+8pNA2EY2LGnNIEUx3lt7zD5iytvTeOnZDHJ4zgsH4rTDfVHGiDwgA/uYR1mdofWhj71
nvCfcROEt6QeUKQl6yPDsACJPzrdEbKgRIl58u47o/ZJP0l81jjLmW/Dmxqlrf4vVTPV1mGJTZ/l
MuIKvARCwk04bcNzuA20iqLmNgAiX3gIpM3RlcjSBUv2aGOXnomSOEmQRJULKr6wyir3PYrkInYW
UQYBxlhwIJA9JgvILldRfXCqf96QbY2TOzSPnY4UqkPZ5tmCvD4+QPyuO+QteNOdQWlwjsdEFB72
Fg6Dx9qyDRaw0udxPTg77FyAp3cDZqCKEV/+jhMbkItl+rQO2Zv5MGOkkmF1t4yigVR+XKtz0I70
6K2EVGLptwJBDOeuJ1MhG5JduzojUALZgqUTrM4984DKCyFOIJ8EqZRJuz2SJYELoPWxcBcGDVIa
owYXJUNmXteE9zAmrI9cAZvYGv8nnPF9tTIKn2kouzLyZgweNfDFa++9qRWzATt3Gt0EhvQ2Y09J
TCHbGRycY4HXIwSib2lAhB077wWpGRCWVuw44wFqUB1OUXdYyKIOgYFmAHUxjkqRpu68cnyIZov0
sWYWTzJsMjUpKa74cpqoeJbttJ2GyBvLzkb2wSa/kgO1STGxTqKQ8sSrXZCM6bYpeyTWPkNd8HON
MTrFec6WgzMiu64urS9knvsdWzv4CazVeyOUe0yJJSD2RMjJGkPB7tZ5bY7xKsIvJagrHcvIRTQE
5vyZYpI10t9LAbS5/SzQirSYse0x9Q3xnY09PQvKBGRYloLNEvd/2UQRDWT6AAUifCRApnnOZ3+s
Yu0xziJynNXkjpYs9II4aRchGLDpvy1eq3v84ZEWXPnuFThPpDd183C3xZN/SwBp/qQtCU+rlehO
ORvfaGrDPxiSxfDAsH7XYJJXwN6FuwKKKS2F2/gdlM+6WOuaXGWqgXML/R4KcgwxVWAD9kLkuu4x
BePVKBKsz7XTdNRLBzlvM+keU+jwTfd+8GDwpRzJLOezRnXz3KKSv2Wq0X9rQ7YEm/MiLP3en3+H
bfDjB7C4gOED6IRVXum8hT+sEM1+qMf7feAgtxYrG6wpDAOUoulYBnBI03aIi1EelPx5YejncMzA
Xt3smgW2hDxYhuTkTNtc1zFxf0MnZ7wjGmmeZly+tK/QXwwyO7QbkOhRK4Z9XTP6D089+HU17Xfw
L6Y3Z+apSEM88Jgy9eDONfD5ftSI67/TOpW71ji0+MGAuN0cE1qKNa1hXvl+Szh+BsvjqdwmoS82
XPnDLOvgkky1V/YiGaqGzrvGbzCygxia7hV+T3hzwgT+N7WmXwuN+0MwQbgWy/IbN9C7wINATchn
HK8jyj05bP9YB28opoUYltay/jJeYo+AFSbPieqaCREz1JaETCvmNTh4MZCGxgc1IPYNHoAMMuCQ
qp8GT27QyOkKSFMXwxZH068Is9ZHDEXlFxGx/Rkyk+ZNwyCwIev/YdYJDnq11j9rTNubmAHuSJYQ
Yz/G7CnjePU6PWCSE4TNrqcoc2tc95eOTtjA2ey5i0N97GIK68TaxuoNaMoby7o/vE7q6Ve56Q4e
UbawSiOeNaPs0CZtZeFyr9i6DVCVPOwNDDbFpnvKr5iLvbYjbs6spXhKfPbUZc344vRWY00DqsZQ
9VMff9PaQlry8LfXdu1OoCoJZArPekeCNrjIaPYLYjEOSjrYeBjU7i/fy+rrmBiMmVqhC4x9k/sl
pIg4UfrDA4cROD90KDgTuYv+0b4zWG+DztI04H1kYJI+2gA1Wm1rAKJGTE0eBtjydstE+NM0jbAI
CA9mgQx/Gs0ajvpf4/ZuWnu3Cw1+HG+ph+OIfdWSAwlZeS1IYSQZwrNMGf9qWgwhfd691YP0comT
wCsQChYBtBBI9ZnUMRBm+EwqkENxO2C/GMFqsABtBraaXHiy3Ss+fdlW1xiF6k+RJuseu9PTQ6vs
BKZkRg4EyZXXjsbha9LO04GKDcQnGkKaWkdU+lME4Paqg50/sLlKTAenR9TZoncj3Go1kJsqQDGr
hu2TRFsMVqtlO0xxUrTOaVKBrRyWsglauPExL3aZXXdZ6mFebLMZjOs2xsAEs6GaIYI5sOGcKwxu
/o4M/jrbqaxYYPzJRYedFpelfB+yFUKXX7d3dRKZHjzJsN6TkOKhBMupjKfsNRIAS+e4n7sPHmp9
D1Dgdzz7+kJsjUNhkj5uFtK94Mw3FY+hec7PPkKgnug2QirQQ3hkS9LllCfteYNGdpEEU/NZgrkK
oeen7+MeQVRzf7G2UShvG2RyWjs/AUnqMFeP7Gu0sgYDTh/zDUSEYyG5hVATymG6c6TdyoARdIIM
r37cIYaPIJnqPqL6A49/cnTjBgLsrPrD2k/+R5syc9q4xTg5gXdpmmv/pdEenJzteEM5NhabJT0+
P+7d22haS5KkoHZ2MMNx2bUYM8IMKxgo6Qi0RF9dT/j1G1g6NXWfC9gbMATFIV4LLauED0M1pxr9
2jhmV5j+m92coJr2MN0uWNz95emY7k0G0Ypzvz+EgHYfcBlP5xjXELBOcAqdzWCby7hSchNA8BzX
YWX70GPvjM1kv/LWu6x8IV9MAQyCZJHt0iYmOnKsae+pL/ix1YPej4Opb+0KXSA3NvKuQhlbUBOa
77lvtgG/G33KVqKQN2wc/DVcjPuEOYzxtflOwwUmYnT7D3XXbCMmy2lwieqkKbYIEykF5PCJwuwz
lv206K92YCu+wgV9RJdl3+0SyHM30fgBOZ0w5rfe+1Jv3WVWGEsSSvpKMQhOXmLmk4/lvT1Uv+3q
Gm8p617KYga49T2seVLyPgmLkG7TU68z/axsr3dWh/SISE5SWtwNH8LKHRxvudGDgXTCCyrgsvD8
5QYhHTL4FNIcdHR1z9agrQSAmIBhJzP+7mHQxdxzHIcBuccA6G+NeV1FDUBSI1dwAvdHDMJLm248
p26Sp9EhAIlb3zybblPANG7iWTiYxpKaLN8pNCqIbk6f1DZGVbIx/GsNfCf+SYc8Wukr/tfpFOHO
PSDZ+ZvDRYnPczb7mInuyyEX78XSdt7hYGAXvRh+lrB/InAizKrYYe1hC9r5K4Cv4tOjUxrjzZlY
2Rv/dcFvtcenS2+sHvRTFqcKaHS9iEoNTpVsncp69VS1yZ6dA4OoMTKT7QmLkkB+KhqWydbJRx2M
sEK1IzzxRKXNfZ2l0QFxaKi9dbCcYFxYby5SA7Bo21waorK7CUOpN7TK6DA5Dftvb+VYuWMj+qCx
SSBtL2S+NIHZ7tFBvyRhv+0RphohPrhe1KUO7Mvo0NcS5VRhwvTLiIicNfKw4YKBsIzBY4tRJFyR
2Da8IUPnM2qG75TVDaQAAX0VYQ2QLeLR/vjEYfTT9qAliVrOJXpViQMfPQbS+vw/JGHhvh+i5kjH
bMRqG0aGLCd1HapCTGTViIHHf+66wTtsUd0e0jBOrh6XAIpt8IA6ZNQd4kwMl15s8EWl2HRMxqnB
ZHmUmL9Gj2Ebi4eADZhwgfD4uE1ufRYJQupGTOuwcoeJOe9bu28b77Nb06aAEys6RCNGJ+1vduQe
qYn1uQPPrsRQNCzDGocDQkeNusK//LJ50bDXdOyOErmZhZEOi9wu+ohgXTmL3oTvQCL/In0BBc1W
9hp36x+B8L6y7XtawRCBZcABj5RmIbsNbXrwo6t1MFzEYvz04l5cVarlLdIxLspUlzCvBE542Bvk
Dhn1cL3XmF3kcefduw6M3Z6Gf0YcyAVu958mjXdztK/Vox9O85XMw3SNsZ3olriuQLbSVVrz7M7v
tj9TEIBzPBqIveDM4u5aJG5b6HZdn6DFkX2YfmcKSWz5nMBNxR2Nqy30p90qFHL5oFNUcwQT6JTB
jYdNq3czDV2B6v8XiscSr4TpN36KcQTekwnYLAUHxEcjBvdDtkE+Ex9GjGReghuMHS0OokVCb/eS
3KtN8xZ5E9Y+4ftzKI+9rYTpHi5NjxzY4o0nL0MHWMmIdI9zt8JLBM1WYezHEvUHKNc+h11nrEaY
sA4BRrDwaQuEZQ+0hj0YgFf4YHF92IHuN+ymYsTljQ8c0txxzYg4bAPD48yD6YJccJSUABKwyfbn
rrNkxaiLYexe1/ZpgfFuD7MXbizbsSqDK/FZ+UNXoqrfDiNr6iKA1n7hwq8L2Cag+Bg0ODHmKfn/
IbXMgyxRZ20GiTb8k84MQlsSeJARW+dl93ZFIW7rJtsDFbf8VZixoh13MDoR01aTEfJVxXSA/1BD
CykWP2vKKFZkjy0CPz3ztMX4rkNvcdduEwAQWLgUcNvE0aNIwOP+zXiY0U38TJDxrwttRFPWsUl/
EpnCorbAt8MwEd2z3sVX4Oog/Qghn2wPaC725aBKzs32J4Mz9TR4WCccW8iHJsI6DmtM82JgnIIg
Zex51iOMECwb4h3RCNgKAAfCLwIHsLdl+m6CcxVSfAO7Qd0lt8TvYSnxDMmBfExzVCr+fiTqHeIj
30M9xV9aw0LuuPmLTJH+T+av8xU9OHvpoWvtM+WG0+DaFfeZQFMy4gHV4IQd0BGRIgh7fcoWEO8W
NEavTjjgGyYz4x4CsjHjcX2Kh3Y6GW2xDJA08HKsJDL7tO3rq2Qy+zIGqp6OJ1Yl/aoPvEU1M5hh
BbwCE46Ts4YcsLJhULzGqGcytGh8g4dybWtwyzaaqg8dUVetOAvzuBHrJRFYVERFFPNDhPIBwARM
N8NAwGnEo/nfTLxVFHQahnfI1f1tnWD7GITHzgrxR1USYtbrgCJ7muViL+sCMyVCRbEz06MnCWeT
YQbWxbck4E/cV2zvywbzuD74gJFm+Y+6M1luW9nS9avcqDl2IIEEkIioqgEbUSQlUr0tTxCyLKPv
ezz9/UDvU8eifa06FTW5EXuw3YlgIpuV//qbaBlzGCqz8i5hzOabrPfEtikcGFzSN6NF7tvy3vRV
eTXCmGPuV/GyZB2B7VguS52OVuDZIPnaYC96LIQ/scijgychn3JJTp8aF8eBhdHbI/iNqoO125r9
0Sg9/4vPny8j1XErjjg888LDxmMM251IVUQou5rWhesXK7wn/WVigWr4OLPhaMWeC15/b0FtX+Gf
SR/RD8uvNZEZ3Aei/tKHuL0U2tjuOzGhXg/7eJu5qr4IJ3f47lgea8HlBN1w/BTLnKOc5mpPmoZW
d2hS6mjy18hx2JfrMAGq8cdPtUL6Dj78Oultu+5MmJW66Y/BEt927VLa5ZfAIOa+hWC0hrhDJAKk
lB6NCPkb4KRIPJxy+NZbU7HwY9qfrdMFq6gPg03JCjzo0YTaqNWbz7SMk3UeowiduKxu9VHZu6RQ
EUwCL/sSx8lzJ3SAzoA9RDqIOrx8fNa0fEIaI0mPx7ZxWcDnvYtRMCChT1jKo+VYMewRwmpsv2U5
yFL90Cn/S+FpD3nKf//+LgDtP//9XXLa5i0/vKRv9flfevdv6v88/bH/lq9empd3v1hnoFDjLVEl
491b3SbN6ef//Tf/u3/4f95OP+VhLN7+498gMGfN/NP8MM/ex58hjPuvZKb5Sf7+d/MX+I9/u6eZ
89vQNP7VP0PTXEMn54yYCtNVkj/5Z2gaHWqpJHRt4L85Tu3v0DRT/UUwtAlWZjomzIlZYfuP0DTz
LwM0BHjEMlEQuZhn/uPb3/wQ2TFwjDaj8fevf44eO3OLo2nEo7k8nXRMFyWCfqbGtOCx+GQ7+Ddk
s4w3gTUky85Kq4XV9trBa6ecXiP7YqUacxH6LOqFVjTJJalAzZVNViT5VolUC1Tc/XXB5F9RLhPh
5LlOsNEMfKY/0nHPD/RP8eDpgUlFk9LRCex29PNsnKoICKhrKv8GEYl2C4UEoM2I24ukMvyl3aaf
y0GC9GYuqicNMGFT4rXzgdj/vX57fgYY+wYjxn+8vpMl4E8ayQaCVCMdbIe0yJZHb3KMl7QT5Rai
L33KWo/rlSyb4NNPM+t37+q9q9j8sbwgwyUJk/i9eQzeSzODcKhL36jzm6DOQvvYIIV6tlLbOIxG
Hm5wkXKupqLwH7C4ncUTXS6MhVtMSkF09+LwIh0ydWs0vZegdvGzNfxO8UFM3ntF+OkRXV0ow9Ft
QpLBWt4/YuqZ9dgWWXLTuGN21UvEKoFb13iSwGQrL/XSEVuEgtbB7ILhI6em07t/PzcMVzkOeaGs
NUe6Z2YMtV5FBEnW2U0QVodIL4IHGYOmttjVXWu0vXd4EgKLkiXgQWsW1baGMrFykzDaxWPwLyYh
k1tm6iCLpiAy2ub/z5ZWCn2Ti5VXH0HSiufRTbCmgpKabwFHi2eZ1dYH0/LM3J3RN02D85m1TDyj
/CG8/XleOiJtE83qj6xUZgD+l9UuIQIBuQRZTzkZZCsrDFFP6E4HI1WVqwGquAbX9QO/irP01NOT
MFsJB7eEAx/fnVfQT0/igQbjUqyGY6BjudGo2r0oWtQNnecH5qKy9PAarNdb93EaXzVZH9LnDGkr
d7lDBwc2/jRF3WcVfpSK8cv8NNk0bYvESfZQXs+Zuhlrc79g+epHx+7DjRi6aicNMwBSyu1nkUNh
ku4oFn4+hZf/6urlo23LhGlNTqYw1NnqFVbrK8QwEm1U4TwWXZdQPWV5RhC4279ydxcHSeFxY8Jt
WPoY0ywmYn16qhGQ6TjQi9WY9f3lEIz5pfKd5qO81feq7NMrY+LYJtnAtm7ghvr+lZU6Oa59acij
bvbNY9uYVDpl236hKq+ugjn9z5nioIN2Kywa0on99YMBmveGd6vXNOexMR0BFGtyKL5/AN3GZhCG
ABtq7mqf6jEFByD4aSUMH/O1qgk3TinCa7/SAvhF0eg/db4X4eQh3P4Rbfm/Zt99GpB3z3NmgkDz
Le3iPpBH0NHP8Bl3wo2+f/Cdf9nS5+/MuuU4E2xc55NCiS6qlK8g/lVjqC/V1LREAw7ECCNXuGr9
xL+KYjxUMx27UIAg69Knhbx1uizeBnAO2iWBq823HO3OWrit+8Gk/XW5uKSksJ0rm8Vsn9tX+BST
iZT4uPqDZ1zJWDbEvoTw7Ckm9TDh+uoCyjuZVDs8+s0P9jOKnLMJQda6rqAdQa93jXMvVrtJiPRg
376perIVFklgN48qUfrBQaa5dBqT8uPP7+PMlIJ3DvHUNG3lzGeXa5+su37at4IYT5ZUtdGtFSbV
sg18aXIRyCE15znc5Hkb5WQvcCIQzXXiNNUyISfupspabe0UafE8ZS78ksohrKZ2oQoOMIUCZ8qv
G9JybuOgGfY9VGfPD6en0/kb563+8Odvoc5nlbSk41CY2JZQjmGc+0070JRgtYztEYV6ceVWRrm3
ZAm7sJb3Y5NwDPkiRrjVIWigbRO/tnH5WImJU8ovfVjFdWNt7VBGK1o9YOWAycGq6206V256nUfZ
5wiTF1LbRTx90Yc233CNrVA8qvJBBWb/FqN8uNFYl695ZOdb1w6nuwFbh28IB3Aq1WfpUjxYw5d0
MoxPMdcgOmOetccqYbjUVcUTqtK8NMYSChWYzkXZd9ic9iDLkJ/cowchC7IR1qfNaKl1Z2uFYGK6
6Sbvcb9S7hi+oG6TFbr6pEHAAp96Ew4RnxDp/Y1yINBMU/GksctdRQ33585q2/tUUjBN1tGQUwTI
ObkLODDaSwoL5bamwbq208naq6YR7Sau9AAeZwCxymji74GrZY+ONPOt3xQGrZyhyx+hrOj7CLD0
qmmj6VUFhngOU8/ZKmmVGI0hVc5Kywg/mMXn60ZalACC8gtAVBDncraRWm6fjREk+COcEHHQhta5
HaxMHCJppWu3i4bXP8+335z2uiN1HK8dxzZM/dzVdYocANwmD28AQ5kHXWH2r5NsxUF3hzq9CDQf
7S1g22PulgbUHWwIFoZVjFe+lmf+dZwZKfTJbmwe9Y9LUvHLjYHeB0I3TntqI8c+32MtLbJCrMXU
sZyLL3vIp4PqjfpZiC7cnDgDqqVpiNK32SdRpO1ykccfvJJTbf7+cCME07Y5+ufy9JclGUQNjh90
UG8GuKcb22qLRwGCsu1hld/WGRm+C8ttkM6zRZTLNLBi2ptdgPDAbfKbMQiAF7UocfCW9pOnUcp7
8JZhUVhBXS7SFnsOjUW7B/7tX71e8MYl4bMEkqHhjYeHcmh7tHEk5CAhgkDqReW+10UxrVqWZbjo
/Sx9yryRG8M4vyhdnxrko+O0ByVpFn6D2CKY3PwZnRWPGvXodhdFNIrVFIfGZZWH49H1s/6DmfVr
TcK1mDuug48680qX70uCtCNtSQ5NdCPD3r6yMj1GbD50nwNpCIjKGJkHeSBQkRcpRKk6++D4+93H
WxY3PZtN1LSseaH9dBr4bjLRhu3Dm1oLtB38i3glsEDdM0ury6LPoa1DeywvWI6vBaa3N39eVyeX
6/eTxtXnk49yyFC6eR7HNXaeS+fRT270sWJWdAGqjdK15mudNfWvQkmkjvOkxkVJHFADZt9FpRD1
ZWXC9pyTYHFbQLfCvwPy+qpB+1ctirYWAKU4eC1GomFpCnsBkgmQxXKrhYM4NKUebnzUIMlCIHBt
lzSo82lhWW5172nD+GkiOAEvCYxSBKx1AhFXoTXwUFo6bzI5fj0LCnq/X2RTA1CYVp04EOKiD8sM
FObRcvn16XDA0MXa09hLPwd6Vz42kHx2Nt2dfXC6wdqV7txij1s8p2HBz//z6P7u5SqDMbLnYled
XxY7qzazvrLiGw0sA8WWqTs3hTD9rWGFAhPGafyKszttFXMM1troyw8m1/khzWWNN6V0Nie2Tf28
1CBga3I7G7YaF5DmseqrcjNiXpAu0mrAKOrPX/Yso/pHMQv8xMbDfwpe6PuprFnNYGQKRRmSN15s
WNTdE+B9sFdpPbym7D04xSAVX5garTb24m4tyay4Yno9KrpW2Df7nFk+1gorKEIkiAi/wqFA9+vN
rFy+1Meg+yg+4GQk934BmOBmUpgUgr/ZuifLtXrLqMWxbIuZx0jbeFkxoa+gIPBImWujaSwqs9k7
kJ8fHCm/ufNMaaGufW96u98ZlFe4psbZwq615KGjtHn8YGhnVOH8IQ2OXMAzdCY87fuhndQkgFd4
yLrUOxxQYHccMifOLqRI2o2fFO52dF3vgfRxcYCx2cP9C1dpjtOf1YVvFml+H5ls/XbgqAIBHSxq
d3H68592Lj4TQWdJF72eLGtf16J5xMScujPMnXvCGcI90YnDNjGiCalJkn/pmo59XYMSp/TIvNea
1ryK8obVSgfkVQbB/2jYTvCnKQ0Ko3OjMVxpSIBG0gGO1YsDrfbkxoq8T25fQM6ua4h+UZFcYhqT
73VXR7JRcEuebLXl1GqOmh98YHj2C6hH3c/9F3BNAqPAv33/Gn3UIDjd9eLoFr21l1lYPHdewS6Z
BJAdR8eo6IAwmB/Mnl+rEz5WkcxCAWW78hzUc1vRJrMs5+hnrv/VaFGqWy059VzR67VmTP1tBIt2
X7mFc2saEwrc0974P3gKZVq2y8NISfju+y/vxv3gawNS6xjqd4KlgaphZdnBOrKFv6B5+FUvJ+8F
XSAGHPPvZ23zkQP+bwo1AG0huPoDirvi/Lglg7x1zMGYjhzIwT7PuTWJScnXOJTi4Hh9DgUnOUw9
GeFI5CgpiWPc/HkgTgDQ+8XMM0iOewkQwpV3PjV+WjhOLwoIhFI/DsA1qI1tndNnXrg+Hchk4cFg
xyEsju2LbJyCgwxKcT9kZf6Wt2EwrWxpFc+ELHFaY0PXPMbQoLdaJ41bB7+5vTWDfn7Y5dtK2DWd
yh6mXDLSDEWMk4QXyP90A1go5AhVDgf7CaclHuDD049hnd/p2Vfla/LGBVPPtM9R7CTr4Ju3/d97
REID7CCdItzACnRukTeLfUV6wCr3y5cI8tgddyF1S/SvtcdPHTjRt+Qm1I3xqsqMez+05XrQML/J
XUzXEsuasESQ/Rt6W/NAm/BzZXYc9sPUI4MhpQaxaf3EwTibZNBU+3FzGAbTPJYTBJ9V56JRhaBa
0gkNJD5KxjDe4XRR4qll4F0RTbjNiPmSMcQWiLaWm9aee1+MvL2j+TZp+66Jyl1bowp148Zax3qf
fS5Tn2NeBdkadXaOiXIV31py8Jn4grkVw25uhCtg5TP6Gq9qa6M02+FbUz6MbtF+nxpcKaHIQMbq
DP864NzZuIkxQYDUMHfpNO0rfVedqKEZLDD5NTgfsjQKr9zqMPjIzE2EjOHaS9SwAeliqoBlqduu
z/Ktoq9wW7rYfqQFJh5T7O2k73zSkcVjDyE3vu7ji6IVbfia24hqT3BDNzXUXaJQO3zCoh1ZU+HG
4qI1pFFwEcOs2iHCHvBTMMqN4XXDfuoNSCtzdRi1XQ/psxzfMieID2HElSjNPG7nadLvS7OsybqR
2ieV9W/ZFLsHsqCigoa9h7uah/FgYKYvady6O5As7aJtYryKIhEclYs8JIXSA+WnDUcUutaNSKJu
BXPhKow1zPb6VuRbKOfNY1qa3R3OVZxAdKOeHJGU0G5qMZBSiSPK4vSXpJ5g2xVU1n0lYpxFWvSC
TkRkkezxL6gGN/lxVmGAaCCR4DJUNYi7NPivz0FUWtsUKOKGYB59Y1rwexalhUqDi1abLtwZcgsD
I8eIiatU2ZYMw+mlwSw1lh6V3NcojuU1GLazyWra/G3nZnATAEwuxx6ZfV/vm8LPv5hed510woFm
qRBEWZm35ICzwV4siBTY+64S3fM3lhybhwKXNrjwlnUVWrXaVXEyLBucDxaxUdawVWQa70+nEcLe
EJJ+OVHaa5n5AChXXIsxxp5dKm1XJHmyhhAvD6ER5suRK9LXPi/zmwzf6K1vad0qHCA7dJnAdTLs
i5XT+c0GUq6D/Y6L3YKZ1u51mbl3He5KV5lbDpcVzLdVqBG77DGTEWP5ECYLGYhneNUoPPURK5U2
hYK3ahBwLqXUA/hkDojsGGrBSsDFWBpFJT/VZUi/nZ69Rm4T/sAupBS7wIgB2soSPdaTqB2DrdR7
Sf0kvmsGx3np2+CzV/tirTKZbny8E28S+AvLokL7f9oVA5bZI8fQBegCDxZm7QqCdLpkMb5MbM6H
Umcvrevui1kFkA+GLO9eK1UjUZhhmqhBV4wopkPw3HTmCyKM+pGyt3mU87Xjxw13KBMmoS4lQqkx
D17iit1Pi+Cd8D3BMDpHbUSJEGvygJ3GsfKvPARjGxvw6LHE6Xntwra9GGbngbrV65uox8tplI1/
1NLG38IzwI7DytK9Jmh1wo/XcMxQEiLHwpHTuIaoEpGgoMpPKtK9g1fYAVC3w/YSRtawdprxjlAI
IrB0u3iGI8lG2Azc1smiilsU/jYNONPilKmrqHwOSngvixO+fBq9ZLRt7GjRvkRT+uqVYQ7pjsyr
DRpgXHlBza6xzExeUSVbn02r7r+l/pBfD1qojnaaa/cIX8Zd3RvWRTXU5lZ36n4r5AT/0mvq9RSm
xQXmGXi4EQ2KS11UYFRSlUs7SppHR43cEJOJknkKQLdPW9k4GM0jRF00y5h4GZcBefK3RoScrmwH
a8eRYzzZKbu6a+YPRqhfTwOn7JQRdrUotMZaGCEi4TbH41UT0y4dy3yDeUV8VSucmEJ/5NPGURRP
UkM1N0DZ6/meOb6dbYMNweB+ThtZvBWNB0TlFLCQ0Rfrz7kd3mW9MULxRmkDo2+vfNO/tONEXlTJ
pK4bU5lbKQzrUmFGuDQ6qKCzj2geFs39aKCFditlrQ04LddpkN7Ydh/tu7axbtVcbbqtw5s79QWx
2hfFkorQ2SCF6vu0uzd0Ewh2ctcUpdMbdqrTdTcm+Y9GTTQXR1GoSTi7kbMMeVWbpDNpi5i+1i8h
fCPO9ZFI2FqgX9E4SKCnuDVOwzmi2zLyOdu04DM+eVe2ZkVY8vj9Xu8hcaZ9rj+k9Gk3qinH14y6
bwWe7TuraMJubTGppn5EG0jruXXLcFV44pvUh/qTzAsNxUYE2df0hLHEN5SGRh2NO8OVxMZWTooy
qgJq8sr4ugpxepzQimJcGh/E0JoocGOyD0AQNjjiwPdN+7ecRLtrAQFuF4PUrM0SZDNxZHhvxLqN
tLyd7XQ77wKtiXeXaEOzN5wmPybZSGNEeuVs88aqh/6rP4JsJ0fMRgicCEbRfcEbq8ZhjAbTqdzD
PCq8Lc04fZs8k3b+nJWX1bG/qDXbXuWW9BYq5o4neh5nYUQwVeVYOkeH/vMik/AKG7cfn5JR03ZT
kdUzP7E6kB4UbrjW5FtHz+TS1EuFxpGBxLaDUnNlmDVAOQv8k9fiYwmY6F53pxOyjCZSQWSJJ72Z
VfRtDUT/dRuxyqfW5TTLJwyAzaJH9zavZYOizS9z866dWw6Zi6Ibu7c1SHznr+KEkWqVorEYcQU0
WWbKvR/N3t636Mg3lEHiUdcwtIuhKTHtLEVTNnRgf3SRus38fK6KZ/ZA79v2Fz0ZNL5+HKjbwRCs
GTfRjeeCsoJLRFVxdpeIoCJcGmp2HiyC+J2+L7lRznUk/gTFM8x7/gjNfMQKsFV7F9X87gQJcu87
Y/3Zr31moKtQYGMwKHfg3sEujIT96mIzeKjcGD9tBU1sCwer3sNBNqBwTXX5VcqSj0uALGlUTSjo
oNg8+IXSjioP7YvSnAZ8H8SUbfMT8mloDq6+HT43aIs6e5Q3EiGBth5LTAQOkQfFLwzj4a7PwmPs
meW07LqZ8hxaTndPW77+prda97kBQLrCyRf/DrukmlD6MDnbE8qDFZ7xjfgB7bNO1Qs9tjTrW7Mt
yre8MgBo8RBLMA4uuI+jh28RAtRNiGeQEcIxNi6Qg0yYFpXDMzsP6vnOtmgDYnGED4giZqcq9C+w
730TmXHQ74fJeKxVIe+gB9+MkfXoJLb7OJqD2rKPdsgDeh5e6BpVV8Yqy4EMPSBng0JjPdqRtmKu
w5ClXvG1pZ2SjFrkBlIwFOwL0ynuLE+Pt0De47qskfcnmm09B07RX4lYyYvA7PoL0/HsPQHaOxlZ
GUVEiBuRE7zA36ByC3B1Oo5Ig5YG9HYI8ZB54mYsNzLAVy8hAcRBcmZWr4MqZtsf355gAGda9RWe
dwlTOmm8Q0aIRbZqBlN+Y+557haHqDa6zoNYVUubcPNLJ0WUmtmFdUDbU3zP3MLuL7QxDPC1dmX0
KRn1+QSgX4QGbzCrz6oLau0Ky+oO78PISMsrB63oF3TLzqoQtesvhmHcJHWilh7qwwUKsGOqzN3Y
p+3OUP1w6G0c8owoKa8jT38rQwx50VeFyW2SKQ5vzoH4hR3RHNHWD266tEM2s7XdWsbViEevu+gL
13mpO2p5rJjqoN7FWSafEp+EBQy12+HY1bXb3qB+DkoXanRSxhvSLPUngW6An6cGeqUOTCoEkVO4
wSY5Wyf4A93iCOMtEWdJOBYJN4BJNzNrecJkf9QPiV3WakHQi3csQrM9nuDbU2er1BC/Agjn29Lm
HmuMA1V06mmsbyPtWDpGmrN0Tn8t0kU4rjAUy7e6H3EHMgMBEelUexTzVhul3FJOf7X2qLeSGQr2
6TGqlYtR04Ws8NwNbLO5IQlIrTD3EAcOTTgbNqBUmoblcxhV/Sv7eY8Kg6scxzCf6M23Zj8tKAow
a/+ko9AmA8BGd7skebB4hppJQpI7hPZ3/DoIzT7Vkkk2Xwgyv432pp1be9tu41WCQU0E/T3Mn5r5
wuunPbgsrRk6LKFir5Oj4J6OZQDN6RbTRvbmGftrYsm2MxR2U7CoCreB5NvEiA3VcIuUuj5q0mke
TQthou36LMPAM348Rl7U/EDNL067pGTU+hnyRz6FXScEcbXD6QTZGoKQA/qM3IORn4GLCi2YETS+
eeCj9A5UWV7U7jRcjmnwve0U5OZyGLccBzd9ifNOJ6psmwaud8nu4Dz6PSlEQdhySPEVF5S7/qUW
e8lO69wIYxRqK00l/n2dp8Y1a5Z4G9fthmUkG3GXN23zyGtn/Kg28XAeAn/dxNjGYdeZ3qbSm6al
OZn6rgi0i761cKBqamw+M43/8ZOXExIieovLeI28wtBjb+VO3CKUiP1vrqam61GVAqcYXw++ZiF6
qkWNkJ/28zw4jpqnWFZ3N2DB5n7QTIx9R1jTP14s+rFHMQigQye2L1NOdG4nSbcCg7Lu4iLF141X
O0W6zg0m1r1knUnu9n3dpF8dCu97DL/zddinn7Qk4LoK4x+Dpkikayki+yHVY7Hl/odd1aQDfsQ4
VOfQIg94oCNRoUK418KGw5Z9kPnheyHK9phbQ9rTOT7N4CgG1POxRcH/Ahv/xemg+HGimvh0LUv4
SttyRiwC3D+2IOUjCun8MdDCr44prWNUYvHCCSjHlTK4kkM9b6/6GmcqAfPkth2r6hU5qrqrgzI2
2RoYMFm62lvtgLAuk54mF94T9Ax7GRcHf0QUqdlTMC6mCL9VzCp0hAl1g6P0zPko0nL4KnCiBNfS
KRPH1ksuECfhJUMy2aUMEn2rNCdZ92qIj1MVVT4ujuGXE0DjJ3gsLkj1widkKp3x6Uc/0bHRH3pd
Yj4CY32SyWytGUOJ/qLVMS5YjUmP6dR5S3yVfUsGz7s5TffSxxM7p7bwKXdZ3XESu0vQEPO2GZKH
eMavdTsn0MsQJapIepnsIj5oSdlr7EZkQ9ePpa2hS9JMrJh/bEfCQEXuoCxbsh4bZ9E34ZQvEhqi
tOkMd6NHRjWLu0lGwsYABCSrbkM5UsBbWl9hQJ8ktCkmrt0poscG59HKR50xeCXFjo7N3EVDvC0z
3TPSL/hudvhDm8HxtLtJOGiXhmXdh1WoDl1NyXdxQglPVySQjjJE+p6IG88srMdqLidP1zvOI8BC
esxcSmEb3mJNghUEp6R3hfm+uu3hbz1Op4240vnSmRfsoybH0SsYaP61cKh2EsvgPb5WxWEw8DtD
AM9vYeJaYvD61apsb22GpX6j61VAprMWP1vhWG3DQa5JLLAOgGPaHVFYXF5mpK8w6VA2IsNUjLmW
XvdWUT0nsoKSTwccqXU73J2QbRcDrb2d9lxqhvSiLy25bfAWOmantuEMbZ0ASbrS+aeElOudXfvY
U/SjtqwKz19r+QwR1V1e38XYsB0S2Ii3ndvh2z+03aGFY7dR2DipReFYL6bhJHt9PviQUbWHwEXu
OukRarUu0oFFUEHp1SAvLBP95QLxvoc/AxX0kOpY4mPldZk2Y0APwnRfnWkEs4Fb2mVOi8G6ThDd
mB+EOQmU5Q0RGa7uURUJdaHVtPmdyGLSWSVVeafGAgMiaQUHK4R3I4eaKdL4OKbUeD9wi2+ScG2x
SY0rEDIco2M3ab8JpPBy1474CHPiRP1ra0FIiU/d+NM5j/k8Z5QzzUCAU+rMNdtJeA9zAyh3Q2+Z
u5YzM+j9WzzYhw3okQN4gWf2aS7BHhYXuSsBDTCT2eG7Um0yMNhtmxXqUpVWsS1x+d+6Zb8uMk+/
EnoXPHRx8YJgI7iioKEos6L4CqPJS3Ttxte6kM1jMrPXVOFIVBtYe+CuF1wLbgc4jA7jQ2y4wwPW
sfHBdSkMbHw9N1ZEtkPadcZFLtXB4VJ95eaa8Y35FD53sE32pxn/Z/D/lCJ1hojT5VXKUmwz0OHP
iDNY96gci0XajU6TPACef1NTiANVj2axE1a2q3JdbfoUc84w6D51XUcb1NCUuQzdzHv7QWwpYbdu
Erv3PmAD/MrFozmkdPQAMxHPOW/RtAOWJUkRT0fSN9DrwEmMT+QsKQMD9WEeR/sWmwtcqIvScz/I
3fqVWm1CQNAlBY2t4LCaZ90xL7Eyu3dKkh39EFEgCpri+bQjg1KR1hPG5bUe6E99lkTcIprCvDGL
PHiL9SSHJ5eGF39+VecUJxMet67AnRyc2H5t3ocVWT6tp6lj4VCP4SJL30Kfr4y6AyoYSzbvP3/g
bwbAcZWwDVc3yWMxnDN6LOV2FxWprx1HjbMrAVOMF0Oou9+EMerHscjlnZbPcmtfudeYj872VTzc
oi+bameHtvv05wc6Tcb3k5UHoms4t3fRipyHGhqhpCZoJsSfKI9vHS9wX6sJfFfH5vmiqevvSde5
G99UyGKngbiO3r8dG1V8dyWh4fCv9BbrqQIjWk2P1kNdeXs9C6h4w1A9Shb8Zdu34Qf9td/wEIjk
FLojTIhQzi/cNL1DeNkowzwiU4vXU100l1oZgBvFeBiUvfcFOlBz42cRLr+4iXRrL8u0KyfykmWb
0/Odk1smnDMx/vFxfbup9Ka67H1sDU7nhULpdPvngRYzyej9QPPIMNl1lya/657irH5qCeYyzhDc
BdbRiZ2EfIHavOgCGW9CJA0XAMrWvumprpU/Ws8DVmcXsd8/kzDFrfhvTIlUh3EMPlqSvzaseS5O
DOGghOHpzpYkIpUCZXAlj31QR0+EsnqbSIbtY+1gM4NHonGbDtEqqkiCyT3b3Tm0ecgIgu54LdrJ
3qm5EDLh2a88065fW7QbK3KAsvUH4zfzH87Hj5unzTPCoXLOuQizJKH3MZY7xqcOzwkDC8e4eA4p
8xc8GSYUhLFszSp5ycIoXqEnBGmd+3l/fpJfNw3FQM1rhSloOucEc2ouDh2dhuepoavjsvDNRTwP
b9VPD97cMfrz5/2GYQStB14U1G6kQuqMGIIZBxKlLjGOZu5FOkDiK+2YbJMXkbypemXtezIVttil
djRhKAr+/Om/Oc2UThud2WHoLkS/s9MsRKg+JRlLbfAEfvKNDaI92urQugkgdtPt6DDEVyqVIbal
cJpjqyxvrcBFNZ2l2uuQFw8K3f8tbKSPRuY3b0JATeElzJoILOSZMj8tqSoPckvva/sYJmgNTrTq
EzuXhnHxjGdq/QFH5zdvgj3HgdQxnxfQO95/3kjhKyGoW0dir6JLi0AqzvMwv0+TnDZOaiKWrMjq
SeBw7ixpOYsPXsWvFCFgUwHTf95FTI7S95+vVYJwlEJZx1iz2i3ETf8yU0n2Ws5ZAyKyVmKchRe0
eJ+6SWXXxqgeapdE0iju7UuffKsPdFq/mxw8ECCrLSAYCvvsDZioFQuzsO0jmJ39WEW5D6nQjPyL
AkIRQIbtfJeSfkJQsUC8Ubtsy7jZiCDIiBkwENULoq2+9rrfvw7TTHf484j95oUxSgw1UhQ2jfPD
rcC5QvNNRx2liGfMu5K0sNq0f43mJm0s4uH1VCyf9qthmGhN/PkBfkNG4XBFQ2UJJEzAoWdEkGbI
pRuShXtUXTTe1f6cHBTFyITHeJ9bTbNPfQyPBMEJl+EwJJvYBrb9YN785oxX8CzYQaQhSTk850i1
bZHbE5v6jWu1O4Q4Gf24odng/0s7VJumz2ro8WSrgH1oRsrhwghvYztu92YekAiTVDHuXkb90vpY
PODrEGI4LtqjrQGnlOS0ky/oABH+eeh+cy5RkcFxliwXODRnUwuzIG6SuEnf1PMeB2Ll3LYoG/ey
sOdbydz2a61/HNP/29Lj6/C1yuv8e3OuPf7/V6DM+P+/Bcr7l+klDurm5UzVzD/6oU9Wzl8ItiCm
sx2TOIAy7R/6ZGn/BTvIgA5lK0ijKAr+S59sWX9ReyPWogCx58XBj/tbnyz1vyybSwKIMD0qRCjy
X9Enn82lWTppWPCTgKqZSpTd7zfOLMBmtGnIl8kJdsN8ePDiN1H8X8rOrLlto9uivwhVmLobeCUI
kqIoS5ZsS9YLyrYkzGNjavz6u5jvJfFNJZXKQyZZJEGg+/Q5e68Nnx5ioeXegg8Xn9CG5/m/3MO/
aaP+97rXN68wxCncrH993RwnXLIkNqoeCSjXRrdwAC5Fa2ap5PlP38fD/wqhP1uwf9sL/3gpkmlw
SzIiQg78W5VQbwzfp5GIvrlb1Lnypm8huKWDu2147Vzrv50i//dquKpCjnFImn8vGpeew00xrrg+
1UxZqhxYybRD9hDR80O3LEsERAFtvWyf/vPHpAJk1+f8hMVAXK/4n7b8fHG8awYh32RAMGqmpf0x
ydrEebE5sa50+y/y6r+5rKBA2D2uwnkXw/ZfX29A25AlJcPOOqvqFa4ImZ/7dNjmzxIeTXiAezf+
W8j4dWX7U6XLxeV4gLba5Yblwfl9z9ByRJO1iOEwg9CHL46KIWidf9Mo/v4qksrJ9rHVIlHk2fhd
b0zFD8BwUMtBBNfI3G7MTn1RyH/ZgX9/AngV5fKBcGNKCrTfrX+Zr62GI/96hT01dPCrNX8uOiiw
O4ws9s0/3xx/92K46TkY0mH4/0eZMaOflkhsnnbCQV5m69fUBdnh5e73f36hv7l2OJV82uAIXTmD
/XYXdl7RNDnEloMVqnvslAMwwXD9l1vvb1/EF9d1i0YJy9Zfbz3uaHpMeiQEx/N/eT4c6HRLgn9Z
Nv7uknEq5WqxKqLf/O1FvCypZEpM9sEJ5Hzstg00XdheKoSYh3++Ztcn5U93NeqSa4HIEVjCW2A7
/20Nlq5ZoBtWtE1jJrj/stD+9stxv153FpuOG7UW3/1vv3zhEEZYRV0eMEmSuLvldjI8erJwxs9t
TTjWaR1po0TNlhQCYxlRSt/oPSfr4z9/xt/2mevboAT5w6DNJ0Rr9devzIIyFWzg6A6jvZSUVW3S
Q03IgS0QEVEG3Uk1mfe6ztAn/tut/8crs+y74DccMBy/H03EZrxq2KbqwEyxOhpG/AdTkIU3cHN9
+e8fkmWDXf7q53X+sBv9aQlmqN54yEGIFcsIe7JSPfyi+JxuGAZvx82tp8eyD6Z/OWn83ZW9PtKS
dRgXk39ta/7pRZPCtSFxD0QY5w7Uq0mN4/MMQ/emkSNpMmvqTkRYzK33/h8/LOuvxDxGP5fvkyLi
t9d17bYp7a4+wBcanyypaGJnTfNdV0t/XPSEONKt/Od/ftHfnnxPoHHhtM2hyvM40nnX//+nD+sv
rq+a0KkPvXEYuozBUu29Jffmf3lqfnv4//c6VFnIt3nyKbX++jpZnoSLJiSPMPE0uRPl7D90rhLM
NAgY/+eP9Pv3B4JG0r3BJ8W15A697rN//kgZSVDIxMlXGKPxNb//599+7b3wC/60vJAQxlGBxRh1
nER7H/62JHuTT0gt7c3jPGbMJmyzNec5K21E/hAzYCeXM+RgZgYQxVRbuAzmmwBtDAus0+wWJyUX
qYJ/j73RJ0lTdSYPd2uRhi/+KHyG3ZnerqlBGif2HIg0JXqYWCfSk3v1HX/7dK6AyaeRF6wrgD1P
k6Hmzfm3Dg6DijqrqU/FQgpmpMvBO0/boMUdem8LrybKEBSxOfOK2pLLs0oVOP68c7PHpgzpz2th
fU9W439yilH8It5Avdmz3XzG1D5BeGS4+D0vRToiT/LgwoIGEwODZFJKokyngL47hNH5Xo6tOY1Z
q8lCSpFBxzVNtice4uTTpIdN77UIxhl1UAkxUm7elUU4+2GkvTm9EaMW6OWcMQdK4xBKcAIvCH/W
KkOFJQknfbwG/Soj4aRcfs4Iq39q/oBcq9AyPxm9ui9Z5QH1MY1TVzvMVCRB+anbnwuW9mu0/Chw
j01T2xHflIJlVdhJX9I80TUZd3b1uVeyQzvVEzOCiQzBQkU6ZXJKRpl6uz64Qg8HEp9p6dIum040
ouA7Uue0xLgtSn9JShAETc7UZh8aLAS7aiDcFgS2LNZTwv+guRaO4bHyoNpTn9TVjUotMHS9HK3y
sFRB95bg4r5n1mYT02xwjN1YZVfddQDUvAdYwssDuhlw3UvK1Pgy5VuzsvIjV9gtZmiakx9MztuW
y1YDvQXDuxrXe3WdfAFqndEmg1nHiA8lcZMBIcZR3u2BmxHmBJcdmHIpSJlCrTEvRFQFHsGqkqne
41yWAxl2hFV94MvuAsRqQdNEGfXj90TlrXuj2rQrHtBSrre9X4XWkQEmtZ4r1vo7RZ/jHVvCkfUB
Na6lT1XqQ3szS1Yji5ead7h6C+Z2vZFFMl6dv/tJG4OkeOrJoBk3kozbUlb9fmh7yyaHULjoOup+
+gXe1oFjTROxiVZvdm876Wbq0DlT6eDjnOzPvJ2C4batJ3gIyUQTbdG9AypdbsRxDD3DREDWHV2R
Vcnlfmto5UT4bM0rJPyOdkqqVh37STPqS5mYsTtaeU8uhUXW6RFfidL72hG6jVMGL/XBQ/yU3AAp
H0f0U5tOP5Mtkvh7QyvizJUwRVxSpd6SUXaN7m4noluDTFRfnSQUsKAabTfnxDHcclfZpIi2llY4
4LxwYUnxMgUIlVgfmKDkos07i9knTIFR98i90NQlnCF8DwO9rxmyorHvyKHZ7DH9OQzgfPd1Xwn/
gBHWJbe1It7nSPD82HwJ/XZCQtmVYxD724wayR4DZ9lnA9j5XVap5QW7vtoi4WXTs4MiVHxlVq6+
5Tlmj0PplebNCkfhkmVsj/6NxpStwSOsrd6RCqLPa6+EIBQbgE0CGXa8Se2KAXur5PBMSnZV7mcQ
Mm95Ihpvb0QlSZ7PSzmxcqFQjVQ/+TAhp46pUVBt27NP5X9peptIVtG4WQB9D9UnvF079Q+LXbdj
1Mi+Og7GWFks5tag/JOWnx7CLps+lnm1nAhsYfkpcQUCcKGr7b3rG37MdyfxrXNqZ4qCtuEW6LRH
3IdSY/ZjDrP2cVY5PGsHWj62uxZn+W0pr4icloAxg7ZWDkTudJg/jwjhISynSWjNyFHzmrMycaHh
TjqE/O62DhjHWcMEPtXB6iQxvTIUqQyf7SoqXdncjMsft5queybMG4qYtJxmd++CiwcPCWZ/2ldZ
nbixm/nJg/R19WsuV9IGjOLHertgaNFvJR5OpNejxy41ivfJlpa6YBLkzocjHoYxQewyBJO+dXPM
d5Hx302Tkzo+zCTWVcskwTvmM6xmh31Anpw+LMUR7aWDv6hFFIV7RhMXtRnWo3qElLxoKKhlXYDK
VatIUNA3zUs3iAFuEtr9SEyjhR87pFU4j/lPoLBvnBUW4lAS+77G5rdrMIAcva0iUqulwgAG2D8y
7ieIsK1ssqIoXZjtXpssJB0nEF8Vh1quLECTO02pwHsifPEWkdXcHUNw01eIyHxO0L5dJsoxFoY2
nkT4oyHQDtdLGDd1/YZvBWtQi1qSr/xNTHp7Wtzyww3UIbOhL+TBU9VPLZMy+wUfxR7T5Qtc7BOj
3EeRtm1k91oDJyiKOzJ9UW5vpAgGFRwPdIhQnvtLnw3m1lxTl9qcR8uwy0VKWACWlvHsXy1Zkuhy
xv5thM16uAzEKH1DoJPt/bJ+wAyUxqiYkl2pB/wkc854lLwS2MFE1JFUoM+F4XuamvRgdZu5cVAx
3IPDni+L6TYd64yFL9LFNXzUFjzz5N/0717vdG9S19MaF3DYvwwY3c+1MsFO15zuENRW5qilg8od
s/MvvbXuxmfnXttBlXafNjjnj37tUcfmofmSEyIKSbKj4VXwQY7Yt+yjEzbFvd/jnPK18xqWibow
cZrv4RDnaUR/JX9JuxRln8PQ4b4H1mxRTy11Hi3j6L/1sqZBAjossb8MWM/AvvglQuFlNj8SATne
iEc5gYopMcfApNLk47hPY2CT3qFX9xHAmADflZj+Rs6eelT54qE61HLPYM3ENrRPMKb2flvZlbA+
txAFHPIKY4Zxw8+EUraIaFInJgrKqwJ4mwc7FqWHc6rhb9YeGZz76mnPvqA+JnSSgUZ96pXmaWgX
/cCA3AWXPfafUK15PwtUXsu3sTaLFwNbIdw1mdqqiDobl9vm6vVs1u29FWqK28Ua7xI6AEjca/E8
p3b+hupYvOs5GAm6LCkspqz9tjI/+bwGtEOujwi3W2FjLZ9TSHc03z0E7/Y83YSLb38Eaf66koP+
2SV4D9iOOVEeVbFjOdaHBQv70oZJf40PfcmCfnjGVE4q4zSenZ5Ryq7Ed8EylW7Dp6VsbgrCzSI0
8P3nflxgmQcTuPslDWtY2MHHvDLG6g2J6gki5bgc1RYj6dN7hFjYd3B2oq0JfcJ8sYLEng/WPUfi
EtnoNt5hwRCI2BEA6di9yws7zaPMl1Nob/eBRXjcDieAOveiBXucJlK+68w0bKNQ5LAyQp76AUew
mq9RxUtMVWrvJCjbg5FzGC+LzQTa9Q5LwizNd3OXAPa6IgVrIOchgCN2A3bKI+5arN052WoeWadb
Dz1xHPt5kuG+nBKB2lzbLir+REZhtn5LJlk+da3G0pR2oTn3NlrXMLHRaC9J890Dcv9lRMNxCQqi
VKGeyIdiwizXkN3yiGiP6EmO8pDW89Eh55vq9j7foLwiV+GmqoOlvPjsaTs1dNO5g9VyhGu/7OVG
UMpqPJYUMfLIgdYRJwvubkncSBzMs4n4zNlhJXuYVAetqVdGULJa1RE6W0NAVz01Z0AJ+p4icIhE
XWuA7ELyxdWwKSmuLR0ZIm4fCqTP3/xOr97OK/OeZGNZQTvuUPyjQcQTbGbTxXXFhn7YNje9p5u7
kXbmmVrtwmJGhO+2hlVjDLbzwrd0yEInsyKKwI7nyKjDOFMF7oamgkW7bG5WRUJayQbFeMk4hyyo
BgpBQX7C1yp+1U4757c1SazejSfZTu+wjIwjEW39vFy8OpDI2uE/UbE4jRfT/u11HPQt9UdQsuXl
reV88TOLMKqAwnbXqyxNI/TR24Lxwt7qw5b3uOFwnbnmChaGrMlnmApZjPfEiLRDbGpJsPbCMPSq
OidbIwyG7ItEFDt97m2/A6dnvXedDZPOQLb1dGhHehLWwfPamreRjl9Dapz3vg0nYulwYDymVHVx
m2v7fvGL7xP4IOJAyvscSxhC/Mxhk6Ysi1QakM62ECUz7YagI2UEOe6EjD/D/JROFFw7k4br962c
kEsiC2mO62LKw8omW0WobhvOm0SQ1z3n1ya3LPyX14VW0vDIUkfdNJlz12zFc2oh6stSZPmNV8SS
4udcZZ26U3afXmarmZ7wbgXN0d+2CepNnYE2Rhc6l0NDNpXs8gixYK4fcJJ3l3zyy5iHx33Ac0wa
uewwoRwGO0V2ywz6kvtafhIrQRGWGE6zRWm3FakNNzxP0wdOVKCJia3d0Z7pTyR0GYyAS1XcF4Rl
DZ1uj54yzi9o5+ab8MqMU4nL6Uigcr7y+nF8sT6pPX2g7sAV+Maswe4h5wMqg+ENM+ewhWXt7xZo
BN4urcAtxjwLzQ2loTp6Q09KbCtaEElFdhmK4Je7pSEZmeGd35ja3a3VnJbkfuTzSeXWc2NQ+ueO
NX8KksB+wC7YxBrtK3Ld9adc+/q+c0R9zxB7fePO+kanDYMC6U0t7j6VXeaFFF/sx1AvsvmR6ciN
WnLy302bcm3JErFvnCY1Ud603xmyXvdNkludKsAYljnO9jlRtJeAx2yAvlB+nbx0khGWlTZqmtp9
pnjIv4zVBMF/QOC77jJrTLu4GJJqOYZ6Tb8ENQGh1wc7Jfcsgfp0rexf2RnJr2pwEASspVRSNQWG
Ap9eOen9ajfJTTDI/mXpejuLinVsvgLxsLmspEhEQHaSJ5KhZlyPMkGFqmol484BMp55pB0i07e+
Oo2x1x2K9yCP5roe9stkv1wV8E9VK4c1Wqr5h9F4wSbK/rQkOgO7WIGbBBN73mDBhvGzdIcASVQ+
k0cHTS6htmzV2l+tj+w/sra/4G5f3vM5z094Mp71lSoMdT8hdNfuZjbSUiFtbag53rtwuHpVMxj1
d0O9dutXexhIZxEYhekDN9+Jx/SfxzTEAOPhgkFclQU/1WoSwtwksXO7bbSdERqMMId0tpEtqKa2
SUFmTd4HefsuC8JmOie17ggTDuozdjjrc19dzw4o5s13wopqqnGKiE8JefXzkb5aU8f1YsTXPLM0
xwqqu1c7SP19UZvq3dXYF0mmN98WMdtPntNdI9wt4vwQCIQVgYyosNDkt/PRthwsmFvRBIQ3F0TO
dqNHILhHil6WbcSWqcaFOT4F6Nq6YrP2XWNhnw63TFF8cjkQr+vRYFhetRtiQuHbj+ocvD+SW3c9
+GLz3H05z+BtzSTHb1OQUuqj4ZFnrZV89rOS4Khs6uXMih1MQ4wfWfB9pmvT7OcNIIHCppIeuEGq
BSZuXd+5hGZaO/B2DTmX8C1+TB4VZZR3Q/uQQCRfmQq5jk3x5DjFvt6MmfeLs9m/cs2ivkciKpH4
goJa8HJN9ZcitCuK0M52J6y3pKztJSruNGb1wOit+kA/LmsBd9HFfUEYazcjbAWo5nxYgQ0mf9Mj
vmihVS93IHwzAn7Lysais86Fpr6j/tr3vd8eaSmU1yDKQtpxpVT3kTAnXvbJXFeEwdJvukNVHFwK
YzgGF4ViVQ+wfj+E3lY6ezQ5zoOF9YX4RgLMCW3qB44S1HLreAnXFNw/YYLMxOj1cip0Cw4nWTL7
ZNCUHFHQ+W9eNCAnJ3/Pn7YXGjYzoX+LHvHSeBM5cIlY54MqYQ/wc4JQPDbw7diuCIA4yawZlfsQ
KrLLli1j9IE6/xqJUDFNxGYwRT6MZVg9Y+9dIe4mbW7wnUGL2chOmKgeHXFpESmH9KHU9Dllq7Jo
xKwc8HyW2pWAU1WV1KCVsm77yqgiVsPYdbsha4cvVaWJXpWrRadKkSn4c74CmnaTn3PwoPU309H2
qlzsw1Z293Zhs2miaGNFkl5Iokqf063Yl0gpCU8O5/oVD1nPArrO9Ryt8yQ+vC4VL33oky+pu5DQ
SKcSs8Kf3E4i8jzb3Pl4Qh2IZF4Pc1aRhk3cZPqT3yg/2syl1ExmnX4X7hh8aG/drrE7zXrwLAJt
owLIjjmasMw4+BktffiwDARx/bh9F7dyoWeLkWgkZADcT37Aeu29gA3BNNlJyxYn2TcDNSIyX0zb
tk/fobQncxFj74zXJhjdjaTb0jmmszXfp8asQWQF4Uo+e2hZwb5Hf0K/WtQrtjWqIh77BgP0Eexa
2N80U58SLU+t+Dkjnsa7QZ9Vbbt0zpqjQCWIGX7toas5rVWqByUKb4gsmltVjF2DmRRG62tghJtJ
e1d50rwqlYuvfObwKQ8MmKve9VIZrXk4DOdmmvlYCFMNG6fqSv+WvKYS7FM5+i92n3GqHznGvgB/
srCZJdIl2Hed5FNQuIZflSKtwJbjjAY6UUG6SxW607fcHnC2yHBs/J8mQEDxKbAwPN9R9Xr9roDV
9r46k5MTQDBjjFpsoPiXsaNFjt9ctMG682h9+XvyrW1NlEfv3uLC9ngJgOVQOjYA7h9UqZYOIhvM
gSZrOlmV0z+kpYSScxviZqjZM1FdLm1MghNhTbtZMEYk/7rkssoIhE1rpae2FRW64hlAhomWEtnh
Q8BmjFiKtjun6a7kyO7a4PL21VUpF5twK7EvTSSU4Siitt83Nska+26wPUyJra7rZwyTeG/ba+rT
MS37WUVTuFbJnpGhdiJJX68j580O5n1Z9hMVN4s1n3zE84opvsrVWSM+dKK5vIbnVUyLi+S2RiHc
x0lfpevL3PXORhZlGRR0Hjlq7nF+0aF2raXIYgKtZpAlQ9IN4d73Z3nMvMVrn0e/WKg/EEXn3P5F
4+IMttuMmJEl2/D14BGN+87p2h/sI5N3C/K6fZudtCeOJMg5p5nFYuhCSxgBg6dTjvdrR1WLsk0H
sG+H0kuf6R0MyadyCmqK3daEJKl6NgGYgnMPweclc3zaBHPav5e+xk6uSJwUcbfWXvgd9gmD1LJ3
NPWV8BuCkPhE2Vk2xfRcFLRHIpyRPtRKtsV8b1nFCBfDmM07z3XiQ4xR19PW/ZZdOa1BmgQjvSvh
f/FEh6OPUIz1fZyF/djhMmp3c25A0CRVsj674BP9WxwDgA0TZyV92i9o3LCoZepsCW9VcT7Pao70
DMPzYSrb9JG+L/amXbZqyzrYXeISGJYGacg9BUqTTJY2dBGRIpl5SVDQpxdfzP704NNTKI9SJRaM
EMsncKNrpPkBPAOUILeSLWmZoRCI/bRQH8UyOXSc6W2EYFYCtosdniXp72fuE/sMNLEHByRVSd6v
LimxF0cyDbfHAq5O6zUB5vTUy5uoStK1PnU8kiNJsHXXnDBrrB+U3bnPHkNOz+d8Wb31NW/SjrCh
zrHXPbqOpo1LYAkePn0Mn1DHiHer3lzw44ZCxxBzRi/TugZeXx3ZOH2XBtALGTLBdqUJIHLHkQ1x
fhjwwfVd9o6+6Bqu13r6Cb4toknfKOdp82E8ET0CMmRLcese20ZiIB0JsNNHd6sVaYsKzufeaXEL
74g0K/IbuYzlnjD2sL/VDrG3O21v3kPtd/4TMZyqjBy7nt7CFBHT7cbkLN8ZslUfOm9e2H+Bdj/5
HIZ/CDdrizuTbemHZwPx2oFW7axH4hzlI2mSDn9s1GH43XhwLh9opy5PJnR7ee4C2W+3IUys9DQb
zpCXycr88lCNdhsecahMLdtKtS0EAeF6Efd9mVdPa6pm56A9Y+PPdxH0hteWEIdp4CRhkUxv9Mg4
gW9DtgXHdaBBAl+HeL5PSTalHOW50+ZIVBtxrlmzCT/S3N33m06GT9RhGB0hohDuTGp0gAXBNnK5
TAQ9WRFaIfE993Kr4+TKUTZ2MBzau4CjLM9kXyS/KF2m2xrkVQe7o0rNORiGbD6sqZ89pX3Izhw2
NvWjNdZ0yXvLb/d6ozqNmz4tv/a6IKcGPNtAkTLZhOesTVbRzXHgfZVo2966dNUmSjNitiNE8SJv
975MrOaWNbV0P3EqZipi06odedAd7wCTsv6wyW7P9sEYiorbkiinw+Dac72H1lg7N6UpquogJtDa
kcRt2aU7fryeT+ACeauyS4kXvnhNQdFfjLNaUVhjSYvWtod9pfK8b5+ayamWeIBFxfzDJN6ECW4Z
tqh3m/SlboJr6HXNkJqMauXMt4jfOWYrOhA+HCZRVhzLJ12RSSeK13DdOmc/QEp6reuJ2sUm7iSL
gdrY3H+wr+uKhy7Jl08pPl1qYJyd9u2IQBojvr/Jd7HZgrAh/r3YJ/YwjYSITqvaeZvX22Q+qvo8
Gmame8/21p9+vRW3DPJKZmi6tG9r2BA88svaf8fXqjhAz/StKQuX7KuDi7H5FGbMrZkPlObIV8L0
JuGmlbFD51DtQ0tvp3ysJKP8pBUG9tQWWvFU1yq9DHwQqmvP18WOYngAKyyyLjuTkO3Vx43coQJk
CPb74wp0APTV5tD1X+yOE7RmT0TVCwvh1V1qJsDMPmiz0+2hj8KI00JvP1Xb1xZarn0OCz9Yzn7C
AfRmCxTVYYpjbIhxzE5BrANMSOfr/BvRZ0F71Jct3b7VVriLbQ2aKM5Gsj1i4S/a2c04wk9LtTTv
tnZRM2bIOcl16rMCZ33XkfQB5KY9LSKlQh4IIr0knJ8JkDYT39gMvKI9wYf2aaUKiuxDy+yWuHJa
rwoOjW/KuCJB04pY5OyXpE+uJNyy2dJzzaj7pwnTtYwxVbY0tPR4rb/owtQxvFrp3OVsjt0BBStE
pIG999GVSxMA1qFy21umbyTOVC8Ld3nIYs7uDzj7oZo77kjsqL3znVmt+2XA+PTo2QR0nuQmgjLS
QIctdqxNtPuxKOvxcaDCYW6W1Nb7ZmTjn7Aiipuq6d1vFCWl2Fds6/UeAHry1W9dU+651tcD6Vay
OFxDF6Zo9BLfxEHpmuQ0rTNu8goacH1Dl76lWRiAqNankvvtWTF9J1Za00SKEXWA7hntCp9zXTlZ
+ZTjw2DET/rVAqpCim04bIsU1Q8cKMn4WUAXviQEineXCctMGoEGEJznLDdfr9A78dqUqzPur8Vk
ctN3PiOEnhpyPrgw5OSTKIbwfiKMbYkr19ePoHgM1vmu6vDPVh2MEuaNncfkWi5fSsc2yzGzRyHO
g+UHyclCHRhiZlh4i5Q3Bk6fB+fjgJHWwyjnbEt3X/YY8w9bykn+01yRubqHj4lPlgGJVxA8C/Qs
nqzVoeVqRNBi9W6gyFfJoI5qSnT/2vUlMPKobuhIADChofOCJEC/rtmspojryMC+UO3VAz/1xPIl
hf8L8H7xZePbIxanNK7lX4TkmY1ho6lPpkqxoIfStHR0iSdALCOSejrmJGB4NyTVKclkX9ABij2z
wManwFY/+8AvC+alIJsAltQANURVtD9SokrbU4PiJ4xM1U3FcWYn7c9uZdEW38jfFectzXz7NXEy
7VysTEzC0LFLiATxO7Bv39Tm0iS+IDBe173fQbj/prKaSoTU4HQdqx15btqPFlVz/nLcvF5us83U
4W6G0DYdQIIBFuzW1p3Pa8kxL1bTli0nyZ421whtfPc9wfwMPyPzym4nAHAWN+QEL4RdB0Hxy6sW
BqT4yAVS5VUO8nahWHsrxVIN+7wHbbmr8OGqzxPRfuIJLNlS7QwBpYTirLJ8n5FIeIwjOIedwfq5
7+NgeW8MOOnBDOCJ+hMqlYn43bUfJnBlm5JRLsRyHtbBnR4Xd16/M/rLqhiqFCmRep57Wvh25n/o
srSsTzxS1Ve9zvbXTMjlVY05AeScvShrAaX8RMwE7WjxFOCNRYj684yf9EoP7RfmA7AHsr2Crm7g
pTA62+Wus37IobhyA8mP1DdFKtwlblbm4ncF53V+sK2wSDLZ8F8pw+g3tFDl6gutTgon5DZwA3iY
6xeI3/yjxakP6fUQkLUKK2PNGEUM/WRHJUTgPHa44PJilFUEB2BzDuGMXpCBTREe1C789fRGvTXH
nY0gWqcRAfSa9a8vNwjR7lRMuPeEX8UdXX/yuDwXiRKY+TEKFi8tImm5XkNNrViGIdun6mSnKenG
HMHY6PKsX8MLqm3p7NMSQPCJojl5odGgqQpKsG6xRFD4JgUmNc3SQiz9CF08htil8bsj6/qha6cn
zQyvTr+zIEAOMBwX0ZtTRfztdquztiT4OxgpJyyCSRmSmpmUBuMSRMC0XhH5vFWJT8d+6drblBb7
NUB89h9DC8tdVPthc8u3X4SRlaXs2yVsqLe81JDCWoeadrf2zdZFVR5CGFF0q62oyWkPRvlMFR5t
VV/zrqnmaGFtfE+3he9Q9zZuniDFn/jTNxlgPCLFG4aZUeVO3b0c7U1GCv1hwK8vK2fvFKC1wF+W
vYqsIWCej2e6vyxkUfR7O6iyX4Eilp1yeiqflTZU+UOliS3VBVPNqBgK9w58kPWLmLT+K9oIgF+J
X1Yfjo9a5jD2AY26ZRV8ZVoY8wnzV+jeI8GlD83bIlEDrE25QxGg850rLPmwzlSAe2Kzl9eJdoQb
BVROj2O3VGLXqoAIZ9N6bkd0Ry1AAnHgeZjTRn4amV1+4zZGF7MUCynQVrr2KbnpGYcsWlneF98f
WocxMbckS/u4cMSWbfPgheNK46oKriVNhWhw10t7fkk4/bfwSrpUX+el+j6DtbeiDyu5wVxyZQ65
9M0vW7jis/JK73svKsY1hZVQ/IT0WO/Lbe38OE2bH3Q01U25TKt5nrNA/Fikn74reqDNTrSjf0km
G8R4V1Xuo72qKrtvut6idTjxcO0LGm6/8B6WHim4W86RM63lLwFM0noYQm90dqWDGurkF4n8CCCU
EsMOi/OAe7dDBLXNLWWYcfM7ueY06jVLAzGwteUk5ymfyv5Vao8Mejsp8OWlXYm3qmg1k/O6TPSy
c3poWp/7zbLV/QqyjJ/RvMddIhJsnjVIOPfC4ERte6fUUEI7zHY8qz5kYOr4TtwFpfBtFCpghnao
iikyhm3MP1we4ZnwZIVlGJXM2B3QdQXWzUDKJ9+xzmnPkLE9B3tYLvap4Pg9R11NZ+tOwK7BU9Dk
YeQWyr1kBfFXBxNm7kNbO/ZH6JRjyIJqSA92U93e4dKDp5FiYf8QdVl+hX/K8g5LS7+xnU2oKSws
DLvRX5ZrEPHmNMgNxmL4Av7ObyGDiNR7G/yq6C/btQP9keeFnf/qgz4v47rOSjLH/XYto6oO85+M
R4kNnpYJOnqbUgHvVDUjvsrC1ZCfa/pxX09LcdcjfiqQmdpt/tWdZEZ1oDOxHVWXpe4v1AXzFOf0
57ZnfqOBFm2vHHOSVtH1ZDAC4HtbGmQ5bRvU6FWghRyAOwZib1XVaEhNrbXxT3wOeoEzkdSgC0O1
0vnXIALPtUg5agC7HHoPMFXIXzvtkzQcW0PGA0F/j/kbU5tsioRN7x6ZQiKfMeDV4nsI5n+76JKI
NbQWiqzhAp0P+Q7NQkIDwKqcCATUV0/abcZbnUBO+j/mzmy3dSzN0q/S6HsmOG6SF91Aa6BmybNs
3xA+HjiPm9wcnr4/RUV1RURlVVb2VSEDCWSGz5Fsi3v411rfWmVgWBkZ1/2txK/X0miL7OdkK90V
U7ad+ZxB70hGLV8R5MK4agtoXAsC4SqkKirScw79JfynxuIcyk0tNaN4OUzMp2tGvozS4KREHPje
m9yd563yI719UTq4uQsnHHJYKTtZ8ZnOkAz3RWs47Umj8DlOTlOeVCigRlaNdcjNrPLmlROpCH0z
y2tz7XFn944FYORoi1GvKo8aYF5GKY6k4JnAu9aBGe87bIMclTzCNLXQNZhhvqdHIII4+AGIoloj
YpOkK5d1L0CnS+2l6oYpcThFaGWFyULwK/uM7Sbt9rBvpITROA6Qn6J2LD85i6g2aEcnfWvArGdB
D/u33Y58QEBsYhVZdUhQTOy1sf3Q5zLKKS6nRHM9YNYpDj6VZwWOuGFg+i/sEZJDNbTDawK9rz9N
pVn1W/x+IGPKYQ5xmo5JpZubKdOd15RG9R/Jp7hYNkDHxlVUmflNlFSUc/J7lWg8Ovthy2KlNflD
zaMI0A1X7bAaZ8K5Rypu0ysf37HdhIgs3znd5OGBJgWFN3OSJaPfnAvfLkwFaCC+R+HxSGGpWaYw
iWHn29wyP4ox8uwV9AbXW8YYoGOdTURH9NeKmv0jUXxOzjacrJRbbdhdMbJhfLPSDDmcupck2sJL
8hjL0guOicxLi/6X04O4xro01wIvRQxSkEFHqfbA/oQXLUm2uXI7m/WtTnykKNu9x5VSMJaYbesz
ZO6brvXUtnXmOyU/YEYZUbIO41LigtXLzMFCmuPqqlewTOs5sF3lvsaJhUUhLTADBE0GK4hBtKjV
3sn9cgpEVLlV0DEqKfaAXNNyG9p8O6u6yHI2ey1Lh5UxTtJnQNen9G1E4+TLte9MWr9xOwIDB2yF
tb6M5w6scSGmEoOQ2SNddlE7+JvQx171RgyYEwz3n6ndmlOhxwfM2aW5igGR1ignCd3F6Et0J+N2
LDgbTUw8F0XMRf3S652w6C2rdR2jV9fKE8xYfJH8qvX0MJoDhVkNFlmWGXKewyNPQ2Y86eZ4EyhB
W+kcNqheDc26FkdDC3WgMO3ckEP12Mx2jdb2xkKwo2twYjySUPBtPR69hIFWYZWvoWij5lBxO2WA
A44uu6/NcEq4yVnMgCqz1oqrlDNzevzvkfzQUlTCu6wOK/lC0VBkHH0znQgv+vUIv8yoQJh+JbBP
ehpCYgbiBuexgjG1Odh0LEdDWZb3cqiM/tpHlmuWxD9s8I8LUtTdvDboCJVvgrEihzxEe2g+pGJz
4PMzhxw+/YNhuK8DrhPBIbCuQrmCMVv3T3z+dQX1TM/9TsFnGs3ibJNeyIHb5hiCtLifIkxDjB/V
yk+0tt2lEOei/ZS7uDmmum6ZUaDje19VApH0Cvdc13bUyWvqnuacCftKE2axcZkHWkNwiMi5f6u6
zDBPtZ541NHPiQuFFLs4LvkbRR4NOM/SuZsONHZHWXawq0jSLaH8HK4AzngtbFdw3ONsU9tUOJ2Z
srXVEcnSSa7CxUZzSKpYTpdBVjj2ysKv/NvWZx6LWQckLIFO7hIITc1CMCTFhOinKfQj2E5bLsAI
hwmnOJwgLWbFG3RVcxY6t6LPvKvxDQKKahi2MfuFeGxzCe4U/+LQ03vtau6Wo2Hk4mBysAaEmw6Q
oD1uwoHTav3opwmjp13ap6VTbhFCzKL98PSk4onMclyL08GrDaIBs6Pa/l7pem8yS3KK3O1eFLMW
C4moyNJ6+ixkxe0vYGkTereHlR43XjCMHWMyNjDHjlaWMYMIDkB3xAa2h2SS+VoVk8AIWtehzzE2
bhz8AJSTRw2rp4keyG4ctcBi8zQuJrmqRloLpk3cqchP1oNuSfEQhmGctgskTs+SOwxizniXW6bO
VqF4b/6jJZJw2LYIK5QnuE3EXBSYZwsxV3qbrrLSlybrkYETPdLvB2sufhJSMVTzpIPzzbambI6k
jXd1AWK/+5h0+0WNrfgp7T1/M+rG3G4LU8vejbZxrnQ7+K80CceKQExByWHQ0tzESKyjBHpNksgg
xZJUQIZL1O1/SZf+U2n9/1oU/1J/l49d+/3dnT7qv4b2b6/3WdVTi5u6++9SGE7C7T/O4x8/Kvnn
fnG+/PemcN39m6AUSugGnBpBKce/JvFJTf9Nh0TBTmTTSum5ZKR+bwo3zb85RKqpSaN6CLOFT+Ts
9yS+Yf3NR5snhgbn9Rbu9/6ZJP6fo20acUH39h/jL1GzutISHxCTv7PnC8YXqf+DfBlJ0j8nwP7t
rzb/HC3L4ogCrl7LmQSVRBrMHhMjfS8ekZ5sXrdWbD5Ufu6cDan7JyNNyfsnJfxkc+YwUCRzwsCD
aW+H5o1hemHV9Eas5taaAhfcbUBVQDMv9NGx9xNp2W/uitOdNHLGKnLy4msX+t5at3x1mbuuvvOK
aHi2mplSykG0b9RFVy8NwJNHr/G675kswGogVhAh9lv1fap1/qPXzaBB9GJ4xW85Xthj4XDOffjW
oDUCwXQYv42syjrqe5L9SGiKD4nQrGUlDevRcfrml8/QdFUl3SBxUOkGIDk0HbqqZNltzQYG31yg
xdMY4rS7ApMu931maOvZCcNlzjE4WxVQqa6djk9IlySCVlNW+AHEUwZOmCd+lbXfr312aUj8fdLs
Us1I1lJMBS07ZFokN/uvcS6yVR+OCacI9g7br5jv0hxlbwlSi22jyYYIhG8wxWntU2Gm6cGnlCha
5aMVfZMjHT7saC7ipfJ91KLMHc83bATiNpaUc8pkGV4dBZ54h8213zXhCYMQ2HCw4hfRoGwSC5rG
z4G58Vuf2CjgXTrflUWYrbljOg/Y590Vvz70rToxH9009nvkG8fb+pMKuauj0E9swgXTSxeguqZP
6zHRMvpXy4aLp+EVO96QQy2BaSxHfrZ7LMPuNsEFCz7F6OSPqU014xGasp4wnHjP4IsxwJi5ZCDE
bzB67Hsn3IRmJrYqM5lV6bZG34HKVFDwgDzh6xE0bxTKuoNM0Z+SeuTMOVssqx7lvI9Z4mqLavSS
Ld9CemitTD/2XBnz1ezkhb3sazQjkDr6xYFVdLtqeRmNj9oQ/uDf6OifNfSNrRDIgoQug23vxczF
vW64x+TZriI/Bvpein4hBk/qS8Cu4fNcTc1yKLm4EvEst5go7BeoUNFd1ZvJe2rM8cmhQuliUrYh
GbLKbDvmvRmEBL6ZBGEtfxZi9H4NUvblouNYvILJWp+iKYt/lJPYqwpwEDpgPevks5rKvZv6UdtN
Hdp+2Ef4n0A74bPJxVch7fi+byGn13GRbJhOwqbziuaXdGP7kKZ1iGfDwWjb5s298nnjhealZGay
Dly2r/nYQuuwDah3p5yPmyNXAL6/L89u5a7QELcXxAC7ZtGarrGqEYiwC5ScRemqcWtQmnDO0hXR
PVydRZ5SYJ0M7xPH5Fed6NOREweAGijDz4mOPIl8X1xSjyRNhfPy2pml/ezLKaJoYe4/FMZXgyuD
kIHgJ7NXc6Q/Onwe7xqTJhFLuYWGvpSQMmpUzYgYNHiFzLNuqHt8jGq2abccjYs9FVZzqCHy86bo
WHjQyDYFTt5rJ+x7QP6VXijOX6XybbRtpyI3xJX2jqIg98BHgXtUzfMlJmu8N7HzkCnJfOvNKFx8
c3g2TF5BYRzNnbDf8TfySKFkvYlJG59DjfvGaPXjU1+7/PKYGS8zlY9i0ffzeDOiQGFPJo/xsN4D
oiUc2GSZ9aoDXn2N7MzYJO0oi4VqW2fXM5cKRhETNXMLebDHwg2cenAwPMb53k01xOgkHV59PBUr
AwU1YI5giIWateEwcaZnaUx79dCR8qfjqxtY5YAGPM6jrj9NlmDKBPmlwVNvcIrEYuru8phBw8LT
3fEuxYVxlHHLu0HVir7jSUt/LNDy3SqHgLvWQohIC3scjU1Ep9z9mMyYM/XZax8wpzirJjGjjYpS
eUkNTd6Ti1W7rp+6bdnPwIZ7LbmQb3JOdGb6gdCUuuKQ9BbTHNXTvWVEdCHOZBhJA45mpeMvZKzH
gV+GYYBEZ7fLogrpiY7qql54TpV+OIapWiYWIXZJmgUuSWvjji7K1ERZZ2b0rSWVwPUfTfVmTrKa
O3WetvcwN9tdM9rO45iOaqtszTu2ej6BpbXNq92oKVlmY5E/D5mujjNOlHfqPecA6UkH+T1ZF2ZQ
SAWDiuajz0JwT4P2za+YtAG/WiyVQ/bA4eM9SSbrPLnZBFeEiCHGWuX8CC0dA8K3WWCkhf8UlgKO
gJ36N39LdtAFhuWV37PM1KpNP+s6HnYdE0BAc2nxFnMhejYHIfcg1nWiUFgbnuIsG+7iJpY7Jaf5
F3ZNbdUDbT/1Y4lfGCtCSeIlIuTBljccDCTNjW1ZIwtw4vOwRjMOtbEFJ+slV4OD01o1bfM4OK7/
KzZNFhM+TvFzYWfmiq5dhucsZtGxmyp11Jti/la2dP2FHoUzpfKuvwJ6pq30IVRv1WhpEOrp89a8
bloP2E+JfyZ0imkp4hsYEcoaWkfHh0XEqsB8Xg4XJlwhx5ih9s8QqCiVEko/3hyAO8WVgC8kEGFK
ZTH7gRJv6TTAaH4s3rA/krbxZ2x7PkC4hdAnIlI2uVTI8dY8bvym8O5rL0nYxDIE1rqPd97QmjtL
a/PHoR6tk7Are4+c6pIumRomAGw85MLiDtsBIY21G5UG8F8rJNpZiPhVqnZ6sAaKybnfEHlmkSmz
g1EOVkg6tvYfnM5K721llE+szc0GuwDG8pEiA6KdE+Hm0PAxFSJSALZ3qko/hGhaJwd87V4Syjy6
E7J0qKEocx7CYRx2nX8KwYouse3DQ3CdKryYoZPuHZl2n3g+cCZ4ybqB0ZgQasxI9fi9uMZjqj7B
hVunUNr2ceaUSxQs58JdKMOaOQOF4xarBZqYWXzjykYtCXuaE7OM2xN/5MHPUhUtmX5XTDI8/4EQ
e3q7m1MIVwOFIDddXJq2cPcTTXFEYxxUTrK34t2O6MTpxw4BCow/qiwjJYAAsr0C303hGAn9wIM7
b8oopc8gnuJ9l/rGTwXpCLNY5cPKoRnUxUbX9kclXPJqAhfBGyWKKeSBygswt1DMEk3RKc/dcOvm
qO6oD9ZpNHy562IlqeeN3HQJs3VA+BcTuGpGufmegj2N563HGI7BHS6B3Rov1Ix6R6s1xocmHaxd
Vkv76lB+hZ/YrO/xGjlbvyI6vXFqXbsyp+04cmj9vMFq5W9i1o67kQjaQ+HnWYCdRNH0XIbNoxOL
aFXZMdmxWpIlc+rGjgjnpfkqrO2OIiWhPrrBAORRqHPLEWPDChbuZtzKAwdJyw6wJhg7lujwOhr6
8AKKznvSpR89DeGQHKFLd+9Mfpv1IEpnh42ZXG5Wi+/QUxxKbHmFErCea8JbFfOWVZ3kobPkoOk+
JJLCI8UHde8lHRNNPDXUJlGWBbWw186ew+Owjkxw4Eo64ZJ8Rv+czkAMljIuqGIF53SfWGH26WRm
9IG/pMH2Q+8eY2JzvidqWqwHrLxnzyz9n2wuGiD/THdHnF8FEz1HdHQAWRqzOndgt19UcSH2XYiZ
jqbu21hAlMMUYLNXL9SFVS96hQ8TiiFGeq505JxnL60/W02Ep7yZ6KVvW4G+IUNz2prMJO7msimO
kCVzXE0KNa/qpCrXhdGVS59Q7bZMEE+WYTERd8TNuZ37vl31ZeqdkRSHA3K8YOaCJWwTm6ERkpgj
lB2iT1hM3mPx5FWeOtSl4x3q9vYduU3hLo2J6w429egXdqv2DrQhoZhxFF9p3tuPMdT67VggDS4y
K660NUT24h50QnLO7NldYmjg4wRr42WaIh5VayjdJ85VxP7I5ZzK2IRtluOJPA49KlupTCbOxFQU
BUxUuhCvrDB5WxyJ16aHesqrSP0LeoW3bDTVUIoOWiuYhrk41qjAG80oqQTCkCyWZTiLtd9b85Ph
J9FO0kZz50w4pfzErO7bYgDG4XsM9wZ9AM8ftkAtVcOEV/Wy2QN1cbda3CUHKo9gebhmpW3D1qie
8lkjNMk1bVk5aXT0NZKYptLMH7dP5KYSVvOa1A7usQ4eR52F5hfFHzyHdumchyimq5Jlc5rXaqyL
o5uNw4ZwV3+NvXhkq24j0nqme9f2sn4kzZLgJu0a4NGWQxWjDS+WdTH6MqvUejFnI4WbM5mTwS1k
jOleoCYnpq+RuLMHUqfEV9RBmw39tWwdYL8SAXERZyatZalpnfpU+hsbjMKSxPhULuXsR0GfOlxB
Ld24yfOd9WoYDa1XtlO0S1S0Cc+RS4osVNkbOmz1gurPBpfaurUwbIJwlXDwHXKoc0gX6R7BlcL9
xq5Nc1OtZ0uGiuV5joz5QOha57c8YsVPzYGRNBGOJ9yIBFK4tzqbGTbbT43Tp1uMN6ehj2hwNcl3
0unkt2jLk1M+tZSD7no/9J/DynS5labdtGw8nEcsDzeXABbAkBG006NUko3A4SSMu0nq7ieSMvGx
zCA47nDSPcMCINo0iLq4yyU6b0RMb8CiPC0cPkkcuMeie7GKxPsVIXu1h26ijGmp8JQx1I7EB0zQ
nJ4qw7yDxu0+lV2KfoHx1VtlvItbNJclXc5hf0zMLMOs0XGwoGmXX0g3RyeTOgzg+sI5Or3LQZq9
fJWlfnKGCCXeQBKkH0aVk4zNHPEAGitaDYXfmihckbOzpJffUc6gbzI0qC/PKKygNjlmLLxSvfZI
YIU194ym286iSwrKBC4EM6RAMGpOVGm5Jxx7+rlmMhjIYXYvpqPxqcgoYrtMVo+Q24I0oerUeAZK
225G9GlgMb18pBtKP+LvHXGdV2mzpDfePw1mW+5NFxuyTblFPmRUH6Rwn0w+p+nOqYh0OO3of7v4
Gd/J6WN8nuUc4fdU1lPoS0lTUJE9AlMhG+D4ZFscQwUz2tSLReL+ByyO3HSRG58nKi6WEJ3wQ3tO
8T5Qo8DWw9l/ocm6OAh2+JXHcHzJeSA/onGlkA/iAXfS7IOIV8UMa4d+pZFLgOLqPTGsJlqUHUze
ysYe9T7wE996YcZEE1gSaVsOzk+oEPOjVzY24JpeBqUqm1PJ+nfb1PugbTkvsvu49U75NDdGHCvX
02ypZYQB6oyVm60QqAY5lrR9cx3AEGu7Nfu3mLnsIoG+8sq0getq2d0++94IiKFxy9deho90KCry
UcZ0ooyIWx97XsrZq6y2Umgk6igLZIYiKKZAbjS0+ZfrZs9Sz6q1Zo1GHHSi1+4Bt2inqpL1VVmG
/E610v6Ks9ubbpQkc1XpYaCzV60nImxLnfwCw25AlFM9zVxO/P1oyBgfKEsGp4Lb920Xqj7cFCr2
Aj/fkqbSTg5OAdpkSh+OwowFdDIr8Y42E+I/IBkIqpwiSNUWmwqlM4jozD13jcg3adr3J1mo/KyY
aI8ra9DJaIZ6NQczmS65wEOG1O3pTX0nkUDxLRWe3HIyMfbcxzlwkZQuHjsri97irGLA03RqxUNV
PuTK9b9c0h2omhhaj4RnEBDbGn4xUzmLklmVe/z5huuXi9p9QSE0N5zxMCtkbrPWa+Ma3ZyCTluX
+Lc6BV63xB+L02KMgpERlMF2Mpl7Y7I5MmUVyXwOyFXzYBW1syFLQrRfcuhzlrLjx2qMxA+DBr3b
XBS2SSMotxzWQtNmO1x1g5tuZQoaASrXuNFLl4U55YIO+CAy2Zo72HjjDR5xW+dkuEgIs91xc/UP
fhuXmFr0sg4Y8bdnq9PEsUN80Dl6WcMaeka/4tCUI15jMxELr04gz9HqLYo9eAbjp06y/AoPhWhL
EmVat2ihOH0LF+12AUCrOVGx6t1ZvUyM1Rh3xfzlhvN0p1JXVAELAJ5ICkK4z6hkoMfWcgWfpTRx
oofeNZjhmLNDCyKskZLZYGW/2Hk97EqcYDeDM4wMQbvXNQrRKg0UoYNjZMUeCFZMLWVMGqZufHWu
G7JSPq3EYNPnxFFByf6BLQ0T4zVReDRwJFFStIycsgvKJnSMhS9L8WzZLBF3IRL+poC5fWTi4Bbr
zkLnLvDB3mcK1bcXg/yyZzkcsLzdAq2ypcjJ7ZwyEEINz6PTa0uukfbzoAntyyP7uhEoeSdR0Om2
4ABGrS+VYBvXLqpLR2v5W0m2F3yKrt0c5sV8Xxu2unc0Fe31W06H87tHGxeVLuPSLm310ERV8l2Y
hNmz2c3MhSno/PLrWazaTENmT8D5fmCShkVE9Y3bkOOoyG2G5GdIlc+PcS07rAYJRUt5qWk/DQtc
jv/YL/fO6GaBX/DkFxmqdzdxoCUNxy3QpL38UOmVds7wJ+yAAVTYNCWy8BQ587s3xjx3LsM+XM7a
jRBPUtlkDIvJY6J6EZxU+Ih6Vr314B6+GVG6r8JW0bbLy/Zr7jX7pGPUfZ+jmYoiyn83rj68OsaM
TValVnOkGN1+r0w5PSAJABVz+8La562WXwEe9RuwWBkaOt61JLUMbt21jORzmDYo2WXeVBfc+u2n
LbCP4nM0uwuRjnylh5xJF7NKbOhRVcUSanov5HGBmGWufRo001krPQPBMCXbTEaXEBMGVWz5in6k
rYEy0cXhq9klcLMrGg3dwVOPId4nCgqJ0y0qpTPkqklmrhOJA02vc+/K7DyyWbkKtEPPw+2M86Dy
Xil4nH/UYIzPU1H2ezE6NSphW3abyK/4+DpsantTH2hSZt43f/RtxJJjF/g8fToU+WSmdn5iTup8
Up/Nobrqh3BFhpHovGGE5IBdf5OKcW42Bu7TaVnwfaxJ+qXVrbmOMmCblWCp6RCBFhSC5HAkqAM5
aKQyWF1J0gWNsqM3yIjFW+tG86PJGObB59PGcKKMTknsY71hNLQZOk3b1Nx8+kVqcCfg5sRlppkg
HfXxGOeLWbj9U+/qKVkkTeypFlGMy8Bl4NbHsDURxH1yZla/KBKk6mpKERJbTetcpxJANmN3PxGo
X1IFh/1KNcmybEsTsTh11znFvPcgEqBsxLNG84dNQVZrcPcJVb8vsrI6D0xFr6ne9ZyHe63cZSmO
Qw6p8QtJfutSkLRug64y2kDg8pKLfKrsD7wYzRYu8rTO7I6ertjyVk4sWwIev6X0SuDrC7tPmxU/
sGJrzIrEmR2SuhyS/KznIc7FqMcJb9rijBLcbiM5JGs2BPuIU7YlRDrpL7mjIwZ7EZpuiC0oaJFO
DvlYFPd51RFjiLOIu7BFnsbwqhR+jub9yiduo0tDeLLZQMFON7TFdt/Ycr1TF/duusKlFRFgZo37
GOKczs2yTI3X3FDeU9lCctmXFYryjsSa0JcidxMsxronXibXHY4Fab2dEQ/qqEk715Y2tij7VZYD
5v1GQbIJDLMayh1jJfU8K02n0FLIJ6XT6AGDO6MhGbc9OpfCnROvOd0LRcrRMj5I0PYvTCph+CVT
eEzBVVxTETqnVtkxk2iyFGsdpABz+hnj28K1POKTU5y6XtB5tO3dbkydT7osybdE7Tkys+1ocuWT
Z31MewMsjG10obYSshueQGIaZ2Dz2ntpWzhPmm5m0Cgae/DR16xqy6rc96zvc3ttx8IZSDSYfAVO
Q8OmKozhx1pz6uypstvQWNqstJ9dOCl90eEYj7m4yMoBTQiAhfXLglak0PtYSchBF8tRwIuBah36
9yUgszyYqtZSW9aycFNRShcd+Np6+JhsowjfHWh3aisl1mscK9rMDZdPlk8TXEJUimU7F227FsVt
tbYHp/hI6Ohrz7HmxPEm9mcTT23coXPMpXApkHANWmiBdIzfWqsRLOIGJ+u147Vc0mx/tvwdfluK
4bVMa7DP1nIYd13iFdayqVhfXIMGtcAj5/dQeBxT1/zVVYNDxLWZcnpRa2yoGE6DXkdHWkalZmx0
nYdk1kBm0dw3xdsUn+8YwGFvwXApK98yLyweqtRvl2Eea89JYmoXIyNHseTIXV1L10vnA1Gh+qGt
8/RrJuSyIQrb3tFITQcRN4EN5YNw+DCEweGbBnc8OJrZYtGp0vmnSClbWkC66pgU9zFJGYvo7qKm
wRz8hJBclHICUs9OVBbuuh1nV6feE5roNM/P9LblBHXS2iUETv5h6w4kulCskv6Qm6N6Sm6VqLHe
ip0On8UJZKS6hZVzuJp0h/N33HUbj+LLEz4Lk0Yg8qt4btogNQECEtDz0wMZneZKEmre8dyW59qN
4i0opfwewTXax37DUAa/u/1U56X90+tF8dYN6tYlKxxiWBYjqeWtp7thRWlMUAwNyY98TFOCDWb7
3bFK0jfo+9jFJkM+JoaZrslcFYt6diCD5073WBB7IBPU29oC/kf/2E598gDqaFoy9q0ezHg0DjxW
BNm9uDhFoimWFrUwTzngBchVmThKy5x2ozMj0I3KXGbZnAd6TLhG1bXz45CIOPtROaF1zBb6WxIh
VaSz17xMIEagdzfZXumWCUdgYr7TZVS/J1k5vHRJ4XWLRDXpDtPSDRpRig9cgy5eulwawQjb4C6x
ZCPWPCnatctC7M1h08dw36JIBZYOAElVdsrcY7Bfoq6lr1WCzbvApYhPnnljFFFibiEgiuYMPIIb
BCkFbV26OUwt4mGRtegsB01fp4OYwE9/nHp8026JcdcrIJUscLPpazX08xIrQry6GbDfSHRjnJZV
rt5pqMq8NfKPtzf461osgX2O0u8Yk7jgJzWgXmiN8dWWRrUCdjU/4f1V2vo398g/ZaR5qgr++as3
5o/WmP+9+a7OH8W3/OsX/Xc00NxQzf+xgeb08flR/Y/H/wPg+5uewm7aff2v/0m29f+5aLC9CFDT
EKctw7LdG7B4+JYdX8S/cYjlCtfVdVDjFn/m31w0Jk4ZJEPdYvxn2lhRfnfRYLAxdAH92LAsIQTP
0D/jovnNLgPCL6rK2/v83euCY+cvXpcoo8K68Rt1cJW9Dv1zVlnP6DZDdAt1cylZM+O69ioYDl15
vKm4f/gZ3f3LC/yxZOI3jPjfe92/YLDx3skOirk60FU2gzo2HvWhOpfRsxF7W70xlxenaz/CvF6J
SKykS1t2tUfs7e2Hptuy1iyB+SzF/E1BLu7Pcu1PxFfFZYCmPGDVcX3aNTNqlZeckw43lOg0/vrP
37v5Wz3S33vzf2Hcu36vijSK1SFLdqP+nTq/8uSds5495cu0fHOYi9WfpfGD30R9GmIbR6t5uNPT
iYLnsz/dDWw/bn7W3pJf/K/b4KKasQMfDfN46rR9UzwyJ8l8DixFYEIZCBcDsoZEetpX781Pxuju
NqjbMWfZlqfyXaKHLOwAykzQbiD7rZ1VvZLrfj2u5hXB8iODnEW0hiO5SpbaMl1l6/KiLX4h7i7k
OswW8TE9mhPm6HUVXmn9WbpmYOZP5nAe2UObXWi8ifqc58/luMe161rPGRamQV8P+ZXOatCULEsl
UTYSnf1SqgvxUi8KFMHmfP8umcPuSTw5N5PFAjuBtcT+LJhtVfwDiBXGQHjuJvB6I+XJi8a6z6YL
7IuKdU9s8/aJF1Q4PVqyRVIsIS+leK9JFGFs7V6aco8kbDlbo94Krkf2dlR3TX/xIhbAja52lvoS
1bQytUWvtgUozxvNk/Te9BAP6A7psmL2syWjWP+KV/0zaAkne4jnEzxtkCiMQta5v8LtQwdJtajX
eHe7Fy6OQnLRn1Z2e/FvYm9g7KsYQZeoDwOl5G0QYmEOC/Vhf+qfPas6FyicyjSgL1CUwa1heEes
WRoPowunGEIUlLdP1EfvF13Fb+VG8oOVYqeN2+ExeR3NLmh84zoIdpDoLMPNJJ9QhZYES8AkNqsQ
sE3Gr107JT28AsgdISaJD+qFCbO2m9xZ8XOK16PLyRVIJweYVZxvLfeACmq9zPyXv+YwVcDi3SXT
S48R2croNt93/otUQROYgVrLnbVG5Hv2t+beCfzACfS1v7rBvOxN9qtM/gGk37hR3P/dE2ajN/3Z
gjcyKo07z+8P2mN+F+6bvbGNL9bZOVn78jyey315Mu6Kf9CLZ9yY/3/v1f7SBcBdgLKMjFcrj/1L
c27vxsfqHfbAxlmn5/ZcvE2P5bo9eefq//cVb3T7P9DrgUjDZyAxezAu+j7ci5d512ziS3YSR+/i
7Lm5HcXWvHpn6+k/X7SAt/y52uJfbY2+f/tZ/+E1FVRfYzSc/mBdmmZJGB4LBVwo4+qfk/24E/v8
aURwR8F+mfbGrtmK9RxkWx6BfRv0e/6/oF1ZO7kvj/4nmL9je9dd6iA5lHcJYAXqzeU2/r/UnUdv
5Fx6hf+QaTBckpdbsnJSJUklbQiFbuac+ev91HhgYLww7KWB2XzAdKurdHn5hnOe4x9xSY1g3CG2
QOxbsLkWw0rHtqUvg4SJsBep+Ii9J1kjW4JCZyHC3EM/IivqvjUwopdoXDB3AD5XTQumDvFSW+II
t3FNeIdTsbqA5kDt0U0g5D3zUR70NWr2ajy0/UWt6fdXZbs2QRYj6jg5w95vDkiT2bSllTv9nZiU
8rHfEBJOf0eEecwKmLH+RSTHXCpbZxeViZD7lHh8Vdfq5OzvzRpLE102nl4Gx8mx3dDVQG3uHiSI
T2fInP7qKawysVrtgi0/4IXBFcO9JRsIuWDSCrkWOpPgKsGH1G66YCX1dZXtuuqPw+1blH8doPw/
BIW37NHyvwFzUXsj4834ox+HvfKRKJ4JhAS+25otLtyPDpD5H/Ub5vAWkRIE63RR/wTf88dgu+jJ
Rkrr7/GsXtDVcWntx+Sz7xi3LGoDahPMuwU415pVdLpRQaX7YN+WHIiGraE7/0QnPLibYFO9GdXF
Ec/3CNJQWspNs5/2sASGd5Y+V/WSbsO78eiWiYuHgkcyPRabzqt5iNrFL6P7hbXC0f/inPn2tYHr
ceW0XlB5PWdFX5TcvbhHtsYiXSXrfEMHvpxd4c0r/TIw7vLkEvHPMjmh9Va98gARZOW8qH/D8z5Y
xG7tRQt+Ue7Aj489lFePaokD/81KOXyutogNVyyHIy+9rb30V1AwdnzEcotwDScgh3/Bmxuq3fv0
op2CzyZZt84lgJ84vTU8B8E9p98pUjb3ljfl3+ofZ19dy4/6g0NQ8b9kKeJ1PS/qZoP1VjCw88xl
nbl0on9VZh3L6DXdW0B6ZL/FVtHeSXfwwhcMwG7xCtaIP8pfYOUe+xftqk43ycT7op4lE4D8asqV
cVW3yqX+ik/mpXpol+lFHpQlN/TSOOjLykOMuWjdeDG7d8uDKXVVHsjbDs8vU/HYvO8+263D/xs7
kJcv8lW4So7oRNwPYFCr7m6t2nW4REu1+hi9n3EpV9Mh+WXsEX20X9E5Pfm37oEejNW+iUDknOxw
vj7/Npzzu3nHO2uBVY6w8K/EWLfRIiYfoFowqm6GpfYN8ZDE52ViucLak6vilpNg68Pj6YmZ8sK1
pivnbuQdjDlMUM25juus8hVLDIYDv/gRiof65A/upTV4VIqeBtoOuYu1am7l0cIiN62Zw2ULZV0c
eBKZnuPOXpYh/fcBWv8puETKW/EJW/bQM+wEUZothr8D0RjOduLg65DI14TmqiQqGKvRWWHMMBsv
+cRfu0G1tIqplqyt9q69GxuxbLfCdOU6bbbIBE+Mlk/VCSvSm7Kfz8Ol/9FNF+dcE3p1teCJZFMb
cpLZQWIK/YFxl110i8EiDCI3D9cV9OJ0G6keVPgIcqVzkMm+YxHVLZrxYhqbutnP7VknFEBFUty4
YHrsdKHPEA5PI+ql9agth3FXvue3ZB/sW4yTu6J807WP0v52kk9LebcfwZx8sF3esJH0I4icMNKb
ezD9hXOZx8v4Nb2kY3tv8vSbTceyhc6PaAQRMf+OTXwcyVz+dkJ3tOSS7QVDD2gF4a/y6O8wCd/7
tMy8oqqe4/GDjQSx1PE26k/eHL/4xK3+ZH/kh33Vz+p5esnm0e2o9zD5/rRfwUd77S/Bo4IrMrRr
hnNLfaxQJMFJoSbUl11VbdLW86PPIF2bOYssyvwSsa+HsVXU2zABI7KIKKHqK847r73JP+0vfluq
ZgaJ5LJ3p/ZFfFg3ipxuegjF2oLzZ92lQ0iHrcQdAd5m+oqil75fB/3W0YmpWIlr8Qv2rEeWzFrn
Jt/U/jtpfidtqzyyt/YhLionrjfdipwDilsshc43dnSDFT/fzzPgIPPKEE7729ytfFTRJW5nvkOq
T3ygdj8eSkphXFBHp/k1HA+zKijscsBBiw9yG76WKUh+xD7tu1jYR/CQ8+RGXNtcsqZXkULmXDNt
lft7oz1X2qrEOIfSRF3We6pntpjWAczKS3XzV6iSwjfQ++huUnTLnZdPXjktWEW0JaUevB6YnowI
FwGsy35PABNY0UEsRyaqGSeM4fkHbzc+mn8QC+fi/wS/T0E29DFSaM5T9mGxgwq7VTp5yrTtxQp0
DzgfqswhWKsGY1AQYmj+XBRwNBnou7Tr7FzMdo8tjHuO32n8F35XctYPzNY5e+UmrL8MY5/6h0x8
Iy/2aQDNLbMMejutfo1qzHeABp1hk6ATAbCPB3IkVWNhansDl2D6reF/tnRez1YGLNgLk7eMYbo1
kjRx57VpU8C0K+LS37gbL5g0Gp56ZW90J7M7JRexjK7Jl/lSPoziMwV55xbv0a14MV79OXC19o0V
YLFtFuNV+zxzJy1br3yNFkW1LCs6LbjVIRZNMCbJkkWMGXh4P7FdwXaRQ4vQEXbPQJLBO36xfaBp
rtr3nrqdeOut8USeQfyk02b6DoqLfjOxVUM+AQoBbu/e3UhpQEAj37Wjeq/OaGfK2WOjT9cxAtud
3PEy/BgT14TLoauiZZ9u0RrUXrfiQCY/xfK5W/TEu32Xq+acEs6xxmmMYQNnXHJrPyU7W3XFFskp
97a41+UeSBtKMLaRrGebTbzJFtW3wPD7Cj5J7rtbfkn/KPD4jpxwNrFP7jtKuO/ob3wARIKghd3w
a3hI3v0TWALFYArlacGGhev8W7071GSIOcpnYaPrkPPRXpFR4jIlr1fqlV+zfC5bvH9D7w0ryU/6
feTHA8r5yVU7Y2PJ+KI8mLa/IjHnDZCA0kV7CH/tFDdHhfwlf1fTLjXNmz4uyKQoV4PSY0vMyb9Y
qOqwLnHyCuVDq766NF0OXXZMUYbSTjvaA3bcciz+/qP8/j+Nxf53/rLTF77fv8X/i8EYnqz/YTBW
EMOSRl//Ohfjj/zTXaY5/45vVYdp8V/Tr/+ci5EAawuD5C1D13QmYBazqX/OxUyGX8IhJlqz7H/6
zv45FhPav5uSMZZkoubgDBb2/2Usxkbyv0Wa8dNVi8A0Cx8O/wpS6v61a/JbBaGQamfHUIQgDWxB
wIQHbQcUXaUmzXBsCD2JjIVVVmwz30ayvpm6gPtkD9BIXSlfY7Bu6h8r1KR8wf8Nl7+zpuGbRXpm
fyWOX6gb5C7C+mJ5PGhuURnkysaYaucdHvayO4PJSXJsxaJeNJD7eEDa1EenF6sDJiDUDgGKmFpD
SZYY5FmhYLIaNJlKdE8b0/CA7AzZvWnAnZwtLCPZQXFEekUvYqnkFs1siYM8aS7Q9cQbYJtY2U2O
GRfoLWIjA6Y4ds2GYAGTsXaiZJR8HcwHQ3PzocmioxbUwGkt1pNsVR2YVxVujZH+ZOzi4EZ4IisG
dwDa8muVOAP0WIOwCGmMkQir0Z6rPhzI4+q1FJdNnrf5sYHFRM/Sm4UB+wAFCyQHmETWntW1igEv
LrL2wRpZt0+E2UThVq/NotkEWqk3v8woy2CLkZ9QD6Ub0s9gLtlKJ5EyvGiFQcUli9COXiFLF4tM
NaHe6RL3rSWGZt2ZDRT1rIUmOce6uA9qa1crHHjo70Wabpmns2eRgVnCMsBzkOte7A8KxFATHsKf
CI0bdVIu8nGRE7zTukHWwFgjVkBHWWJF0pQcCiQPq2fAwyloO0R+GTNj44CII8a1PYZEkixL3G/P
sRocaK7niAWCD5SgBtVQ5BDvFmhSzOaCJ6P0dwKzMjvfSlc29hjTMw0FNRcnj+Y9fco+dHtMRLXE
iK90twxh47TupB1Rk4O5LuqzKcsAtZOZiedhaXusuQsoHuTfoXLMZkqsRjZDe0plpiXvlYF01JOV
D01ZCkuXGxlaoaPCE+ik/AX8lQhiEeJxMul8knJy+4EoSdwZrHywqWSmvcBH1Q7c77I9zFo/iA+N
k2C8D0gyWdXmdYbZqx/RWjOl0iIzR4mb6MYrMiSVIhcIt7VwfJti1uxzP9ui1hrCM5AEg8C2JKkV
QOd9ZmI3yANt/BQGala2waSm3dou4+U85ZLQDccK/AD4tkBCPKjzaG8cP2JjjAwerPFo6hFVt5rD
iEe4Xw5ej+Qf2YYx14r2qGWHN5QEF4d+VuOTT4sxBRvNr1xPRXxU7RrhEplhgZyyBTHWEAstpOsK
RJgSxUS4EKYYa6J/c7jqJP8kXSMMuJQjV4EbFo3pvDu96uAfw/4STX/scCzM79YWA2tH+MGJqrlx
nUDcctWqN1sCi4vSfCsla1XAz5MjE5rpxPLtY4j/QpFAkoHFrsrsKbHdRd2Ts7vrFNvK2PKy6zdv
1hzJcT1OQ218lsZEN2M4CMM8G9qudfdhV9GKaC1o4jZz+vS1Rx8FPDQ3mmiZooGHozW3/tVXTWoB
ofsiwzqhIlX0DURHewe4MT3iZEa0koZiO+egAMnjDTExeCA6Mb22k1AQvIRKhvoRv6HXAAWomAML
cc+UXPL05FFMUR2pJkp3u4mMhyWLiYvRjOpq3U04rx5kJygF0HlV0Mf45fSwiNCI1tWIh+5eFdNE
iYpOcHDJdRKPrAAdXo3auBVJ6NR7PyENpxkb2KwGMJoD+UfIzeKK3icPosBcWwXk6cQl3VOpKBSi
/gpAqXhUQTCfjCLKXQ0/2d5MRf/SOAVqs+fy/EUg2qT/Z7RAfkJErmGnUViHJc469uzKRzAr7UfS
0AIATzEcJg+1bWyGwZK/KtRM2mH+rKsilaOYbPKdNWjMFUok+VIr/ReAmWgVECoGb3KyA8q1lMUD
yPhqGY1zchm0IftDysz88LUI1S1g0alcobMdUffONQtzn0NsoHLRS1Qp4YhWaJpYQtI31OYRB3Hx
nSiJ+khGdHRMuipEwkTQTjcd/czRYt/oYnOcyu2UIxlAZysApvtNB77Xg84uW6xBTcgIuvQV60j8
Yle8WG3U3QrN0dNtMTQqf5VpXCejCle+juCzg4HEXCIvgTpPRUbHogKHPKtzek+Sjq9kUpDvB60m
2bj/A+OGc5sQJOhZgxfWSkNaswIYzmKN2r5P1ZC8BU8Kw5LPoHq+A/LaCwJRHqtSmz6yfKq2A0jj
l0CV3AsBEqos0MLr2KbKjqCA4IAqgfsHgswe/Xzt34Tolf1EKhJcEYUvJDBrwOR4TdLt4Gt6s8Y+
SLOX5Cag68lQPhDtMB3rhHOGrYsAKW3lcRjCaVcnbP7DhjwTom3EQyLQQ4M+VfUe1+zMJ2ia1x4T
q2vVk3KUIEw8fTD1vSXaW4Ncl0OmJwATJqmxcmmQjcIiYwTV1SpnmSXwQIbEr6WUmyhWwOw2QXKp
7Sa+JVhSNnDymW4YCuO4rmYChORWPlANpR/6xK5blYKzA3lj509l8KHOiBrcbh5O+phOe3/oS0yx
Q7oVKS+QwQ6inbTR4kUE2LB20/HFqHbaFbhuiclDmWhfLRJjgLlYFTt2e7bcpu7YAdkoiNxEjPGX
iKXALAYs11WzWnFoaDpOaKo6N5S3MYZBtBgA/OR+iOdq0+UTg9F2Tl4jpSdjMfMZPNqxc7IGjIQQ
N7QvHx2VO8BPvpE2o5Jo1SfOQ4d1TccSaCcbvfwWwmTriXYmzbMwnBMBXPIrwPaYpKB0S7+1LzgH
xRqEfLcvM52VhK06l1p1kqsf0WcDgWKM1euK8dIbRXZKoyokMCM9V5HAPkepSecHQRyPK72Ihom+
y20H22CY77mMCUJCWrdGPqCu8KfAaUKvv481Mh3Y4Vdy7xRhtBnt3r43WkD4AKq0wygy+6LEfvau
I0bYORxLrkvG4MWcnEUOCbUkYHRlFUK8B3OLT1+F7kcSESsAVdfuRTGfplHQSWOpZOMGdvhoOZSk
LfarWCsB/lbiw2z7nxAu7jqwDH9lpzFKYI0ZBRRKSHFq8NPijL/LGl18xGt1E2dxyn076cumxLaG
5mSXtpF6KFs2CY6RnSdwVZhg6LRwnZ9sA0J+pbCRmqVfrht7KA5Y8p7y8/A5y62qIDpzJgyWhZHh
pGvb1yzjXMRJfRKdH/wRthN/GkVXXImUqUjaaYtNb4XTIfbHkract8XIZSdxrGUYoX7zWavfKoGX
WDWFw5evnnOgOHzisblJ/YlF5KZZgC1fWXION5CjgZdlTJyyebABqDrZpzEbwxMdgDAJvqWIzwEZ
XuQZtKK9lNSEB5LjzX0xd7is+IpYWUKsNqu0NoEzhr1kSlQ7e9Q78zZH5UiLb71S98bntgFxk/Rd
Gm6MEfiBC5RgAkFLIq7e9sURlg/BwTEnFpI7YgMEKL0BqnD0wZiSExgUdg5dKPyrKFa7noHGPPNO
J/PWxk0I47BXlK8OXcHeT5vuVBuAoeAqld2K9yujWViXP+HE4lxINQPHVFevHGvp1aO0qEjRBeST
5iwyJKi0Qw1r4NHWT40VE/QxMlBvx6A4Fia1m0k5tC5isIR6SA8QJU6Mvl1nW2jQtaxD9D0u/RBV
IaEUbhBi8qrDDk11GMl9UybRew8glQrb8Vc4mfLjyDNXjzpzsVw0W4Wg4RWiuwZ3hcFYRp0xJSG5
8+lAaCxcRbfMz6CvfATgSbefBHfM2Pf6B6rsfqs2Oe8OK88WiNfzv6CbT8DTJrSXU33M8rRdhDa5
jbrospWsmnGvzdVLKzTtWppIs0Sa2NvMmeXDCpvXPATVg0QNqVeYMoCepeovKiU/FJRe28DI0Sep
Tr6GcZ7jY/Kxqs0yXDuskG+aqB5dkmFK16nsu6bGBZp1XDhjHvM81vmiCUfDpdeqr0EQpxuTQEnU
ABj1sF83pwoXLl/S4E+LGt6zNyCOBJRHxIweOP2uKdlNtSSwPrqh/aycMN2bSWRBbcosHvL8o0WR
TVU4q2uHhKXUlXCHhwXZA+qiNeZyFVu9PEBE1/ZhhE6r19g3Q5tiMJ5wiPVYvyWOLO95hCgvQHn5
4Pr9zDGSrIMoQzpuUdsoGvkjFVBZq5X4jK3miwM2bVSqw6U1ieI6FaVNhiHfdW0wNB0tPzlrDuSO
rs+zo+hCsaAYgL85ljeB1xYJqph2Zkt2i1o/+99MiL+pwSJw1rCeTTMDRnVi/JT1DSExCq9xe2Rw
TT0Moo0LzA0qM97naUr+cGzMm2lmqN5MqIddQ8+AgyPqPg1DDhAR146/ksBKdxq0KhZPM06mFOsW
qUp2TVBdiz/THsujLIdkmzfWsDRSp7rR5ZOPQ5nxPNZDRmvEcmkMp4sRl8ElKKRyg50k1jOSzn2r
gnIHKfj0k3GXYhauXxsldL6cbigvUUGfSIdKi4yDrfDkRII3evcEp67NgEttw1tp+wnLmrS7QV/7
aYSDuUMv4YDEQVV0bhGBCTOBjvFlwcl+ga/FtNMJxitYaihZ0oi3JFjkrzS7/cckJ/Xsg9/aJ6I0
lkzYs5cmtOIdFvDRTZ95iNwO2brJx+5kA35g+Dq+C/qCd6eIwk+pY2Rj22wveTRZ3fKKWQZWk+7g
7IlLUXT3AreIVidEg/XxuHfUsfpKrH7e8ZrpNppaio+oY4n2RNW+BH0xvpU8LO9lT247YWdUdWHY
kRpQK28VMU/LyGzSI+pLwtnoo7+skIJATkiV0bode1v062Kygr01j8xmVRrtXIbJzrBtfEWZecnG
WLACaknJy3RyunyUH41RWA86lPE49hrBHQZI03XLPbwriaBA5FzfZ4edyWzq3J0BdJNoRNTutOF+
JHf40GKL23ZJybTjGbVM4ke3KAPDXzi5duq1xl+G9vxaGnm1bPNA55ZinBDV7QsX9vBnri2yNLSg
RIMeGHKL6/QZjQwhQghT29pjexZpp61tXfRvERjGpVY+XyqWMwJMJEgwkl219vFg3AvHuhDHpXlh
rgdbEnRGFyqF9AxJfGtUAijAGKodHbw5bjHQ1yuq2p1r2waKFscmy/1hcjIv1GoL2WdQ1QTRpClh
LsbJLsBm1iTRLC1N/apUP9gEMgL7zG/C1ePe2sR1VG/wi7DlrdBlIcTPt7zPuz0S9+kyY0a/+DKp
94AQ6D01o6bQCM0dHz7fZQ3R46ZRVhSe+h1jgrF01G4XaYmN1lHt7lhrUxYJkXLH+pxdVRV3Grxh
oKFBJT6HZJq9vAS+FOU+iAShNzYjZSvaVDIIXpqULDV8cb/YwMI9TsUJwDRRaTrt7h8C4IynVyrB
r8mAcJdmNZHqEUXboiA+YMnQEpoRz+L+acqh2uzEQ5dz+ZXOFbswyaRxwdymIZbTqs51XbLFpQ0C
E2knz+1bJIKNHeCEIGbC+lZJi2CboZhLKHIW5Q0eMSsaEJdWU93v8HCpXguvb6FiZvBoXfMdnoTu
PYvrJ6d0sM5NWGnrVMMNqdqm/8YrmXBpw0q+YsNH4jVj4yrQH1LLF/EeaSmcGNVHHBYheK2kgc9J
7RBAUAHTMJp5egD50+/FYEH3gQmDTmJWdoMWH9nj9sscZD6qp3l4oqFzkhgDsrSBQKiksPl8vw1Z
SfCigydSIFg1MG6WqcbEDp2Bk52jMdLY5j1RB3GDd9YyzK86LLWDHAi+qsaSHrqYDUSsDs9tFFf5
g3DT6aiWXbLRa1XBmlO1ZxMfyHGacp7UMUe/nU85ng3saA1eqs9JhJNDXJXNVqmV08sIG/6dfD5s
CASv3AUBTroLpqQ+puj5UINHBKVMxrTmBYJkCoXfrwUEz3fbLDPIhGKTSqzNeG1i+evb+nzIxnnY
6iFjGbcESL22s0CuIqIu8YZHZIXS3h+tmj0v9IN+peTZsLQCRdbMc4YKz4afy2VsKMqFmSlzMAzB
FzOeolsIittl6myu1VbMgBByK/LiTCXsyTKAGpGAdBmgHe8VXZXXECrOwUksoN42WucBa6ZbOj1O
V4UAmlWb8zZ04gFbKn37aix7KOFW8VS9xfgfW1g0TYztRActQI5AZfDm0w12KVauJfSnEEKZznfr
RLbDq4ZIGiG4YeAY82UH1bYL/QtOz2mptOGMkMV5jjkTMlZ4J+ER+S0U7r/nbJfZBAMddOvIvsMF
8buYsruiqz0DE+CiN5/+bBhPN8bwY7Vp5IgIiMcXjn2spms9oK2d9YwM+TgMaI7CeqlnXTSvJrtv
vq3MetbPY6d9KU0b3kH/ktbJm2Z4DYk0YBRVyDUgLzTpGnJA1SwJjBSI759UboY//mgSUQlVJUac
Mn0NQaqfuoF6U58EFaUix5vs1HSZgeX/U+Bx+lUjTfDPsLVPdLLk1jNhvgirdA6QihSNxh1rgrRC
8y0o6NSBfxovamX3bNTHYGtZCuPxTjAw1lQCcsiwNNZwZ7GdNlZNVGVzkWlhrwSnkz7VJJfMghdt
+fpnZhFhU0YUHWRC5+9NPyJvxxnlZRVpb201H7DP0Z+A3mDMSHIAUX0bSts/MuoOSgwLiKnRj6y7
E6jlBEOUXWvn2SgFgkANrFgyzKswTlTkTnOyYOqs70giw5DEeXSpCxBLTeSIgrpgtCDfxMiFPvJy
pWYpLyIqdmX0fFGkykXHfeZSvN57C+0J2tsgUD6awqByIhPpI4ur3wDQDsMKqVGBxJC6hZ69TFrJ
WljwjVNGVK5gmMmu3mhv2EhZZzuFTL3BT1BFwXpeKUVLy2sl9FVWVv5tUy19n+Noo5tcmhYujUUI
0GnbZyGy1yKKaPtzo2brb2pfU8V1QWNurrm2b6NgHmEQZbBgmHac24o6UG2gnhJvc4l6TBEJpjRO
svqo82B8q0KjXdQqiW4MzEPC1Zh01MocneshLA+BafpHSxrWstLElRn6a8Wud1Uqyqs5YU7wZcVi
Hzgcz1MEgnWUZ/jxe3xQ44mxjeSk0YuOXX9M7Cb9aQUXYmeXI0RsJgp4R2iDcIVsy4COVJ9IsRHj
0C9bQiyuMk7kp6aB/x10h8oNZ/V2TMbm0+h1tNG+rtNqk2+FSz+/GQkRFfOUNFu1roaVoNnb+HOh
PLEd+oqViXO2Ag0Zk535LiEq9ktuOk8Wft9cVRynrOfj4VoIHsphlpobiqB982PEH7RC6fuQPC9Z
kYCIybSB6ZqZaQaaDoAcbqTwEFe63mzUCX4pkOxhHZcAl9zuyVGOQvEpNQasxYQEYmjJsK60XPlu
GAlc4CHVAAc4wB0snl2hls05ENm8boIpPkrfHO6B5ijrpzEIpawRMUWbLGMF5/Af9zlBxZUTnwcZ
dkusPvUGkq95ZxFVrEsGdrvWsKNN61g4JRrT3GYaw2C/SA6D1QTrUTKRFgUGVU3N/EOdDvOu6ykm
cz7Wn1na6PFwSIKdtUmkx8HEgDZwQLgq8XUsQu61uLNWkOH8V5TfTGrjCqnPFKJ20eZ6uNuIQxFJ
QUHdN6nR0kv0PAm4wVBWlRr3sS/MY5+ak8qLbkAyRBbThHJaw0TX9Baqt7i0qO1AzOksa44swRi6
kCd1ShNTD5YlllA0gc2H3RqQR/BUGxiHU0zXvFWWYmSKpPYjY+6ms8+qIbkcsCHk5Hc6MRzi8giK
n1kc9DWhJzcfXtLZbHxtz0DCJ8oJf9WGNIPoxFyXpM2qi+5tCSiwBqPDJaYAtzdkBTagY7ruGnl0
j/r21vlp9lKASsHmq1EfNZpPrZ2OwN8Ck+kmwISCt/5UrPuoI129TYvj0+yzQW9EB8+e6ij7LD87
rRRfeqgw8WTkMV5jIr0hx0oyQ/Oh35Bdax/YumRUgJ3BZNYJv5Wp+8qTCiijboT1G4OpOPAcwwpf
Wgtllgkaa1eWvAqJbQK9khRwBbAn11xkpbOYVZ0IBd1Et8HwlxjkIQZo1CPZCKiENrLSLwAmhp8q
I7Rn6h2F6Vn9cHSaEVc1K6IVu+abNN1hS3s3MYykSLKdlHA99r6lWRx1k2p/TmwUVxCYiYU15mlc
6sTSIDrjBzG8qWu4xqSsDjNS7PxJ0uXl55flhaVydo2rgPrfSYRxp7G3BKCtwnqfYvxrkVcFfV54
Da9NDW3RaEaerkMd/cnajomKog/sYKQZ2/AubDiXj7zqcnayUy0qktjTkgYLwFOzNLtI/8Fo7rCk
bXW/PwvIR8SJ+/oViJwO+CezB5gEhUY282jCC/KcyGzVpwMeXrmeEiocDLpxbdoqLVYN8PvXouYN
z6SygOM0TvmZTVy+KkYr2CmswYJtVOVRi9wG+tSCuBb5iaOMKB926/x33pE2xLuHJCt+0e9dGyAv
nRW5YzrWXbgymS9oEkWegqMdxU6V3pSpCX9s07mAMLS/J5ZDSz0EXlPn8lxzkFwtj2S6aNh1XKPM
glvgq/500Iq5ZBeuNcZd0XXySWYCILdlWovuYKZ+8afIxXBRe5OnvqdjG7aKb5uXOgnEIwoHQ912
cRmTbt+kaIZIoUDimEoS0man6E8C2NW8UxkwOfdEyJqpTsjd8GUIMKLeQKxTsxQOWbykAbFW4P6l
fQV/ypfYMUELeXWLpDw1YaswkcIKdoPMbVrEPAm1fw2dpla2aSuC8KdVREeTpnB6TGAatChN8Rc+
lYg3luB7nQ29f+mnIILqQmm20fom/5h4ea2AvyEmy1oTpV6R40zJhy6C4R9FPZNTBd+ipZgrvjBA
uYpaow+DS2Kl+q8YuNCfV6JZk7VB31dtpFKZJ5NWYTu2Q/dNyUv0k1E/t8xNuhBD0i5AAiCXMpMa
OAzT4mIe1A30E8KTI9IPal1kntob01+HF8Et08HSkHneWq/StMUloaj+UYHM3OdhkO8qwWlQaCPb
wl7PJpdktfDQ6WAnYOH5P4VZAhqB3M/N1RnDeqpY1bJ6N3H6N2l1sMiQZepVMfl1JaPmo90Pxm/f
VNmmr1hOJUPzLvqOy9SodmZRAW1tsqa6tyOxxljdScIMU3XRNM/yatD1j6IYvwLS7PeRpREvHZst
SkfZnyc/ZM4TBVS73NDkIYUUm3rcMhKuB2un+r1cVzmP7NBT9WacIg+0fXEhBVjfhIpVHEEScoQV
smzgMrT5wtKQLehUBseIp3Kb2dp7Oob6Z2Xp2ndscX4SpQjvIzjRk1OjXysddilVThAQGWww4eY4
udtJP2/Zzdwou3XE8GQ6Qp2A5Z6QGXLEq8wWq+snucc3KjecfvvWET72aiFMvcgCjl6RkxTpRrlR
LDqlxFwd9GgYiEeE8Bnb6gnVjIENqujfZdkk94AYkaOKF3aB7KE4guB85UbS720FaasjJQE9WUvP
qpM9xM7QeGYoxs9AVL0dEGwwnp4ts8Bb1e3UwbZvSkq289TPV79Sf0EiD4HbRgwdNKatu1ydO1o0
02G9GGlLs5j8xcyIwuPZzVGFMIir2Lq5qqaSBKrlpJHYctOoVrhNcNTTcRuVtZq5vLyRS/ctGfx5
1drFzxzoXBlcjoEre0u/Eo9VeKSqFXeIYDb0mR5bAqXN86FL0lNVIAawrLAERGTweAUGxX4wkOBc
1WF4rLVKXzJY+iZsHp4X8hjNS2U9ErPds9yd8AZgs242PF76hlW1CX6IIj7lIBJYN8vrJEFyQee4
BML6D/bOrDdyI+3S/6XvaTAYQQYJzMxF7impNklVln1DyLVw33f++nlY9ve1MqXORA0wFwNMoxvt
bsMVSTIYjHjfc56D9Up23ZcwTaMfbTEKyGaSUCuvH613bVkVf42kiD8MLAHI+Tzx2Odt/wOdwvij
8gp9yIyYCFxa4kp2IGRNf7wzLF4zsoTuA0t8jHVHaL3nb/kqQG61ZHpMfA+5I9pG16pQHPIbon1u
1OUHWlFQDWz0J9KQycofZus+jifcOen4FdTvc0/Mj0kIlZcf5jR5dAhkxHLWVB+pW4IbgLMdPfqN
uAtcbNxbRcrMrTeOqIjJYpe7pQq7MjQt1ojv56G2chzUvW7oBo/0AsZxQPig4CQlsghvkyB+csMw
hISdxO2XBKctnqfEfmRqIEesVAL11XEOZLji0+orflI/67sO/RhFP9uCtjwjgM/QdJpwTepVn0E7
WlUeQEmLU/k7T3nyY5XFe7dt6s0kzeGZWW9sZnZoD3HRJ9vWQ3ESkkJFnic4frtg+yG6Vj2P9AwO
jiQTlQaQwNZMy/whMJLwgVbR8GhToz9GjY/gvu3ZIVQJjhcbPhbmNLjlvxe0EkhJ8J7MxndutO+p
27qABWwkQfid6gf12JA0DLHmI5TTXCkGO/xWqAxrhB9lc37n9opYhKQ+FoJ39m7mZnwYjWBu7lDh
OLsgKqZk14DAAXAWxWuDPuuGWUa7qpmrB2aL/weERNJ8wzaUH+rOaSnnKYvGvQEIkJNP2h2AC+ij
WNiqiaGcg+EQEgTutL1znKiLvmQwpm7MOVhyfmp7nxCwtW08C79Y29bvckEs4b6m3TJtosrMxQ35
YKEit6ocAnhJicJiScM0JuDYMo3xZq5QbuzokCADd/R8R/ocSmcBGqrftbMjoz9ik2o2bkFjjIZ9
S4ha+yNzOyx/vkDdtBqmtIo/EUVstfgEK/tRF6jyNiqcO8FT4lBjflEkF7qfhAbjfWeAcuCkTnO3
j7ZeZoJopGxFVMJNEYy28TjIyHbfdQmqo1uVSQi90kjxK9RJmLV/tZOljA9oydLgE63cAVJCpVT7
dVJenyADi2CJPs1G5eOqEC50RpTd1OXNfNWTLqbDZ680RfIjNAbD39L0pQ+bJvPBZgd709nVDJ6g
pKxB/Bb56mS1vs+tcV6bLsrriOLyA/WYGS000sJb4sqm9yCF3EPoNnV4nHySIDatQD0zemWwFRUM
Zr9D9d5HprfpTOU/tIh/c1CfeDoIdRXJXUyr/Ae1pPpPDUT62TbsVFM8s5xkk8fT+J0KxfRtLgdx
02K3fu6FbPXNkBUl2LmJw9YuJxFa3YxFxZybGhvoYRQa67LAmKBRRtGy8cHGIlUzzH1mD9MPJ+S4
NCrls1xP5LqBDek9ewtfGSvH6Npi17qcibKgKw8235JxmxW1zaewo91w35q+9cMFNnqsAUMdkpHo
A5LA6smnRIEQs1jNpNfqTzbhSi2xfRbYgzVNCXv6YEdlEWzajBQBMsfGIbKeugoKIDAnkYzRN0Sf
IdU0y4nrrn80EqdIP0CYNQNEcXLSXfWxhABpYJNLVYqSK3WrTr9vIxAdN67nJd4uKIeILbbrtt29
skpTxsgLTRvNPjqRgJJ/2Pmo4rY6jIr9FIzp77q2GnfTlt3YbDSkqPeUtAdi1DUhXPh1ZN0SfE+i
LhFAf+QFMfEgZpYUXulRRZo2sGVpNG+LSWXB7yyOafJ703D4Mk3VpAfyyoBlkCHkE37be4A/Odbr
FplGWgR8Mw0pg3bbu0Xdf4iJzUwe0RDJFqdA6ffGx38tSuT/C3Ls/+fiPgRC5f8syj429fP39ESS
vfwDf0uypf0bJ3rLIz+DKaKEwpz/tyRbqt8sRyvPNdFXsF22/i3JlvI3yzOVZdqIuemsL2rt/0IV
eL/x8VLIx4SAcmDrXwr8gIiA5PrfNl1tOR7/n+csfxQ/hU72qSRbheRpat2SaTkCHlmCCuanmmSl
T+5ozU9+0fl83f2++c5uqvySW8aU7thdD/qTDkNYH/T1BM63JANqOWcOLYfQWDiFCNveixYUPF7g
7LGPIxMHa2PPWL6JXfpiJvVeY78mE62XtKBtRR101cu2sbZ+YVQFLlAX2YPSUzfQOy9G8y6I6aZv
gopUoc3IOix25COlt0pQlUt1bEFqqTusj5kJZHxQpIate3+CQFQbRfVdNbIhEC4by/y2VYqWWmax
Fd9DwyysTSUyVTxYkm3kcSjCMt1Ojde+o4/jF0e/oct4gDjW1TspOzikQeR1MwRE4RJJmWuglE5g
IkQqEkd0B2kUHWeuLia+KRvi6q/RQRS6isacqEG7SKk+lYGbL7X61KEo3LfR0ZuaBHKKMn3i3Ckr
Lcort6MRmdlg2yVGpk8UFP1wHSwfyeVMMUEG8um2jERM0NSgtq/AoeTiHWEb+ZemzHW2X6iXf5o5
eMF1I3Ht9dGMAs5yM/LU23HId545yOIdeenPcajbgSNmTMcPAWvtrshS1iGFa7rG68bM8fbHRFrE
q0HLNPrU5lb6zTP0fJ9Jas6oymL/EAQkJKxiaHd3BXqneKuKglyhbiT0YCUn373tawi+9IEC6Jal
H3n1hhRvhC9G5MAaR4vrd6sRwtu8seCU92s4XlyXAKo5MTyXuirzjqLqXEfe97lwC5ofNRTnNRCJ
4lvfF7a7BXln/KkF/NZNqotpr+sWHxOBXMm7zJOUmCXy7a/0lkF/hU1n1gfPQ/Owb0jefiK5obyh
KBuTfQmuTa5iohPzj5BW4/cQG0Go0Sxpkd0YMTkTpi+MHxOqi7uuHcW0V1U40XHq2hqo1ETuTH1A
s5+CSiAVIPyQYkiw34kZF8NtNvG9penn11P+lJgVbW23Jx7xhn3sjMmK9AxzT/XEd/b5Ek26iZ0Q
ybQlkBets2AeYWJGZnwfy7HoSDSdcoOXpkUA2Zk5eifLKjR6nqBUeXwQRkKsdQ2WbOTd0R5+JTvC
/FbJPDsMuTUtZ3FC9PI7mbhB8w2hZLQBzWIfosrKn+2h4suKpNjFh1xWArZqLKpHWgbWewS40V0F
xQWHHJClfdKVSPKXzEqv97IPL1bWj38vTC8ZJ6+XK8tWDunDyjNBd6mz5SorPCmMHp5nAUt2u4RD
rhqPOjcvn/ibJ/D/v2f/Qk3z4q5vntvnfzA7Cz7of/7r3XP6jFb81GS0/CP/NhlZjktAlbCw8ADT
+a8vmuf95igTL5HENORZngMt4R+Tkf5NUuvwPO1KadkLmOe/v2jmbxSLeJ5w623H48vG3/tf/wOy
UfC9+GdGkPp18r8vzBBXOw4eDxOpBv+t+SNPP2iwyalU9mWzV91cHlybKgapCxEiID8+vLgt1yfj
z6G4A/iitBKWdM+Gok6WO40dAyyWnSICOnoSo2luJ4sixeWRTjET+u+RpG1iwoJdBPjo9KLCJC1G
TrfN3lTUpanoTnu3j8ot/NRmV4jeujfmrrpL+7p8At6efL48vOCRli92CX+Pry02HZZSwjbPECIz
rCyrHMxmr4k9fpg90Mg0UeIdUhT/sx3l8X72q/grzpL4RndNclsh0V5R/i42V37JKVbknzuhvWXa
ecIV5+CNqu/KzrB4vI6w6Xm0GJI+0R3GjBs62dFoMnARk1OGt6EvapAVKN7gfIb3/mBCBuynkABk
DiyPiQOqJYzbklVtKL5MUIAPJMd67y7/3mUKnN04rZFRedriB/N7Tx+cPUZkNY5zu/emmm+G1aMe
w6rDpj8e9U2hk+kKk+RsgVyelNb49RBPWprd49mcjBLLG1vEyftuRumZWy6oIh9sABG44sqzsPAZ
vro417Y8V0mHIIzz+T95ObvYrmZWUJtqVhmK6CNQf4Lp2bBlT1rrfOugPl9OM+S3Yumf3YdUtniB
slnmHxLL7bFseRnbzwQX9+/EIADHFuSObO2wX777slU3Tpy0O2hgs9ya09jl2xhlbrimtz5TjJSa
I9Dlh/b6HurlK2OzhHBxnrNc9wu4S55GfTDBRN4nDRJgCmb9WsWc8/0ZEvPloVhFz24hQzmS4he7
bxex2elQ5HF7YQfKGtZxb7zvFOqJpTXSr3zouh9COIGrLqfKeHnUNy7QxobJc5O01VnHT0cNJz7s
oJbbvTUjVYlTp+Ns2jR4zLtod3moV3PE0w7rFiux0GRdLB+Lk3tZU7xu2x6U1mgON81oU2ejYnjl
ib01CruCZU+gTcGp6HSUMm9UN+Zutc+R4D16PqlxPlaQ9srTEm+Mw4V4pu1AigMTdzZOjfEnjiuz
2ruN68dHWRvJN6J9Mf9zku//tKe+/OajblAbelEOipwExe+KbSptWOpKbEDjLlAgf1MbDwZKaHx1
l++3ePVsl8+oZnfrMnddTLunt4KwPGKPCpHvO4NQFNvV+bEcGvUX22P7MJMFvppDMAXSMYJN1msw
anxMD4lrDRun68RNhtzhBux8ddsWgXuF0XS+HLqmiTXDNcGeac689vLjX7xZyNZqRDxDvjcUKI64
bu6LvkSqxqvezpZxZZq/+mwtw7lsSDDHcI62XTYdL4fzulZkNRFT+6GItlqU9rqX3WfVZ1/qZNqB
xMLnrqghchLcIVy8HWv70+XHcf40fv4CLXkFXM9lOT57Gg6CT7OqnHzft0VGFXXK4KxQvGQNFPvL
Q71xb/nI8I5ZFAbYTZ3tEWihEU7C0W4fOTYNENtYhYhU1nCJb62q0lfu7fl3eKlaUNBwua2EJdnn
2ywqSjlH7indCx1nyMIM0DZth09rVbhZ9RGVIOjBxpFyC5n5n2TZ/7jHe2twKI48UduiibyEqL58
rq479l3rluleqsQg262crA19devGytAJuUKS4GKhYBtIczM3l2/z+YrNhWs+q5Za5pbF+KdjB5Ov
elNU6X6uXI5yTpjsetfoP5QB0FDch9OXiIy3K9Po1aDIi1D6eRYfWumY8mwaUXMnhFjO1j5Gc3bo
mdRLYgJ8syH/7ieQ64gYt6ft5St9dZcZVJsAWXll1YL9Pb1SP209kYREzI9tTApdTa5lbXfWYbIJ
LyCZQezjNE++DrmR3V0eebmcl7smli65TGOWMRID+HCcjjxUsTeXDVyvZIQbhbE8v7Pb2rpylnxj
FIUkkj+eOhxl57PVwcp6OrpuKPcceHu6iq5A5TtWV+7iGQ1Uu1yMolu1YEURBbMXPL2Yxp1jEHyx
3BuNX+0GmMjkf4hyoyE91AuL27zp0mkkWiMvj8DMAfYi4Vibc0s93WzT95SNIYxdvsPLoCd32PZs
i7Ij2xwU17zBpz+KKrfIcigR+zqrGpZHTvclFO+ROsTx8kiv7vKy92Wx59tvCl6XZZa9WPJrbPdO
O4cWyVS6AL1shkcZT/2Vbcarxc+hVirJy2PeWLTzz24yrbMeZyqjyAqhd7OEM5iwivd1Z6lD26PK
/cWrcgTdY43chn/hazsbj/1OFc2zSvelFskBvafeTOS2/uoiyyiYx9irmZIOxnKefnnv4j4POoq3
6b6di/FbMQvnrmoyyDCx60Q3COggdwaWiQtS0AS6fIXLn30yQxibxYYzn+txyD3fI7Kt7jFMj8hQ
mt4nu7TF1rmJRcDWtJDDMckCGwyRpFAZWWnQkqpCvNLln/D6oS5fsmXhY8m2Xfds6rSqmVl0RLpP
2Il8cluAezhHs3VN5AJwr8G6uTzeq1WWS9ZsFUy2rA4TapnKL6ZqVDqukblFus8iWt6+JXD+itB5
ABINZC9OvMNYh+3h8qCv3sSfg2qHMxSzRp1XtJSuZ9zMLRYQt7E3piz7Ja20gygkqYNfuaNiWTnP
nyqL6n+PdrYdl7xEjiwaDKW+BwpwnBvxrcM6tG6NsvxSoE0VN1jkpj/YANfTenBQmh/x9ydXrvr1
o7U4fSjF8sNfvOZnhijr2DJADcLNmyVA/2xEpaue+CFiHYvt5Xv8ag2iz8LRwGEqc9zig3b6YHtp
Yr8H2bL3o07vcI3ofZdho7s8yqvTgcswvLDCojxJpcQ8O1bluEiNmMiafWtLBzaSEN5OlVP/F3la
qG/jUieUIOy4PKRd7kabwR3C54Qq/q1qlPHZEpEmAVnOGhSXmXB8uPz7Xt8FDrN8VmGseywm59O7
7lIULmGT7a2UW+02s7vrgWhc+bK8eokWIQdHGQBElASspdD38iVSFX4mNMTZvnWRZXYFlOJ4tkD7
Lkrctna+QE4RV8Z8dWWaFd/0FHxvm2PFT/LtixeXGKh8yPF07V128k+Rb+fvGw2l/xfv3zKK0uxL
hLNULJdf8WKUpDE5vFhLUE3ZeUdbk/3r5Mq5svd5ff9o7HHEFGxutSPU2aLHShDi3zO7vWOQc2pI
fNWdMVnv6ZBHN+wu2g9zlWS/OjVY301zWff4C2Wdbwd8vi+lUVA1agXVG7zZ8P4JEb3ygrzxmDg1
W1Lagiw+Tg2nNzAFHWLw73ZfIhoEYW1qQipFrO8vP6dXKyoLHB1Xh3nIewhm6nSYoQ+wExZ9zl7A
NTZTrMiR9+xukxGJ96vbAE0PwuKKsMk6Fgfu06GgOY2p5esKfrTd7NKQvDenML5evp7Xt41BPE1B
HfEbK/fZ9fTku7hB7lT7ocfH5U6hf+cFfn/laP7WKCwPbPlRR7GpOFsjBzsPw9kYqn2GyA/BCcVe
jG/yykHm9bPBEUxXe+GK2TZv0ekNC2O7r4aGAgAGTveWojpOKU5u77u+rq5Mg9cXJN2FdEYbwqYC
cF5aEwbGeLqsxT4SeM8RP4yPhPuZV7a3rz5kS+eCYxnne8XtO/+0hL5dUUgj1TQNRiKDLNf4mnSZ
f+OLYLgn9Gu6sjwsM+rkA655LVhbJedf4uzOt4Q6gOxhdSEfTrPP9rVf63vkH6peOQWQZmN0vRuC
QOL1EGbdle3R62d3MvSrU5lFLOcUp8M+bEpa/riqNzCGBC3UMd1cnvKv76oNbJuNryUom7+ajA6M
NhvvNCsFmXN3VpNhDku78TvYWnUYvIDm6uUBX6+6tqClqASHFNbd8wO2MRTQWWA5UTyZnRunFrGL
dcDTW4kp7Rb1QnaX2lm0vTzqz6Xo5GlSplG26zEi2hD3fLGv/NpH04NikhwVoPzNkKVPaZL3t3XS
k2sQB0n4BP8udwEns64dRrIPxx2dmPGxw+tMWrAXzPdouqpulc9mTpZK5BbBQWZGBhikMiZ3p9Ki
btaoHu3nPJxQX1++hte7nqVAaC6dPYXQhYr56SuNDQ1p9RiTrGXYNSrJMgjx2RCixIKbQbZ3IcMs
5hAaAENiNPEubPvxix33S6pTbywkT/LkQOPPMUlzqDar7spsOiPfa0+YlGtstn5s/th06rNdL0iz
0iHHSx6dvqRdZ8Xp9IihvPiOED34JgOCxHDpxRaIVcsrk83cJQId6lgSadOKeMAX5BaG2JqW5X/C
oIUPyVcNRI8msVEtXL6h0n3jRXMkrVCPjwpHsPONWuSr3MS/nu8xPjsYdJLazbYYhNpvlfKglhpl
UZK36xcK068xWk9VFIzfYQtEfyFHxxaIngdCdG4Oi9UoR6ewVUQuUXBl/YrhgPXTe4oqgJyzqdHt
1kxDgq18B405Umg7TdY2rLzbUi5YFDT+0eLbEHC6OzcpjsloJ9ukE2ohRRj6S9yhBLcC+3fTb/S0
9nD37LLGNXZRHZBN5aqUYocdDWaP1hvo1BZHrXxM3HIm3KiYI8IJfdCOCEgoW6+weFsdM0KjjnXs
eVB3yDttcagKts/wTS3gNY3Z3XdKDg1Jd3P+tcmr4ej1VKXWs1c3gGvxh2SfqiAn+gstJBbgnE3x
x4ITfbdBYhJ8VCLD5G90ZidvMeCA500SxMOiL7OnYaK2v6r7yRMrEuDqcVfERfg+FQgAV1w2Pn8M
zv6+bxJJQEUoxgzEDQlxxiYHbNhsELla8d1SIK0BpwuSs9JmCsslE41Ac1aVJGJXUrnPXVkj0st0
2qZomIPSDreqqRDGBDXWq/WggpSoxby9JRidMpyqo2o+BPhMP8zwL5tdN9gy2HkWBgwdWogrpTsm
X2TcGc9GlcrvYOcoBwvO7EhHSUvazykioG1Np3RYaWB5n1OyVxBZVZjUt1bUwkPzSQ6Fne6EzpPh
I9/8oftcKn9tRXNn7jXMNgSfxVA9m6U3m9VKQgL66qBzfUrHUsAj0WlW7VtMcKQuTL2rSZULINUj
MBnbdVb3Hr0mcuKQm86Rh7I16or6mz/NFenOEt/MPhhzBSRuwDG+Idi8/VBnDSykJMOpOidyIrqd
HERM0aKqg4MJZ8O/69sBg2oRAT3cCOxWiK3oirsE/nZIYFLTxEQ+In99MJG9EBVdSPEJYA1gdSvO
IoJSqmh6sqYEDGLgheMCQjIfJgFPaBtZBNIx/7P+IeDrgXklA3kGrbBtB9w6KYBsq4yWm4vVH8UZ
kmCFujOov4ErMf4sidv8Fqa5xubtf+bkCMd3dJHiUI/cOqrH8tAM4fypI/zSW8FRATemzMK5I9aP
OFKlk2FjZUUnD2A0qs+iHmBgys5uYIJNkXPfCfZyFLyEv1e2HuedYQ6eR+Kcy8GancikV5IG6kOd
CCRdjZjKu1nGXrJF5RZPWzaSfr4acx8z1hB1zYwRMx2xXFg+Ki0zIAhoAuZk0MsvZhRvFcibJpbw
qcYk/kiSdgF8ms11tyr7gkJUwdHyOaljnwiUhlmFG1KIP8di0N6qRtL+sWWNJgGwMWNnLfQQsTQF
dnhb+C7hRUGUEu+jksWsPQo3RFqPvWNYNSCLy50XJvbn0LJauTFLYTw1vlV+bSD9dGtt1uqogqyr
1oONnH7j49JgveL7SWWqRlKvXV8TumcuH0BsOdOHdrTiaG9wnBw3MGmTQ1XlSf6QOvOAJs2KFNOk
bzGbWsREO/veqZ0aNV42Odu4gEz44AzwP1ewLYIZhlIHsXoAXveZuFY+xsYgS7kK8Hpt09y2+h3i
8XyAZSRlQwIT1UPu7jij9WsgBm5GbCpYroiHR8xvDuDKrNS3b3hfp+F2pEH+u4VX/qvk6watI7T1
X6QaewMRSM78kJpZtQS19zWUWUXoYVo1SbcS4zgaK0ys2XfT5zfwSgQx4To8TWOd2nO7SRD9Z3Ta
7fprxFVoqE8x8Xldk1Hl66bJTreJVxkJbsa4qVYjLN1H4gxLIkaYevmmD81q3jQyqzN8+Z1Zbmre
k26FSMV8SlvsW+8jMSbBxkBIB3RI947e8t23yBXuGn6oL3DK0OCW6ccy7DNrTahy9L6djdLZkKUV
kwRbV4j9eqpWtwOuD+cG+MiS8eySCvsO9EUHCjvAurUL5xCGkOlGlTzUQej7H4oxyfKtNeRaw2xi
IV7LEsLdSuPV4RVqpXWzSPXvkVnrr3PqSaScsQWM0mTzkuwALLZ4D3Khm8+Zk8npUWYO+aWuDJhT
nWjcH5n0gi+s7NJcm3jIERpFY3/fUH9h69ZCnKPD68t+EyMPlmtKW+JOQazt10OGkg8IGEsL0ESX
D24SjKxxWdRaP1RQ9fNGBl5yZHuhUZibZUo4sJibehV5PTTAIGgIUkpGetVrzwmLb01KaQk+HIE1
t6r1+VKOo4/EtZpD9VdpY7pbCbjI0UezNc3faYjkeufBaxLrMSkyeYseEZGgFnYO35yvfL/p+kaa
7yRkCqCYgdGpuzCX2QwOwDOtK2eoRen88lDzc39GGVQihDbpWZ93SbtJtzkEFQXvMuvesbplmlYe
oCdynJTw10lFRRa3X0UeTmvWYM1LlsSjRYLpY9NSztiosWSvQcg0+7YIkYzY6tZ1302whb0NyaBK
YD1K9V+14Tr5jiDm8QM4aDIXrNjjK3Z5B3d28vz7cpZuDzht07PU2Y7YG+OoyKtCHVvUrMTn1CMu
20FeqT2c7RJ/jkIDlq03mjuE3GeFNuShdqiqEg5IyhZBDdgUNfjDo+uRFn/5gt4YivOYTfuak/Qi
MDrd4vfGOOgxCpyjP9D2wPYiKVQ2dL5ubLwYv35d1IcsxK82x7FXqrq+6kVVksx+5PQMErobxN6Y
gF36dnytx/HmdXFVqG+AKwNGOb2uyaSXOxWtc3StsWa/NZqbFFg3Amm045dv4dmJdnlatiVcWlNa
UvI+V9CVlawtrB/qiGs++TxjpTuICDU9JJAg3BmhjK8ces4KBX8PKC1afA4KI8s9e2Z8BhNtUG85
whV9YvO0bZPmM2SMu6aNfwwjZzJviuIrM//tQW1OXPT7UFCdHbSG2nNTZHn20Tfd8Laam34btmSh
xeHgbLuA3FpSEczh0MFduHKD33jpcO8jZ/JsimT4zU+fpTeLBnxRaR8BZYBbwfhHTJuer1zg6xmz
VC+dRaWqKMO4y0r2ogbc94bWyEvBTPrLbkdX5h9LNQZMi3ft/X59QZKVUC2KWcR1PMTToWDpIvuO
jBFRI4cmFat657b975en5RvX49h01zSFzEWGe3Y90wx3wGpUe2yTMn8flp5FFbP0PjStrK5IIc8b
4cxISfgmUj96EEuN+WxG+lg8y6l0u2Mft+GNHxTihlh39WddkNM4Nsb4EfueRvHfF1vXC7xDqjyw
ZFnSHYlnbg+0/uxffkm4ty4SXiQdFhXcs9IqvoG5F5NfHzMHl1gmgZHnjtG9K21S09JZQyNx2vQ2
TVz7lycSHSnq/I63/AB53kAORB7Idir7IxtLGJcQEm7YJBUbdzbL/eVn/HoiodllkJ/dRWSoy9L0
Ys6WOYBz4XbqaI4W+34kChu22dfWUmv53ryoZfF4FbVpm6WULjxNoLMXELuMn5QV776XIowJgpLA
J0KqV5RHxx1lLutIwd5dszmxvjp17289v62hEnXFjemBSB1ETUggfblVPIbGJrSH6PM4yHntwKja
2ZKUxrkUcOgdctgMxza2QMNhaF2+Wa9fCF45VmqK+Xy5eTanN4tidBSaMlKYvhzzcyk6jqJt7IWr
3EuvLSbLhH9xxxYJ/SJgYm2m+WtTPDodS8jKEvbYV8gwicyz3UA8VA3eevjv7V4ByCJBMB2GKzmQ
Z9OBmjiKFPrpNNQVUsFzndiYwcPPDQ/saj/pbUc3fG17vrpyH98Y5adDgOWLnqv7qk5th+NIqARE
onwQaJ45VR0Qh1j5lXHOy48/px1qQg+Jicmqr5Zp+WJ2D1XaACy2SXtCqB/t7co3G9xB0mpvfKvH
2B51xp+Tq33CsiSGT8kZh/xA4sHJDtM9oYgTxUkKrHyef9Ah8q99iM/uxPIDKdQv/UKK2Rxuz57y
GLhxPFM6OCry3zelJJcnn1R+uDxv3xrFpTdJ4WexFJ7rvsuMKqW7fP6SsAkggflyY2cgLX91FFsB
kuX7Tk9lUaac3ux4LN0akbA81r37JwoCOrx5LhGCXB7m9UvI1s/8GdZM5RYNyukwc+2J3pkDeSzi
xnzk/CIxTdugJjvSzC4P9fq+MRTNIT7qbNhpFp0OpYwF1IHI7Yg+oD/aoBF3iJWszeVR3rogG7kw
uTywO92fa+eLSVqXPc78rLfAX+GLhIYyfrSnBsOjU3UfLw+13JsXiwrTbTFIcSDWSzuD4U4vqI0g
7k6eL1DoEIq6qd2FfjfK8aBUCBGqBDtP/aisoI82efvr14lBhbmOfp5d2LkjAJ1OCxCSk0/UetUd
wN9q49rmdON09rX93hu3lP2KuxwZKXq82lATF6Qwuiiuc6acJgUBiH2oKHcmhfj1OcKW1mW05T80
Lk9vqa4saF5lYB2RoGOl6wmmK43g/2COOHTfNWsZByg6l6ejpH6lpD8qeQzyLt1xcT65Q2YPoqcY
rrxfb0x6hvL4uTQYhDrv9ZIy4eqO7dpxsnLKl9qNaB/64y8f5JavC2pZqpR0t+TZbVNZUNZenjLp
8Ti8pxo1r9qh7O5Zy6/1C8++pMukZyjeYU6orLHnp6s8JDi7SVrr2DkwwyIKxrAKTHuQx9HJyEgD
UPk5ggBiXjl0vDnuIgpZ9Hma0U+fmZnOCZ2h2jrmZfhHTXUceGO890bvL6XI1DB79/Hy2/3GrEcR
hyV8WRc5YZ0NONqq80ACWHxMPBpZXkSbCi37Flr2r4/EbFzOUsu8V+fa+X7o0iZOIwmWtROfKtur
wATr7gNVwV+UZ3kc9hcbOq8W30nPXszzLz/hevBdVCl8Ia0hGBEVz827xpv/4RP8R9H4q2e1jILQ
l3eLcVBgnY7i1kbVTimTHnIzoeJ6qsqPrTaMra1y8D8pzQ6b0zhx4Zcf2bkLgb0WLwHF9+Xwz5HY
PNuhCCvVGdSr4tj2vSY9C834o2vn/WdDlUuAit24lFt7ER9a0n4cgrQK2d66YR9QuMxrfAOXf9Ay
R06+EBQgsInhlOHYQeXo7L0sWORMb+7yY1+lM6GjkH2GUZpX1ALL7TwfBdEKVlBUIvQwzx6qMfq2
E0xDcUwliCKD0uZhGgt/JwKiUuPRvLLYvHFRfAbwpDo/jafn2jt3gvNkqzk7tm2IQ7KUJGlWvvjV
9x2JJhs5FAmKMoCUp4/y8mMQf2u5zu4RbiKmhLdor/hunk1JJxOx3/khmbK2/NL4GV2SEF74965P
qu8U03FlV56DpZFOCfSCDAZNs85oCHxsgsF4GtjZfB5wg/6wR0eAaovHhDiDaBj9LZ8q3exDadjE
puQETYa5EsnGs3v6QGUoOoIwZ1O+ayYgjDDG8ube62lUrQlnCols84mKIw0rL29APOASK0tFaT8J
J0BbaRTW/OMjxOYVqANq8F4QZkuiCXb/bT1XoJ4n8GjPo24oq0eNEZvbIoeJjAWd0I4V/bv8uYRl
6d9qf/ZBkQvQbiuVERq19vByf7OhWyXbpgvLL0GKtQXAAS1+UDKpfCraAXRlBLQzr2W7gKLdMd8M
cEfvSwSYhAk2Y5uBETBt9AjCIJIqy0hjXXCP9yMqD7SYrgvcupvSxVHfBTQweq36B0y1brgzI13Z
KxSHmVxPSA6Ps6JisYfME97nHZKFDRu98P3oREW6TYeGvZRFE+NrltgLZNjlb3fYYQLCt1BLpz7G
xpbC9HpOpuphFriFV2FUJkvk7qhpUXeVfFdpA6IsuRhkHJlxXT40TY6FxxBEAcxh0X6yQ0PprQHb
BgF0MAFSK6EkfysCNX8CUjHCa8iiTmwzguta2ot5AXsDXCzJrrmmNj5PcwqwtYc2aIRigG7QKm/d
2kG6huczvpPxHBEF3vGjNy5b/CVpzNZ/eIHuaU7j8hlvIHmQYZ3VaAk2bC3SOyOZMvIuSl8/jNqw
PssSsgRxWW33uzfYU7yFdG39AUA6/e63KB02TWQHfwZqhJDq2DHph0FCsMum7LWxOB4Kfm2P2Zix
WTFjAF2tPmJjE2ChocJ+CfpZfLPSgRMeIjVXbZF69B84qbTMScgbzNI2ZveJKbj4VhQg6jaxGUFy
8DnpHYwpdr/acu5uw//N3nk1SYpkafS/7DtjSAdegVAZmZG6UrxgKdHCUQ78+j3Rs2s2VV3WZfu+
DzM2Nl1dISDcnXu/e45JECSarXEVAeV70sdm6tsK7TgwNsTMxljtROfB7MA4EFOj9bWEsoSvQ2+a
bbnAyc87853H6DnbdHSde/4lYJvYBY3JoIUHZX+IVwByi9NWx9nqGjNsDMt789Ze3sJtz24wpWXQ
H8RcAMwAxcF02EL8PKqtOn3SE3+9hAFF7wP+6nC7iFQ+kScgxajKjLBGMo4z7wgkPFiV1UBpl69+
elzaprfpnSfFgabYpAIefgRtNYgJfqhXKnkBRe98INrzaDqauvo2UPhUEchBdqbeT6UF0vwMcGHq
NH1GprG+g6KVn3WfdbcZEoJHdJWe2ubQL16KphiuZsnYM/J5iXI6AZX05DMTLqJ0InAUlho4uNAD
v/HlFujBdviYKvPYxuv6lJRnH5EHE7MAPlOThEgG3/tACqRVG7G23kE0tIn366yvHxksrBKy6AwM
1qI8g/QIC7GqMWWcU0XyYywGqnipss8yuUyiyHVWrPJWp18vptDTDU3R9d6BWKbxqE87aWOozigD
KGj1Z89sA3xdRyvanaMS+s71QEgobAVlR4JhmOh1YNQOchzySQe3xAgZNonokAwOlcs7j5dhCsTk
o9Ia7B711TCCgwugQbu0+xj3xLBXLN61yR0N7RbDRhfSQBlWoin2co1PstlbGDCAkUMvdqKZGdlb
mrtGygCfzJztqvF5jombeR9mo7MX0J6jnLDYXmVhVSi5U0xHYheeklEinJ7W5uCjpISLrRXS2DfC
5lOsq0w/0WYYPsx8pnJDw+HMAYPck23oVSkD1aZVmz/MVvKXx4Pj3Tp+Y7OEj10CK08H6xOlAM23
ZF9Yqh05p28Sx9KH8orWDFY/w8Wd6E6+W2A0c200tZxzbHYP939NfMAdfQ842q3yOt60JDjNH0lb
9GfazCqepCKgAITGltBs9Uk8wYtX7C7UkOg/r1793WGamDcOWxr28rFzMvw0BskEOtn1i8f41lFW
Bhz6sXE4DMDsKxBG12IdIw0gTb3vkAh+lKabcetBknhpVI03WYw9kcLcAMuLe6A0nIB0x3rKxeK+
LVPXZLtpNuxNWfpjBrUHYDCjL1UnML9r/VtH5KQJKKs5j23haK85o4MY0RNH7EVCWCxcVJ5/DcDw
WGhGvHqRrcPU3JPMSb7mMZPPM2ZTJ0hJ0tHEA6JgBWSOaIUWRdlp4aIDByNRwIcYCKwlEYVLA3ii
NLXpOLmzw8aRTn37UMpUmHvqrZYW2a1WTVG/8AZDE6NcGaLZ69ydNk+M+pIJWQneeba8pm5WgtkH
6OefOc+Tfui6mYRTCLewQPDu2IMfChexRQgQbtQfsCUCo0XnCHK+sBPvczZI88IdTbmwUDXh/02D
pj0hLuutnV5O4A7yhY0t1LyeljOJn/gug30eLPPgftlTPX/FTpIQ6ZHODOm+dHsTLY87xBBGURiG
VFYyLxhJFj5R1DDPQPz5mTexPDM4sdxhZC2+CRT4XxOOOgsCnOB70SRvRIMQtBnFrFgxy/RFIzDx
bSgP2caAbxfJfJZpbqTNefyl4r54LBrLuSW96N2u44xni8ugDxdla6u9O3bELChDUmmAg2uuUaNh
4YKubjlZROKSsN2gdfpZ1+lYrxIJWnaVFX13zyqlu2hUBbqfrKVRuwEPPRRRP43r50A9DZm7p08N
k/9d7QdVX5PGie1CxrsREjHhCkD449aQPghmeynMEz/hWEX0F/J8Q9N3+fSnWqQ7nCI2aCTmah71
IcnBY3jrZIS57bY30imz1zxOeJelYcUE9UxZdEFL4wXesa0yESxs/j/wGWt+5M0U3sRY+HU4JxYO
p6EjwrNlcSnv8r5Sl7VtjR/dQBiQjwG5OFBws6egy3o8VRZo0DTIKg+YlXBaL1TKXIHVq7rPOQee
fy008jgqAsSa22DJemicXtknt1I6E/GSATWlx72PRKUDHBCSSeSoqWOEaCOOhNm0NUfgShHQPsib
S39O9ZzTN/eDUuCyJuE0WMx1uKsjjwz6gaOrOnoylfPem/oPfU4+4BsnWcAhhWe/Uc+XXc+B86Gv
RDpEsUNo54wqbE6FlZFN5DZzr6RjJ3xJuZmBZgdNNEa2NwgZMkhqxeFqzNkJVoRFAXEc14T34wJq
sk0Zqx/MPqavelfqV6ueN+9Y46aTxrH10/BLC33MDFoiKhsiQuEZD9bRm11jMLb8bKFuGRpXNauq
sousXJNi35cm7931W/tTxKv5kJAV77bSbqcLoK7iBBhKLht3ld5pjkeDHGORLzDKRmvgfE9SJ96O
WYogzC9z/3k1gB1izWy4WpbHDhpNozZJbLqjoY7+CpYdKnvPIouJT/s8g31D36XoC9q6tC4kD75T
JPO6VY8aMOJ7a0wGEhq2CRQ0NVbbA6QsOHQUg8u8ZAJ4n83L5BqCH++vM92aPmI9bVq4Z35Pf2cd
2isbGKUV2pN0BSoOh7DmiNq2CWfZcdYb8rwli5nbudxAGVs9Ih5+up+NOL8kumgS/MtILYeVq+cf
gPq1F5tAFUdeznXclW9NbcBO9t2wXMyjVg4v0lJ7mS+AGTr+K2nnKFk0bvc07gPH7W5atI+O7W0E
cftl0LYLE06PsbSYO8dJCFzMkh17sizVG0MpVxC4x5diRHqfkq3lEMj/Knv/3uEkcJ3ruflCRBWn
9prQ992OeeOhnbQMdOWJd4IU4Gw6nMqF20RrMdxaii2QIKpDVGrKjQ3VChJrubxolXuf2bgVnbna
Kt+WYQU0Lg5JgvMQpTmXBH8uZnD2OpBq4ofVyXKZdO7iAtEaoVybaHhoqMwPYte+NntJCBQa3asR
m+vGnevkodJSl0c2V13UWaff5Inv3xijOxgBYseLxW8uchc9lpbZ7s2ojWNkAfgNYAD7T55NHqqN
H9AuOoBi4/XS9+PibknrJtLlm5ZFGQS6W2WKU04ITK7ZfmJ9PM+b0wOFgqK/KZZEJxmv1Vq8xSah
UAZgNqRbQym00JUdPOkcfq/AXmjux0pdu+4aiWa805MrMqRRnifvCU+JRXHQjVEyzakeSh1l9lq2
BKImM1zdh45jogY/jrNfOIJJUNTHkwW3smUFJDUoKQNey57X9ehOsIMmFzWPVuJLIdcQ8PgRpfO6
KQGd65CZcCLVG9qjaxT7zKi2XAJqoxNnARRjHu7wAKSqu10qE/V1XRw1q+o3g9F+uguPFhrNo0sX
/s0TOz6/BALZptwaectzM5TFZeeUc7QKAfwpHvZ1ukY2e9rkN2wCsrzJixZsdbHBnZjBXhvsm0w6
l1W6fGYlPD0Ev9NGMNq18wd5V3lJ9qC3mXmcxl5/H+UyHAjJeZFYcU8Xyo8wVTWbzIVw6CjnVjDq
FFUa0yV5eZcKSzt2eVuHVmW9GBxYw5RkNipDgMo8BFwxXN5j6en8D9dt3iyKeZEhSmez8kweOl15
hdd357HPhqWx4r/tslf6Cd0xkcgMKq/bC/1MY8zvFlYGwooqmKU4gBJ6X8zswZI/8Gd/eiMEcMu4
aD2dSOcQ+YuxszPvTjLWXurJo+6t6Cp75iAmwVMMq4IP4CNqNX9f9fyjllxAG8C0ey1S68W37de0
tJ4sqp4mef84D+DtwQUYeX4klPm4ALHmRifP3D6advLh9m3yleTbkqUXmi77VxFHpVpe5rWsb2ks
En1vnhOtXU7Eted7u07do4G2OxC9EfL73RUCTbpdcFh3emi3Lce4qsf3NrXyDvn1HJhuNVwgBt+z
QJNAKAt9DZ3E1nhg9L54pGN9cczIs6okavJh63DwCbB2bYeh3Tbp8PoXuvEcmnN4cowvOSk3n3Ym
/M8p9vJ7fvkyAGZDd9aYnmMewbH2WVeYH+8LE/CRpifzKRboR2mXFjpKRS3FjE74n2P+cdbcE/pQ
WIrudnabVyyi2XZIK5mH0ltv2Na2VuWd7EztO470I6G9rE/mwKlr84CAXUa+Nxvfs485ylc+Ey9y
i4fjmnvlfWkeuzNcUWoPaHk4+Xf2I7LL6wTbA9kpmOK8ufZozwdUgzG7pU6DYTRGcWFYjXXh26/c
52tEbN6qQ4YNIdzDXjowPXEry7wqgo5CS4SL3LgwZS/8CHGuH8aeRTjqDDqMq2SZIr+yxrPHM7Ho
weRy3pp9vc+rrnbZaQyfE7A+UG/RqTmE6AOpjiVopdFILkl5cAHjiVBK9H8HDzvIBtRVmt/5Ol6h
K73PTe3eLjumxAKisEJ/YVnr3dDoXEs7dGVT9tdpKYenhiguX+jc9uLkCZyMW1XVZv+w1BjsgnRt
5WGkglECr6bFiK2Y9P+O9lxCFpf/o2GK1E3VR0fzhLECKJ63U+k7ZKzrtgUi18alVz8qrkT3jp1m
wV7DFxTZo8rebbNdtC3/Ogs55bIYQ59XaZu8IJixgdlJbtyrJ0VGc4TDuOtTq623RdE1X4zHanNA
Tsrck+UxqKKQsf+qlWDLGwYwDrupbocfZiWzd7+2sierzkcgz3LCN6uoTj8jbXTv2AaYl1CT3bxR
VzGtkJLKjDaX8v7DoBPcD1WNc+WSL6plvyit0g7xOdY3KrW4ZsSq7OVQmoxXRTou4OSaYuhZoK6K
7j5NvQGuSZpuePJHt232/sjzrWwAkM2US6cQiFyhkKk46gP5kOSvXmeN4Q5jdqB3t317b6oqO41C
OJtEb1nEqnw+ScoZQFVb+WIyyNTubcWwwzbtNeLhpPqp6+NbofQ6ITaha+ks67FLyUNR2l0nddOM
afZBEpuJkiXTC54yPSPt2fGznsPuiGFWwzbegcA+/waW1WufuY6gvIdh9Bk7sLKJhOxqyXe3i3WL
+STPLbg0FWdYX5Y65WQUbN4VzQbKTtz/7JKFMbY/2BLKL3dBJBV0JpKbjVGaxdXqAvmL0qG0+i97
Rm+V8mSjhanJCAuTcuP8UQ5FirV6wRYWJHjDbtIV8xNkp7od2b9qnx3c7+KHsivVi7HUcRyZkzA/
kXKR1c9ja5Hh0pSqispa6MY+0wdPMaNTFnf96l4llFzf8hEHyjWQWXnhOyKe2Se9hZWrdwvq1Og6
W1a/LKMgHVva1+Cr8sUqFuvSSK1Z2+izzvnM64rW2HRtLHrmIcSKdGbR7qfurFgblQ2dln5p5gat
mxlPYlzdez+uZb010dTeIrOqraDKjf7FTEX72HZrde/gZhwC6vQczqwBtWjAEfmcqoxLRix0Jrh2
jcxU+Ye2yt/7HJ5NUPo8aGfSV/m1dQvPyOllEaOYn5HQwIwZr1db9H94lb/3rHgqIqcHK+GMDABh
+HNnogQ1jhWv0w+L1hrTjqO7uPXz5rkjurBhRM7YLHiF92brW/dk/coLRSVua9VO/Ie+zt8anmSB
SQ9Z9NBIrtFH+/mN5DWOTcsoieh2aSEC/LYUDWutVZerk7p/+Nh/71mJc4aUZBT9ftP7tY08p6VR
FND3Dki2oDjwGPeo2EI2i3D45beOePhDC+jc0/+5AcTV5GKSmTuDPX/Nyxoj9xePs+PBK/y4/zB6
W7wBzCP+hmp1oAw5Gn4TVZm9UBieckftABWjjWzAJe7++b387cainwWj75xHg65Jw/XnL3qUanJl
HjsHc7JbXmbud40Jqvn//CoOdm6PODRZLaYVf34Vo8swvzjGyjfcTzu/LspL2Np/yiL+rdVLnocI
FI944KsEKI6fX0V5pcTtEq+HWArj5PLYt5fCmh7xqus8biUjSHP0XP/80X5zpzKJSHoQSCncnF/B
FwS7HAY33fXQAwdnRm1kXNEA+EF0ZP3Dj+I31+qcw8IpTFLknF36+fPBPu86a/TWw2xW65cxtNYp
8ez+D3fE775FYK9nKRqweTIAP78KIptZdPDCsakV1jUzlaINymlKt+PQQcG2eJTUcXL+4Wv8K476
02+CD3QmiJDn04lV/JqVclI0vVon1gMdK1TluNg5YYqhMD+pxmJ0W4BgjOd21vzoWGp5WqiaivNj
kV9QOgNzTktCnY/RemFfml2iUcyVOj3K3jiPXf3zRf/Nd0SAhjAGREgeF35NScye2+HrUeTBFRUv
W8KUbYYywo42RDoyqCBticD+82v+bZWiyX2mopEd5fLrvw5+ZCWTgJhC1kNKh603syKqrJy+XJo/
17R///nFfvcBOSid0c2sUML75VaTnlQZJy79gCEDwF2TTBDZpJYNG+Wm+l3N5N3DumTG2z+/7G9+
TIT4wVcyBQ0G4NdUZ2r7M9PELpW7oSyOsUN6Aumvum6cPw6w/+alCLpAnAPcc442nr+B/8jmiaUk
tCnN+YD6DYumjzUmsBJ3PFR1XfwhC/K71+I363os+ERRfk2SeelieQz6rgd/sNsX01lopFoUk4Ky
XPw/5Hx/c5sAAIbzQ8Af0JL/yyLIGT61e2dkEWyESHjQLuHnelVxkXA50TMRtvnDvfKbZYkRariM
bGhntOwvr9izTc/6eQUs4kZuaxsbG91c6+6fb43fLRAArIhSmqx85Et+SYeigCFmbvDBCkCLHyt3
7zVTUrTasXqbT5qY9KsqY0yYRGx967OZHmnuire5IoUYmFY2X8ZxNm/GDK1FSMkw2dF3Xv5wpX/3
XcC94/Tv/BV/+eVN9lndtJ2trQebYFrUr30TDeMw/mEp+N2rnMG6fAnnmOyvaBiVLP48df5yiFfP
3FUZXRJpJH/KFv/urvWBHpEYFDCJvF/m2dLKGOIp7tbD4q7a3qxstV3oyPDYT7jkr4v7/9D9/2K9
/o/7/G/Q/dMXOvufHDLnP/9v4r7n/Yub3eIUfma/M4LHP/m3Q8bT/8X6/2+oknXmcPNP/oe4b+n/
4izCVA/TbX+lqVkf/tchI/4Fq4NRS0cwIMav1fy/APd5Kz9vEgyV2qQfYQSel6D/WDpzrVqSQeXd
3kXYest85nidpnF1IL+9bhwPH7tuNiX1nWFirCNDw+vvzK7Xdjnr611TwJtgZ8bb2lXxPksXdF2W
OX5XVSYiyBrFu7LGae8V7vnpMs+nrzLNnI0+VGXYqNE8IzTVltCUuSPGmN6T3e9PKXq3wE5rWYCz
thoarmq+8qo4uacst24IS+hfBaD3KCeh2dEkKtw9xbbi1tfpgjST0h/WFu0fzqnYuyPeaRyEP3jP
E/ORh7wqy/cV2skLE9ZQb6Qm5VY0FOTVUHlHzTByPUj0wrui7UPhtK+LiOBhfaFm1z3YdJ0PeCvd
u3OB6WSlSj5Js4nPuVjo/hQvjNqFX2Bb21nK5isj33ErcZQyyT6m2gviKAZRpi5uT/AK5JXQJwAg
WeXcDJ4beo2eHPusME7MSc172k7L3ZS35XNlOsljVkjB6pf7NDp8Ha6JnVrr69QMw7GqNBjIJTVG
ioCFnDcMNHi7orSHS0y07evsUOQBz9d/W0y5n2hIjp8FdNLLvPfnPgQJQfd+ptMRjMVkHCT9mKdZ
FEbU9at1sTCZm5GPSpMyWEAG2whf7O4ppnFMY5rZtI9WLtVHY1b1YR369rNwGKgOciwf4DdUzoCB
vkQ9OfBtb9nduTNyb9RwLayB4qBPp5wIVCCL5mkujb2gvwBWIfGDrKBqvrZjfofd/ba1fTrZD3XL
UZHHKHcDELDauYyZBhoTwlhXtzJJ7X1qDCfLyINxpWSd8Kh0B9HX2Me5siKt+U4sy9hlGOFD+vAS
v9a4qfP1XSz93vCrnWYUHeGvLqcu0CCwIeA/2nd9jSxUVuW6x5G2Sf1kQ8vljUgAQBbvxuTh8juv
6Yu7BjH9gCSs/qnMMY4A0n637aR+ACLuN5K5j1CWTObb/IfS6ZuF4Wzvl+mT8ul99FZXHCFjRnP/
LkxqojaD5oPm71zlomuDz6+br47B2yqKdROn2gH54s7V/PrVXGYHBecdGbwW3RtdcKpIpf4wMpTa
VOkVE+HiQHUbC60LPeYvAfR0y5wDJ95K3eDpoaI6jLsEJZmZ1h8kSrF+wqypaGWIej5YDvGaNFvF
efKFfdojY6DLa5tz5AVW7yhpnBcvSz7pZ1/TNQOZbjpfeGRvigw3ZqXall73QF2SolxgzylsJupn
RKE0ymnJZbXSHO4BXFBIvnFT/Jv4jji0k+HrSo33mN1hhb6tYrd7lL7Wwl7Iil035rueTvgJEA6C
uDqqBArmAbzG7OJlL2HuKubdgsH18n2Li5p6lo2vKque9DP6x6rkthnJGKCWtg+VXd6bsv4ey0fi
BXoIF2wMOs7MgcXvE+IivA7KbRvdGJoLyARmoC3WwTcGPej41T24k+ndEMjkBpm/BCfqC0aWHqEB
oh6aNT66Nwct3ZitT0ZsYI0t8EjD+GLcfbTua0keqUtuPZfKPzOj+i1SJPe7HtY4SJd4M07VWQxc
WCfXXt9Ateo5g3h0QsE1kZRMGx9/dZ4i4WMCoboVXTe+zTYXzZjr7lrZToInCwGSTsEHZ2q7DseW
x6JoQqJ+UTS0zwNtXYFfTEAgUpbYI1Gya1gU7ceiVutNa1T2saZ+/WVVunWTdD0jIlICWfUbJyo9
mxKeUj+cQaPqIGJn72jGD2RJZeAbLVntnIc4zxlVIHzVXazU8ngOREkYisIW2AKtIzQnfMV9gs3Y
0xuCo8Mr3lYAZTV9Tm2djwZdkouans+mnAk0GUN/AuXQhkM12Q+t3463pj0fUWW1N9k8vY25UdzU
Fi1nd9L7NHCb+Dp2RfURN7H7UdJoXQJrrO2Tn/NTLf4iGIEd9OrQyHCKeyR5bhFt5+eNaxnROTxo
asJdmxi3VWJ8rPY6bFMnM7YOkZ2HSWvPuCxUhNAn1pnlrJgRZTJDHaer+zzM8l5WujKChlDM27lv
FbYkAbC4qx2j3JcAiiids32wpCaVs4XtyZ7jG+UeWM2Cz0vRMvStyEh6W0XZ3DsGmm/XEWGciu69
FfQ0yPWr4zDZPMuWnjq5jYaGkM0d25q9KqPdsIxhjc5onAf4qJAMF9xnXXdlZMPAXzQdbLOkvDL5
SeTn0gmoTYYTz+BWNYjTODyXbVe9N11rhUhCgWlJUso8LzibAZaIQauLSGpZbLkUFZsxUYhccxmE
ybU9F5FLz5hDk5radTfzQQOd9GZALDUgmFS/xgYcVfKuOknlWflPeVpYXuCtLluDf85ZeprXhR3S
qMAiUh/aA/bWte02wGduEiexoNicm8ZxOCRlDeFOG6NpcOBo5CQmBCJyr3vuEGar2f729BnUiJxB
34k+5tuZHlUDfmFkwP8qQxeCB9IRHp1BjSBrd9FaeMAzDmNH5k2nYIFkFIp+XUjpsnHQ4o+IPJKm
lPG2MT8ROE4bmEmEp3mfonYOjS24hqN6rwp5yTyXe55ULqO5VF/TrGied5pyWF4UtBNWv8nWs2At
JxMRnYM6fGYQ110uvELRFU7C0TVIh0kR9sIEcxK3fogmEu+KowOc8aM0KxlnmX7oi/Y6C1nTvXSd
MOPMcFwmWFrpan1TtbleyQKRVlUXlmbv/SK/ygvaOzNgIsyckmSr/uEWdFGzZYXB49thBnMmMJQl
N67Vfy+6YCboWjjdy1RZN7OdLLvG0uQFdP0g9gjCu7L6Is1PRNOLWIsIpCXylUPOcBwHn8+Bkn3n
e60RrZa6GienuE3Go77EWlDJ2QSB1B5dOG/FmSRm9ISc5BVCguk5m1D0zXeEfPVwjD9IrZmXiSE2
QKuigYZGlGp1aPfDqdbS7cR4LP62bT/UT2k9koSsqx+GU4UrxYnFvGGu+qocloNOE+8ilwQruSyR
k6ZvMANpf9oibAb6s4W13jIQcblkzQlay800wPtLK3s/sUbvHbN8WkmTbb15ODhFf+VlAtA/WCn3
wp6mQNpjephQktKeSy7cOv3Rl5p9X6/et9ksQUlDy0tlWA/FczvTUAWA8+G767qBW1ioOQ/ncnoX
a0aWJKZ8U3GzanSXRrt69VSWXxK7CgudOgRZStLkzsktCwOjsQXSbH6G9Z9dt6PdReevCQVyuRWV
I6+wKNqnQtzTMvxBAv/gaGojZVbeWeP8TXuAPlnT6MHU8xisPLv71DLn2CekG8e4fsRZ+6DgNgd6
1V9yzxYcuqpnz89ooLUKZXnp4XWTxdYuGhSQ8VqFAOFu4LcYJI8cUkCIJANfK7ywq8oXt4QTRaI1
EXa/NRxlBsbCLy2oai3eOVVqhzDX2k1R5ydVN5cVObwAZ8zdmIh9O0BS1LwHa1ScNJjPuR+hupO6
mzlj1KTWG37RzRKO2WfuOTejpe8UgzrpOXipVEXncvEvjXZlaFvSIRxvRFIeC9+5okHL2PFEeNzP
6mnfFoPXRODuaMUDzWNGHnqRCVhPI9DChGseTUqzNw6GPoBRH2C68q3jthgb5zrdAeU7dF6b8lyz
fLHwa1VyXDiLHkA1XZiJwZlq3VecTTO2ld4ka0uvo72nyERaptDFIw7ACzCJzqXeNkfflWtQ5ncM
XqGZtct96UtCdN4x1/SHjiOPKa13OXU8KQzO9dSziLaTFZqrcR07WCCnvLlkT7rU4+aHNq8yhHpy
kbCIe16za2jloT1PyckP17pxnXnmoRfL7TkuyxURxKpGkx+riTjSXdsj4YN7Wx/8Td+nr0i8rvKV
WQ8E8q6Ps1PLWKe79kH0qpIksf36RKdYvMRkBx28lxGN43duWPbhpUt3KLcCLUVRxgb67TjMFLA9
XuYL7brETE7aDEPL0585TMUp79aJ8mzk4OPrauN29b2buaTHTYNltSl+TLBI+Z2QoaNhy+2woqoR
DQN/4MqaWpMHv/vsBGHMhXgxWdD13mVvCeP4h2ZMF64o7X1VEoIi3GGXGnErnZ1FtH1ICIu5hMJM
Ef46a1h7pveB0nt+HYV/yrSLTBtmYrrJhgrapanzdoZhIisJYZbnXskBaEBGn+aE8d2h2/lF86jN
Yq9orhYjzC5c8uvBKmwU4faubpPHuj8fQ3y59fthOHiNA9vSgtPWd8N9payUn5j0+D5Hc5sLcVsj
jAxgAl43ffbhDtqta6z7yXWYjDAtMm3+hdGZyU6OOpR4mN8gz4x0m2ZTOFl8EdV0MnPjGXwXjliz
uSSf8jW7a3Yi45cHtlm/L/yRITbLaKK2tC00c6f5xjPO8DriZu7vDIJEh1mv+NM9zwhZKXI06v4r
NDZz08zJdFN51XpLfa8PjEwPRefQAc/XLnDb+qaRw11m2HboV4z4txNiy1Z0h6kdu0irtfdqTD8J
w7+5dgFGEi0R7XmCWuQon10qd8+1cq8rb84iniPaiMkEPkZb7IRRXuquylmKzk37yvbuHF97kFq5
7PO4dSD4eUflt1+IAhTDJ918tCy3CmOrPwMAjWR3zrM47XxhKf2OK8+og+Nkm7OmsOwBjjXj4EV6
Tyif27O6GgZKH4WpNtQzknBIqQ+IzDyUkDPqSZL9qeL73p63qmvBJGkDNq9hOsq42os8eTC6qt3N
Mht2vVnpEXT8W1r6F/lkf/QZcRX/Ok+8MBm9jyRnifOH/Ksm6hGYnb0xTIoCqLHB7Zo3la/CceFI
7XLywnbKX0UWM2kep4Y0J1PauyTNjjIvk6BL4dzRK/eYXjYI/qqUIynWbrUQ4BtynR+q6W7a/Kxz
lcGS+muUMS8VrXpn7Fet45MiweboH8ViIUs4Dd1m0WxCvVNmXLaaINKrHytnnTbalFzDStyuvVoZ
W8s2C1c16ORTxyp9UAYI2lSIPEra+IWl9mT78X0J4DWQObWjgg3D7BQIyC69bmLzmbHQG9qgxUYo
1V+msXfRtvp7pryvscnOA1RGHo66VhFymW+N2jBDN/c4bNBED9hXt9o0jLe1JZ+MyXr0UnZdMQ+I
FsZNOjo73eBsNcBtHUpyt7P9UA3jxmzNMFP9wI80PWgZbFOzfx+q4jEnLW/nzQ3VsjFMCq8PVsY0
y6W8JZ7xHcfJ+U4hxM3MVMMim4UaVL+thihHpsV3ATU5TCztDkntjd6u3OmVEUoMtGSA2XhW9r6C
u8dOoWJoBK4Y00j4gDl0vLVkiG1U/UdvqDiqHHubmCnnUcff6qt91SxQ7ZJuG9vpd25kWzU4gW7M
02PSERPQOIy2lFfg/vN00i7yh5WZ76XHTjC1PX+yxwmc6+Z1hcNs10r6SuUcm2dkoJbeipIJh8Xn
/MCDU8Sw1zPvOLSm6q6qJPwqe6PJqruO07a+wCIonybLIcfZexSBhuyFhujNsjT9prPEfZPwJa7m
HC0ZhwAzdX6088yDx+KS0aPoM/43dWfSHLeR5fGv0tF3eLAmgIjpOVQVqopVxZ0URV0QNEVh33d8
+vmBVrcpWBTHuE2ELzatVDKRL/Ple/8lKm5DP3Z8N0DyJ+x3sDnuSsU8T8fuPAxaHgfJeWzcIxZj
bRASfAhgeUfS8ALN4FRJ5aVfRw5c7GKrWRIsHqupHUnSH5NU30jQiZyA9aDfjGNJBEmQrWgmORyA
7Ew1pL0dajIbXXMSQ8PSOfbyFbbvB0FjA2S8BZ4H5PJDOR0uCAC7hvEQIFeiIO+2NaX8rErHUyXG
Le4oN60FDHNw/U9R428TcMFbZBGORdFeKI2yhTdz3XgNiDMfLLtHA80aeXF07jrXvehEXYB1TY+l
HldbOzLh6HRbObav2gnQw925NlUJRFQOlceQswvEXi9tFGrJn6NLV0dvBbDb3k3TbaxTrOV+imT/
Jh7TB72H4ivaSfrXDCm4IGszREq0xvb6GvVC+DplvYb53e0wHigIbk++7auHRqT7QNtOgjLrxvDo
alL7ockhwy94nhyasGCuncZXzKvOiAYMt4yd4rm7UHWtrVWSqLDVz1oNGGF4xMD6ZNrZJQ/PQ1Ib
X/FtWPmRcte3cYXosfTJzyhhwWonqR8eGi9A3VAlB8hvhSkVGzN7sCMybRiEq6octH3X38oQPtqS
t3/jBii+ohYSyk31JUbkVJKrowSgDJBZeaB6igeZLIAuNtqGf7mqgd2tR3+4AyJ6CSXmQEidtDG6
b1sEXIFYf8K7EJfAMgBOlR2N1LrIRmsnxATdHnPlesgalffVsDba+khQbFAUWSuK9snlTbDSJWmv
hflV2JWfw5ysTTHLZgdGgnat5uZHtSyOkU+Zz9AvAwMhXDU+sxrrEj9XEF/RpoejaYKxxzzViNYK
NbK44GmnTm/l8kueQ5BvBGVZtdsl3k5WhwtjSDkFqvQAEg+sJfg8q1RJ7T2jnODIxUYm0dcFyefY
BRemxtsvQROBFv3aL8B+ddHBSnX69FqMIpjyLPvSJ/gJ8rqAvYkRjv0CRSFblTb7W8bInVpCPNw0
VRM4UlbnD9QWtTBzN37HS8YjOwf1tykG49Fs60eEjYNNDJ3z5E50WHksvQvLLvdG1B1EMYZbZFI2
Q5mRZrXjWk8qbZ8hXm7UByWIv3Xg8O6FDLBXN8wS10Q+ShvZ7XU6wr0cApjRZQX+XABWAyrDY9UK
myPtQLS54+gEv26fmp8hx0bYyFcZj3HoJo0z6hTPEhqVfd/u6FOu2zK/twz3MU5sZUP9BXG8Jzv2
7uS2P1mtu03Gm1glcSwwBmqtbx6Zuk5nwjK1L2pcPqdyju5p4PQGZAFDejBK80yowhm7eI9F3qcR
NcgxDb8i2v8yGKQrtX8rqddAZ8kdzaMs4msVtd9VLbRTY3knN8ydHMmmUBY+mGApdGxVZKsqpJwa
iHY4yoGnnwci6Nalz1ewKUwNn0K1UNcUrDtuXvsqG8O7sYyv6I+Q3lo0BVxKRyXPO8xmwET3nXcn
SsrQls2ZQsWI8w7vqkJXd03qP9VyRBrrbk14MVuh6ffCLTv6KMpV1EvI6uq5Biiy6rYg60Yod022
HShpOsVwrkKN7PObstF9k6IoCtdD+sztzZMQLhQKC2xd1fcu6ho2sWE+1Z0CTbMztqaMKppCccSs
yEtq2HKJvwMvrK39TL6o2FmV6G95wF3idDzwYyFOhgW9Ui0cOyB3NcDbnuAtmZuyl740ZXTeBpS6
peArKeUni4aUE+XsmYj87UwaFHOF9KvrRKp88JOpBgqRMJhIsx7AtpVCgwBvexWG+sr0w33vBxP6
vlmrrWLAOZPR0RpdysTlt5paB9wgf9PqQXpMabn0cbMJkky9Rlg92PPiz492QIpGIZoMl/sSRpyd
O61q46JlB+sKBaEdPbsMagm8IsjvmSxd5Y1MtQW7OjIYee+7qtiGBaTyQP2iNQTOCL/Qz8OjUSDr
08tBQtuiJvpiNSNvGYQkn7eGUe0TCDqHNhzFXVrYNU5hAFavei0z0CO37C/IWQ3npZtmT0ZFEY3D
zQNiUilKs21EAkvfrgAAVVFvrbQMWXfdu+6GDkfHhi51T7G/F3dxLuNYI7lJft41ISzHTHbbegur
tjjj3KF4oDZbNUAZf5AhEhrVld1kPmyE8Fke4lOmgF4Pk0ksYDyHZ1VNCgObyhL5xUi54Pcid9Or
PobwbsShde3pLYX7ZqCUFlsFogqtF4e7vI75Vp5aPoVymxLi5MAqksBJhb1NoG5wYx0PSOWHJg+Y
ngQkx8ylxQcWDdpGBosMIloUg7xF70GBTBxq9tdcCSVaNxSukZ+zjhk+FE7Mw8vB/6PYTtrVU5qh
OCNE41OEotCFj7TuJu8aWJO6gZq6m+bly4D27Rr+Ue2YDXOM0gaJ837s6j12QuqhQ/8Af8FAvgGm
bKLBZxngRUYIiysyezdYR02lCigdTX3WjqL53RNFfCbMiEezXYzgvyrHNXIe/xIpZQ6JZ50lQ3di
ReutxX2sbqVwTPt1z7fd1+Q56tpVS6j9lOuTfjuaEGTXaVz2OxmS1+Wg9dbJlSbSiZcr5bcewXE4
lzkhY4Okvh/bKgnWetNSLZIVyXxAUq1zqijP9qU68LweI1s7SwDxHKuS3GobuhI3keGnAWyrSldO
hdeRN7UJivSuF0MjtIIv0ZhIXyWYx+PKLxux1UrFO3OVJN8a/HUpmTbiNxo79snr4S1Q/RgvjNwf
t3RqzRSueAShC9/ca33M1Y3b2uW2JkSiVehiIj2IOj96FIL2UZ88gqca7xRFynaazSuD+8o9of7Y
X1jkM1fUMIazMIPOpaGGCAhbp8pg5PqZ0Br/Btlo/dJv+siRIaTs2phH/AoigN5d8tahLWchF0Py
Dld/PEO50KOiTvT/XvqheVENDaJjmWTfWBoP9jVmIdK5Rm3HyftgaFdSaAePte2X57pvxZedkulH
pbPLR2hb5XCIKgMufkZWfKLGjg+2bAZS9YiVWr0e256sMpPz5Bt0Fw2OH9YBWw/8dLC3PE/p6TWF
LUURb6D9mB7jtKHnFLdwwJKohvg0dg2UeUPtjSsOEEGNJoK6qE6OjlBf6tzbmDnd7K7NoMup1C92
oy65N3Iu3YDy4xNIFseiq6TJYazt/tMotdWDRS3XKdByWMdm652hKdyfo4am7VTrS2IVxg4ajm9D
VVbs22DUEvQQtNwZ0UPENrkO/OsqagvOoKxGYyErk2jXcMRjJO9rVxhoi2xHtLveSW87noJd0FNr
t7pO5BAIWhvZG3c8FpovKDPCHFbWwqIis7Wq+koVMSS9sPHPLZ6RyERJ0uC0CeQzzQ3t+Cv/Ldee
Ua6As41uULkrkxQbAy6GugfVFANwkLv6ztNUU6Mn2xmfGh5XD4Uwka6XzKE7NHrTn6iyoeuaGfIp
G3r3CwQTg5II9fN1lo7DxvIV97xEwcfJIqr4VKrJIuTQe0r0JrqxBeKkU/ZtHT071j8XPfzsVk+g
MaRpc12Yhb7XrNHYRmnff6oK/xZUmX8deq23VXD+gHMaFuYjgAGv23a60OkIguPUW5HKV1I5NtIt
os7mhdmZj3pcyC8NtWIYQh2dPgPeJ/zsnPdaiUnKujMTG9sRkbtXCjSBu1Hzx/uES0ngPETNbbin
X2nftoEObxA0aLrKUbZE0AmaUNBzKvRp2CFU3wOGwAtVh8KZSQ+AqnWnizMYnlY9ValCrCkSTQwP
LHdy6nSbgp4kudFR5uELVZQyDi5c5bqF83AaYJCBhNV17VH2LfthpM2wM/Rk62Ng4nit6QHYNo2H
xk5MBMkM2TyzfdZ0JYORcKB/d3dINhqHFsSLE4mMt0xjjDH8AT2807KGynZBzzbQYBiaSEFt8R13
t1VSh8AOzB4TDVzgNiBeuMNxnr6M1bY6DlHsXldqBz/I96iGxnVy7vqDTB9PjXjT9lisUDsCGiMw
3eRNFdEiCDHKuMgjFaJqn2ZatMrhj7brMW7sfuWxX85LvazL/UCPMUJqImmvxkFQOnXNXD8fRs0l
602HDt0qc4Sdmue8NoA/VjwWev3EO692PJB4lLbteBXbVF/tRoVFqblUAqvB1Tj76KCYZdH97kqk
hrDD2sts0I2VcEV+aeDltpZSw4g3nMwDZF8lN+/aLKZLj/t8IINd8fInAeE6czSd3ChLKuqtkhfX
AekEav+dzH2koRkUwOjJoofBKm0POnDUng9l2z4ZkaJeowtK3wqpXB1fv7D7DN+YVpuGLqvjWREv
flq/yaWqN6Laq3YpbzS2GJq0YARUyfYvzErSNhSJ08NQd+U3QYNq1WXmeKUacnVCg9E7k8lOHagA
yIH8fdzcXZbwz39PWLvnLOehiBHB//z3D/+2e8kunpKXav4//fBnqv95/bH3kk0otR/+xUnroB6u
m5dyuHmpmviP8b//n//XH/7j5XWUuyF/+dc/n9nK9TSahyb+D/i3ye71v17n/338739u+gX+9c+r
p/Lp+SX+x1kVPyHQ8pc/+QdyDh353yYLONWWgS8iv/of5JyiKL8p2GBOYmdIABD2/0HOKeZvCqc8
Eozg68ndJ0Twd+ScYvw26YsjaQssWTcMsKf/nuHVHxh2Fu9dRTrlp7g53Xxl37zBzUkuixGBPj0A
FboIcXNU3eQQ1fJFlOmbsTcpYEifudcuepDuakm53VY9zgJvr7iiWeEt8pz27pq7dv9mDb/P8B/c
rlcYlNTVv/5psB5vCCnfkXzMaCY+2Ru1ikfLUB3CXD5YUuGBY89psdlJihId+XiGahgwPRyyh/pk
GdijFXolr5Kx+Uo19VNh1eq618cD+kdPull4K0WyzA1CHrSOUcjZKml8RzPH3NIs5UAeEf0RGd0n
IHzgjih8uIl8iJvgUdfGwzhmd2MSXrDkn4ax8uh/ld0+RSBin5QSNGIrqx3Sc4/OzPhiWO6Zl2Qb
VHav5Cy7A4l2VyTNhZlEJm9FHxUaI/ysIfWxLiTluSvlT0rTi10ay7eDkXkrqnKMVIvLERWGXy+o
9iMK+z8LOqcSwclA+7ro24MdAkFqC2vdwLlbe74FyBEgB8SpjYj9TRMAjHTz05CHj1lqnlG31IE4
eZu2AgpDGxOnxGyfeOIFrZtV0n6hfQ//qb+qQ0PaoJHhba20S846VHQ2tQqwzw7V1imHZFKgaBsU
Wvp4jbsSR68u7qjf09c1W4Q2zLNf/6rqjzDhP3/VaU+92c0UueUWKGd7GNzuiqbfsUxDIETaOYu8
p83Nnay38do3XPPB1di/0DgewZKETjuSohp1QdeKikzu3ZLc7NDRfW6sGrXvCqk504s/a5lKfppr
6bU/eFeNR+Pyg6kT7D/b9vIM+x/xPkcgRy4Opevth5HalnEIkLuAELsBXL+TdffGojnlUTSnJPHY
CvmTiGqaSv4mKrsN1ZJ4HUdsX6WgY9GxaVHSUU62hkKZmd14fXf766nO0O9/rvIMa+ujMGpEpl8e
GkoBSpBuUliaUQsHsKV7yfPquTTYPlZ2F2vh7VjCznF9T96Tca3LLD8lhMqqLz+izL330af//vaj
kzUohgG4xdKaVQP50miIrO/X2rsn5KsE+p9koD9/2wn4/mZ4BF3pX8kl/uYYVlFMhJg9dKtC4Fpk
TMWL1kzrtS9Duy91ZceJx23uw1mP1eTWS6gvh7J/6U5QkQo1OS+OdpoBDdSMg0fsfW4Vtdpnofny
62/zznEuT7vrzWRNSM/9gPTBoU8BSHkvdlLC/0qpn9PUM80PjpSZh/efa6L++NfgplUFSPwVByXr
zqbCnCgS1sfbAR1c6VPeVOYXDV022xjWv/7N1Inm87PvMKP/uKlXpX2cFoDJRrQUQQdEIJhs3Y9X
VSe+IRvpblDoke4jr0H9LtyHwqA6IY0bibyPjVFT8mupPcae/DksKABWZfu7DRwQiQWUwVBN/cjL
+OdodB1SxI/rI4xBEu5g5Ye6ax/zAGNGNZiafTpAMUtH2iwo4p3w7HtVrcDejf3a0pOHUoXAbHkg
6rhenEGuPyeNtHE9CoUKOa3tboA/riMfA6o+eC4C9QaFkBEgoipvECZ0qkT+wChD/flpBH3xx19g
tKoCzo5WHMaAzDgCbFpBwFQ1cSeP6gNABqrszS7Ro3XrlZshF1tsEnk2SJc01c8HJLsgDF9LQH1H
tbnpMtqklYl0Xrh3E6SJQSx/ZJv6Knj6132BicWPU01TGt6JaxeHsJKAGDSqdRprQHojz4wLuxuF
4/HmXPs9AFVAY0iqKNFNJnL50lA8sUombA/ASgpMHgaXCUVuwwXqlbqJRkOqqvYY0N1LXfiJWvo9
dn1fbKy+eK/EO6obTzIvdzKRQFsHvZyBHRyOVoK3ozD0Oy39iGSjvPc9ZreDW0xwHV3J6XD4a5EG
RyHcQyKQGcOQEjnTi6j8zOc6GqO25Yl0pKSyTeNU+iDgXyXbf7bIsyM/teqywVgzB2Eby+t4HFAp
TUh6QLP5VzkpBeIhqICl9HZx/fs90vTnHJFjBNZM+Oy2Vu4EbyjZgmUWD3RK7eZrn/DEQcEAzY8q
hHGQKNiW5Sh6rlDkSDYAe6/zPNL3vbc2E7HR8vKYxO1Rn4w2EDDpNqlvGQ7aNvY2bdSTlXfRDnHM
feyqT6MqWaRmLSIDCWBxRSKb4ul8P1rxmQYvc8WlRDugkG9QzO4QVyq/GEjOAJlwUcP3aaJn0kWb
1vdRbD74WvTYcoiDmgGs5Wn73Pecvptkrnz9A66W+iMN+98nKpn9j7vYlKsO7Sq1Ocg9CW3lFXdV
C4IrhwG9AuRFJcdXeTeWaBpJTa2t4i5VHcGhuOEmjrYWqciatvST7VOiCvLp9e/ifovX5qHsepxD
ehLhX5/ErzYqP9sMsxsRpga+cFrTHui8X5TtOabZCG5c6RqGjCUMC70xDnTe1U1vInRAXoByBEUE
SAA2CUPlxbsepcjMHyEblJdR/zh68bkpWbuCOk9uFfu8R/wIFbjK1PflqO1i3eN3xckancc4Epuy
QKs6+0IZdJ9oqrIezPIGBRtK0zS6aUUOroKQ0nUsTpy9FE5OSfu1V82thwBpQKf91+vw7jebXbYu
xh2B37XlwUCpbkf1O76LUjrXNdzyM8UqTXRcoB9kuCuuM+qc7Ex5I432rlGM8QnmtLfXw7EAoYTn
aSUX5kYroCooaktTWocCUg0IOn0w2elq/tlHm13Z2C9TPwEUd0B0xkACFvPFs0CEw7mb+i65snUJ
HAi9iykAATSbax2c1Nqzs5MuFA/mCFL2YIn94MqigXjbJRbd1FEvz9H7QyIxzepJ7At6Rx6Fjqg+
yGfEewff7NYfQPZMZK3sQNG33ow6vsxRHYl9VIEsbO18dDQ/r8FZhODedNCZbYJFNfRK4JZecUJJ
+MYsXCCjw95QACzmBjkzQm2+0zdCX7fouqwCKKvIR4U1qprAvAVUtpWqhgIJjgQ9p8jsaU4B6rC9
qxoVHEBEqr6HnBLtNRqOUJCR74p9flAokCmAJw+rvIbLUA7hjeGS9E1Zo1vF2caPqn07xI8oSFwF
uMnlOhI8RNFZ4dIUllIndAGmrUyEBR1PkxG1AkJ65g5RRBxNWb2c9ruqFQ91NCH7zMxzWnCNazWO
QQx21kfGX+8kvX9x5lGKSDQ8XvODKyGZiTsh2VLVoU3SJW4/lR093CIp3plZ89LrcHxqKcewta9y
x06bzsmwXHWKTHlQKuMQjdp1G2pADPyC14lmXPZqe9JTwCKppnxwRb3zKvkLNTTr8lQ3wzw+RJH1
4Lf1l3pS3jbkDkUq1b/CIfFBVc2HRPUve/BtO7zIOSmFRDcmBV+Gz+pVlShPQxjc/Drk3p3RLDPR
OHL93kypZBRKcKkMoI2Q0FXrW1dL974kYJmodrFB3MhwfEVXNrDsun1cSIdSz3xzxwEDrHekZnTu
uWMATcj1Poird+o++ID+eN+oLZqmVS3nB88fOwK+QJlLq7ydFiMiRBKF8S5CM6YkLmvMq1HTrdHP
xAvCMRMFJTKIK7R/MnkrdY1KPQE5n5yN+MEN8877QszNWxQQZlbegFpN9egMnO+uQwpLlqxzk2a3
INQnwTXDsNaJ4l8v/FrGjyuSAEvEH4GOhRsouzpyd3JioBwaWEfwd2igyrvKtjeFgS9uD54gdO8r
fMBU2I9UUIBgjxqIcL8+fjCdn5fBxFzygo9udIWi9Ae0/u61MBZrrW6B2kX9lRsiyxlV1FGMKH2h
m3tE8exM87NbXAcQ6dRHw9FqMBMo/D1ngQ5YoQyfhCV9QOt/9RT5yV0yl5pgX8p5I/XNofGBZ1DD
8b645MzflEGxD2WbUZQGFoyQorYNgvYYUQ2Lq+qLbGSnEvmodQuXft9aUPyoGAQHssvuuvYE0rVK
fGOgrDiK8NHEdx3M/wA4rb789aK+d2Nbs0vQjSXUdmqrOShFe2+g8Q2Iq1/1tYQPQZk8KlH9BcHy
ek0/hi5UDSQXE2Iwmz41Bf8COfLzKvBwxW5MbeuN7HcWQQVDFLx4KVntr2epTI+sny3v7M4TuTT6
0Giag6qA6Lfl8Fwp+gjeS/pVKxpeT5l3KXj4rrA3OKHsd1Kw1VuhpMPMEqbHCXs3WlxYhftgliRn
TbeRcrXevc7vbxHk/w+F/vPgucyq7Fv9/6HSP1kd/arSHwVV/fRjc2D6I3+U+E3zN+xmse6iL4Oz
lqzx4f4gxwv5N0RrVNkSk18ZppN86n+T483fZP4I6EmaAxOlnmz6e4lf1X6bJCx4fSObwc/50ayk
/6sS/5SV/2U3qZAqfjzXlHBErWpMhZNBi1jHto+w3Rhv36zD1R/DvK3Wvzf47F0oRAwGwGVwRUo+
qbZ+r+rlH9vs3cLbe0PPzuM60/QotBPDQUevWSGLLa1s8DsLR5/+1jeFsgg0DNC6TDiW6C+hZB/R
tYs/COD3Zj57FwwD3Dr6pNjMttKXpDfWngxZftmCz04wvwuryG1oPGSqfhv30VPVNQu/5ezY8XTo
GQh2C9Sa4TAAzDU2ncH5t2zis5KYBvWqg2shHBeM0tozszNgUGKzaPC5zbWWG+bQZq4BYpY0vGuM
b4XW5Otlg8/SONvuuibi5nBgrPLmSaR+06TSskWfexOZatnQsHJ1ByyYdN3WsjUphMO+WDb3WXxW
ni9aq28Mx0iaRxcXDpFr98uGnsVnhsh5leQMbSZDOLVOTglAt2Vjz6ITicY0HlWeEHkOHn1UeaSV
Zf2ybPBZeLph07uli7I1zrdfQ55mQVJcLRt6Fp3sEhvhFM4sb0BKJLY2XeV+kBBOy/qTY1yfRScy
m6JS5RCVDVK7VQ3u5NILvPLI8ftB0fedY0ufRaiv+RKek6iaqMjUm7J09Lqvi5ZFmxKdN4ctVQJ7
7GTfwOhEHEqjfcq978nI370lJtWZt0OjAVfgG+RRCISUfoZWcnRsFPWDfPGdFdFmV6eApunGMjKT
raafxJjsk6J2li3JLDChvUBimOJeB5KLy+chwot82dCzwFTQ3Japf/L+lgQ8SFOqvuGSHN4vG30W
mohhIawAqclR3eFBb8oLKt0L12QWmKpAQwIv88GRZPXr2AGLQXvhcdm0Z5HpRziy9403OJ3VD1uj
ze2NqunFsmN2Svze7sLUAkbrtVUPu0ZcubYBH6O4WzbxWVRKCGcU2tDrTpCr952hf0UL6O/5An8v
OquyOovLWI80rwma3kGd/Ygz0EUbtR/omL4TOnPf3ASEroSr1IC2Wayt3Dq8iDv766Ilee26vTlO
Bi2x20zudCcFd7Sy2nZnaM3TsrFncanCNyhE0KMsm0CbKUz7m5SMC9dkFphV2WV5xiPeKeXuJZeq
T572ZdmsZ0GZ6L0y2iGrXSrJRZM1F7InfVju//nF89oifLPaSqjpuU1b2aEHlRxTtJbvGjXzluXh
rwXIN6OLcpDUKM97p9Os59jQb5PY/uDGfG8LzoKyRC0edHwzOKoYwIr6yiF1fWtZUvhaYXgz73ZU
Jjxk1jtu0+2USqVA3m8WfczXssCboSO3t6TGzgfoW+q1BlQehOOy3a3MbsvYNcaixNnAac1JrscI
Tj5qWAvnPbstQ6/EQC8vcYANIoiM8VFJgmU3w2uF9c2SeCiixNa0SyK6vRsblAEdB6NcdnrPrcRd
K3crl53oWB6cisaHzoPC27LQfDWNfzN1LMwSKyrYKG2DzlWqffboMyzbKLP70pOiVpcUNniky+Cs
0h6GahwtS2XnwsWIsqPkpNVcaXn9Gb14A2si+bRs4rPIjIvRL3WTIyUr6e6mprYZg2jhpTbHDxaZ
KStFzqUGxPmm9vzPTSSWLfgcSRcqNDN91tnRSGZvpCpoH8K4XHZczbVECw2FBKtOBnjA6Z3RC4TC
4mWH1Rxb1oeZWWG8Od3zUbIaWutFN5Z9Snl2X+ppL+qqinu6T9ohQfgfbde7RbtEnl2XviYsGXR2
71TGZIGVJ3d+NC4cW/8xYfNQ9pMUyGJOZgV45tTKOo6zZLts4rO4JBPULcNGI6opzW9hj0VRDPZw
4eCzRLarIUd5KMc6mtqCv8C8tkiH62UTn8WlrxboQMqsONqD5xrK+kYVLMu/54gou5G12AeR7gSj
9IIs1jP6WEsCh+rqLIv1M6My0RcenBAYz8Y1VXAc0kdNvGlD/OXZzeCzG7OFilUbvB4cK8Xdz6aC
Asbugz7Ke2PPLswyBmwUKFwNOtZs294QYOmS7iMV8/dGn0WmKddoT7hs8dqXbcfrkMgapDRYcj2w
LrPgNKNQ0vKwGB14gfJjrNT2Ez6A3dmCjcjos/AMRa8kVmX0DqT6e1mEN2a9JHwYeRabtaY0Ye8Z
VJWlGuZuoKGMKC2qtjH4LDarEvYQPZkRMQ39Oh3glJXpB2+H6av9bB/OQlPC7xZ6CVZ6MqTzvJUd
ue5+7/DLVYJgs2zRZy9NYND0FJtsdPrC3yqGt8WaYckFhB/zLESF4dqNJzF7T0VnSsqb+46KyqJp
T1yNt29vr1c9dKkyTAabXHL0aOxXrSG9LBt8FqKRXA4iysoRQEP9KSy7L0W+5OHDkszC0zVjX21V
jXO8i7/GmI/ylg2XJLSMPQtO6LewOfoR+dwke8xU90r2f1+2HrPARCusl+3R5WoL66sqRIhu/HvS
7d+LEUx6FpmxXAZFOnJeVR4t4t6uDFQRFtXEGHwWmdqoxQMi7KMzBsOtl+a3mPs4y5ZkFpmmX1it
mUObTPNkj78vIkj5ssPKmkdkkguLE0V1iloiw3IFsopL523OYrLFF9c1WmKyKNSD7Mp39rAoBVfs
ST78bUj6I0TW0qB1b4ztA0nzQdT6spPEnAUk6FML2j2wrzExb0NPPI2ZufCUMmchKQLqbGYgeqek
rY9eiFnC6NTvF20TcxaToAX0KJJzFcPo/thb8vVoN0sK9yz3PCiDMg9QLRqcRMvvpKKKHA8NyoUL
PgvLEKVLPe/VwRmyAJKwuscE/mbZksyCEsmSIMODfXCUVP0c6P0tIPiPYOHT7/6T+9KcRWWAz0Kk
GoROrwaoNVJ/NK3mYdm8Z2GJCC+wvAFpXQS5n+N8fLQmZv+iscUsKm1bBFUfUae2h+gy8xI0Wnn4
LBt7FpaxrOip6mboCjXxNnURgdT8D06qKfx+stxiFpboRKVjjla0I4ex9nvQQipHQw1G3cok9PGr
XRhGYhajajnEUpVR6TS1+BGpl01cu1+XLc8sQt1axdRyZDvKPLxFr9+Pwvq8bOhpl74pAoHu7idt
GPIfv76JejjEmb1w6Fl8eqJpYY9SLfTk5tLDQBKKzMKhZ/EZ6gGSQQGzzoMcN+hJOV3LlpTFcPOY
xWdZm+hrol6BiycWx2E89GdpJg0fZMvTuv5sO84iFPpMa8VmyYkoDfUjcLnqPHGD6oPN/s7oxixG
+8EyFNPjwZkK5dmrQ/gIrXhatFNeWbFvdoqeIFReT5lyniTXTQ/utivtZefWHAnU67bZC5t2JnVO
XBaiol3JeMAum/gsMCvwhjBead6ZrXmuAuT3NG3Z/WbMAlODgCNw0aB3F+Mc2yJrUVbR3bJpzyKz
iwWKH7ZPQhvfYifwlNT247KRZ4HJfV+5puaNTt2l1i5p0vDoinr8YE2m3/0nO9yYxaaqd6mswW5w
kAfB0Mfz4/4yNsb6pvJt398s+hXmfftwomG3Br+CYRXHfLAelNzaLRt6dhf5uYYfQuWzOoPyJJV4
eQzqsrLK3JJuyCEv1xbNWLdAIrSVs+dmCJYdicbsYKllkcCSoCquyvUOZdGtqn1U2Hvni84xTKlv
yMqYcfNbVZidocS6buGLm0Jylx2Kr3SeN0cLvHmBmWZIgTmLbn1Vuh8H6+uir/kXFJMZ9QpGN7Ss
0sY40zW03aXA65ftFX12tDQyDi15TGU89qsXOzAgAY14Mi+b+uxw0bu4klxMgrn1sXdAcOreA3C7
bOzZ4VKFljbEw7QTA/u6i8ud24tFTSvkI2bHSy95aTYg1eXYkpSsFF88dwJBqmUTn58uoRrj+cfE
sWxHFLQPt8nk97Ns8NnVXzdNpngDZXcYd3ACgQIVVaIvHHwWoL6EwZMfsVdSqLfrKsHnGQWLZRtx
jgeqKhxTWkH0d/Kw91JcZcr2atGivIo3vAnODhP2ITH5nKqcrwu7ObRR+GnZ0LMdLrBfAIVPqoUT
pL/G+yHcoB25rPiuzbZ4jV5Tr9Gydko3uoRSclEaC8+rV8LvmyXxYt+I05TVLkT4u0Kigl3u9bIl
me1vkHRWYBfMOvfdXc/HjC3pbNnQs92tRCn8e7PrHWUADT00RxAOyw7wucWeEG1vhqnC3tbHrVtF
F01oL0tp50igzEWE2xowJTMlLV1RCTm25t/zi/5PYW8OBZLKDFBkYAzUlZHx6lEJh6myaLHnSCA3
qRRdVsgiXICze9MdfZRku2WHoDq7drIB+5PctjkEDWmXD/YeATFn2bxnIVnkWW+jW0r3RO9zHAQm
HfWiX3aUvLJ23sQNpiihogNydZoBD/UqGSCzp9myeJ+jgXhAoA9u/i9n59Zbqe218U+EZGPA9i2w
d87JJJPJdP43qDPtcDBggzGnT/8+u3ovOm7TSKhSK42mhBgfltd61vMTCPMH+kDG/q7Q48FB8RYl
sG0uHEaGAIihYRn6+Z+8P3g7+ctU4m9jIhqWNNOAOWiW+HGq7Z2EoOG/v+W/NxWBVO4dOYAbVvBV
RNowTlS5o7X9L1w2reUtiSL7eQZ89IHvq3iGr2MGxuvyQNG+9rWKwuUO7TwWJvxtAjfBeWWRu1rn
Hv6hME57YiSBB+s4keIGyfHqeVtIoI8oWy8E318TEmDt2RUmVRhrzr5GYXEXm49QnZed/19uJr5W
JyxmMLsWPcPNrX0Lx+mmUNOhzgq8trduNtitm5Z182mX382QPE/7wXugL9NZKOq7E3CuMO6HJx4s
5EJwR/57grw3IF6k1sIwyim6mhPv1b2B03pskmNHuy/SCeYaAJMVmd8lSLo8HGp0R/OPfH7ee2/v
JKv4hPlmdwOfVwsEQCFawC2WQw04+JTeqkHjfIkmZozKQLruvBfo7xQq/CBQu2zR/zIHfaFO2BaE
Fh2+5goF94vUMyw4twy0h3PXjvJY4dEX7FheDBrSRRh1LlNNTksxyUckEMf42H7o6wAlCONmr1CP
TZbiHrb9t6WkHzz6sl7+ZXx8HSBUHmaYCLZDEdjmbQwQsqR2EDDaDwEL/uCHvDN/fNVRscGn2oYA
HRkzbcAJAXAJO6BDakMKZz1vB5ONjVQ8mpMtFBzi+XQFvOvroRXrK4829F3TUOHNiQuuFAnPfTMc
y3uSy2D97SACRpTW64A2+R0OlNrZ22Awx/IevvdTF5Q1+vYlNt7WApzBx0uL6ApZ7bFB8Y7nYoxB
R7AmgtCQRyAFVVPWBeFHjgPvTRZvsxnqMpm6BJputi1fQzTlViPYp8fe3NtqdvD4WovM6glgl3ta
wT5wJ9Gh7yl88dFWmlj0QqFTSTm4yFW1zdo1PvhwL0kGp/phm0ZgCcHwu5BC94cx1ofuKeDt/DoR
Sx6tMxyv4tMy7j/s3N/wWhyKyoX0luYAIyJ4MKAJHSAYC6cau6SL3Q41ElLxD+VRx1o0kePpdahO
wdbc1mz54Nj490kofNmRroudNw5uDGjg/Apez71YDzXK4q29IIBazteoQL9pJR18VEr5ZwEnhUM7
rfB1Rw262WA3g/cmrrzhE3+Y2bF1KaS3LseCWsUU2jbZGAanoemyinciP7IwxaWT+u+bIcyWJ9fN
JjnZfRfXpA4/L9H2kT3POx/T1xwpEHcgy2jwcGPe3Ey/7sDeHXpvX3IE2lVjFgMRGWz9X4eEwibn
WK1D+L4cNeAWhNWYJ0kPbMg2R+coBuft2Ht7CzOCx33YWfRuoYd4z5hVX0KdjMc+pi86ivdSlUnB
MQlL8gi2znkPyLH57XthLDgc4niAk9uKNNbNNE4AE9oqPLbL+sIjfEwyRyVefC3mN+TIv5ox+XJs
wL0zs5rjLYyTEI9e+Axw75jVIz90HgvhrUwhWrNuUZucam3AGh3u2oEfHG9vXS6baBrbLGhg5xQO
Q6N6ntqQHpuEvu6oVACDzBpjovbgruYzMF0ROXStFf8QHpEYUnSHFydiVzlB7nrTwaE+cAq35l93
K16XXbTDW/+0rSC4whI57vSnQ/PEVx5NLk66sp7hvLPo+2IPToofEzALX3dUBapIdmiYgUpLiqvL
hlLCuPzYRPGVRwAUt+CiYEjiZXwrHLkKx+752JB4B2YCx64tYkt8QnsOYL4BGH6wnzr2bG9ZckdC
tYCpfBIbhLpdQ97mqjOHSoTCVx4VC9A1wDzEpxEuSXDoaYFVNx852LxzqHFvZQoa9POq0HQfDOKh
2+TrcsyJgIJq9uv0JmjA0103J6fOgSfR1J9qIc6Hxjvx4tig5iSAyvpiFWBgExrTRKLdVFe3xx7v
LcyyrNzUXKY4uI7neCXtKSiBtzz2cO/MXAPKwV3Cu0fBWzj18D8P3LEankjiX4ecQkBfTy0SBlsR
/b4qpJdn4C2PBfjJZQr97aYJkgRZ5GWquACclxrQ7ytCSnPstP/Lr+9vT8eZtpIYGI8TLKoeWdQ+
7McKKCLxFiddocfAIkpOwehu9225LiZzLG7zRUd2INqyxiWnqA0f5rA8QZd2cDy8hQmA2VyLS+6H
R4m+Dpmtz7DcPDYHfcGRXsMptHuVALtU3hWueVVbe2xIfL1RV/Y15UDIAAURPDEF9kejSpsdWju+
4IheGh+LHiEKr2FfJ215s43jRybU72yFsbcwZ83XIDQY8T6BrXyn1/r7VgfyWHTla46AusE2HsH0
xZiKZ7DG6z6h9lYc/KDe2jSarlVJMOq02eJzgXTlk1M6/n5s2L2js3BztDgoAmAZwMLMCgVu32aP
bSu+8KjY1mq18H2DAWvxAwavLu2AvD324l5Ia0LUqeoSVzYQIIBKIKpHW2H80a3tsqv+M+kpfO3O
GgUcZRRsiF3Eqoe9bko0+3aMAYKYzOZYJOereAYTDfgd0HGqiuqxGmCMCRbnodHx9TsJ6Bw4LC67
wBjTrBvLOVuS7SOD2HeWky/hCUON3LXBlGwrhIcKJM/MrXt0LALwJTymx8MnCmtJNQJrMCWva8+/
HRsW7xBVXcm3McawsDmJHqukM2+TWqrPx57urVQgXhfZKkxJJuJvc79fmd4eytcKX8HTBC2Clh42
YfDW1llbh4gWjT6W9IT53K/HP18NLzHPkxOaZ0E9mxRgLcl+cMy9hTrqdp5W9ISfXOHi3IQrJLBi
r47tjr4RUTD2IYhuSK9UTQy85XQNwvkhRZbwFY3tUgfLXxanQDihVxl+vKjsgwp6aLL4ZkTLWo5W
GuRUkySCqzB8/tFrWKTHHs5//aBRuxeqLxGIyjIq8yKkv7f6WB1R+OqjZk2qPVlxJy+2+Y7Cm63Y
PmpcfGdfYd7yrILY/f9Ukd15ndlPMs8vx0bEW5vtKkH3C/HWKim6M6/qH72Aa/Oxh3uH6FAyM8ct
w9V22m9kDSkmjfTP/372OycR89ZmHGxdB0kzPJTWqnoze1/c43Sqz3qeD/mTUNCjfp0ta4jrvugx
NjZC83wINuKtvKDT/vsXeO+jetGukGtS9z3ByLviUcH2bU3EsfjCVyJVgwpZsOPRgnD0vYnvTTcf
W/y+EIlyyOBqjjGJLaiwSPTxwqhjoYuvRCKRAdCUoyoR2E3dLusuzjDnPeR/QoUvRargxAEMDQal
DcTb2iMRIgk/ZPCDh3srtC/jLkbrDgoq7dbe6BAqUtxl7LGp4quRZFNEXXjZWmTNfi/VMqKFMRwO
PtxbpAv4oLqe8PBKTHk9sTuhPpKWvbNGfWMiU7uyhDVrdCoVYzzto9D+WPsAHrtsmujBTd3XJQFM
MhShxU9Zyqa5H/tgzgDJOmQQgy/rLVOtG7j5h5iUK9u2DFjlJS/D+INI950B8uUJABIq0o3YIJdg
7l+26gdvkry1SfTB89/ZY3yNQsuBU46Ky8uX7nNihhtCj7VmCF/9FEVF0JXzJbdoYF2vh/CmEdIe
Ozh8/RN4o8U20TI+TaZ/kHq/rpg4lhP15U+QS3dmTfDedQ9YiR3ApUYe8Fju3FdADRpSx61HLreA
YO3U9eS2D/ZjojDxF9fmb+mihg7TtGh8TKf1w0T7p6SVx1o90YL661FHwmgOdBTADk7Wj0lUXvND
RnNU+HDEvbU7mchlUxfRi4u7B9FzdXCaeGszpKWwUYQ08VoZnjZu+LpuYFIdOp99/dMajCNa9TEk
87J9rqbqRmpzMGnpy57iKDDDFuDF7bpfOIyfA62OzW9fMUQpaIPxgt2Q9+FFG7ufA9gIHjuhfcEQ
iwDLmXkSnYSA6VRCgpMzdj844N4ZSqthFUWPmTIW1fPcuSdT0S/HvqUX5eLmHOl4xLqEGOFlI8Se
GjTb5P/98Hc2cV8zpFQHOQIEK0gSh1+LsErRC3fVjfux85l4SxPq7GoeRxiEJtW0wXOhn14MW9Sx
UJF4Me40DLMpJnzRCTiKfC4lBFtV2B1Lt/iORUFCekUuQ9Op4SVm7CYhxwoW3BcNBb1dBkBXET4r
U6RNFX8qZykOTUXuOxbJEgE0QNzxCcCY26Zv30BdOVQp575mKFihWVYSn9N1oNnV+2KyFQDP/56K
/37eA8fy6zbeA8w50hGxnFmCfJj0HeAwhz4l9yVDSaBxm+MIVZje+5RZ0E+bePvz2Ht767MFsoeA
nI3LnFQP5fBbH7HPx57sRbcqIfPeXO5wop5yruMdMsflmCKe+5ohIljAKfIUJ0ODh65/WyPzeuy1
vWWJPZYknDM8WSbfm5H/CRr292OP9g7NmbbRMsKQ9IQ2L5kyQJBO8zGLMsp9wVALfCgrdXSJxfkL
qlBnW4/Het64rxhy85xU2obYCAGhhbZHhSnEvceWpa8ZquQ8r4nDqJQxyaJ+eupdcmgD575L0RTW
YxluNAKRBVwqNY3Pdp0OlW3RT/jrgidVNTLBMN4gc4KYZVi6Mf0RgvOd3cSXDEXCKaC/LyePGsbn
RrH2VWxTcfTx3tIMZkWnwmBcmg7kRxU+dPJYIp77VkXjXLqOQvuA/WTTNA2ANLgTC2SDx84HXzdk
JZBNbUSiEyDDj5GtclmJY/us71dEx2hXgo0oyblAp3qvflRsezu09H3Z0B5L1FMZRhwAr8eZJORO
UJ0cm4q+bmgeKJFkxYu7hD+CBvQZ5uOnY+/tpW3jC/RvdBA2A5o2kxToRHfT8LX5qP3onYnuS4fi
ZCvjpID0i9v5DczhChXo7uBc8cVDewLpdFdBjbgW4jSw8rFYjtm2cV86BOPXoI8G1IbNMIe3iStI
RqPuI1rwv8e1OG1+3VumAGjsxYzQCYZVBA65YX+WYa3rVE5VdfDLesFt5UYYOoEJgn76BQx6vqRz
wHV2bNp4hyipth13TaggSDtEDzqAJzEaZo61e3JfRqTFBp8Rh+FB+uxuU+y7HLr+2Jv7OiJLk6au
LSqgQzyKjChxMzZ6zg8Ni68kIqh/drJFcLvZJJ+roskilXwE3npnKfkmRjFwGqIilw4HRWuTNrZG
P5Url2O7o29d1Fk7d0M4APng6jMpu8/7fqwVCTSpX6e7mWmwwE0HpcRCqLSsO50W2zF/VdyQf324
6toSXEtUEgO5TZlowdK1oj76Rb2VmqxknRcOEEbCy0yO8okkxwrm0Db/+uJ0QHpYKYp0WdKWKSbm
H8tHhML3poq3PLthUapcIA/pGjmke9uoU1sGxwqgiJd/ffGtTAa5Co6dJVqqlJH6LpjcMcML7ouJ
+lbxraQkOYH72j9GfelOY1KOx1a/rycCzd6xeKV4ejiNKQGCWw/jy6HF78uJ9n4F3nOCQnHuNnAR
90mk9VqPx2IAX080xBVrWHcJ0ccfYSN/a8Uh9gjlvpZoWPukHIaLKnkrfm+TyiJ1Vh0zo+Kxtzpx
9+yGXbfImZU7hLK83sb7IFnll2Nj7i1PaYJOjagPob0RYhYyxddwBTLHQlFfS2QS8N36YriUENgV
DEtP7sMO0HcWqG8CVBjRA6R6uYS6uHjYu+m7YIU6divylUQTggtFHWJR5obgRLT7afW0H1I/8H8o
iGZbTsWokGRxsj41ydBAvSGPObtwX0SkAJIcpcDT+87mqom2dNEH27P5PzREU6U3/IPU006ntKHs
G6vmQ2oZqCh/3RO1dkoC64wPOpE7NYS/i1IdHHHv9KRAAsn4kkekRfHp8ugkXs6Hlk/krU5Zyp5M
A3byaZW5MM1DGZlD2U/uy4da1idBvAhczYt5ylaEQrIlw7Ft3FcPadu5YR/QZ9Or5lPRDw/LR/e4
y6D+U4XHfY5ZWVqZ7M2OyLxm5AQ8Xfzd2QDZnL1a5OuxUffPT12QIMAV6wTJw01hmUpr5EEPPdtX
EAVk6YzqKnzRSk3PrQKcGHKoPv/vp4t/Hx1fQdR3Q8yKHpfztlib+96MxWs8zhBYotEiaFPZhvy+
xaD+XE3CDianfFujqSvmZphLXK1td79fcjAFXM4+2OPlO7+Rt27HhIHRVuNYRfMwee3GuAtPjRQj
ekJX+LKdhmWNg7Qfd6uzouARDA9ZYI9NBF98pLdO2loEAApDJZgBsvo2TDH74FtF7/xmlz//W02T
1Ggpnjt8KxMmX/U4qYzS4pj1M/fNj5gb20iWBTutdlFggEdh3krHjy1vX4CEwnpQbxsmcdyQp8js
4XWyDdGxjcmXHsGdeS3khFcftvFmNtB7FvTYwes7IK1rH/UBbS4VHySYMF2XZ+iF2w8MHd5ZfL70
KAGGV5rGitOKxob+VAsqvhClUfKdpxpIThyZZDjzvt1Q93CdGI8dbb4uiVi9ghWJFI50UQxYSBTI
+4L2lhybqP/QJqEeCZAHVkHSzCbtDV3SgKpj+6EvTdolKPK8aPmJmS58nSPXPNXz2DTHZqovTmI1
KVVQYzLxpMpsKfbUGnqwVOZrk0IzhUtZYmDaZWnyrWK3pqwOZhN8p6QkCWQrNjycymY4k6D7fdq3
Y7oh7quTcMcKxjm4bGyVKK7a/s0y3R8Lh3xN0gxZiak2HAeFtM9add0TVYQe0uBxX5JkL5t7XbbA
mBLQ7JdE/O/Sh/Pfh+c7oYWvSFo13VpFJPR91eC+A0TUkBSB+cDyybTb5//+Ie/s+r4sySpTKRJg
dFSwviGAnlLa02MXXF+XRCzaiLYZ2zJJRpV1NYTJfRsfnO2+MCkhndSrxeaZxKxMNRwkz2PYNR8M
/nvjcvkofzsNV9bVyQSEFSKX5XtYqHu4pB/bv3yrIDhKsUDAPuE0rzSD+/KjLqNjl35fKMMpas6a
YUz2nSA5XJchrIjssRYl7ktlpshqrlvkttqdLanAzZxuh2i9lPtaGb0T0pEGWplgsq/wM3zSPKg/
iNne+Za+VKYDLX4cXHdJD6sAvaDiVBfuo4TFX4Kyf7kB+O46ez1NTT1HUD90o+iuXUkWngayCqKr
rrXtp54U3ZZqiR00E1XNvwRQkM45jeGEkA6dqlzuIIK7/P8gKJ0XU4QfeRhQ+tdm8S9v58vgSil2
Us4oeaAHSRT3pU3slNaiCYPUTa7kaT12yUtdOlVlNNGxvu41W7W5CufJzXtqth1uuBBGNRvFn63o
6mgiWt3Ujm8/t7rnMoV6WuVlKd3NrKdwO1dxoKbcbD3UyBsQ9w426w52cfES9PDYcTVPi8R0b3pv
EnGSS712ebPPhcpC1xff43kzfV4rtXxZiVHlA+SH3KWFGKoh27bZvSzbvPOfoeqKCgZYjRpve90t
TxuwftFjUymR3MOMay/v9xhQhjsV9FUJjO0+9m+oPvLlblsarbt0ofFU7KkYR7MChE4ABOTr1ME2
EgAosZ6B1t4V9LGaQkDI2mK6BqZV1Vd6QQLsq93CTV5tm2jDbLRjUX4Bx3H41Glc/J52EbdtqljS
17eSRA157JuRskwaZLPvA111y6d4HPqVpRVscWJsYFRLJEVb0Fq7rFUtm+/dKNf6fwsNqbkpN5U4
iiayZKyfAwbKzn0V7g6uS9QRrp9d5EqDsi2FTDsN3TLT59GR3t4goi9F2q1aWBB/2m0/gy4L6HYe
j0VrT1FV6vh/Ux8sA0/HxoXtllvCrRBwPFd2AfHAdUr+WMxQ0J8gLYzDK+NQPt2bNl76pyDigbwb
l0B2T07sMz6AmFXhUlCb5z7O0K6/7ZeXRBmvyzi6GqrXuXGxfiqbWDRRFg1Abpm0m6ie7sESSMSb
CkcUnpxVe1FdNwSjjB6RujyLai+0SROovF5KF9Plaeo6JCF4X81NtnRLb/+QeilGd5qGHt7+bBzs
HZTOYmKIrmORELQ7r/PnvmhQV4BJU0tf26JiYW50KfLRGtLkwd5RfPU4IqD09ZGuMrIvzY7yTDc9
DjwcHsu5jnTal538VkTClLeJ4CNuerYoxx2/UNC0uPsNkc4S0V0Gx1xpjALNGV1Gm08qrr+SXWt7
xWQX3CIjOQZI01YdOW2jiT7RoaM3k5jZkPWdbsKUbp3jZ81KJVIZASediqEFI1NGcaHTeW6Rm26B
d/jW1f2ypaIUJU27APUqZcl4JQDJOMNCjn9D6zdqtmbcddZXU93mUbGMW0pFZ65Gs7DfljHZ4tTG
xigIlWux5GAdl+7KxBH7o57mACTUJvnMR6k1qNDNXuQxj0p9rQeDKs087mVK5li+si22eS+TZT1b
2J1Uj2spg3MAskN/A3mh/TYMtLytXVX9HiqKt1IKdoVZuyQLu5lkUesXEwDhlVUUnjr53naDTKnp
5Pg8bEI9txp98um4FPTTWihR5bYhRORJKxqQ2zp9o+VungsT4LK2xUEx51NvX1o7JNcbB2ErXxlf
xnPQ9Zs5TyPdlhOi51ilsNpwf45lz8gDqZSuUihQhuau7BxqaBoNYstN3yidjUXQ9tdsL3p7wpm7
2Qeogm96sYx/0r3E6HRlk9tgLkvsMwO7UZpOb30V4a+jYjFMWYM60XOFbnyRhmSLP63zwNUt+Esx
tABlY+Mzi1bxWQ1UubvIGrQCVdos6uzcXgf3um2cvQZvZr3rW+CSU2HgypTNJQuXTyFr4HHIhr09
d+O2riA/k23/YnqxXnHUSO7rqGr6nDI0GMcRkhr3ck9akq3JptEtqZW9b5Ml6X+OS9vzcxk7vqZS
iTFMA93X6/MgK9RCSrZ3+HeEjmVUAJWgJ7rEhcq3rp+hCFplvb/ouFpYDhthdNYRN+4vUYwtA4gJ
adQ3JydYZYOIN7O87qvloYC6FwVuMa3tadlCtmWihhVUqlyi3FXdtmDbpjGb25Sh0/uOsoqd564Z
3+QGluGyjWK8HhQUvbfjtm3jp6XrTYGaE0S+ybPRW+MecBYV8YOd5PZlk4bW52BH4/VVIwJ4LmRq
YMCiAVKT/Cx5YtE/Lgkr0A5YK3nbOpjz3fRw51UqbcqBmdxNcMF6mOZa1sBCUdLcYUYND5Woa7S1
L12J6itQPadtqOjy3F8oaU8sbjTLnDL0fxGH8xzSeV0Ji/mLb8oXYfhQtXeshPdJDhtMUtRw3Zho
XkeCnCZd/mxMML0hYb/naEbBRK+kHLKAw8sO14OIP7eoWX1NrJ5/yL1dh5Q2jsuskEV8Y2pm4MG/
rA+RJe6lbiKRZHqEJaBRDbuz8zz3abTo7g4ZmzKb0EaXUdOSm8j28m7V+0TyBcYPYG7gLzXfjK3M
/yL0735S2lRrk0aFSXQeacz7FwjEbHQ9sp306cotqc5Nq2STNUs7x/kQuuQbLWSCzHowrXuGVR0F
qQ7dQN+wqFyRr1IFw33Z7hUs9Jpdn5Ut6ugKMqvGpJh69q6NLBzRyU6bm4oBIJwFwkVDCus9fq2r
Zp8yWFGM1bVQkj+AIje4VNdBu17FVVNHt6yeqXHZuI7btKQj2Sx7MqriUbb0ABblUrXlczuYZMiN
JfVrGY62TUmxsCmzTTulvQMOLB2TRC2PQSO5y2or1Y3u2667Wznf26uJq8C+hCHdXQY5Dsp9rEQI
UoqtZmchTKCv66bhyPy4qEvh8/NHR+e+P49x3NhcxiW9Vatu6isBfs1w0gup8zYRNmPRjHDKqlh/
nUE3ntPJ4gxIN9p+a8Uo72p0hKfwwv3UqAEg25o1IXZ6tNCovFqpsOcQEUe6YjEWKdsoDumZiOZx
basurYlaCFjg8/WkcIfgC+Up05Sl+Ek6H2XxtLr6t80AG8zWmF2v9SyQhTEJat5swjnmogbunsEK
XfrzRFwX3xauistsXo11D9M+FnOW2BJAJTNUQXJmZkB7aYkWv9ClCGLK5YaSng9ZO3WNStdwX9XZ
iGQaHtlcOZdNU8fKa70reAqvtaz47cQRj6TDYGb3cwvbWKbR3gLtNyMIX3JbLKLNh6EMSVZTxA7w
X1/J+FVURWDzgYrC5boEqBMvtNpX5MlMne0wn75HUI+efRYX8x+LE/Cn0VFB6mxRmE13CR/kIzKy
e3EVxAiurlpt4+1VjmMbYy6HC8n6ctq6T0M1s99MbEKskS3QiFBkEQyZgAVth7p4qOvcWli8XbEA
LgRnVsiI3oAF2cqcCVKWLyV6n8hjJ+OdpwgHyuuup0GIEejC6RG9UkWXV8tSyMy0kn51PFgVcm91
ovrrwIGymfY14tZMxnXHHlsoFKpM1RZ9N/Nq1dMcTiiDVhFMHNJkh1TvOpaVau+GStBX5OZnnmHf
7K94SMVTs25kypvE1PZlp+Pygvcm35koYIqoYXpQ35AdLJQUJrVi/rHPmwhPoHkjT7d207LlDa8t
f0NzcTJeJ/j6imcjp7L87roJZNS9RpU2LddevsZCrw1MnauEnAJAcetsCybSn8se7rq5Gye33cFj
yo1ZVPbhkLcOTnYZgn5yX5f9OiP6tW1/18Hn6iucUgRJtXHwnhzMtMJYlJv1dxn2K60gMlmW/trO
2KCvbTv1+mRHhe44vOsswZdv4griSBy9J8eGoH3CPq7Wz9qhx+hu3yrcVcN1U93NusYyzEcOZlNe
rHQXOZ3CKMp2mgzRdb2EAvvNHFaw7J6mbbqme4Jr4NKAfvyGb87iO5DEu/FP0+MIvYqTaB9+VyHa
izKW0HL9tMXVRp/ZHLjqBJugQuR9Q7pzEnH6mw7p9FgxnP15SAcX47bQTeh/YGgqzttoKPZc9tq5
a2PXhuUiavrgRlZQ2z0jEGUuA2izHr+IbjfmQcHtDRHX3K9IfVTTeCZ48mNf7Agwu65i7ZcmjDt3
3/Qxl78FbRzp3+awI8kTXadFXG/o4n2dWcwM5llrnvQ8xvX1CL5PnCOspiob4Pffn1Yn+zBD8wOR
fzIGbaFOa7ovkP1tLrgPeFJMt5FB2SPb26E1WDFG7+nQxBIKXg7JHb/FrJcYfxj4BE81KYrgE7hQ
CAeaIsAKwsduqqRFOxW+05ltZFtQOoH5WUqTyRH0K0TjazS1CSYd+sZX/c1o1yw/JEwoix+TKuj+
h5wxc+3PMMRCJRdWYzviigoKapG5NiQu3bhe2ckOF0RcXcvlzik7Nnm74vRK1VjiclvWU/171CXJ
bysAXpesvClJAlw8xwpAlWgpz67DmbnlLMB/C0AAlFvWuyJaBr19oiBcVlsmZ6Zmk2MvqHp8VCdg
idLg0qTzsLG4vUzVFsKWDzVIeYLNr1U5q9VmM3AQQpJCiVMa7AorXEJmXLbfZoWmcySh0ZrY8Rxh
I5l0mvACYuBUzO0W/UbDhnFEGpoGWVS1dfk004WVf2KbHfp8kZhL58oNXNyIeDagLcRyHeU3WY2h
fXEVMgQvveamzWyc9CVuGaUDSLhl2Pw49tHiFFNa1hICr4ntD/isSX23g3vyOeyTurmiM5uHp8Ay
GuYzdpjmVuth+QwAKoitpndV9GxqNSM6Ra6A/OliFtETJ2gtvIaoad6zESH3/NlulsxpvHdde7vZ
pZivKksZylx7+BPKnoWkiy7X3wmaCD4LVzq0gwTGjnA2dazPW+0ic8eXpf6z77fCmtSG8BZDCK8V
ZiEF4lCdl5bwBr+lgNe/NY+dEfoai9D9VpG2ECmbnbgOk138bAjHdTUhLY+zDcUSe2Kq5u3DhK9i
mlQNDlnqdJs63aZ7szB8CbfHn0C/RtPbtkdrSvB588VO0ZyH8RB+SuQU9ncM5TqG2AfHW1q2fTxC
wNm6ENbDFoceyJeSncMBnqonacL/4+y7ltvIsmx/paPes+d4MzHdD5mgAUDRiDIlvWRIKjK99/n1
dyVvzYyQwCUuGaGIbhVFHBy3zzZrrc2TXyMN8u4CuqKNQHvDkFrcLTjYXlnWqKu0DgG5ZJSpvGMW
7e3uJTpmFR5HGjr3ZgTJ6Saa2ybcz2MkG9i3NOQuwNIgiUeIP9sthwD9h6nrgthFV6nB3DRiqhFD
OQWPGhddZdVXmTbmLz46pP1GaNOMd6EGE+8SSV2IyrJC+pjCmEt0AgM6LfQUGtE/4CMqedMbx7Sw
Q5R2WHKoyEFPOKvi5JqoIUPD9M4UinvQrqBfKEHmyR0hNfGYUI2sDFq6+Ig0R1WYLd4b0AkFwFJb
ZNYLhcZmCbfI50CCwSNOVUeACsDMQeilHxEGqJKITeUXwLF1WVD5+5rmMzqRU+0zDyGe+TiEldUu
sYPJvdI00Z8KomjbtvBr5gUsM5/9zgAtXZU2/FQFlfqadDqRHiVJ9AP0r/nRoE0EvuSABx2Rj7Bu
H3J7r3o/+q5Jl9KNMyT5FoNM93zizgUMa/KQBHHL4CyNQ+Z1vmmuZDC2ZJvFExDUAnoKvlcmEg1L
4h6NkC5nuAHBJcS0ywDvXIfuU4MPk7lz6qEIH4MF+Pu9TEq4OQyVGPEMWm4QPmaA16NEQ/FKIV9j
EDpEPhJtt4lt05tmkuQi7hzI+ERYjuqiruPEfIQoLhk87TBYXR+vVt5tUD6X/qbu4NxXOGAORSrN
SWtXjsgiefMYZhCdRnbEldF4kdjilkk9fR5Y0l0HqSHTvg2KvP7VjMTHY5G1bbBzpiYDC5KYiNve
jUGpuR8J56lnkyqrXKG549zzago/tDw0xAvaUm9nMzr+tslH6H8XiR9En7MA3fPufRMJBh+V9qPX
RUHwQDRDBybbdNmtbHqOBiSpX0wfRgTVW14N1X7ymeg8xE5QGZI+HtIWIVlynwthftIsTaNNouGZ
uIWM7CNHd9EdSuElZKy6voaX2UfjF+RocnjQDoiuCG3iot07tVYozNbD9JUUw7D1nXrmbmr9+Lbs
i+w5pVpXOfIQFNbCn9I522c9Ar59Xxsbu91Mu9GbkhFxvsxTB+JQEnt2ZeK0b0IXMjqR/6hlUJq9
EzvRLi2TdPBqkYzOjvldV2I1dfuEJoJJ4MquDbVLZzFVVwIiU986M469Bz/Ov4vYwG6Ebx+6LgR4
FIJ3ZtzAbM4fGh6V7CZFkfsJRHr9ACEI+20yCC52eUhT/7qmKZFXRKipu0Kbl7p122qIPkrQEx9E
64eVW/t6+gbaov6T5UO+S1qeX5C8v5xC5Fpk/mvguBKuaJrhT9QPhAt0DLw1VOthOQtyGyC+vOPI
f6N3VgOIwEUP9+lLSOdxW+HtfACHpnG2mRqRIk2VPzwIy+Zd32gZuZNv011QXv0q58FtJ3Q6GwUZ
NvqqtZCW8NSSCQ5pHDyyNAj/pAaHKzJRDuySkN0VekeCllcDvlh6bZZgK2K0IbqdgpTdqmCefvhI
8n3OpN/cTaVt6bXN6RdLJnca6mcZ9J/mNKVILLdBsIvlDM0zA0jnXlZhuMXGOG7ZoMkKcDRDNm3a
ph4yF8svP/vOPPYbBee59jonjYAVQo7tmc8QmMNt4MhBo5Oj/WgRNN9FtjN3Do+zBq/OFDQuxbHF
PW2m9CEmw9hfziUXyUUYTci79kRU39DFhTC83JwjO585D9Q67ZZy0qK1iz/kv4Scpycz9SVBAnKS
FZ6EzDznUEL7S8g+xq+qqk88H3bXR94DqXlkIkP2yAIkqEGxG7pvFcsz5g45h5hBWtetvymsjmuX
BdIf4RxO4003jlHsSeTnPwEFw0co8Th5gKC0Gb4jRVjml72qzBMuFrtWar7NHZ7d2pgmH/hc94mr
St7dVcoGH2Cu9c8kQzPyM6iL/0exaS0NAF3ntillBFi87tkW3NXJ49y+TwdHr8UBUoLUBktyIEZw
xJ0e7lbKnG/vKwWvQOBBVEZVHy/FQxpfxz3MEWXD+1rd6HWjiKoXUdGgafDFOC7np0Tn8GjunPdx
Eda8b8qLKfTxjF5Aa5Oa60iReccaVELfh3tcE7+BVo+R8AakchjUR+LfMBv/+a5FX5O+pylGqiWc
gboSjTsH6t5R7H0ncc34RnEJhI8cZyUI/J/lkH2jtTkH7Dt9ytWa8t3lOvV5iM+Wgf+1MbMX6/e1
4FNrwnfURKmMR1RrQyf/LjPUsYL++3sWW60J3xz2lUMZAIJmOTo5yEFxFEGf3vfZK2Agb6vQIioE
KTtjTzMKLLai47sK2ABuHYIRUDoCIaZa6Jna+Ykmce2GBql4FwgNEkCHH47IZsy4BEET6jfxJkYA
/QUltOpdiARl+eGnczEhgdgsh7Cj/g1FqqLk83s/nB1+eAgrPmRJATBm19yqKfZY2bxLPkatG0VA
KxKJdwXylGjHL0gtooN6+PV9J2UF5zUtamUO2DwXfj3x+ygJhTvMQfcug6LWtG+URZWdwxAsewel
nKFytjoO36fApNa8bzkQYhUpIdzFkZtF7QLQBcTV71qXNe+7D0Zfz5DvAvTOfukr1KSQoHvnZ69u
ZzZCmR+ZbsBLanad6u4izem73h615n33aq58bfC1kcu9HPL4u02KH+9bkdXVrCGfqeQirKd5N3sD
T6brqGnmzfs+fXU1zQRgQeBD3jHubIOG4fWGoinFmRdT4woe407UmvYtkceBZC+4MOnQwXcMuI9G
qjUZAbvgJerCSGvFSXmdKTr+3ULrP36N/xk8Fff/99Obf/8X/v6rKJEzQG+m1V///anI8Oe/lt/5
n39z+Bv/vnoqbn9kT836Hx38Dj7373E3P9ofB39By12gZB9QDJ4+PjXogvjy+fiGy7/8//3hP55e
PuXTVD79649fRZe3y6cFUZH/8fePtn/96w+2uAX/8fvn//3DZQL/+uM+jNKoLKP8qTn6racfTfuv
PyhT/5QWETmUO7jmZKGyDE8vP6HqnyglWCkl1DEIhM7/+EcOdHeIUek/cQIoNUAiSeSIF6BtUyDS
+9cf4p+KKsosapCLGCMBB+y/v93B/vzvfv0j77L7AuFPg98+OCNQpoCcCCdUQIEFtQy6xn4lkjVT
DSGJmzpMnEum+w7SD7Z+E357GUUIBk1eKkEik3atEELjrFyeuvnG9pJfTFFVeQ1gOFe/rfzfc3t9
LkIIwNcpB1+IyzX1fupbk9reTjc5Inpvbp3ZMw0Ua18f5UWq63+v1ctk8NkK5Du9LN0a6msslPsU
yhc3fCgArA6tbgJkw0P12aG2vgPwaXgmjaw+pRUF4Fv5gZEbqVIabyInYefYEMc7KKThhlnJIduo
1oTdTjSBHFmIWZO+2RA05NtNPi8u3j5rJZhlhgGqo8ja61RVNjphUA43Uesk6WZOIiCm6IzEjMfD
uUTjooEzf8kZpr1HGpN9meeuUxs08CrCTeEAGfH6N1ocr8NtkBDDIQKFEWwGWTPnkBypfbRf7W+i
ufipc5Fc0rr4q3fm6owZXd6n1UCUUMWJxmVRbK0hDE+nLSNW9TdTEBa/AiCQAMJUGbqg8PG2MMU5
Jv2JA4a8uxGYlJKLVVg9DkHaNXAFMbNe96VXhKAExckwfpNIzH11cj+NXSfr9TPgXc1flJbhM2qN
2gOnGqnR1xf56HAJ2BoKBR9YIMx/rX2CDDkwOmOp9yiw802GcqrX4gqeuVLHo+DOEibRo4qj5dga
mU/j0sIVs3LvCMKuglI904K8TXcG11Zg8zADK5RVFr4Stvk3VLHhOcWxLMubSqJ5Uqtp9TnSBf36
+oLBLh8eFsEAoVeMaMWZEWsbVCN5V6BTQXrDUVmZL8MMhSD0Pqp7czFX8fANaekmcmdfmnOduF7y
DwfnFEPjeGpDpNVWrGNO4oclnfumuNFwXkrPCeIk39SV4fu2H8MBFRiNmnFawguT6Lscu0oNsnNr
rjiKk8kUPiCv77Qf37wgRgnJlDAMVMs1SzTts5r1ua5vYoC7UMOoyom7ZU3y5zSOK3PJslk8V3GL
qtzrAx9dW8EZRbYSLywVEOZc7XeoOauGNEpvrB+Kq0jLfJMBfgSEJWlvqkQEl6+Pd3yIl/GU4cC6
GYUE4OH5ylRTB0ifpTdZMDBvGNlwYXVxDrh+SChaTjHHMmrMB7cFh2QVwAiL9jSoGaQ3BfAD7DYh
eg5dPSNSukx95PH2va3GT0qI+KkBVPRtwr4vw8MfwRuuuF3+LNS83y4RwDVjWmdFcVPUFq9r4kCp
BKrnZ+zBi/ro4VHmeMmoZBwXnuIsHw4D0a8sKCqT37DZyQAWdtJEAVKSO9/DOC3LLUu78VevSOS4
QVNUn3urs69WVUnnBZNuvmSqBMhUNU4xupDHqwcviQEOPvc1T2y5wdNAlrON676mtia8KNGUieU3
Dg3Z56GdwitWz9lGD2F0pW3efymDYf7MkDC9Uk2pPR7PydZKAgxqm/tAMJYLLADy0a8fxRcaw8H6
aYZkMJdSWAikqjV9ZRr6eLB5PO1Tpw1vuwSIQMJZXroL6G6XGTXvA+BIrgcASq/FDD2BcIqSv17/
Fker8/IlkJ/CcZHwHFZnpaqDgTKoT+yDUHeftPSzHYnTs2dluVfruUpMcnHIuMXiHZ6VETWlhDZL
sX5p7uemYHigYy3neeANAjzgOEzTb4Bj88cymYS/KedI1x4jsblEBTkGWnocoenx+tyPnBMN4y80
FMAtJPDJWqClrZNiYuM47h1AtLywsc12kmy4BH6FnDmFJ4ayCAMoNhsie6jFH86fZbwcuhZ4qFjy
cDNCYm0fTTNKUSZSz6/P6sSOWg7FOXD9LedH8rjQU83LwMm6ve1mvuOyFhuQYs81xTsy3AiSJKR2
odiGkAQ+5+GEyAxQDeC3LXAcbXed9osPXTrTZTeI8qGquX8mPXZyPM65YpQwjMlX4+V9ymaO8Qhz
2s04An6N+nnsOb6Qm47O57QBjlwELZE5gJAU/FaY0LVP1Q4odlWBrvbBSGYgzMoH1Au/tNw8js4A
hjxTbz4hihIcESXRxpCytd4ZrZMcQkdFvQc2eCrhfDQ+SoFtcQ1hO/Lw+hF52Z3D62hx7y0mByYR
xdN/uJpBPQW+L/MZNVS4Ha6IaKFdkRUJ3Qx1RSavGBZSQm9pHG31OAIkoSpqkNEy0Exxi2FuPzFA
Qh0vBEYJCIMCxt6DuczDyzBvnMBLpE/RKSQFUswjMlf0piZBXnslAOZgTrSQu3LjfgQiNXbMPG2m
fsl8SDlVAFd2DEA5J6dD4BnoM317ffbHFwSTV3i0LMJzwtZqO4OdxwboH7KPWYMESwAMalM0b/Y0
lmAdlVncd/wvMgeHSwwpoiHPA0H3tqjGp2zuhBdKLj+/Ppdju4JRKOCYuBhE87X/JKYid0ox031T
Z8OH1LdLZTnrL3wgHc4c0FPLxhHFwipLSxEKHE4IpZe0AFGL7BVaQnk8imog7qJzBNcTryJmhDhu
SaggXl5bygzxGpgYDtlHHGhzNFdq0A1SIf0OZM+S6Bum9Bu+SgfZPpBj2tIvNrrp8jdRs+FCYfcE
FYAiGlwS5EUOJ0trlcALKOheJwNg1XMxuElhhjNLehwNLMMIRgwiSLAw10pBLAQNMS2QaeWmLbfA
BXQAoJhmuvNVjYJu1TJQWQZf5J+NRYt6T6DHLnVFXKWgzgBwpx4A8+rOvYundhoZLcMQEVBz1KaZ
lXjHh9an+zKcc88OVrm59aczr++pUWDyhODIO0mxzmZPsuZQd2IUXI66cVur/bth5m+TAH7ZSFhT
5F4QWeLhWJcP/c4GHVgi7V4D6PvVQZ5gN5T5ubtx9DoZ2BFF4V3C3ydIbR0eFyAjTYNM7LQXRRL+
INDw/Y4Er/USHLSPLRK8V69f+6PXyeCpEAxOI3DxGlfycDzQKYce2ZZhDwCDA+/U1/WnaE7zP6OO
1zcg2/heW0fVmUtxfFwhia+RxgK3C7kAua5VET0Z3Qct3WfQgt7nZV6Rja0b8gDaXHdJGgqsOQDc
0QOzwbirKe++UNAkAXsLsvKazDzbvr4Ox9YCnjOcD0RyOKeLe3+4ED1LQfFKU763A6Bnbt6LZpNl
lXjQTa13FVHZBxVXwYcWnvR2rurMAvPr6MvXv8ZRvLd8CwEnAe4tFmftDDVZHOMiFXzvZCEQ1MCO
A6ZV9uWlH/jhRUXZ7Dohlz+J80ZJKpzvZWjg/akQaPiBbTlcAG7zxPpBz/c6V8l3fxzDn5nztl7C
L4MgaYuY1lKNG7sWeRutiaZctWw/ZzlwaIFPiFfwN/YvfBkGqTR0AMVraTkymIdzKRAfzEiUsX3v
x+BogIiyxWPkXLy+WUd2ZwnLNc4LHk74PmtVORBtmrCPcrZXYKiA8VlllwTRVfFW87ZkMwhcOaTr
kWxbn0zmJCUUyUq2j/1EbIaAR57pQCh8+2QUxdFDZo5JspY9i0wOWGges31lFsIIYdGFkxZv68/4
sjFL0moJEgUwAGt3MdFVAfpDhVHAh9ohUmw39WzImct8bNRgXPAWLu8uvLK1GoLKQS3Oso7vu9gv
PwLoPH3PgFnfkBgJDNZnwYc0FNEZV/jYcsN+oOSLFYQGMgzJ4Zmr9ThHzEmzPQ2jat91ifoCY+Vc
gww5XQWAZZ7D95wwohyZTa00crYKvvfKdvNEhgFYFPleo+U6QG9V8SEVweCmtGfX1pSgsLZTJHft
LMTemqq5y2qnvwY2q9pmgc3OSVq+rOtBMIDg1yITigSAZQh7Vkswpjk6QOZVtq9Un6WuGcrio6pz
dVN0pH8ybFB3psvS/AKivUG64QHoIy60jZsfNRD6wcaJxiq6aAwPy6vEdmXmLa7b4wAOBeSsRZ6f
a6FywurjDbIo+ilYPwMnYrVpPsROG19le7D3mqsIQM0bBh3tR1Ru5D4ooz65aJpxeDZ0Aq8v6x26
6YY2POcnLTHuauEQYb+kqSk46mux9ASZXgUkermXgx+FLsmMvmxtmW991cfGjRVPc6+wpP5Q+HNU
uWE3h90Za3YUAMBMSlR6GMj34BWuwUAdlD27CvW6XaV0t/WjwW4sXAO3m4h/5n4eG87FnuG2wNig
h8Xaoo2TTfHYlGznpH6zZX5Kwcnn7B2joHxlkZRR8DWOap1N5oRNCWkenHd9BVZYtfXj4JyO+6ll
W14ArpG+xAKu/IYhJFERT4TvolrfotHUL6cXILz51XjGNTgxENhLS5ZEaUrZetEYh0NI68zfLcKr
uyFvpdsaJ9tFffD81qcAeSVcX+BLUEBBLuHwUtgU+CohUrszTlRfAduce1FogjMhy4lDgFEs9hWg
bopX+nCUCc4FkwFegbAHOU02NgCvANWT1+dyYtXg1Ui2JMtgldb+dCGrCq0YudlFDWWgLEbldZRb
xwPhyJyZ0OmhUJxcLCBe0tWyobIBcYHJml0BxPmvqGp+aiwxkhBiPCcLc2ooeOx4PzX2CV7b4dq1
BQooThibXYcK/i9RCX3JlYhvKMQszngfxx7pC1YBCHe+pL3XIKeMklKLdPJ3GTpDAROf5I8xEq3w
2pwy26DI1u7bQkfgyIClfc4nWR6MQ7uIwTViITzjdpnq4TzBX0mMDAt/N1RREngwwkXijSBN/kja
foi2NIvED9sWGWjkQkBvAUyHp6Kw5TaKDUFOD4fikShbOgDYRimYvGAO9Jdxk1Q/Vc2i0RPNCGAC
ASkcckxTXt+0mvWQq4VqS4xsAZ/xnwM2/FVDiqV34dz5qQvFDpAQoTdhP7dzNsvNNBvUpcHaNB6e
iPAqAdEkBN8CzuCmrGzzsWJElF7v6+AW/z7sPGFgJdCksiQf27Fk0wVUIOSPqmn41zhsqmRfgCsG
ClJV+vbMhh47R8gkcRxSg3w1QrvV2anKOgDr0Dc7XtjPaVl8skDOu13u3Gexf++E7ZkI88Q9B+gF
GCSkYpZTtNpDPqLWS9LZ7FQJxxIM1WGX+XV0Jqt7ahREkki+Uwu5pLVcqiRk0ulyz8EVSDa5b6QX
Q4DmDL73xL1DrIx8DjwGFB/WrQfYKEEx7jEX30q9dQQf7kWOcyfY2Xt3aptg75E1elm6tZpQCaUc
NfSD2WXt3G6UGPNbJDnAf6Sqia6RFJWXRVO+axnhOqOJ0gIQ0qvDYeJgEduADYPQR3GVRGHj1tHY
n9msY3dnwZYsDzPCfyzjssy/lRUh4hryuSNmZyDAAOEU211OU9lty6Hu74O5oLg1fNixwLDrtovP
tXY44fWhIooY3xIopuBoLofpt/EBHR6KGryNXdvnzaZHbvkKokLMo/0S+sxTuSusAAoDfPGya6I7
y33ztu5JSySE7yCRtEL2HA0C9bL/v32HtivAtSJQuoDfh2YtrIEWRiKH8PLN7x+oT0u9DMVqVCBW
ty8FG67rQW3bFTNUXZy+zECS1RG/AULTnoFlntpWSe1LLGIkFvdwSjJlfh7N3O5Y4fjfIOw0PPSo
Gz91YzJec976H8qu+xmWKbtzgln9en2mJywASqDI9iL2WGqgq00t4xxA7cFxdmPfpAzs85ZdBJDy
PVdeOTmOgRsGg4bof50x4wGrJE+0s6vLerolkIQCvZvKj2+fDYrhZKlyLoCGZa1/Ox4RmLJlba2/
Y3FZ7lWbdpuxk2+TIX85hLiJeFsXDB1FRexwlDHMMzuA67vraGY2HZvrTd6jcd3rc1nO2OoVf0EU
AYxDIIS6jiyASyeZhCDHLo/gjc86p08RiHP3Vd6Enxpeni0pnjDTqFgiBYC5YXJidRBzkukuSFq4
luNSkkFqazd0ZbwJlHOuHn3iNACkgQvGXvJma1HHnvphGLPK7HreimuUVcwW8ey5LO2JCVmy1PSW
EvPxzQoDNoEXKc0ul7PZQnhD3VZtCOGRokg+v75ZJ94dyOwAUySRy4C/t7pGEH0Luk5j7cwsCy+t
DNnEcT3dJ6Wjr/s+op+4353rwvwip7w6IhbIPomkIPw8tq7VpD3K9Eh56p2dRL4bc+Z8WEBMzyDp
05sECrfDtoe8y6PuqHY8mTS9he/pj3uCsg5365GpP1HeB9rSgQSGdsFSnL+NbQHxIBRnfeq1XUq+
cKEJ2H1l1wabNPFbvKvIC7Qu1IjGGtoygVRXCA7MjZ1om7jg3UOjgya5+sbROvvehPn4xeEq+ZPB
jEJMqQ+yK4gxVBNwkAGZNq/vxAnPG08kaqsovSMYW/fsDdHV1a/5ZHat02VXxphi2wmWbfOwdq5Y
YqFWE7eAQGRFJN+ksfpiFzA0fDWL/y9B4T+0C0U2plUFivVuymeCBkWJ2Y3p0L79bQJMBMdMotKB
FOfqqCUazyrIkPBE0Z3YYx1I+PEYQQtJDOeimFMXaDFxqMJZi9Tj2tBVBSQS8xImCHST6wA6XxcU
Ck2erLU84yOesAgIZgEeVWgXyey6CwOEJYjJ/U7vTOrru75i0LardPl2rxrTwJotiAn4vKtgU0Ab
LE4Q5OyCbqyvQQC34J43318/gadWDahzHIAFK46Y9vAYwDGL9BAHeldoSMv6NJZbaCBkV8nI6MPr
Qx2jYIGYB/rd4pyjNnCEGYd5hks4jrAA0NXw0OcUcjm2uolUUHrh2ECxaCoCtxb5dca6zTxP+7Es
vrzjS6iFWKMp8IIIJw4nXGZB45QDnG6g5BFFVHF8ISBEtyHKTzfInNlNZ9X3auyyD9hYZyt9tJLw
Td+c60h9auUBBUZVAaly3L9VVskIhNjOHCHABynjSkJ38LpzBlCjuDrHSTnxOsMDRgYGBUeAcY/m
DGEw4LnhjEN2U3vwWYPHcMjsNYE3sBcQyXx7Ws4uZh5sBrhqGPRwjfO2zxS6kBs4ArK9BN243FgK
VOPrW3nqFupFHkEAvgiXY5n1b/6TJLWGmqLUOwSf+rrsJd2xjNVnLNipURYTCUcDdx2F28NRIgmF
LPT9FDuoDxIP5ZkIMYQ8V2c69SRbA6cWpeElZFllyhyoiQURccROmwrKsMwXXiNM7AUzQqNaDjNa
suTn2HjHJxB4HsTSuImoB+EJOpwasMI0AtVX7XQD4Y9e1+FGZ0kDxRp6zji/OEmHrz/GgiWjKNqB
HaNXp91pB+0YlshdCLkF32UmsIuacq17l6XIH7hlYZNPddJDvQcCtQA3Z9xvbiRa/2lw1VPk5hkJ
s6tADISDgVGV1YUBdRsqmU3ezu5MoHWCd786R0Q7vjvQt4H1hVsLcIdZG0iHGycEdF/sJAtQM82m
8sMgsvl6SJSEFpF0zhUKjg/cIqiDDP0LrJ2s2++lUVcC01WJ3bRAAFu0nd2i8bk5c6xPBMigjSNe
ZAIxI4CGKzsYDzM0VZD03rUmAHw8QEM+16qObdQENaaYJeF2hEr9hTSZ3qVBMjzbqE7PfItTc0UW
FfkPICrBjlp+/tsVhvpG7lvoi+x4ZsjVWMlfkBM652SdGmQhVi1qahrmaGWNekIq2yFK3PWpNl4h
zbxpxRxuXrdGp84JfCm81XA+UflejeID9gOZRqp2AboGeEDbyEtYyNLL4IJfIpw8VzI+dXkNAVkJ
eUVc33XpI6QtbdC2Xu5mtNNwoZlU7YbMMXeAPqTXr0/txAKiMI0ULVJ7QMGtTaCoVDcGJXwEVJc6
KCMuIi0t6F/0zQYdVQ+EJUi/IZsB3+fwNECpuwqn3le7DHWYD40ALCR2ko+vT+bY0uLDQSJALRB5
Kbnup5FPKdST8lbteNnoiyLvUJjwibppQcHftOgIupvmWpxx5Y7TJjgQiLlQbsF9A5XjcGa6dCy0
piu7A+RiBgGoJ92Xua6QKRl7qMsw/PjOGZop3EBf035PJ8bq+9fnfWoTF5oM6kqYOopmh19BGT+q
bTPbHfS+xSP0U+2d7M6+YydO5WJU4BLDN0bVdVn93y40wsjC0s4iFzWIR+MwfkeqMbgg7VScuW8n
5iPwjBjMBm8KKBqHI6EUI5tM5P4OgnTcA1GTboJcO2c27vQoWLaFJ4YXbHUkS1YsQlihv4sRjt5n
YIq5qDJlZzzjU6MA2gdUJkE+lq7jiTQSMyIJHA9lC/+WTzZzmzQuzkQtx8EmUN4AmGr44MCYrGH1
VMT40yuzS3VVXYskaK5gbZO9sjFyd3013gw1tGtZX76t2c8Sa2JkECwZ2FogwK1bvw2zmZEzTJDp
Kg297XhZR5DkQvfwMwbkxN2GAVagay18GkT9h2ciQsUZ+lBzuYdecLHnoS8YdJYrBh1qAIQ3SZg0
F5Xfqb850gcU6VdpqkudBSg7wJFQTQVX6HBcmajcF4Ff7MGDZ1DaIABmgrZ6xgy/CGqsfCiNSBBg
kJeTotb+mmgnB7pp8T6dp9m5qnO07fGWFD8ktAwtr9ps4ARK6pw9144RH8nI497thmHel9D+VN7U
51DPCh3IUruobzHuKVKVkQufrE0gBzaHUJuOp/m7I5I28KKqJBCE7tJh9JJEmU/ASaAtGwWzxPdG
06EpRsv9ll62UDxHs128IeHF0IXsy+zPI3H9UBXQBIE5fIZUOSimDH3eHTeLdESwI2Ey3FeoePNN
nAZFsh1j9EVw4WD7HUQulXlMi0UIqarTLvgazaEePMiWQ8jNhpR8TyZJyQbVcdJdE6dMim07DUUE
VWAigcFXYd9eANmd6YsS4rbC42PVTRd6bHwo+s9R9D2QHU03hWkrtHDwg/H7BBmzHhMVPfX0OBSP
fi+LdmN8Te5kKaEYno4Nv46SGXD0SDUw2S3prRvkNP7aRBD39mLkp5EWz1jaX+BtVsOd0Ln8M9ZZ
Lz4EfhCmLiiwJLoRaZNwz8mz8jmk5kEDYWZyDjZdYh064TmHOPd1oVK0cWtpaZXXIlSzl4b09KoM
aotCaQBUpyv9NH3mWebsZwjxjRtgRzIf7LHI//r68/Hiiq0O34LoAvrBLLCOdfrODNBsD2PV7fu+
zj8CH+R/MLngj3HXEOjLhl27Reu+4Vo7Tn+p0CTrEuIw6pa3tXFcmQaQRS5j+0hJeq7/+MmvBllU
eM1g3uPlWRlp2hUtVj8f900mk/tp7tieVP3seNDAL6BXF3d+81wDJzBtSYK/uE2WtMWdn3YJTrNO
85+FUPQvP6NF7ULyrnG81xfv2L4v1Inl5Ud4B3jH8vPfXkU+4BUrQCTdo8kGgZIYsvy3UpaQw399
nOPXF+NAm5YD4wdm7DpTTboysEPMuz3ERDW0+Bz6QEvGLpFGUl9eH+oFwX94HhbMItJsAH9LpAxW
/m5pwqYgMWn2OqQJ31AV9Z9sH6TQXSrSMr2wk62jiz5sIRHAGOrhQ9PLG46z+5mZIpzcCCLU0Bg2
dX475l2h3CbvfEgYIg7ON5OZwLaHZu6IZt4m3M1BDAUtgLejO05LKlCazyyYgDTLhTdizxIvyZPx
+9BBTt1DtS2od6aZewtNt76WZ9b5+J0xCxYPBeCliAr+zeF+qnnsYqj0d/sBBmHDsiR/LqFHezXM
U345gLTi6XwYL15f8VObi5d0ge3g7T4ianJWR2jKoDu0ZM/ZTsssggAQxNriKHib8NfyXiNPBJof
QkOUwBD0Hs5P5BGsJYWqMo507TUz87dlz/o3Z4kwClBVZsGiwhFf3YoZJD0Q3GkN0gstNkNJyw1k
TM7Ra08sG8jKeFgW3wfUl5Xf2wkK7UAa1ftE9lD4m6AY3bXFcFFE4blA8+RQINJiOsxonJDDZUt1
kEJSPa/3TqHQuCMhxB0JmIlV7pzroH0il4pYdpEMgUOFHNu6tgwNiwqNy+HqgD7I3TFFGyY5BhBp
dfrw4//h7Lx64zbCNfyLCLCXW5K7KitLltxk3wxsJ2ZvMxy2X38e5pyLaCVokQMECZA2S3Lmm6+8
Zem98ZGhhrqDsVmUMaiU3XwI5Pkh69tLLpSvixtGpfbeHAFcST169oa5bo0Ro3MJwNIYbj2MaO4N
mKk5HZwapli2DvLYN2t2XRMvDqYejQt301s/ACL63swl5r1qb9qIMU5ZZA14w1jzsVWBv6Sqstc2
FU2rfxpGwMNbKjq2nKtjDuz/AtjhdXzf20P7HIUUkAnT2QWEUv+ydXDDTmHv1jhBomuOaXVzfD8A
vLHKPulE2QXlbggqZ9urXEpDSRv4th1pC+CGJ69b3xz/86nccb2MIJk2EdjPgRNRGE32SgF66kyN
jw5978SMLkbQN54FtBpjACDczDzP58XwL6q8XH3nhEdetyNR9YF7xLiQMb+5CpGMeSpY1FdyaSTt
NL7zyj3lu2rwVljzU0lmd+nafWuZXaSGEQ1HPzhv3tZjNHq4OKDK0FbqQU559mFbyuA/aaftQTli
e+87nI/vkEm8jC5B1weVxo/ytNYG8yavbh+0sVif3t9k/9xdL+91ltnByDzNG5DaeogGasHCPfVm
W+oDIq3Go+3lUVoEownaTkUf16XRaTg3y0EhTfqXa8wRysFD0R2yqm6OWjfWwSn7iYpCr3iPlcFB
oll6IL1E9Xyau0PtuvlxlqI/0ImbP9jzMMf9DgqyzAGJ/bHJ0gYU9IU07HV8ZuJNDe8wtXOBJJ21
DKbAIUsPKvvENGGFwYqPC0r4CrX4i7a/byyFugriSDTXgXed0xN0VyB761vwnuYo/BGVSNv3hPEv
dlYY6ftf7HUywqPQm6Z/TzvwFS1wW2jZL9Q+7L68PZDyWg89rLXP1bDku8pr9qeNmvlClHjr+UBE
UNYT7mBg7CH5XxmtqOdg7TC0og+41tfbNHgfPIhsCK1Plnmhb3F2vJgW2pBVAcohDIS21blMnsaA
ugkXpPesYAK8YiIK3OaGvrDKHj3/te//bxV49z7NpH1m/fKJ+rFs181rjJtZdNXRn0JMKoOJqpSN
/an0p0ux6ewN/rOeu9PRdukvh/vz5Xq5GJeSbkh0E3ACnrOqmK66drMf586drt7fIW8txQB51xah
0c97fLlUMXTUYH5g3AxQgO98puTPwbyu6SSiS0u99a1AeVAmshehOZw9FVLPMB+aKrut2sK/xbBA
3RKolgtb/s1VEFSKGF6hW3Jusx61HtYISPDfzsTapNNO/rMVS/X5/dd2drD2L8Q8fMea/kOZOB/E
mO0WdFOz+DduG2x3kMCjQyD3yZTo3PlxrF076VwHEsz7y776WoylIZoR4/e1Xw0cBaifym0WeSrK
KUgXNKmuS6MPD63fbBc2xqv3yFI8JmcYnOs+Sn25MeCp4kSRG/IUogn+wYlkEA/Mxi+crPNRE9EP
sB4ASKbd5EkQHF4u48+FMVZTJk+wQCzsWbYMEaw1t4ciNVRTL/gg9c698Ea6VYh12yFebRi+tG5o
/Hn/3b76pPwS4LbmLnZBLXBO8EWRwY3KjJJD+N6sU98LFqx4rCp4KFeZL1dOGURVuhR+fklZ5ixH
3d9ByJSGPIRaBLDgWcCMut5exEa5nC+FmGJKOayZNqygDiHN/msVKnH0THzS3EpBOVVN6F6Abr7+
2C4DCEBfgA1Iuc6hOH2hpZBu156sto9+Y0zofqqybLmQcp0L/fCgRBkkN5gz0comlXj5sYtscPps
WDDQ6Eb5kX62c5DmPHxD+5C5bZOX0VWWrROOFH0gfq5+OGGmhrhlugJJO/q6a2+9ypB31aSbmwJD
mguv4Y3diDAjTMudqo+40/nV5cy1pUwv605Y8th0+hxGE9NmVZ/6nF/hWf30fYITer/glnO32vl8
Rbflv9ln79RYJq5A8Dh53NnmeS5fhZssw7zvTqMatwev0sBAZPEfcUr/t4qzo+XJdhj3vvwWzJGD
bh3H7lQawYAhp9F8kDmyxO8fqvNa9H+XoWZA740xbnCOKC/0rK05nztKbGt9CvMyp9NcGLc9JrlH
Z+umK0wSsgcvqrfD4Lrz5ybT8zWWhfo/x7Md5AKfhCucDPacnjP2FhDKyatOfSZ8MwaJ1P+wvH78
9v4Dv3GS9okraQ9lNhC6/Z//K/mhneWYUiz1KahHnWzM9VLTsEXy/iqv74F9rss5CimPmA6dZauY
UVU9Dgj1qWoxdomBaFgP9bLu5rZodv03GNj+CSn5dvjcP9KL5y1UnNFHD5WV7tSudvClsgBnko1F
13O/TRcO4Ftvj8hA54xOKE2Ss0gozNWeeyqGU1T1z8jy4LYYykuSyq+yOZ6HHcBeZDtADTyLQlPY
VkHnw7ZU5Oi/3cxnSLG0y59y27LUdNmSFz7W65uFwT8QOkpaDjQrv9wTKwaTI26b9UlAPDBuyjVC
r3xoyVKSanVwEe6sALq/i4PTHZ7UOGwV9aZU0sz0C+Mlz3EbXdvGOmWI3zXxttbSScLRtLNEzpX3
11pOGku5cYieB0AOt4OcvetJzmORWtYgsd/KkOyP3WERtzgSD2acq7l80KFGfwUqNPyDtducn2U3
hZhLMDjtr9faHO7t2jSrdHPxdMQwpSmyVIJVZw4zeaWbZpAYbpj3j0MspqKHtTFu1HTdPCyffOXY
2ZUzT+oHfn7jGueOD4jE1HNY3RRjbs43ekamiLHJ4CNU5slZY4NlghtYBmxr8H1BNYnY27S/mnkS
zaPSQZ/fXPgyvPgXef1enjBY3WfFvLpz4JErl8zOi7A/9VxaODfPKLsGeLzkFjSJ/8dS5Dd7rx8C
/HlL3KC4yOdg7k+mpuSFkVbFHrZBXeMWx/dX+qc6ePVUtBoZq5Jtk1u83G5D45nzplgKgkmAMa4Y
rqel9hFB1+bt6vTh7WBs2e9Q59aTFwmJYbnrPmViqH+gV2nRIZ9slSAol11P9VI9WIzwkrZsgphh
Sk1yu+Wozxb6dkO7C/ONyvnLKWv3AibhjVO6Sw+SJIBy3acJL5/CF0YfwePqT5nhOaQFFuPHfhyP
jQD/1pf18/tv7Y2ISkGO7gqMetg4541KWRvWsvomQc6e4Rg69RQjSWgeDYF15/tLnfPk94DKcARI
Hw0AGl3hWfR2qFo3T0oMs3vuf0ykAxxQ1djitb1tljqEkFe6m5A4qOM+WsIrM8pXPEKoq1J76PIu
xucMK8cx0OIp8uv5N27THTqJmyUP2isHnb7/i9/4FowyQMfvOBUq+7MkHbWmYOpHKU9lFy5/pkA5
PjoKq+ETucztA9iKS3nD65QY0ud+IndByICu+cuvv7G/1Dq0Jqpp0jqA/qnyeJ7W6W9r6TKkafH7
xTe5lDfFGsy3li/UJR3gN4I2YxxqYjoMHNdzWV4BN2JqYA2cvDFIHUeZmKKrj6Vb/cHjqTpmYrmE
2gJu8ToecR0Bto3AKOy9oZdPLdyZXhju0Kc8r2WOalPRdjFB397w5s0dvHF9zyivKnbCFVbsWB1i
p+SJOFoZpabNMJLYbDibcXpRLfBivNvw+6sxw/oL6np107TDikibn4t7w6dnfGW2/vptAxlbx2KR
7u2ARWZOG8Vrl3g1m/aRkL49ZVWjn1Da1AzsVVl+cbyi32It9rG3DXZz4qYK1WfXa1Ygl0iGgjmw
5+nRn6Lpr97JNiupDTP75OXIUsYDGljPtV2XP4JS5NvT7Bv4zkpXVJ9Qq4+e19nN74Gkh58HZY+/
/MwFP9BXc/mhtbLSOEgtol9b1fsFdN4sg4+L/Sg+4oECF1q39hPmoMsnw3fFJ8cQSsaBt7m/Mh/A
XOwiCHYyy0L8zE0M0jB8o50NWz9r8BMs56lhWoLoUTyEo/cFmWIozvBlp89OrpdrUxZQFHQBDYT0
0cZAUBYW8rbWwKuKu02OdrxZATJjQxOFGTZS7WInhZTbwwgj6W/q3GCIW9mOD4FpZOLge92sr6pZ
5OqoW0ATiawaxWfrVITSKtOpMQ1yYV1xr/YN9xPYnN1yDUmPAYILDFeMZhMUlLCeFmqa/0In2vYP
XGON/OBlTbU8YMzTySuha8jPGj1OLl/hYiJDbY0gmGFgCXqVT1aGISeOvewq25RNsppr/QP5jhUz
RZz87uuK2Wksm52iYS2++gBiOywOpVdZP0hP8MVq3dIfoVPMY5doYCM9DPu+sg7NFJZDujiT1yTj
3DZ3qnawrRb1vsNGezT+UNjzsKoQhp8sQWcXSS4W93c4S6RgDYHd7l2+zUaYTPxFx63y1a92Q+U3
7nVpw+NoIR7GosCaM6YnZ3wIlmotjkXRTOJYGlb2y7NHrK8ReVsxJM7bsEEdVfA/nxA+K6/2aXIR
z5k7fS1Db5gTTbbLhgXIje5B1+NhJfpVlDeV449PbWnUP6owqP6attmbUDAKdH14P9q+kQTTCSBX
iBDRB1dxFm0H21XatLR5ksrZkiHKyzvRXYywb1x4AcB1RrjMPohwe8z/V6GCgMGMk7u7nWj+0HS3
MLuom6BN+8BSFzKSN5dCXoQmD9UP+rAvl+ocZ1vV1pgnZvvdh6YTIwLUar3OcHq6UEC8EUFp4VB7
IUiJMuO5jGFJVFRk8NvJtpsBF3ksRQXAmINAp/4XPKYusVZv+Pn+B3vj+ULIOBaD3chn/HL2Kvtu
Gjto/ehAmmb/2Br51Me0sLpv2SqbS8nD/vXPsjsaRQ5VLNwwHvDsZQbcEWOj8GbElFyo2OXGIMQZ
pMfxtjVyTSbMFh82yyvyJAy3bIsL/FH/YHYFdmjiUv00EgL+ADLCYPv99/B644K9hbBGGwl8J6/j
5XducNBTG7kll/bQPXvKW24Lt/Ivudbsr/PlG/D2NhIIBBNyErPdl8usYVBnWRbqkyrFAGNli9Ku
w5yeGViY9jlB/D8/FuuRRyNjwP4Nz86jWcnRBfyoT6bgihlyB39qpxGH91ehsf/Wc0EioD8GPYa0
4+Vz9aLKV9dz5KnH9XdNbHs2AOSurkoso6y7w8qlXsfOHJXqQ2XnGT7sC+pAmy88nXpSFE0yLVEN
n8Ybl+XoLZZ9cr1lKo8RCvCfW7exv6gOVYTUrHu1xV5ZYm0n1WirNKsiUxJcu+BL4OLqlzZYjuNZ
X1mLmWbmgI1rEbndbz8D9xdPsw6rw9AZ+S8hJrp0Cl3bz3aAO2dimH20HocgMDB4H/XS4z5vRirB
7TJcDiCpix+6ykxcXVVjN3FZ+Bq/x3ZqOtBsnnwKaiaxILF3uN+qHefYykWVPGXl3DdctQt+m4vq
U9vQ9c8wK9SPGo/v6qA3P7fjCV0xcSPdCEThyKAGAwOyFKySl9B/GopdJhbb3nlEENugwSfqAuXw
iV9WoB8eBdtDFW3S/sRLV1NiVP7415JHtnGl8nz4vTb4Smf9bpzty0wOcYhXNTkYtt5mLHdb9zrY
63aNnsicVoPTdckEyO9x7jVC0IxEdJ1UovUECm69ccotd/0CTrD7NVvefO32a5ah+VHo76BfQNvm
uvEfMLIx6mNUeHyCXG5KHg28ofQNrxmreWsbI/OAKHYUXBXzhNCpnxnWdsImeS8eRsGYYO6a4beo
bbyAA+SWZzqttbo2Ha1lmrd59xcGxsWEK+dIMaILt37iXtXyYE7d+rkvfOcnu2qw09DH2zTJO6Nq
IaJtFMuWAT8PhuwUiQPQPjKi98/EHjDOTzoDD2Ab0FEpA89iHXqbMBmifD7JvFiwXrGWG6qpcoiz
KevSvBbbRwzUilvkTP57E5YxMGh8i6k9HyY6K0CwlZ+tcujm09wOFjpqPZ63AzLR7z/gG6EMNRZy
/T2Uve53TVWzRZWNqGjriOIOZXz56Ow9kLJZ63Riqn7henwjQoMzhNrAjb/D886eytzC2crxcjn5
Tendb/OME3uB2/WFqc4by8BT8neqBu4IPNrLSGZU2TT1TqlP2yrq0+aMY7y4yyWTmn+g4WfbY5+/
MQ3b73s0xV4uM4SBVKrLESinSnaSSJfTvYMyhIytWgUyLnJ3OYWGlj9MbIzJOhfQhQknoMliI6j9
76oOxDOaLq6OXRyoc+Rpcver1ZDSJpsHZjDeqEjaxDWROIrzbit/20Lm6saVQ/SjtYeyACO621LP
o0E1rASus3E761nE5ew1ZSqUHbS0x7TECC2Yfdg/5bD9rqEDPWRuEz7MZjX+1vUm/rh6qI5sxAGS
XT0UK2Ckua/jDJP7Og3NwWVirzdwoVxxOop7utjEFNvSbtwaU33Jv+11JgUbn0t2B6xx/M6VswbD
C1WdI++EyzYU+1AbKnWBy92o3LYPIESaP60rw0/vH4jXqRSrohxIfkNH7BUbQA5IXU7S4UC4lfic
r4G6W9seAIFnXhJUe/MBd8mQ3XYCvMVZsV37hHcUvMcTZaZfHm1K+0e3GO3Hhh4qLc6o26uaS925
tx4Q9SDQebxX5ODPVi0rZ66EMMZTT5tmiYXZiw+b7dRfjMyzr95/mW9lFBRstACREqG+PXdjMTJZ
M8bltgudHujrEgo3nujzA4RvjGTIdn14w9EqLs1sOHJ9mB/Hdak+aDLoxC4BxIlhGq4rXZg/aGdh
v+HWzcM8o+cCVCb65YK+/zBUZvkY+Hlzx9mwbofevQRue+Od0QMi9eEP0qJzOITjT0Wot3E6uRq6
AnVpdU1Jhi5wl+XX77+yNzYFeEk6cyT0e853lluasp2c2dbTybZ69ZUmRF2nlIN0B0z6dX4ljLRx
raxK31/2jXtgd45gO0BB3P1kXkayPPLHtRzn6YQqknHwJK2AUKjm5Hfm9AXh8PDCY/4jeHAWOgEy
/W943tWGz3JakKhtEdbudMowNftl43tNrAOaWiYW7Kw7WeroZ+GO6qnuN/wQ2/JqWqvw995woMnR
6XwDjO203ys3mr5oUajsME69/ir9qb8PNkdW8eBnxdcmF7o/LMKHgbhZ3cNYGMZnOSpxP1r5+LVx
qvp34QfSji1pfPULOgVUvFbTHdcW/PGF6/b1vURM3Adnu7jFDtF++ZrDYMlrd6vmU2dEwaGIsMQW
kX3Jqff1xwQTEsCiAkAB5ed8fpv5ejThrFanupmOzPb7W8Tq1Nds9OybjjHEhYd6vWWB8zNgAtAN
ZAiFmZcPlbV170WTU560yBeuF1Dfpuhjp6vR0xDWF4ADl2Ao/1DbXm4f0ohdJZQ+JeT388FJBhFG
dX5Qn/rJ9HBo1/lS7pduLtIVw4fqaFMT/xyyufl7oCiEZ+EW5nO4kesmdjvPY1JWpQGuk7Lqkgzt
64+MlsgeYtHQBiLzz4z/X42NsNpmkwb6eDLmiZ7G7DJr27pLJ/b1W3+5yhkM3kIbeTRXQiuXeHil
G2MtqcGy6mRTL9wYtZ6Oc4Ruy/tx4g0EBTcVs3SQAXx0YsXLj10ZQzFJv8AtRftRXJKzP2IxsKWT
0TU3IcP2O9/NW5Rsy/nGGQPrekBx+5upLT+ZJnO8Uqb2Tqg4Rh9FX9QXft3rOL3/OOpyGMcwH84x
7hHPuwRBPp4qcErHQCN9QhtLH3Br9i9UBm99ZL4wyfPeBkAC8+V7CAzsJdegH0EiDxA+tnGhzasv
6Tv8Q1x6uc95IkbEQIPQA+GAvVymbR1bZS35uUvhmdKNFN9aJp0PBSYjSYF2BcVfNB6YithM1qby
YCA9/kUqv7oC6zb8P94vrAq+Pd0fGgX7+//XzlYZWHq/tShe8804WUU7fQzCXh6XyrwkAfDW+wUN
xR7jLcPBOLsHpaT6z9aaQ6ScMebfUknQLeXh/e38OlJCUcB+gEHlnu+dT3nsEI1GYXGx0+8urinz
dezQz0olqMTDoDZ1YddcWu/s0HZWU+ea2uS0evX4FYdLnbqrvpVhb3xY7NW5EJnfAL+wddDfo1/F
jcD4/+UHmyAwqj6I9Altj+YwodfdxUFuN9c9wsRfRauQnVryJbhSs9/e6SVoT5XtyMQc0Q+/8Oxv
HE6APkzUQHnRnTvvG6pMFFbQeXTNGP3EmVFvd8A+WhQOZX3pud/YPay1M3jA9O0Odi+fe5TR1I2h
GE/CGILPVV8xq1FKVkUcyNFnsFUW66ew8VjZ0Gvz1QjC6ass1sFJKoe2UrL0xLPDSs0zxfDShbzw
MvYweXau0SqwOdC0bCFOnIWPtgkWfJ5pIaL5FdzZ9Vp6yFz17W3jDFNi1Ra6x7i7Jt5kbZ/e3/Nv
vZt9SaIWzURkGV++G1dWvsWNOGHxQGWJK7RzZQ/4+f0/VmGE4IJrALlzzqHwu2bFJk1Mpxwpo7SW
U3flLaK6cH7f2FOgoRnT7thI6Fpn33nYBRPwjJhOXq3Ho5OV391VBqnH6OfClnrjrbESJQxcTmST
z0USUM61ZpcB2mnetgDgfD+lo4N46Ptv7fWlvhO1qT75E2C18wCLwl6PeBdRj/BHFFpcK4X43x+k
s24Jg5TxqsA358JefGtRLDd4idRo9GXOejIjLfqyL6lDDdBPR6WxFWRo16fFss63ztz4T7IyzAus
pNdfDuwYrKRdt4Ms7hxoBchuKKFLDSdu0k9jP9W3g909T+1ySVF2P0kvThrBj0XgyPJ0uNadhcDd
y2aF8+whzCun72Lsnasa1RgUT2tlfC7qQVQQwOrgvkRi6C5XxiUR6VdPitDq3kgAgghw4dW0YDBo
oEJ7HU7IKoexrHA/lbZycEeyLnnzvdqkLGXvMAk0zbmj3bNnFaYRaSPIEECJ4HtnS2Al22xdAmO8
8UDgEXaOF3+Ca322yszAco6MtjgF5ugfsyl6CvpwPuBK8Pn90/Aap8JokG9G92CfRsKVehmqpsbO
SliX2cmuQA0ldp4HfSK7xR7jbsEwLAmJ4LTPt7XKjqsTrg/ROqxf83EuHgqktuvDSAs8A3jWBKhW
GDr7y+umFehA2+EqbHe1610obF8dpn1bM7EEWMMZfsU3rIYWelIWGrcriISfbb0qI/Y7vzjl7jg/
jP1Y+EkPAfyCYOLrb0KDGtAu55elmdm+fFN+NDuu02XFCbH5FvMgqRNM5IeDiZ3zx/e/CrfE2ZHa
ETG7TQ8BgyHbq8ntgh5BPrtYMsqwrH8WUC0etxbtmJ3Q0/dk21ZdXq/bmt2KsBvR3FbZ1jyraRue
LEiCxqMTtsr9qIusuKmQ3exj0179NvXcxptvzMAYHFqlkRElZYfGSbrReR1jUZnqb1RVMNfyStAA
ZpNHOO8Z6wpEsZkLJlOVKj3mP0EWJkXVlGa6YV2Eeg4c3h23IKnEcDTqq9vRy6rHTAZBm1QofnVJ
6JeOPCqrKlPD6rYpXbJ58E7RqtavEdm0lRqDL/4o6IdPrgKmnFgjZY4aV7dKImEhUd1Id/vR9pNh
3uSN7XYciNKVSVBkHv6Dli50ktt+7SWq0t31LExRJBWS9Zwb51fjls2Y0FiSd8KukYLO6qYXCSqP
3hLDYrKz47QuU04yUoDhaJYJpXHQJ78YxUTeMfPnvqCkxVkyqdXqietqM8BqFLSK7tugYNhGvjGo
dPA2/8ETwzZeR+42bonngig4+IUuv4Vd1atrcNi+eVwtfG+TXumxfXJ12asDILjsq2Fq0ImyMQMe
qTK1mZoOszDeucRmeqlz75eIZsEBK1FRjIMaWZcYQ7Fu4HK28981TAIUhdZ9NtcYmzvFohlnNCka
ladThJ9RvC6e8c1pKqyaN2U9457Qzse19hHrkUZjHOuiqT9t1qaOWMuEx2ptzDydBzP7yJt2f1iF
sm8HPQQ3NnZvh0lb8jGa5/YLVbJ7jFTZPLbjAqg+CL6sW9/y86Zi/Lr69qQSyVwXnAfW81+y1f27
kVjUdOY2fg8mNf3oAyDI0rUAX0URCrFxZ7f6O/6Z+XY0wjmEJZgX+bcmH8vfNM6XKLZLAlyK7Ke8
3rCToU+xbhMgoTx0lmS1Ze7GUYlsCJ8lCrvUbvGxv6oXx1dxNdvyb2ju41dl9uOfngNOrYCR3/ct
zPNvjGA7/uMKstHB6YQokNYuq48qktNhYQb+nZmq/dONRPWdF5ZVjOY375NTYrN0qGw8MeO8bpwm
BaNT+kk+WO5p2sosSgph21fWmlkd8h1yQY6EfoqIXRUx1p63YiwfexospNCVa6Jci8zd86DW/toP
erM+NMKtfjZRv392tIEXGAxSh7FfGgPfugOCn9Rh2K43ApYcmB9typ+GP9TfJEphXUrBR4WyGjQ8
r5w2rD/WY4FN17CCoEkGKRQj3a1slqS0lv19L6iz37Qg8uwEvbjsd1EV1njYtnxDgyRwpi+o9WLD
2Zpius8w8Pnu6UG2R3hRWOwUW4t/J2jF6B6XFv8+yob1hL+tNeNvU4Ppcdpo2Q0Dq3yMQ69cl4OX
N86JUhKnUYX05oeZzGiLIzRoOA9uB6ZncKfqa76Ebp1gMDJWt1SxCpY7uOhpjb3VcQ89h1Ano1Xr
m8pWfgmDarGfZDiUeN3V9vh7jbSn8RTOERLOJDnRUfFI0VVkjMNyoGaqx9Tqg/wTB1Gb1xuj6nvl
Fw0xMat0Hne60R/dVaxz2vBQUazUqtxkWEUYL2U+T8ee6iiPvaEMhwPic9kVLTxefFfN/XIIRmcb
4nGGJRznAgG+OASo7R9WoqN5pUcVujB8c2sC+lTibMFyM3YU8LBFvADl+jz3ZWXHpQYek6CjMXWJ
uTUhBNzGAXWMbYh70+SV5SaR4Xu/MrcMPw3cAuLDNJXTb0wimYNsxlajI8EMNBFOKe+rfrVaxl7F
co+0Jgar7ej4nyq0gYbUz0KcuEPfqNcrW4KaTYM1EPpDXyMw+GEsV0DlhrC4eQHB9/dRa7XPs9Vv
floWff99NGxg6PQBNk3h30RYOE7NBLtmM3oIFELVKW3MtUmcpuxH5vkyOLmVgx/eSHxOM3vL8kTb
EZj4oKyb5ym0QPDixEwvrN8naH6zNPVVUxfmk09YPTlDXbTpSLf0Hny926QFslveLRbOZkW8cYdn
X2zdTcFpZ8AOu7bGdK9b8QOpW89IAI1x3rWdiQc3zG3UisbAvDJX0o4kn1eLg6Zm57FrOz5LXvf5
mNoS9YcYrN34NPSVo4/k2baKOX3e31zf/Ud6uJt7bRF7ZMyrmf8CblTKoxa0Sh9cHfVu7EeoPadR
LTjPMgy2LpWmUn8Yvvv8Q2MJ+3RzFJCAQm/1zHULMPYu1AHTcs8bKyMFjN+FV2UZIMMSrIvxJxAr
fxvRgNI+eutoDWm7IUTD2LQu8o95Wcz+cRb4Ll6trbWVccRY4m+rVWZ5HHTUeQlupKN3DXeM6yib
BjM4+E7ZyoMkt/8hPbN6KrQ7/7EMYCXHDWTGiturASIhGI3u45At/U9t191viBdlHpetYYABQZHr
2Nhcd7y7zPEPlpev7cFuurJIS6un5osG13BivDHRNoz6ZXlwzaxYD/QhhHXtRFpQgdaDvMKMfCVE
MqsY4ml0Mhcd0b67s/B4fjB8RzPZcZrgt9rK6Bk37eoHbsSDn6Kg47XHEVrC56GIAE01fWQluTnM
UCERcTpEctmOvTPRzqiMDLRoXa5zBSylEcgK9cIZU0a3zUfomaWdbAU4W1sNq5voXDoqmUEM5onf
O2Md13iXevE698Ezhu3uPRidsnyU4GOqdCALLJPZNbYlbbwBBeLJL3vQuaKv7qGEcLUtaHeQn/TW
ANYjZ5SbbGLAVrkYiOveHE4tTI8h+mg6RfQ8jpHxxauVN8S9oawFVJBrl7Fh+f0fLQ3/m6lCbEym
3J/vCs/i5S5qNO4HbW4Zxj+r8dOqbPPBchprTp1FYw1Kz3Q7+XKrPiFQHw2x0g542GjsNztlJJn9
qSZpfcbqo/plmEUYHRyJSk08hrL749NSdeKOgrCOId6bawy8t8cHGkv3vwtAOjXRrFiLGDHtAfvm
zO9PYEzX5mAINEfS1qMySWbtsMGdztqTvJpQnKqmEEsiGU1Smax29dxOVvfJWKXOEuScFFu1s4xf
DfoDdVKjKHmtRKB+NaUffEffbGH/K82c1KUFMCRaepbgRKyyjzHe8iEo0vmiI0qv/e98kl1zPTNC
+wOJpGbzihHrPVlEJuiqNRoBIgBx/WQ083pos4r/x2YWbZ8ETQYSIJrbDn5r49jwdPrOJdmpJW4j
UA4Yn83oJXSHcpm2W+gvRRvTIm3uptyxnkNjtTNSism7MddhDBK6mcbn1gR1F6txrn83Yq64GMyo
6a4kldCTNyoT/Ze65RIUYwBMaC6bWlzXg9KPrra1k2hV5c/e2M1j7FtBL+Oql8Ytk9Lyd4vdXJDC
6G+/l3k4naRXVvTGNtp6cQAZ1fvYTjMOdYvovSrOTKbFoXKaxwUgrxEvC4PERNnZYCQqID0v19Vo
UuSbMut61aWRlJ69uCn65aV95ZsLkltBv9oHDU/iR6Vr0iKuX3Fqps6vHgfhEgNytY0qMeEJ/ljo
P3xe80aHP1CrVn+6th3RYRaOyACzArBJ1lpC58Dc2Sni3iy8r3KKgu/2GNTDdS5mSlHw8972P5yd
127cSBaGn4gAc7glO0iigm3Jlu0bwpZs5lQMRfLp96OupumGGlpgMbs7s+tqkhVO/ecPe7PIu/su
c2d3b6ucnHCplu43kogyD5zeS5BrwS775Mwu8bRkFli1L6s8ecK4IVNgCWfZl2Lw0to3Rxwu+Naq
9gTIbrwOtu01h1Z3YnKnkxlZOIC4Z+/evxlum7qrVziYDf9P4DjSFFz99BZqNLpS0mqRYZk09mvl
2styPeQRYh45dFW0tyDmkBpXVV0bRLbEVyV3Ffqg7WKmuxFkLQTlM37qvWZnQPJVcesJxK8+0mwh
fVohyRJAZI/+okJvtR2EphahHuCUz6vo2r1UCxQBTaUTkZvNEN84JTmYg7Rv2RNL0cdpUMlOeIFi
jYZ+QKI2f3n/HWwgmPUVQGtaUQtoJIB5WzBNxTbYyZUpNJwo/UQJzIWMr38BXd1c99dRuH2vDCdY
FWv05umLjhQ16ypCGUOrNbWDlpEo2pLgeKht82Iw8Qrn/AdAW8fCwnQliNG15t82T5SA8nieYqah
Wak2AgbImuDT6TFtTbjy9tDIT6qQ43VWZga3xIEtXzR1UCNHvIAZbrthbz+FHD1wB5Jv+G+b+ZWk
i6j0Kc1CjvruMy6Husb697wQPC/P/ERx4wqjis56Ea42fXVr0+t9dWnUXxN3vYzKCfzsAnp65lOg
tSBFApwRp+gtabZPBvLF4OOHglvTvmD/PRRTle3zwVY/Rp57e3yozZz/8KHAeVbs6T/tt3REhV4V
9PXFuIzU1zNXftNIL6ziMzMYShvcdd60Srdv/ef/GYWwXwdjKnTK8VQ49E+LnF2zXPbvr5Nta2p9
GNvgr4RgmaYKLno6DAEf1LztnIX4E8Fi00djuENvniHxgQyb+RGCbCcA9o9/eHKhEMlB1V7mfG4e
CVGczQsr6txTkw2E1TxRf0hBt09dSrhoipKHc0uURSP78jj17SWr5XOjrB8OsI7ShFd8+tAqOIcC
2zEPo6Ud95ABJfrV+oNuMeurpa2Jsh5Qn5bFNvEOl87InPSoDQkYTHcetoZcXOvuejSUKqisWt+9
/y3PLAHajEg9UR6sysLNvJxTFOeL7bShmszaNSXItKdCre5NRW8uwKtnXuCbMA1bZY4XLGpOX6Bc
lMGVi0q+se7Uvoi8+qaQS39hEz83OWHewiLAjRgXhG1+ty4nnOBSMHulGTzybzuz/BrnNpxYZ/bi
V92ri6PZK9mro83AcWu/kduUNzUiMGWupRf2mA2ovH5QZgwYOAZ2qAC2nL267iFkFlMZ9snU7Ufy
id1gzuv+2MKC5CrImCRAGKCN73/Yc+NywhBaw0ljQYA+fdsuEu+cvb8IVbrI164B7UyRgxo0w0Ia
Zqot7a2mYMl2YT69yQw3Rw6EInYG6J+rW/0GzY6WvGv1oajCWBdciblkoBAvIk17ZFYncPbdrv80
Yu6qfIvbpHhpopprtkxM+0UpYXDurbxarUTshauIaIY+MPKk+MlT5D+XYhg+58PSHCOdzneAQgBG
ejn2ruNLJdV+kHSY/hIdIJk/63qxU2o1L6/strRLv2/qpdzX+pTNcBIqudJ7nPwFQxTutK1rFPpu
hLj6dayqSOVnEhrqu/PsPkBxiGDMS2288InOLIiVTA0Qz5rHH2rzqgotBkcE3wzNGla/g7/sntbG
pQm4aaIxAbEk4dh5U72shJfTiVAg6xgmvcrCFOeTl5Rc1K/ILtPHDvl4i3mBWiS+0ubLa16atk9A
dfvt/Zm46Ze//QBmxJrGuva3tr4onuiEViluFmYEXYAg222c+F4qq1eXu8dNmSfeTQIaz63EVi5t
Ov8uA3Yb6jm4C5xUeOScPr1m1ES+LkUWuvBZ4UtkV6beaYeFZGo/GRFGl534cDoxxH/KaGyi6QXD
M1pfyH9O4UJrOXQtjsc87+1P9GNJfIXLmDy//17fSManSw1p+9pv9lA6Y72z2VBr216aIU9EiNbX
28OHgROgxOPwGplOhC3LBGJP3Q6hL3DHdT2p3WyUQVJJ5XeLTBTsv54jCp8WdMgfjWR5cRMvGQ4c
FOhbk8EGvx05IH6NprDkhZ3i35NH1yzC54HH0RTYWwf8yMPdT2/wfU6ZF4fI61691PhCTaRfKA/O
DkTF4rLScG/fWhoY/YQBpCfwt1UKdC2V6jQ716i4Ezau+1EvRaoQvoaJBmu1hdh2PWmhmTSQRojv
o6uGEg78tZaq/SVV2VpgnX55vAao6eHiYKmrbjdZKdLIMzqvDBOIkH6hTZbpRwoUq6YE6uFCeZH9
euYlrgbYmC9BCoG1udlFRFYMjZisMoR6CWPQs0aMmCd9v8Ctv3Bi/rst8nD/GWpTaEmgiWbGYyVU
rVZgIAJMPQ9mfGFWXBpFP12kc9JXmpE4ZVhyCQXkdoedo9SXSCFnX9ubQgBzLuhTm9dmqpm03ZnX
Vmb91xLFQNACnuNBGX3Qco01xFtbpb8YMq2hKpuRSBOjxkNFH0JlaK8dpUSDZTbuhUX7715+Osrm
20B4KwYwrDJ0Bkc9ZF5tQ1LGa6UFVfgMqx8eq6N31wSqfjjKgioK0jB7OA9I/NfmsEwzDGNKdBWh
43UWkuPC3ulz8uP9LfXM5wKfWonQXJqpnjaPl5RQPABHebzRU1foJ7vqcATY1Sgh9u8PdWb+YYO3
esZB+FhlaqfzD/6aMjVGI0Kpx93vgkI/lC7Yw8dHQcWBAw2cEi5Im+NPss1HImaUuRo4hYixWGur
2nn6+DBsRCxaVCkmgT6nD+OUhCEnUUyqFNRTX1qO3HVpU1y/P8qZr+NBwVfJmEEehh3c6SillbgN
zbkhLHBL/KaN3rIvvXl+rN364xfpN32N7jATgIS213WjtZTOUrhE1JGr0zdzxT7yyv7CajqzjWPE
yBNxP7UtfYs/NJRDCaSPJpR1ZT1jqdTQGNed2ykvskenHPoLZlxn5hx3ypX5DNOfvJ7NnBvhqqqz
BxY+xoN5a5f6HDj0Rj4m4Ft3IvQoQERce5gTW/pvUikZrdC5CRVDbw5JR0KVq2KK+P5k+LewYxTm
3Dq7YaZuc8AL2y0XMVH8uID2n3O54O2fDHOQFU7/0PFajyPsrfv3Bz1zuUSWsSbqsJUi09g6MWGS
NtX24hEEA8pzY+uSBkJUNvFOG6zxAWA+vtaUUb3TRrUF7XetO0e23VPW0t15/6ecmztAldhNcrys
28jpYkAurSlqF2FEFmEx6NRmcmyzIf1ZDqY4EDiBU8X7A55B8PiWxHQwJrRrwOLTEaHnrVXvVIco
wKH+9dZed+Z0N092s88V8hZ8c3KVh2SgV1PmxoTavMElBnr7EExlfGH//EdGgq4WcJ5Ci1+FkHKL
+thaS+9XxFbYSk33J8fE0ECvCX3pFDO+bZeiDxxReo9ZPJmPtoQwkbfDGGDZNT2RuWP7yeIpHyv/
gMNWzSMz/21egoydvqJMp+mtjKMVaip3nByt+KHTh0tWCZt98G0UJAWQgyBgwvncjNKUemYLR7PD
AljR7wf4NgX95l3UG9qFLfeNtfqfSnMdC7UT+yBpWFhBb71qIWJpPUJcM8xikTzIoVqbRxS+AuKJ
mT6lqLFU384z9/dodGTftaYwMh9bY9pu07CkB+n2SRoo9JglrTrE5DVGywmdqxph/tRL2i+jXomg
imiS7EBuuhsFZuCfWVfUp1jQmwvmntb4LkfURd9LA7U5dLAI1KDn1JNB2+je9arOUvHb1mm86IML
i4lY9FIGFGDgzM1Q4hxedYZGL8Z065/l4opbQ0bTciOLpUJvny9aaI2J+KybQ2fvewjCEvwhpU14
YRmtC/Pkja4oMMge7GrCv+B7ns6RsnQxkykb7BUgvxAgVRbenYAklvncHeR+dKr42m7mNphmVlcy
u1V9WArvUs7KP3aldAawi9CgPOLZunZ+Tn8HAGe8KmS0sBI6FkSNmeoR/IG6UQ6wGVizELG9wVex
9EtXClJv+Eti0jJGCKBd2Fc3B9PapcCtGqYoZF/wa30zo2NXT+oU1VKIVZn5KTeS9tPQ2PJCD+L8
KFyZ4HiiG9ny2umO932GN0JYQ3g4ODpR2JNaZ8cLH3jdB7cfmM/K5OMvqy/u6YutCNIajVLX0ZDN
U3r0MqlZx1Ea3Qu5GuLZxSbv68wLEX6EN/AvIp8F6VKzTJ/ZP6tH7sXtJS8EuizbH8XO5KwXYHgV
kE23UQJJ7kUueVtL2I3YKip8hFc419kjTCEFLRiCUby9vGja2148ldh+udg6lYpVVceoKsvRV1Fk
xvsIFu8C1tYZ4wE9mcHf7xKyuIoYuDHQc6RkvtouKg0+xYwmn0b9wlZhOOhUNFHIbKdaU35tzc7y
bRnotvuj3hcIgif5GSHgouBiJc0msGplfGhKtc2DVFdxhMqZqwOEzAl6jky8NNkLmUX3yDyLMYAZ
0T0kIll+2rgyaocR6TXZJQgl4kcCXZVhNy3LkOEEHLeV39et8jgv/LF+Xpj0vKTRun8iC8xmL0RM
skjXae5L7cne8suo1D8LHtuEf5Bi20a4RJQFRus1cifWztuOL5k9l0K3vpcwT+edWtsVll5TA1PP
hgL93XXbYU0sgrnCLd3t7kq1cQk0U2wwr8byhieFrqruc/fAopDMiSbwEqUy9rBjsN5K8Zt6NKST
QAlD6Fr7bW/CETbYFYVPLuJY72pbrAs27cGyLDWi91p42n2HM/Qvra7/yE7XvyZJSoNV1slqkCa7
wzKr7aGcaDP4aaWOjyb+R/ctRPsn+H3Vc2v3rnFMR6ldD0MpVue3KL0Sdjf8lTU13cG2lh4ao1fQ
2M2hKzzE8VBDrcgMt12JgtydTCXvtBt3yurrYrD07FiVCWijlAjijomljy/ubAoRTO3SPqvj4l0l
Tide6ZxPui/GZiHbq69go7hzw2yMhuoRNUp/HelG95qILO8D2ytcNJrWor5Ui6bciSYusE+fxHzX
00P80WPEcaQ3yg4H9F5buzU/DwqA2ta/R00FW1DS1gnBk2V/XISnfioMRbUgzXj9D7Vus99tPC8P
2dAsvyQajy8zgtbF7zKTdLeFFwxXI8FEKS7TcZ+mdnXdmLkG+afra3idkf3VZR0sPhwKKDt2pFuh
PsOqCKQcizuoHPWj1xsQkZOyHaEamkBIQT8tzYOEsZf53WA6jwXmWAMmKficUUrXsXnVF1byzdMq
+dSWavSrVBL3sZSEjB5gJ+TLLkNw/9z3w8qMaQRGb7oyGnXARNblZ9xrmi+lZTtY3EdpDlGOR8qP
0C6G6S5OcP3awT8b7spcmM8LNG5I2l2FhUROfsefycZ6y4cIaXRX0FK08rEwS62/k3qt/45kOj5Z
ZPTASplbvfUdLVZxecEVQ3wae1N9xDy7X0M+FO97R/sMMklfulqgj5OIroxULng8O7VX3eNmp8Gb
cSGH4DY0ze0d/ho91LKS3zdA9MVvL++xNlOrWrnDcrYaArXyFIoNyC6231sN6Zocr/C4G0XuVSvz
lmNOa7L1F7mIrzFS9JCsdutxthX7xdDNXOXINxCd4RDzmrdIGxDSDKmCOrkZaFdLgNabvk7T13yM
ZPwl7hrtSYUwmu5xzLNYwdpi1TdaN9nU4H1b3hE+0VJpikwd/bl38ySgxQjDRCrx8lsnv2322fr0
X+Q6LfFnmFNlvo/Qv3kQac0OjTOM6dtJI1vpE9aCkXrUyo4UQ9F1eIo0WZz/hZDhRX5SWlOyz+vM
/cNhL6HtzeN8BWnFagLVrpZoFYvpfzXMl6aDMw4KQSp269UvU2SJW9oP8keOUVS6GzILIpDHg3Gx
0aPmV4/hMlFdZCDvSkhBf/IupxFSGmlZB1EzSVILety6fK9NSHbsERSXvjN3EFSUpkKB10w15wDU
vWgMjLpqrkynhdvEpGQ+loNqXBmWaHqS/Cr3e7J0U6CTeCkCqcbKTeFW43cizJ2vHba032CjKO79
rHvKD1Ut8uwwISdJDgYZMH2gQAZe/EoXwypmaNno4ymPnpfFhBUq4bnO0DZz8txmssm/4g3o/sza
frkr4oUzBU9jDogkHTHPQk8VNU/2DNfmqk2kVt1VKTQU2I75dD+IycF/qlay7+R9Rt8wIFBDM7Y6
EkDRmRHP5dnaDz0tvRs4UBxDiljSL7nCF9+n86iFGoR3GFNDv9KWPNLWlmBsqyYNhyRp5JXitpq4
Y30j6xu1ZLJuc2RduGkRdyOCXrD6/FSp3B9LgVlbUJtLS9m8RO4Vpgzx574yhHhYkBjXezuHxxIk
UxOPfNHSToJeiW3dbwgwZQXHonJ3MAng0eNbDDvNhU/VE1LA8YQWuerSexfDnyWIvWrI9j3PBK86
bWCGu3OGs6eljho1fWdmQULsQB2gLZ9v8RqF8pQTIZbtjNxRMr/MtOzvoFPPIvmoUvJ020WjcHd7
22NtRs3z4uSiPc4yUqqDp7Wc9KVoYycwjGq58iJauvcVPNvCr91MMx7NqFJaqg2cbq69plWvYMIr
h9YlXWHH342kX6AgbY4dppcqrKNufEVFkt1hOh1hnRzbyRgMlMQ999SY+TrmMscorbbi3o8p6GSg
CFN/RnMCv79Wm+XOJHCs4jDyFvtopVF9X3bw977gF1gMOxnrkOK0SCjca/hMnR8tI6womgH5Q4Kc
C2fo0VC46IzpzzaJswcrbg0bBtpAondeJnaBQaUpHom9FOqOZkvi8Su1Bb+QaNRcP0XhcFU1lQmn
EOjlL7bUvbmHnjtOx6meG9ePHbO+6qyaV9xQodxW2lA9e0DnpW9V5sJ6ix37zsvNjD8ZTUO5g7Oe
/DZwOv1rOgrdHnY0Rf0y8qnW2IxUgRNLJUaxtVRZGzRzHsWIAKAT+fW4vkWUN54REGQ6/qmwy/wb
WabosNGjNe/jGCnp9NrutEtRl3ye3CzNfeBvTKJNJZ72ZZo5hNzXkGyvysiov0GdBBuX2MImPyO7
q+SdM9PQ9TEPY7VB4mzAULgM+tDFzaclSqNop0oHJzhMvhuxN+HyljtaWMlnmXv57xmMikzIZLyt
TVX+ymNSbBVerPD7Jc2+RIvVJEGVorzyo2jCky2Ckfc9MXMIFuSFKNibFr12i/AnFr7SzXOz6/oU
11OJr9w16IgYd5lMa+OwJDGzpqVkwU+xGnMYBaoWWzt7KZpvRefl/fVcVfMLtVGe7ce8Tm4wx9a4
I6+MDDjIffaAjhgni6kpDJxPuAJpvqXW8x9UWCniEBrt9S4d5oJCDS+iHqc9O37MyibJdlkWK8fB
ngx3D5RohVbVcaSOk4V13pT103WhCnXmCMgxrxvaROxHaWdVsLq81js1iuR9HntzvudPk98wX4/b
z8haKOzqfoj5+pnCdDb7slhFIRPGqbIYVx6gYtWE8bnRjwQn0tQnrXdB5oWKB691b7yFno1jHHnF
gDIcqZ2JAZaG/Ah2fvZHddRS7DKhazfJAGEJR1cczHbN3FMwKEoDC57k9PEnvJUepd+gVp90c+TP
l52BgWBb5Sy0KtVl+miUtDSDop+k4kMJwQqG5BGJRr5wk8EXXur+tI3UcvwZs+JlX8k5/aXZSt1B
BGg9M0hMNdfwwcyAK9CclF1oleb4KZ9m7uM5Rwn4Siy8x6JdFnEouPaJfTqN1Ws10fCGFp969XVs
2eIZ2Qu62wKBvvF77pfaPBpdwiEat26B8DGxKf+w4y4lhlt2hWxOwVLWx7gXwJwjF/8mF57ln9Ko
hs+WSV92XyRN8mRR/zToD8ZVaqvl3q+q9+I/+MbkPzSrZMXN02yEShw7X5NMRi829NRj5mm5sU+g
207Izfggd9OYzzZ/R8EKr2ttE955krLPwXSK1GDKV7uEpeIlowMYpbWPyaqFjQDa1+4bO1rd9IvZ
bh4GHSgz4D443oF6pvmuGuz5qzlTRV5HEznRt4scx4dROivFpzVYwjjaTJ/wA3OkP81Y6kI2EEn0
x3RznjyDKou6B88PbnVABL6BcRT+ZATDfWUHp2fNakDBN2oFVhL2pNmvQ6SVR6r+SO5iyMDfHGm4
2S1e6XDKV0rygx5hfOkrwFZfdKju3rHDtCm5asxa/+r1mXlvCM/q/jhwufRdrnT43FdZWn2tlI7Z
lRCRbOxlEmURJVLU/FGqGmhTippA2BrnUn4S4m97rwjHEtdj4WBJ3AtUSJ8Kp7R/kGkwj0FDNRz5
XH/c57ngtfsxYOY3p+6cJyuLM9X3Knd+TmIXe+skp7EgvSkHbFEWan6ljUTpEwbQ/oJDo942SCXS
3TJr6i8MotuXRuaigh0+W/eWQAKKkdu8RtVTz0VB69jVb5erwz0cH4pERPFj7NtVG8VXC+GVV12v
u11Q60v/F5H4yF02LXEoVvrIiPfGUlTqzlI7syc8G53OBdR20z9cgR6YX5ZGs5LkJhx2TrERBUP7
aBCNES78725QXDYrfo7I5yDLJZ/2nlm0FtVaT46FPaSzdWH8f6BTGoiAuyYN7FX+vIWAAGBKa6gh
K9u2aAIsTJugjNX+VS4rBf99IOjcWIYKX/CNUYxS/vRZ466sFokJV6gKy/ji0S4JdJzUr1hTyYVm
9qYZsL5WLGF4Kki+mED9wxpcUZkCcnOIIuKT0KfqFuwi3UPe1H6iHLqAcp8dzTHBhWlggBNukEMT
6nXXxJYWRo1OcgzXfWcGJ23AXo6imS/RXP4dTtfhSdO/ZJ3SeNn0Hfq2t9upT6cQbaee76yhjJXD
1I75gex4FdEv1sG0oZWuoJhw7EEECnvuM25dxneNMlbiNo8v/p1wkxgWXksqnmabi+YnVYwl20c/
OgSQdY5hKWmvFianH7105ymqdDykV8P3cObShrJhAoIeFf1jfTY+Oh4gwPzAeRAL6IOdDgWl1kjW
hlTYO5ilTwrKWMsdjE/vP9Cmz/Y2CikaNrOYR1K3dixJ5GT1rIgZO7miuZkhyj2glkRhqujiqcYS
dNd38lLKxb9ILTZrWHAhSYDeBKvh9NGQEGhd2TRz2M0qRrvaOAQesMeFb3VuFGhxgKIW3Tx6laej
uFHlLkDNczg6KBzpAptXZbJ8jFLw9v4wXGKxsOtBwdg8ykBWlIYcaA45DFTsTL1kPyKaeDZjOVzY
Bf7dcFYW2Or7TmfBoiV2+jwkCSCR5pYVmnOeXFn1Ip/ITPT8waA7+OHNDedLuGfMQfr9pE6cjrWg
0k69zFjCnhsnfso9EFezVAiazezCY51Z/8Zqo8tUoPNKCvbpUNjXa0Ns91rYAhPoPaYEohtvIwVt
1epgc2FSnJvvcEDWjDkCsHGgPR2NKLuycrDtDTkxZ1+q00LyA7ab942agY4vaMAQf44XZsm5qfjf
UTdnhepmDlftUgtxALGeMId98rq4/f3+Uj43P+itMAk5IuimbDZSel5kg0aJFnq4gFzpVlseIxJ+
fs7TMvx9f6izz4MFGBugC6/8rR3xHwoksmmk/9mghbqijZTJlhVg9r1c2AHPzQz4GbCMcfIlE2fz
reBz5yTRzRqiCiyyFpwhrjOQ7zSw6JePfqvjIHxh3v/zYG99FBbymmVNV3TzofQ8ojaJTRMHtbI7
Fj1wpSda7cKme3YUl+4g9AYCk7dxkp05JZCoPbquRZkctHJsAwr4j/oird3q9ROxjike0H+dTnUt
ISEmX0eRGD0dEw3dXol554WG57lnwSoI4gAnI4TPdcH9Zyq4sds7TW2ZYadN7b4oGnU3UBZdf3DC
rbFYKIvY9qDUYAx3OopFHY87j+aEKazunZ3n+NkX3kVzsvWPOentrcOQDLuSO1VoB5szF7/GCXd4
0wnHytK/GKK0QHnIEFhmE5Mst0lvkgW1RiVNHS+V1D1ifBAd5wxa+gefl40XXj8MWjrJ9E03P0SW
mei7pQFOtOsmaPvxm+500e7/GGQtlTn838QLpy81j8q6jRWVnXcizwQ4VPETJ79keXp2W+JxCOzi
WVjNp6PMVV3QBtG0UGlVbtA0FtBWmzHGJlZ94Sg5t7lj3cbGpLKsqMtPh9JN4FPoKuyAOFDuYEnZ
12pkzDc5SrgHnhRjhaHEq+XCprHuQyezhqej47/2XflPFLGbYWu2/k5W2A+TvnSFN4c8go56XLEE
knzfwgDnW6UvlR5UGlekC6OfeWgouxQ63upfDmX8dPSqVZM0Qs4ZkoDU/YyrujMP+jTEBxUWRRoI
nCiKoDHt9sK4b/XG5rHNNYBtDSvTkWZt5mgjNNHYWocfcrIUT6lIkIWnTZSm+0kzWvVYDV37o5Td
iCdIlBDShQVW/RkBfW0Hytxi3J3ZMZI8vILKK1VtLTr3htk4Pi3S+XuWpx7QrYuZz64zze6xgI76
M0t1+3fmrb20uZprYpayMY7uCD7TURe7tBd35kACmu+08/xNV9riZsiAOXaYuyxYDGCC8luNpSXv
4EY0sW+0sDV8Y1TFMxCuku4KdZQ/oNFzQQUf1s2diGdgMXwkPIRvObzUQBVzf1vicjXBK3aSH5Gj
Ag1ZbpIaARbR4soyW6DEgvspwQRmH/9wtKIvDtEihACpz4yvyVgPINw8ru2PUlovmI90P7vRTK7c
chXMpJ1W3egNIv7dQhP8rmDiKOHsDnp+146K9zIpkYGLRlM4QRcp49e86oR9SBeqaGRsVnNDQYzT
y6xIK71rhsb87rUpWJA+5NqzoZdlf63TpIvwb9aaz3j6lJmP37j3O+8MpzxqtQmI5aqJWvh4CMiv
nFTuFxFjcHHn4rquAaeX8kHOeaPtCbBAVUmH3DCQuct0/ugRgxcIqjJupAg5CR/aVIhpX9AmNVwZ
ZkyJQ9pJ8STnjinw/nZ4biHxLj12fu5DsPxPF5IbK9Fgsz+EzTQCzyECOAovLj6ReSju1MqBzDBV
l2552pkih/lM8MJK+IJ9vVm+RqHRXU3GKSzQ517PBF8emky0L4bUm32H8j5AXKPuXXwG7+h2ugeP
1tmVZ1TW56orpe1jWzJeEbTQ7AnvqncmkfOv77+Yf5yFuUSxu8DNRmxDJ3Cb2eCocVOYeTuFsLOa
HyoWA/czeSS/Fb0XwTKmL5kxKQH2EjYxpk1Mypg53Htl5F0PoySKjfqEHpuKpWVcXzKyP/f+2OkJ
M+BW70DsO/1qXYrLwJRygYU8oj3gkqN/iVUdA6JF7b8nhtd8f/9lnBlvpTJh/UvBg0viZteTE8w1
pdEp5ZsC8wG9wmcG14volg46djqOGccXSN5nDlDANAp7fCA18rg2I7KjWB2XZS00o/41z7GJ6vui
3RHIlX0Y+dGZiDDkVynXqpk+fZeqXnZ8Zgyn9EFzkQnlXMHqabopl7rHni1xLoz3L8mTIhvgZ0W3
uNFCVjsd0BpiLrW0D0IcGqNfjWKUv5pGBflVQH1wtlK0Q6PFJvFVZebcRjis3KiNUf1O2kk8Q5qr
6UwoF2X1K0Vvc7DBh0TQhmUfiO9WNCtVKCPW6OC7pei87KTP9zZRf39x9pp+GE6jfZtgS9KRrsoH
Y+n7G4MOOXSR2qiuXWmI+zZaskum4mdmAV8faiGcMzjBW3fvemyF1baJFeYjV1ZRAaM7Wjr5tJAv
CcDPDQUB2CXsdIVxt9RbntwYOOPMsI2MFzzc7avBs57NbuouVPVn1pLDKgLm4tFc4MbTz4/Lh5vl
+AaGS7ro37Nmru50Pd+nsGv3S6FFF5bumed64+Ov0B10OXezwTdaWhsjCrrQncDtkpLuW9mT5pvZ
anfhyDo3FLOHGbTSL/9xd44js0RgWslwmOm5l91k0bMak32nRZfwk/VXn85Wg2qXq4IBSrxy/09f
IvaAvDciR0MCN6xQ0I7Ype0gju9ve/8ejnwllZskMBdSU3czyjRamVHU6RxCz/A+qeAkTzEqW3IR
U/NHQlD9U+OOtFv/j1HRDtrrDKGyX1fqfy6X2lIlRqw6Eu9MG5epflG7b0PTOT8tUZU/M1yZr5Y5
Q4H8/rBnXinO7oi5WW3uqkk6HVYOdWJ1chyApDt3r/WNF3SluMRX/Xf2Q8/lzF/tBlblvL4ZhRBf
z476LiTit963NMBpqdIqfmI3Mb/IKPqgNcn63XQqDEYz0Qtz+zkdMB61mYNkGkMHBtWx7ifvCqVI
d/Cmsv7x4Te4WmcDXKvrcbLdrTxrsExF6H24Zjse8Umi+z/Z5tX7o5x5g4AoqyDF4uaD6cDpA001
TElR5Uu4JJ32xTIn71DoY3rMTEXbLQsxUxcmxrkBsWGmCMLabfXIOB1wrlGkZLU7hySjJ8IH+lCP
kSminYIN5nWTwIh4/wnPzEQsdsHJgdnWf20WAClf5KglCjVpKeMnLRvnG+LU3Qv78BmyOOCrxygo
LVhuWx3ZhPc7DWBjpsEk0clzK/qsDmjJvKTSMCtezKOeJvphjf24iXWUX50atfv3H/XfLZMn5bxB
7UM9zNI4fbdkAyNIVqYlHNkOrmfHUXdz6SjHBOr6x98q9wXPYS2QxAJCfzqU4cWaQzDuEkZ9rXyp
xvGRwlRcOG3ezJY3GzMKFlxUQAfID9+mqOLJFXNVs+cw7rBYn9UmfcQCarzpXDf/ZAlIe8uEO4BD
Jids58jaTXWDWSaUo6uJ7vPoJ66m3zQwa4MsNrzvOkHHV9IgBy5q6OTPWYHzSoNxdVHr8QUp2ZnK
DHMNBIXUunjhE0N3+oqIeFzmngGRukx076tCyDqANJy9oiBHZY6GCDZGnUWqfBgFHLQjsjDtryaw
ab0G8om6sJEZ1BHdlfb4+P5UObMMLZuTiKqYiw1ZTKc/bsQyS80WE0tQ1cadyk7bozFCekqdVhyy
yNEvVOBnLkBrw4V26Do5GXIzYGUMaBONYg7LFn4ahkO4KMFkp/PuNFPzWc86CNci99pPs5s6MVIk
WR+NiHSmW3JvtN8KTJM/dOChU86TxG/PkUABH38pVFMo4dkQHe7apy8FKpXJmeXNoYo1oa+PMQaV
0/w0D7nY64lWBx8ebu1ouJghgD65Wy3U1PHuE5hPob6Y7Q32iMqxJUfizvAy9YtW6fLCeGe2BzSU
eCHgGL9ama3//D+lQCwFSWNONofaNJWB7kwES8dpHcBSTC9sh2eGWmWHSChpPVDsbo4VJ1PMqSNv
NSQqqKEQdXC/rMV4rVTykoD8zP5OS5+NfXXxQO21eSqpRnojIt0M3Tb/hdsk8itL8fTf73+rs6O8
6Z7ps+FQtZm+aLjs6H+cnceS27gWhp+IVcxhS1HqFjs6e7xh2R6bORNMT38/9GpEqaTqu/EsxmWI
JHBwwh8SkzJLa3Rxb9DKeBq6zvh8fZXz18Y/7cpBssTAmm+H6D9fCEpAmQGDNR5M3cuBq8RwsCRW
2YgK98Zk6PyBsK8AawLZRV7H25xXbQZLzGmsP1R1CouBIayvr117g7Ykb/PTAM44Uh58KWQhyXin
W85e1NEUs6vB7m++Ie38BKP2WYkxJPc7BL6KBVfXQb9FUr/wbGQWNAe57WX+ubmcrGpV5kKjiV0V
EUKuc78E02irwfWPJX/75tlsl54JOByIatyCp89mgsZKK42RNTqMGb2EJsTMdUJdSy/o6Gj7DHu7
GwFq+2DMuYidAEu4EgncW8DMlJE06HnuHZvUm57o+oqgRE7wRpzYfjS5ikf/AlAJuAk+3OmDxUDU
M01f3WM556t0msu6nzrExJdK13t6ywoq67WeIVgM/JKm5XCLU3l2dfIL2P6O7B8g1YD52ukvaNPc
rCqliI4OnnkCbJYBLzVeSvOIgQnI1z6e71x4U0+DmKrP2rwWOBQjtfoVrO8EcUQ4Lx18nxsfnLx4
88nffhfZHZ5+xJwzI8HaVtKJaWp0jBqhfLLgew04PhIa/ExbUfl0UFLpQqc0EWAq0syF19HnpnNw
hUCou6g0KJ5FH6M0DPTXTIJhwBLzrp1Fk3PLD9awixW9tIMK/ZKfuZd4n5Rsmr271VDNUCssppwC
fHjjZwmTAbhJnvKUSPTLzgJu2aLa66lwM4T9s7A0fOncMnVtaIqmQIw06tUjxBTTO6ixk+lwUgEu
3EeGgzsT/kXAax3SJ9C0S/2lmwpPR+d+jQABqwkklxFVqkCdFQ0x6TJbpdOy66Dmi1R7YCgeys2d
ujTaEefb4j5tjeRj1wrtQ2M24lkvbLhBs5m7u75u8j+NRseKrv2KC3VaIP6zjxqlMIPC62uLnlWH
9KeXCg9cQZPmnxoT0V9/bYfa80s9JTrCnBGyxztMoZOnVn639JqI0MZsHPUz5rvp+OiuqZHu9N6c
viRpa+W7sjH1xU/jJv1H6VOUnJ1C1366Vl89GTFMFyD++qji7152GrVqa2Nu2y/rHysujKcqyRtk
Y4qs/ttCHAAzXlvjU6uvWrGr7aZ66AulyoHZRq2HSeCw3k96brk7r1qy70Anmy+rtUQ/mkgkUPew
hzroEC6iQ9FQj+yi3qiSwEWgxPBzF+JbY8aa8OXYRAsas1j+wfPR+tdcExxFMZ2ezZ1dTKCTU0dH
aBin+tGHYAFXgGFK8aFIAD/mg+G99rlarPvZ0pVftRp5ow/PxYAIMibFl36A7O0bYlj6HRrzWu+7
QOLyQIP89NINTfbvDBziu+kJuHpGNHVWUM9qgn64p4joMKwmAoquGKSjEyLGP5C/QTwTfHf3S4Ma
WSPsnM5fkN/FAjySEzBcL5z1x4IsHWLXRV+UZFikzr7beHQq22TUpwMFJ4LFw6rEr+SKK3NOzVTq
PULAiDoLI6+fsEavP8/mbMF1jJYVkkSkpJiJJ1X/MxYz5L8+H4vXdkFzH+6flmCKIjRrDzrcQFK5
m7p/C+RTtMCZTOMPOPN6vtM0pXpIlIxWZer13Z+8LOO/fZyrKCYYDYqzWqZo3zIzqn9YjVd+qrid
k11fFfrzXFbTd5hiw+dhZPgDezFDvHduwSARGfKsIcG3ZohvHWeCkzOXGCfX0/RpAHjwmAGg6Hxr
6eGzNvhGrHuHLzHu3DLOjIPWt+jvG3MN8FJ6UHw107T4O+XmLPZAu9Xn1iuXate7Zv09jvBm8WmQ
ud1R43L85baO+2yaRfSJKSCkG9peBrzPeRZ9YBgtkvJxM0+ZjzhNHjPyAOb1mFZZr+xikMjPqjrN
SqA2nv6ipDphLk065x8nUpZxXypa/iI6LVr39YhQd2g0STMHfE0o9opX2U8RM6J/1tH4PYEgb3hl
lb/mllSxY1/9pOc0ZzhEVHHv93OrvaY4un+hPB+BmKu1rvgrhIP4oACfrx6tNk5fYRyg1M++K5HB
dgAU+y0yrN+lAe+fcfQyVNGjOv60pJLrMxiliOE2LfE3yAnUM0udAIVKTEUxfYGEMOwszc1elERB
zDC1h/iL1aRWA700NQH+Fl38LTaT/lXL2TRBlXou6qqeKL5jxeodBwLwsB9LgpqPujdEVnt2IKIo
aVMjOV60X67nGdtSjTNAFk1fQdYKNF7l//9PUthB8yqTeYEm6q6Pi1fYX3s7qQ+JoYtjpSXOjY7Q
Nq15W86Q2SdatKCTNnfvLCbdiPGiCDUQvy9pXUePRWdGn3Mq9ADZVxN6e2rcal2cZzY8HlxgT7L+
gdpssvhMQ6V9XA0tdFZtCFsoXgcB0ffd+RMTEnjtpIbyFt+25VHwxo9XKbQQHXnoxVnFftDy4kZq
vc3i5RsE/mTLAhs53zeZkP98sKwwXRQcZj4Y8OaHxMO2hngKfnIA8/LevcFhRjUXZAhlNTZSp3sj
SRBklOofR7uzlrsJy8UfQ1pWv1sa8s9dkmd/r693vjkYETIrJBGC7ck07XS9qTQF1GYNOQk4pb9K
Z+jvoCDUTxaUGcNfhg5xxglE8Y0y4nx3ADWUqGHZckKUQT9d1tMnlPeTwTtaGdHBULL5R5Iv6Y0a
7/y7sQroSWIzlQpf8XQVZN1FNKsZUpa5jSwqwHUfL/jVV7PsVul/8YH+s9TmPTL+Lcuc5vXRrtcl
KCSORzOKW953b5n6f0sUma8iRyMFDWhqMHI9faK4ybUynfvoiDMHOAkV5NfTzIsTWG4A1eCKVq10
Vy80qPzC7Lgm3Byq0M7zFvMFtHhT3igtLjw3zglA9mRXG1DWpmbijldr14u9YwqD+4gUvPahqCvl
xjF/24ab52aszEiAgCJhsZtoQtNQaxRncI7eOoBniTC2Sg/FgjvGIW21NJgte/rQDRXEFKu00VYn
izReDBUwK32RPP5VgzaNdqqJO8auR3URnZQWNQKASLBhjlphzu/f4QDImJgQnaT+taw8/hMzIBkb
SVz07hFHHzPQpsUJlgEG4PXje/76GUlT1qEjQsXKNj9dJaUdyuXbWMe1TqddlQMETRs9uvGRz3rh
MgBycSAoCdUCCODmCkGGILLcLtfDAtL2s6Eq6UMLsO1L3jiUxmkch7GH81dJ7n2vx2MbjGje3hiM
nx9mmq4gkKjL8b4l2J8+am7PK+YSmhaKCgZN5i3Rvz1eUbvJUsrv19/qhXIVJANXJcWyHDVsNQxz
NUOWdVnU0MpVzlBWRcuzNa2mPzkR6KlhjO6VJs0OuuaUYY729+Ns6/j7uX314rV5/ewYtfvn+o+S
R/v0CNB34VbgHUATOCtVq3lKlMTp1FBvxXxU2wKQkdN5gRfh8lPp8FOvr3fhfUOzpOdH7CTsWJuT
baM+KBSY3AjVlmjoe6XpD8ua7Ql0t9q0Z4Afdha8HIaZtMpwUbE30dPRI2GmnTeHmtLlD17bIqIW
6d6dPrPTQNKmu2XJyj0AjeXJHkF5RUozITvRT59j7OaCbrWoqac4+1wLrKMgJnq3joDc4pvXT/SB
n0Hzk7bhVtJ3yBKlgA8yhNSbcFVncz82xSdFaH8V9ELcvH+xuvlLncB5VAbtSRnKW0Sy87OOewJz
X5uPz6vapo0VhjXVkFhT2BQQ+x0Hxp900w6uf/YL2+ytV4mmK03RMzIAWNc5W412DlczEq+msTYf
yI61XTfXKfZ163wjt7r0VLIzZLuuKa+RzacHWBeDczTmsM5y5bMO8xCmbf5elTIZuoiOQJgZg9B+
2twfq5Y1jTWbdBfsVRwHqx0PXdOLT9ff3YVnQcWVMTLFL8i17RcSKAjpM4qnoeVVVgC30tnVcI/3
/88qEt0Ajl02Dk8DoWoM+ppFfKGytsXOzofm0Gv1e7E1CHTTqWMO6MgzCZz1dJW6t5RsTGIRtqjr
BGjwqHdOalY7Qc/kRqQ5f21AiyRPSE7V+GOT1JRFnUnZCD2MRFyFC+xTvxRWcmOjncczAFxS241b
BCDXFjKGesyU5o4wwoZ89GnU2vhuNltx1yqNfffeL8RSGmEThCDToG0Sn9sIlCBPYoQ67lDBqGP9
igT4LUTG+UllFV2nES/hC4jjnX4hw5wjd1xYpeg0e0Y8aMZG1tGqXYr8vi+6Or3h2nrhWmRFB/Ft
5P7kmHGz80y9Xfpo4UM5dOFe2qkvHiqc3o5xDfxqqVH9Q+NFwRcjT19a9Mb/jOVCxxDS/w91EvmD
NRXZx+uv+m0EfhqXec0IYUAbQfL97FrMFiLisuCi2VcJxkpM9h4TtRvurFi2x5zGtfdd287BpHf2
Bzx7mp1Z6VkSFIaBNpQ6aNNzo3TN93hM9Oe0MvJPhjE7PpK7fdCpxS02rsxSzn4usD5LTsF5k5ss
xlFyb56RbAxzK44DMRjdP9x27iv8SvtOzyx71ysSm67UtyCTl7YLWARyUaBKNALkKfxPQtqb1lQP
6JOG5MeO65PtZWFW6J2PIof5VLRj/eH6p7m8IDK/TKVhHm8z4MZdAZ2nrh5O8aQeC0VRfJWL/ltO
5+xgIBn35fp6l8IIAyJaHORHOAxsHrBdSgUu6KiHCwqKL2PkaQfTS28dggthhChF/km6/WZ7fvoa
kQZELskujTBLuKrKoUsOYKFoJU/eu28TGaqAGsj/gO/YJN02dhYlQr16iAZRERYKjfMyG2/hTS+8
NUknYxmI1DBENhvSaspmiFR0KazWLg9JWmch3qnz/fVvc2Ev0EQAK8AImQByRsjw6iSqmKGFtJvM
B0rYAs2Rxr6vUJ9DOa0dbugeXvhKJ+ttbq+prdbYGmix1eUw7LPYXHaago6BwEAxuP5ol16gpOLh
a0EJjFjz6YZA2zxrU/qRIQ3GeZe4+riDDHDL1OHSA5Ee46MFphuw1eYzzTRNSSlLLZzLMgVHPo7k
ZsN4h6Xpe4et3Px4mUDkpq4nx9gm4xnSHEsKcSmchqELVIRL/KxGaez6a3sDJ2wiIWdIkrjZEFC6
jNP31sFxz91eVUM1z007UJGi/0mjr+93BPr2YA9tV+w6pE3+KTEBtejr2QrKW0vb6Tua2+ozHT9L
KtVM8eLrWrEgLgkjYN4hweceRVy0mFWnbvnbXEvlt+RGITcSNRIiPBn8Q1ZmKQEFDdOAUi9W8f6k
RmZNZFEw56jbNtFowkcTirTlhrkp3GBYMMOOl+mW4MKFc8WJkdtOViY0hk5fomk2xqrmhhcqyoKq
I3MowrvX7pbGQlexibIbKcCFbQgTkAKciMAoY4sSs2vFbAB/O+FMUDmovTLeTXai7qbeNm6EjEtL
SawYeTugYbLp00dLme9Plpm6YdL1xmFinIHHpEgPkVX+vb4VL6zEd4KxC7wbOM0WAw1nYB6nwTNC
dLigDglEebmTlcdVc8Xx/Uuh3C3H4DQ/Ka9OH8qJs6XxmP2F6lQNP/CG9fwIYtSPrE6d92/ANyEO
aARSy2BLyogVuvNKUjih6IuMearu7QfK5BswsAvRD6YrxQh8Ox3GyeYUjwPGgV3cqmHVV87BRrsS
oUnU79792uSgxJFZLmP6rfzG0E/2aqq9GuZAukJTU/J9kTbmXdysw/76UhdOlEsdQr5C08MFH3z6
hbwCPhw0ZTUcijK/95gp7j0kEvaVNiLqnts/ry8nL6LTKOhSxUkHC0IEp2qTxA863r2109e0Farx
AOYgP066Gu9rRWX4S5CekeWiE3J91fMdD3EGGA0wKzA18HZOHzKXpg8Z88WwMu16H6lm+7XCX/2b
g1TZjaXON4h06aDs4imZgG7re2/Se8aCTRkOFK0kvA3D0B6h3esPdLYKCQzKDFLUmduRnXj6QJa+
Wr1Y7DVsolVAByuGB6vHFfa9q5DyMWlCO4Nncrend87bivFmG4URhtA7aP4VKmiLeWMHyhhwsiWk
mg2AMfwMcS7goU6fxdCzgWlx54VtDYUw9ZYOu/LMtgKI/8W+Q+Oz8A21Kp/s1LBvFMlnu5+1gd1R
J4Mho0rZVHiRVCy06jIKlxS9tjL2Otxtu2+6bn2eB+3j9dd5tgvfFoK44yB2wYNuPtoy961YjNkN
HVSkXlSExV5RW88OKCh2N+6t8/1BqSyTDHQ76OhudSBwesX9E+5aGIGc9rtUGXYmlLgbX+7SA5EI
MiBk+C41Qk6/HMLPhOLI8sI8j+ZjR6R/RFKzCyarGm8kuOd1L/A7jBDAAskPdjbVndbMnkZE6ENt
Seb7NkYIVCxa8TjodvwXwXX7HqWGAjUF3X5EmkzKvHreRycR2c7V8/IlGjzrWFl5EjJeXC0fwS10
CBG4TgA4VN3h3Z+aWSZNHtlLZtq42VdghirPVBwnVDBjvre0tgkNfs93t5vW/2MpprQWO9iWo5fN
FTv3HWp9XctHgMYfxOXk3APawe/QTW4xEWABnJ1V6X0luw/0rQ13u69wFknASJhEhMkZKwTSanUA
6bxiYG2oEntQzVakUeGABj9wj8Ionpquc1Duq/Xfc95N3+x5xEa8sZcqu8uiKKl2A4aFnr8qqfUx
yvqSCRZU7slXwA19S5CJe4RXb1TklEsUhVqiYKyuR0k0BEhvW+vOGriuEZdNnC8zlLgP9owplyQt
1i/EtQWB77ktP+mDS/O8qpPUnwHQPytJrAFiUhsbyJRedqSryH78BYjXfI+aLu0Cmj8WIK851p+1
ZKxezFUZHs3Sy/8ZhKblvobkCbLJVWvFgZLG41d7ogWAruEwfWN+1HywFaf60bidWRLVYudvGpdt
tp+Y6+ifG0+rqwBusVrv8Icf7pn1938qzx08MM2egs8XwJbiOFeLOYRyDvIy1VbvBAVaDrFfYoXR
7Pq2ESxojpXqwxlI4vsZXAwcKdwV/jqpoUAdKLIZcGyd0iFbID349TS648FWl+7etPNeRx65N4xd
ms7Kh1UHr+/rpmIF4FrT6WC0wvpmqIX4nDCmAicaG98MFNVSEE7dUB7sLNXaIO4slJrdTB8WqOue
+lQCfGEoXHmD7nsYH/R4vterG8SZhdyojdX5R6Rfo35vCg4kYnhGj2y52uP/LFpMX3Z4y0Tro9Ma
+T/2sIIDVPK1/mxnZvolo5z7M5lwsUCMVfq/DjJfbZAoeANCg7adg2O0w3ONI6DEK7a2Gw5GgyM4
rHyv3ceV3Xh7ULuG+kGxCql2MSXq71lX2HCeFSE3npMjGHdthSj2zqlMSJ1WYUDKMBKtGt8dQGms
ILBEaSExMtums4VEKbQ5rXpAtxqpWpttX2Cs7mKWpxsYf1wPSufTdDAPZP0QwGDQk/Bt0qAZGCG9
/LJ7WIdG/6wuqzYjxhFFjq+QUP+rgxX7o69cgoG78sJBdFULLMy8c4Er1SVaDLd+0Hk8kcRFpGlg
UXMnbq9EIAOA0heElDs3t+xAMIlcAhG59q/as/N6586q8qCIAvrPkttKdKTr66iPZox+IrLnmjH6
ejlW857xIMWx0xeomKhcstnBcFP9ZzrjYYxMRJX87LCL6e70xBVfgZOKX3kxGRDWlzpP9nraFb/a
cchQZoz7+BU5UeS0EM7P3Y9VjQp6vyJmzT26amU4Air91lJwRg9FHKkZFZTV/ilNrwWvCvBCuUvV
2sj2yIeq+X6cXLAJeVeiMdEqee2GRpZnrw7uhKNPM9G+K8e+z4Iiir3fKv2u2BerU39vba0U8Ilb
TQS55bSvqVa1P4pkgf1owP+/Q413aXYFlicInztG4e1XA5VZfymKPveNSlWiO9vNeU9T5nXzPZ4F
JlzpFs1QX3NL97GvI8wa3GEx7hCeBduW1FGGpGdOvbEjrxyyI+K91ddGzJhMk4Yh8SqSAr3rCotn
B6RvL+odYvtoTNP5VV47rbTjoHGneg7qpXaTHZ0i8/dIBzFGXn5Gi4Lfr1T38cz94vdW0Xl+G2Vt
/UQlij132SlATu3Mm/M7DxGR11laWe1mza3gYBut8mWesawMvEFxvw18yR+YGyTJLrbTteezZ93n
eHEI3dRKIqRzKtqnOO5Ghtdx3GLPYKi/cm+cltBLo3i4q9yqEZJYNVTHUVNWULA5fekbhf1ZyUP3
lE4FOSYKdGjfb/LbIUVBf7Lq+qEfYhPAbNx/JWEz7zvwvLsZh4NDyR/VjbN1ngGyKq7ALk5WTEy2
s7l56Jsx96wai5J0PFTsj4/oCTc3Ath5/ixXkXUc2YADKuM0A2T8YESV1dfQ5KVMCL0E9WVOHXEA
GTM+Cm24hQi6EDCwpiS1ogA3VGvrS15UYm5tNWkfEFNbHsAClw+xsXovfS7UG9/t4lJScYraWGIj
9NNnM9QZ6Qi0xx+m0XJowWESsGYqk+gBi9HrgfDiUkxqpTU4Ay5rs1RXNsi62Gv7AJUPWySr3q1q
jYPuAhLg+koXtgVwAzCEjLQYaxlys/5nKrIacN+LOW0eWssaj6W9Otgj2cp72z5cNHIoIev8N1Pe
01UQ8p0dyHJsiwzJ247upa/hxhLk0HVvvLpLDyRHYYgUGDZ4/036q+lqF42R2zwsQlPCOTXdp1q1
v19/a29tndMaFSqkRGyQhjFM2mqPDXXB8M/sk4cqUvrSr+pS5gWGtn6yE2wSgPnTzPHn1coe2ryP
kO41uuRzbgxaw6CumtT72fMqlFlqc1T3GKnBo9DxxgG3NTVF2GKLjeg3dlEG6Zed/S4ie/phxWoc
JiX9SYaNOpY51x/qwtm1QNTJAQVjzjPVlA55i16fluQBp5rht6Emhu+sRfnRANd8XFJAZdfXu/Cl
kDKTFlDI1NIF32zyefX61R6tBKWHbPCHSWjfvdLzbjSYLq2CzqdHe4RynorodOu5eJZJXkj6UGVK
sl+mAmstFY3q689yIaaj2APMjeiHndi2D60NgzrmycAqmIeEq0ZaoNu5icL2MjYHnbH0V0YKt2TU
LjybZE2BiWSkRETaNB+xXE2VmY7gg+ZULrZJxgq7IqWtd2NnvIm8nG535nBSOVD2RdjzmyghzMWM
OneIH/AzaE1fG4d4vTejVky7WLOSOLDyNDM/TbYef4+mPjZ8F2kz1L/XTnytrWL8FmMEhdmGmNYn
5OQ7d5dO8Wz6FaJSy72nFeRKVes2n4diiTxMPpjL+WK0cZBCQN0Xailh6es8/0ZwQiQ7d1rdf5D0
Nr5n1FfjTk/M6RMjvuzJhgb4p9aoRn2BFtJnjEKx5dYYxM7+kCsDkEcPD1tfy5upeYyTfh2Caoiz
H2s82n1gUe+NpCKzVz7HjZVOQd0KfE/MyrXjnR3RN9zNTjwUQVbn469alKsd4JGgP3d6635akrZ3
A3URy+dZzeECziQ1SP7PWlzuTFjeWLhEOR5YBmyZYd8Cg66Ckv679ySctkhJ/jztQx0r6bfJKrVX
dRo9+4B7QHavYsr2mDdx4917eKQ4/jCkVuqPqiiMfeVV67AzvJqnEaZW/FZ7TO2hkrhW95AuWLz5
pHTVhAOeiF+oNetfYqkVWBBeqms+ZglYpS9mYRNvqnRNfLvuhJDYwuXVnov42ZoH85mf1GNw1XgQ
/asqM4lRCa8f+5QcyZTrJ+osGtFTIxbRbLSRZGWCdHpuW8YHGCnPWaiYXnaXJkbjT5VuYgWwRHdj
cQsqfQ7xlIrTcgoMyE2XaLzT9ZK6rdUepbrQzVbnwWy87hvYivF31EI4Ko1C3xtdnWNZEClK7vMF
4p80rssbba3zE81oRAIUpByHgbzW6a9Yk9VdsybOHhAqFodsbNdHCrdbDOPz9IJmIKKZErmM7O22
W5xaSc/Ba/XQa7x430dYFw2ROZHTO/Z7PyN9RxPJIK5JOKXncj5ZHKNC1xthn8Tm79JZ1OfB4oTB
Ny5xZ7enr9e3zRvKYROq2CxoklFEAoTYjqOzGpsLBaXq0CATvafHT0sGSu1RbditVunVB73X2rsW
c45nJbWXj55VRUGJhcqLFplUSnlZf85EfRPjKTfs6Q+TU17AymRaYNe2mWpE10BSGrOHOTO0r2sU
2RrXESm4XximUezEhOTgPl0zrDIzW5h7xxmps2dNEa833pG88zY/hQ4DwDbSI86Xs9llJXOE1Wmr
+MEoUpsnTqLlKzNx9681zOXvsjT1b+DFqyfMCs0RrtiEW5KjYsXhO6owflFhEgY8mAv30eisv4sM
4b8ALsgigrEUeN9Uqja4qIOto/P7+m8/PyCANFT6mhLzhLLx5ibCqXClA7dGYV5l7CLVbgP4L8aN
C+/CKrweU/L94QydFUtI65fojFRR6EYlsn9l9FuN7Xfa+dK1BpPJWA9IA2mXtz2FLuj9FNsVN3QT
7P8aI3oRPSzONfW+FVV9Y065tfKVPXLJw2cZ2s+MHDZ5cc5fUJGkiI5LWRfU41GX7equLF+yWGR/
0bItfIac0b6mYXEcINMHvbDUF91b6tgv8L3JD+/8kgwZiXLkwXTyecWbgAsHO5q9RVjHpJghRJpE
3W6qohvx5+xL8ryMTUkAJW8CeZfTgCqUJLI9AWi9hA+370b0ttNRuSUSfGkVsOJS8VSqbWwbaVPb
xOvA2wyNyF3QpIviXTRp4sZw6izJJHZICC+9QUwzzmSVG2OIVeE2Mc8y6HdT4erSUibmDi7bII2X
Yp9WZn9jcvS2DU+ChVyVYkc25Yjh6uYNzgm9UEvv4jAFla4P85dk9nbm1LzC5Q0HDxmgZnqss+mu
mJt/R7T7nTjHUqZ/TsT63FnmbjXy4yCsA0J1x66Pp32dY8HYODfKCbmBN7+TAAtoh5/IT91SZLwS
bxarG7MQPbc0oeE1Wj+a2S5+zUgnHAwIAz8GMiMMq3D1vPGSzi5U+Y4cwNtohDN+3WINQADIw87B
oUvhHZo1zfemQmu7q/Xow/VjcyEv4iTD6WKepNPx2ATA3oIDtYooDscE4VMHUy1YGFkJoNdMv6Ym
1oI33uulXYfoGMIT1NNUAJvLIop0BnkRczKBuCIQI9Pz1UU9wNfOfbxVwrKN3utq8Aal+M+Smy1n
1wglT6gDh2lafu9KTd8vOaSe3I1vpSfnBxdRV2RMKW+oQYHhn4aHxRNsjGrmba7aeiyi6MfYN+IG
c+ccNyx10EmEyDO4VbhxT1cRbTeprtXmYTYRY/3WTJjyTInbEl418SfSvGLaMw1ObF8f0mzyoTya
FPlK0et+qkWIEpMK209qAeApuL6fLmxdjAEkJJygQiqwedeDpkojao4NxUS8B4PiPVHSMVcb7OLP
9aUuvGyKcHlpGwwb+PP0NSwmvKnCWLOwqkq02KDb74c2u9URvLiKDVEIzAXp37bRyTjS4MQ7WWj1
+RKY01y9xPagvZfehkQlmjV0mEyaZtTfp88yNbYWlVaVhVRk+AQ7/chAfbJu5CEXDjszbviu3JAk
I+qmCCLOi6RT7DxMTLt9ihLVflTnWLmfdax8/UQ1pxtXzKUFZUXgGmTs0jDi9LEYtsL0VfMyBOiG
GvSoWkRqlDBBngswy9l4ePeWYPLEWJyUBA7zdt7To/PqpbWehDX7fpeuiOUtWW6+/zUCV5GEFBqQ
crx0+lRN3bflksqLc9LSg9Lrx9zUk31Utx/GjLnx9Wd6Q25ubiJLYlegQNiElS1BJRmV0TYQxw6T
Ri+S+7ib2hc8/6KvcbKO4SqkOAIYJ+231SmF8Bm4Tv/iOo+QhlfFNSKyXlHpB9lrKB+qdUFoBdvX
Xrtnpf6DdJJDC6C31XTHoL3Fwn5s212UN4KZqSXpejUGPmDrl2G+E+qsFg+Qy1Rrx8x6tgOoTW1g
YHtp7/tFc4SfZFH5Y0SU96OlF8Vy4/Y431CyawQaBPw7etbb08jIOh0yJ9LCKRfOTnF68KcVWFBq
QhTU0Wa/saHOqXRUfwwtyaqlbjccg9NvvabJgGumt4ZprTTmbhjt8kfaRm29a2Jjmn3dmRrL75V6
1ILUMBsTM+FcNw5iEF4M9DZx5JRRb1/1JjOiQ67isOroGRPvPKEHdX2rnMcqfqwsZgCy0FC2N83J
NBcNxSk/tsNT61G42VNfRfN7ewryjXCD0wGVMLttyaTrw4AejLKGOe3owDZwdteEM984Y+f3iAT5
SiYbLRsC1iZURXqNYk1r6WGeCTPA4bS5R8t3fJFQnPd6RUk6BcGQRJjmAln3JgdKtRppkUWY4YQj
kZ9adhno6AXdeKIL1zbkeVIDJByAghE4TreSCxxiZG7Zh6Tbu1IR+V3WJcGYVyGsGr/Jk4Ocpore
eqIb9LjG/TGVh2v1yltg8Qv7hL4U5SKqwRLUunm5jaIB/029FpgNCTYq6oiGlMZ7zWF4rVArZcyi
LJOjp9PnJWfPtUXoHUIZtvutIxPazXH2bpoKqxAKCMdAHUCkba4YlNkXu8vtLoS97B1ipRv2kFnj
9296pqvowJKW2+iLbcIA2IqkM5SoDW03cQ6Vq1XHuqUncf38XugaovvKrAlILrA6zvDpK/P0ZLBK
perCIbaiI/YH9RP21DZO90XxrJR9eqfNws58VHbiw0o5/KRMc3R//VdcOHoOPUPgAyQJJJmb3eGM
3dJiVNGGWENYO1tPyqNi29Gjpo/ZjUHeOWSE0yaPAwLFJOikcacP3Bp6rfNG2zC2FtSzqjIAzWLu
jCh7xoZVgSqegdFUNAYRrVlAm54b9NWm4cv1Rz4/ENR6Ev8nmzMOX/r0Z5Art2W9GB04ESO+KzrR
Bgrc6RsR4PzyehNtk0AcpnycidNVnBZfbMfmIre6WKHtb7sHI9FVpHn05Cle+/TG5XXpqRguU8Ai
MMn4dxNwjHRS1HicgJQkaRpUyJ0E82g6wbvfHeEZzXipTQPtY7NnGYzTdVKUMhRlEe3ctUHpbAAt
dX2V800JcQvCNgddCt5t+/faqDilVuhVaAlEAdI11feZjblngtfqjfrqfClQDVxy1N5ESCLX6WdK
C1cgXaQSUebZUICBpdbOHaZoTx/gpmLheZuBGCmNLyQBjipjs9hquKNlgq8O1TQaX8GLaFiPYfVg
1y37ZByMz03UggP0Otd+vf5Kz7cHg0zZ2pAyhvLVnj5nVDlITCWtYHuMBobadfmhrGzr7voql96m
1BMC6c1NwGV+uspEBpXWhS1Cb/CGp2Y218B0F9g1jtneqm/eeOenqbLFiMckWWPqDJt7E05oOhWm
NZYjYNVGDwpcYx5EDh4C/WLVeZIGAUe6yC5iW6NIfHT6kG6DE6B8iRGK+lPlM37VVk6AHWhlVgcT
4fcbMeDC65C9U3IbEhuygc1pWWYpXJmPY9gNMwATMy/vRhv0O9ZRxcfrb/7C94VER4cPzDvJ4LbT
YtainvVZFSFildW+Wd3GdwAI76+vch7U3sbg/2PvPJrjRtZ0/Vcmeo9z4c3EnLMAytOToij1BiFD
IeGBhMevvw/UPXNVxQrW6KxvaKUgWVlIpPnMa7AFMDhAKUgdv98Ot7JZjzg6EVN9CDF4Toom9Gdp
bLIcRbf3Bzv3SJS36WlxXXA9ngxmVm7nou0lD7ilmXetErrbSuSXzumzo2AXAZdjCS5OVWCyOkbD
UtfkwZ2n6XG2S/wHza69cDqfWwkEFGQySE1SmDmpoMfmPLdgmxil9sYgdcYX1BSTlXSmp/cn7e1A
NmeZQYkX+g3x9MlA8B8xQUfm7QBOPdsn09xvEXdWNzi1XyJJvV0MLGlCW2SsYdGj/Xq8GBT6kAsu
XB6iMSo26DiOvm2kAOa0OVt7nbiEQjv3aL+OdxL8oZgnUY5nDrGRlR9NhC/8rk7CD71t5xc6HsYS
9hyfLVhEICS2OAhbACROwqKEEsmkj0kDX6pU5Z8pCIBb28hqb4/Sn1eAsMaFHCRyQ4iSimz+XsBE
NhEznMN0m5JUC1zSE4zAO1NRZ+ogoWjpqGtpcu2UKFqvWfiGGxhq7pgb0ZrTx4iaymJf3nkPGrpK
YNhza/qk14U4ZDA9M3+27eFzGBcqt3tXFS84O+vj4gomtN/eeFy/Lln7YkfEuWocv9haNNlMXy8/
8NrdbZGJYSU4tlbvr9S3tWFwwJQ6qLPRXXlDCKoHPcoKURWHXJuMp4my2/1i4R35YW+r285Vs28V
6O6P7496ZtFCNcbwEdYipfBTzTbcFhpjjpXiQGsZW/UeAcgZiHZPbOo35SWG35mQFwQCPSRKYgic
cQkcT2WU6ZVXl3ZBZhtl12SLOBODurm3PCXbdhm0uFii+qkkUOXaVnSHFJ92auNlVlx4qWcfnIQG
oWuHjOOUqMntULQk8wVtyVqN/NSMjUdy1GLdZaJ0wOsq6oXQagkpTvaQsZyqNNAWiODp+a30WGlY
oZFSTWFy47T4jJragywsAMHd5waZD1/3zM1gzL9fs1sQW4SPS6d6KWAcz3qotrFuzSI72FYvtsWM
LV2qaMWqQ5lvjQhsdCFefRvXkfYSWRD3LNCBU+cVUjM6G/gnoO2hFUkg6XYgPzjZf4bUkctAK1KB
wjDGRI+jNmUXVvTbC4zBuSDJ4kgzOIyPH3YckxDWo5EdDGRZXiKQ7tdanv22WBpxo0UVgZybJB9x
o+NRCsWZhSmT/KD0erySsqxupDlMF0rI556Fc8fESANu0BtwSeWWmTvA6Tk0ANbXbagZ17Ew693v
nwEQBCDEEguDHjyZscju3bFvEirjWIFtVXPM95oU2iahzrzz2tS7cNKdubhYGAtwmrqTjtDB8dy1
RjMLfNaAI/0Ul7H7rPJzB6zXFEb2h99/NsgY9BIXsSZGOx5rKEMuMyg/h7pWcFysQIlsojwsRk43
a9oj2IZQ6/tDnnlpCw2RhI0iJMHEyXR6VC/aGTLuAfSst3KNxlsJNHB/fxQCTqoydEiXpXhSYIqB
p9UJePxDGuu1D/luuO8NYV0o/Zy5lH4GaMC4FgXRUwRQ5MzqkEhiTtVo8jthaMq+U9vpZsYf6lav
1fhaRepj//4EnlkfLI4Fr2aywshDj98ZFsRcg31ZH4BZ9Dtid2sF502uitD8/XSXSNowwU2wIgH7
noSHjRNbeqta5aE31DBozOIbVnwGBDdR/v6iX1IEKnXUuKgNnqyKRB8zhNuj6oAAeb7u0QnYZvDK
tnnSXmI+nXtpLD+VeI1+GhYHx/M3FkJM3mhCixTtsIpbp79zUKaCdJOWaeTPWtVv8k5cKqyeGxYO
KVZRzCdXzcmwmhfpUOfa8rDs+ZUisyiIHXnfDglNNk+dNqpW/jYjHJU3bhqelJFRMz2Z1XJEyFlN
p/JQ6ulDhoJrILrJvfDqzoQKXGYA+6m1LnYOJ2eINbWI5KXMpzLIfC/jiS6Qq6jX2Hxlr2ncigv9
0DOVUPrai6UR1WnkWU/N4GByk0aXsjrYQ5FNPge39mDEvXoHuSfKVko1KfEulQOUUA40fd+78Vj6
eJFfAg+cOcp+oqkgIYMDeYPFgQ9mjfFgV4euNrRr1N6da2Tmf5sKv6ghL66Li1jCQmk4Xq96mUxK
jyUH+73xdrXRFTtbtuX6/VPl3PL8dZTlWX9hZ0xlZcRepVcHZ4rsyQdE3KxtNaEGUmTmXkyQmQcI
z5fy6XOHGTEXJH+4vcuBdjxsT+s/1MFRHqIltUDkCex00dPirsxRXOqBnVupDkXlxR+GutppVKIi
26vGKl2HOIFyPxpwsVMxVL6oMf2sCewvBNFn1gfbgX4YSB1O0NPMSMIVxGGyHA7F6Jk821SvXCW+
1AQ+81TU6shSmEX0rI2T+0A3pCNFX/UHAiW5SwSgTrvuwlWiKnlQzhfBhGde2eIbSBpPUR4Y2rKS
flkpVgsYO6lkT4ubQL3HMWDXmHG+cVvb2ry/KN9M4HLR4RrILYRMCCnt8VCu2yetkSvmPkPnL2On
G9ZGqFCpfzdaOBnnZPFnYKybSbqs87pOr+wcWECYtOGFLbac8EcZDqMsXDWyZJBjb5QxC6PARpUg
cq86RW5dV6mtPrT22OB0rRXNdW+2BrjhSMrnyWqSC2vx3OCLSvIi74M4wGn5E75G3s99au7dSC0+
Wd2IEWMt7UxbdUnvebs+0bXd2I9et8tl3lVPv/8mWTFoXS1KCmQGx29SRTC6Rz3J2ItOoHGpTopv
GdG/8x6hSRGzkHdQVT5ZmrULY51j1NiT74nAjFNrjUKpcWG1vDkq2WewABeEGrxhoCunz2KFjlc5
4d6qVLGdosS5M9wRnncuf9rViKDPku7x/Ql8s+uWQZeiPAZXMBBPMYd6pBshheBw71lifFJK9jZi
jWIPQflSWf4tsJ3jmECFIgvYcWLnkwdspJFJYyycfW9XxhecBPstSJ30WSss5UaJovw2lKm4QeW+
3GaVVLaJsO1t5uXVJvVU5WPfa3G3HWK7ubCD3p4HfDFWEN+PchUyUsczH3ZT7PREbPsKk/lNJpLq
fp7sS0KXZ6YaPM3S8F/AvBRIj0cZdLPp3D529oKK0Gcxa+11R/n/dU47/UIs8/NwPj4TlpsPdS/0
qxcOwcmKNXrHndtKZyyBf7idJRxzLcCRNhgqXHX9QSn01ldBmPxZRqq8szA3HwPkskIroJiuO/xG
Et3g91L3KxyqxUeGye/oYlVwoCcv/oanSFMHfCa6crMi0WDzCn3Ena+mYtjAGjLSxGfpmmFQcFtY
sAD18IUqD9Qqkeed9DEAoQ6UQCrwW+AclwrDb+M5XueC1oMNQ1wO7OBkvi2PlZIa9n5WOjSdHWoj
z107VYnfWUa7cb0033GrmTeaGMavs6bXMxqjerR6f4edW1wkBGBrFyA+kdbx10iMDpJbjkGYwARo
0dJIYLgN4sIob6EePO3Sd0UWSken6fT6HLO4GyL42vtZY39QjTI6v8xria9KXGxE1owfQljnwIkq
7w6B6HTCt15i8D7ruq+T6B1A+Yjvv//siwISwsDL4XlaeMyyRNWGDGdXPQaxrpdSX8vh90vyPLrL
0UUuia48wKnjGe6zTMSeNeHQCRA2MOYaHb3abYOk8y4FzWcXFVcdWjF0/GjenRT1JmuGY1PgBiqz
3mn8vIQhOQ2TdWh7FS+vJrICrZ8K2Dmu53epi0aC0znN7v15PXOULEL5xJwQIij1nXwLBURlVYcF
fQCnNj/hH9A/OpOH1AFosPjl/bHexIEL2WdRdmZELApOx5qyEFcwWj0ES7JF38zV1sgjm6kvWsMK
zDnrf1srjhEXoxYYUOi3AbE5fp+GPkSNhygkICVkbyKr7nZtGn7Cp+i3FQoZCcIrkCFELMGenIyE
gETk4mGm7IexxW8bKQgFjnpvKDgMzdq/8dKWyjfABdJ09ujxYxENOdOc6coeNTfjrg2LYV0YvfmQ
otVy4UI7tz6WG4aLHcg73uXHQ5m5LZTa9KLDiNnjlaOY8XYgiV2HGHNfOHjODEXwx/lK9YGr/bTU
1y4d7zzPokOyyLuMChJNOqqgK1l29YUA6dxQJN34GYA4pEK1/PyXDMEYBrjI3iwO6qRVu8mdzWtX
zN6NC4D0Qli7TNDJ/Ul5bwmJ4CZzqp4sjNi1Kj2xo/jQ9Xg3u1I4W1RGat2vVGV4atWy/AIcVPRB
OHb9sxDepRLL27iasjBsH+tnx4Zj7fhZu8UyYQ7t+DDNbbhxFgKvMBEIQ4RrNSkMR4QRENDY69/e
7c5STEKPHBkbwDXH41oFYXynlOG+yprkSxJJ81pJtOw2y2b33kCx4EKkcuadOoDQ6fNhikCv9vQ5
tb5TwrZT9lDg/tTjOsaWtBXEoImyff/Jluv+9JWSISy0SnYhGkTHT0YWFMFSg9uuNe7srUyj9erd
7Hk5KjiZoX8oPTnD/uNm/Pz+wD8DjTcjA65b5nNp+J0EIkK2TjgQux5GO9VXA4jp9ax1SACWfbjK
Ev1b1oUPnN/IQ013KDCsHVdZIxkJLkcTxWa24gK/zajfRDr6y17hxRdewrnVTnFUW7hZLLWfl94v
G4v0sTSNweDA9aR2yCJhfikGI3uxu17dRr1X+y6KN1cwtcKHKkbE5/0JOnPDAHmiPQU+ZWmEnATG
OdvAUGvWXNOoVcCuyB5x22uuUa5JX0orFx9/ezyH/gf7m0Ifi+7kdMxdDLNI9sJ9ruLvVCADvobp
n94l7lBcWHTLmX7y6n8d6hTY2OAHm6IdEe6HDKMjt5qQD0PP7/fPYEYhDSezoqZ+iuvwypEDOGEU
R2ujhzFX3dWsKOX9NOJ5+/7cvUWnU5PFfwMSEO+MAORkMRcU74tWL8J9MivVXh/D8hUKHbaqbV23
4J8SdMGnZN5S4i9JMGS9K3N33mJF32Jn2jliH6e6fhVWqeknoI8/OpH0Ht7/kmcOT2ATiEFSRVru
v5MFpQp7kKoyhnu+zsYsQTQMZfngjMNBxdWIfm94V7biQtPm3EkGbw++DrELaLCTVdUxV1GNlu5+
EjiQdkZhP8bAIq6dRJr/zlDUW0A5k1DwOo6PsoYymQeVRdnTc322rRSiFVC+TauHl66hc/EuR9aC
skLhk5r/SdAyD2rfYkYWcj7r8zoe8vlGK4AkFk4OOdCM2jvVLdtdKOpx4w7JtGsG+Hzvv85zm2iR
WVlIRNiLnHJTRy+qqhrdr33toGbHtRyuIN9fMnI+cwpB6YIUtXDcQGec3ERqmUG/TF1vnzkTwBe6
3dWuocm5Lg320QoB0PLCa3xTEAFSRtoMmZmomqc77d2kioN9a5UahxjNvq2KgNdHsBPajSlldj/k
QHT8wXRqQHRxNC94m3EXZm31xTETNHid0HqQZEQZkGVruoA9ekOa/eu7EdBpTAcd92W6fr0T0Kef
Y7vH5sKooiDqrQ4Sz6hUQdimOlU2LbI2MnQhyaYmYgRt0d5llRZt0nnyAhVltIdFqSJoRGWsrUab
/dpphwN6h3IbqVTRXHUGZTPXctzUlBX/Oqb+z7fxP6PX8v6vI7b513/x/29lhX5uJNqT//7rrnot
nlr5+trefKn+a/nT//nV4z/81038TZZN+aM9/a2jP+Lz/x5/9aX9cvSfddHG7fTQvcrp8bXpsvbn
AHzT5Tf/tz/8j9efn/Jhql7/+ce3siva5dOiuCz++PtH++///IM98MvuWT7/7x/efsn5u6cY2Y6q
lK9v/ub1S9P+8w94kv8gEqHctZzgrD6OqeH1r58Y/0ChG/zGws2lEsmpWpSyFfzRP4B0mIsuLpDL
BY/FDm3K7q8f0QBEaZiGOPEboZX+x38/+9Fb+n9v7T+KLr8vuSSaf/7xU0Lil/uSy5iqFRAldhdH
6Bs41hjHJnK7CvlzEabfhNGuctlDwI7nET9v3f6o21P+pQXrlGAgZ0wuBlq91vp5KnvfapoWcrQT
ArGFxR7trUGKdZN6WMaMTjfKxdzeDfq6R/k+dLq7Ua8wPpaRmqxU4jDFlxViYgHru7iTmZzvK/T3
Cz/rvOwBYQPlWQfT8hSjn4TIgZa6k696851aLvo9FX3QLAjDeUv7PFURwIjtl6zDd3RlRT1Fr7rz
lCAdnDT129xORgS1NNQOYcDt4b+pFzAsP1XCjmeSfhTlZFop5H+Ivh3v36wPnRZscrlFwmtnh2p5
JaUV711kRgMw16GPs0++kUAdgq5R+wPqRjdhMn4280xHNnr4MrZKtONSKG6laVzZYZtdizl7LSPL
Wzee8WDMofU1KntUS/tqvpl7I1k5SdxNvpnBvPG9dMB72ZwvHJondzsrZEF0w9ZEDAtI86mCN7lz
2YzqUG6LQfnqdY2vOJiBI5JZBAjpfkiK9FaEaX3/yyb6e6H+ujBPLoe/Rl3WOVqs2Kyc9oYtIZIs
Mcdyqxi9G+gJVtBxGio+Nh6mH86qdiFuXKKo07fncNexoUhCYegevz2Z98aoKFa5nUx9ulf6SL3W
LewwtCESqySc5Y0z6pdodsuHvjfo6ZFPKmQjVlVuvRZ5u9CuOb7TEI2XOXE278/naRj5c0LRGqDA
w+G+9I+OH7BQ+ypypVfxGqd5Yxm4RetI7JCDzF6iraYIb6WJCsZm9rLbtG2jQBR98s2pmnSVo43r
dzket8Vcx0tX8hL149zr/hntLIRPcPMnQa6MoqyLnLwEAPpiyya+auU873UvGXaAzoL35+IkvPk5
FTQ+6TyQ/y4+oMdTUUXlmFQJO9UNZ7FnBUabIcP/6/1Rzq0oD7wZTGX4hm+YOXJC7FR2Tbntp9Dc
yyRqg9mupi0eCX1gjQh9YbE3rt8f9OyjEUzxZIs35ClQxLYRXWkNHm1AOy0YC5rUpZpcwkv81LQ/
XrggxojdFqojeIlT6FI7lOBEJrvcCmcfdY/4rYdSXSWxty5L7SqT1XrIH4dipygvXQ2jHqlXiokr
T/mhKhtNeht4bkEbPk85koWlsQE5PmrfBx0/mpIsBa3Y2Ay6KdmoQwVafhsa9k4a6yxqrmr1u4nS
0QSNMmq+5OG8H5SDmzlb0/yzrdfC24fZTWVZCDfZqDdr2zJ8MCI6Hv10LdFzavUBC3orSGfUwaLO
J0hao229idrUN2V8CUD5sxx3PFULDpiGCJy2Bcm2HK+/hHXSazwFcY96m8SKsskjWwQDYf9DkQBK
TSpnCmqjnjclqpo7YaBvW7gD5Vckx9aWlcu9OmTxbdy39RbfeXULGC5CYLj+UkNU8gtQwxsTs/pL
i/fs1wa/BQoeSDhhwcnRBMemx89Ayu3kQjH3TZpQ3MvfnGfjRw5xya/WdjC+GJOP3AS5qL21Hx/s
v6ok/z+m/AO17l/29ZuY8oP4Emdfiu9HIeXyJ/8dUlr/QD4C/C/5NgSj5az/K6T0nH8scSSAQRLI
pYPwPxGlrhJScrQuic8CAlxIaH9HlHwYJyHx3yJESUXK/q2I8vROg+YCDohWDaURwspT4RKryeoE
Anez63OlvQGMkOt+urQjE0Pkl1TpTq8NBlvYx6CGCV0XKPTx5ooLBYcKzah3uRDtSgn1eqfEY7Sa
2znaDaaCNtYv7+F/EZYsA1LyWYJvWkEAAI8HTDQ04FyU/Xe6p2h0YM1YuQXG1vi2mhX3oz1cwiic
Rl8MSMwFyGRpYrMRlwP/l+Oj1EoBhjLjCbsyIX1LbedKFW5x3/TRFJShiDad3lXfI4tb5f1nPb1L
0KHg5mJ47q6l2XcSMXhCCQtNrZnSBAVLqgD6JlOowL8/ypv1wig8GLMJdhki8smM5tAACJgZpR77
9hA7tfUxjxR9I2HSXgLsL5/161m8PBE1z+XKwvWQQsDxZIbU+NG8HOrdMJQQIMaGW6F56mAi+yIN
ubDCC1yIcw+3iCWCF2KNgvU9HtAYpDLPWDbsHE/p/FAIsVPHQdlOjvXt/WmkM7i8j6Ono1SBfxq9
UnD0/DtZKnE8t5Htlf02dYf+Rk8z5XOHJN8coDI7P9R5kvU+SYqxLs3RTYIKDdY2IT9Els9Uviue
p/xZTL38LpOZS9jL0jkKFOk5yibWvJgkRszdsLHydAx9Baiq8Ptm6p+E3sQwnbUMxydTq7WnqG7G
Wx2t5hKiVjx9GvpwGn307LMWMXpDe0jrJukQLFKMJygbpuXbZBR0daMaGERZaDk4+RjjhRVQh7xf
pZ5ZhNep0JpolyUG91/fNhiLJ8OsP2gigrzuS8eWiM6VadbyvWh+m2Au4j53xQFVWQWnMI/vWgR5
ormwq8Jy2Clq7Ywb7u02fdGFnk6VP0EsqXyYQqLPVp3MSqy5kmaW4q52FG/KCYmtanjpBrsmwECk
LByQp469ngwzdEW+6k3sSlYYlnoxqilF/dl14ril+aD3pMhGXeOThghWl32G8x4lVHX6qm42UyE7
LEuS3HGuB9VslDs8DNT+ujQ80WyMUDj0xXRd+VBnYMNRU8272e9RrDU3mMl29yhAKfFqmKOoXbtu
64q1lVSVOFhVIv+sQ9WCCIvEeVkWzAllxU3cZvTJba8p8it8NnJsOtRkjgMnrpJ6M1mV1lyFQ5oP
gZY6be/LkWQMX0OsL9ZoVdZ2EBo5bluxGkn1SS0MJ/Fj9Npn3wIebfgJGLHukz5q8XPpNU73MQL1
UG0cYWBkEFVT3fhSzYv+SgBecW+6HKLvNhV1sVDYlXZJ8wYMSeiqRnLjRJE6fTVFWmcw5QqFHh0f
bN73SiTiVa7mGIWUedyXAWCmcX7w3DK0nqdIVv2qEHHWr1M9SvMrzZonZw3xW8sGv/EGx/sTIIqu
tH4tjd67FoNqxCsXUZ0wmC0Tn+O+doR3UEPP6n0xemF0i4SG26HHa1gLnmYUo0sPO5TFKhHaiFCc
0HHKDQrsTSjLe5FLRKvWeRUHutLPzLgdN95Dig1qdy2h7asfC0vrMHmtde8WzMzE2lWmWT5m6NQ0
98bE8gzSyCqeZRVjbZLXuVFtungY4I1lVfdipLNnr7QC12T0hlMpXlxhplCwF8GgKgudYmfWhSIe
eydS59XI9sihH3aDuTdzw7hZIDLV2shlU29i6t4ZFATYKh9Y7d5z1Co2Njup2j6XMTXEtSJm+jal
B3hp9EM8yuyIohDoUjBjqvheu0XaBWgY69ptIx0ng/vswK42OXNnP89qq3iwQaINflRXjbZqR3TK
fBiXJurBmlFp487oMR/iOZ1UocY+ps1K73Mz25hd2OurPjKnW6ySk2qV6OkA5aothty3Uk1JdqE2
0OxLZitVgiTPEeEsrNzpAiNvhu7WyCbV9K1kyF+nVoxbCORKE2jSTb4Wah3NSHE5MgwsiVDKlt3e
3VewGMpN3MTtt8Kww69qouBKSbY+ZYGq5xSYHKeIk1XjuDRa5mTU0lWqN91DpSQNoJRQU14t/DGq
bWeI+aUSSd7BTFNm9JOMSC9WkTbRbU4HWSG/VA7SR8h1bjYoTrsPbo6IIgpNU5UGmVl0940CXd1P
04i8wFDnoccHI6pcf+J5hyBrQmMPeAaVaBxJ0iIYlZwVERthOvoLBM+4cYoaLmpbiPBZ7drxqZIi
1LdhKWS26XpRKLdFnCq4BvSevBNeS9vGjj3wPEBMvSGoCid+MboysoNSj7VvdhfJL/0sh2ijIq0j
N2S79VO3QKb83hH4C81TmhcYEdledRM1rViPep6iYq0IQwROP2EFUoNu28dWpnZbMTdeuoIdDWbd
AcG9d7KQ5yj7FlSD2zrml1p1EbfgINVFYDTwdfykiiv8TSrKg0Gh41Au9aHogx5rUlBWduFgCKWM
z7GS5K9zUmZfSzAGm8Jsx8+ePVZb7r78k1U28ycA+RnWEx6kOt/JYnd5ZwOXVt4k1rg3StKhoDW6
ARMqBeF2X4PatUEHzOh3dTsoP0a1ce+IvaMGLsgYf8YPzv2cGVJ+aLWeqmVa1okMSiUOVb9BpMvY
6vHUfhtyJcR6BMsTjJjyOHkAtBUmTGVp1Dis1smrrhVt6OPm0zFzZVN9xHTEwqlJuNbT3AzVnxPG
h0bclquuat313Ic4u2qJIb9ispJeg10GyalpQRqWzeAjHew+V0WdflCo313lwxhoWfG5asaN3mbx
KswhLCatbnzO41p5UaVnv2CAeW3nVXejVEnj+OaQNtdtY+V+7ybjqtPTRgaymIvOH/GFuW4R5kHM
pcsf61SZr3JzvtH1slvljV7eIM/rWchc6PN9XNvtzspmYIKh4kENpeLlWYrxoufaGufSx8qtnPvc
nTx3bWSj9aOe9AQMDyr5aqmNVpB7QJVcZxEvRz1pRYepDHI1fWZRaOSjRu5+MDLNQVjdesi9oYPS
3ZsmVuE4JZX2FY8QHVD1XE7c2fmszJV1U1KKFdSKC/OgOC1UtqQUXQVYoZOv9ejq35DxNl/1TtcA
iEy9y302vsSD8yMpEXtAQMy4b4pM3eUoya+AI9Wv1iRgJAwNAM7AHiWC7rojSZerDrMwq7A7lvak
eX6vtNpLFVbqbVJlYoUqaYvt29xFfoxqfbTuWk3ZZZ7TYNBjIf8cW+r0wWj7WWwFO/E1zroy3bqp
Zz84zMttCfrjEfORb3miWhwstA2v8myMbkCoRvO9rKR3bSL8vtEzl0J/XNNg9lFyM25pD8Gm4ESM
D56aAmBCS7LYDe5gaBTU89ndTJpehr6sAQ0D+GuT7soEndNBea8rdQsNKiP8qKyKHYx9D322Tl8P
czE/VEBxzSCjpaltssyO0XPEj03Am53sHkSqHskgLdtU8yn34OTkpc6dJeM0DwixrE+VDsBvGsDe
X2Ny0X2q0qRxPxMEyRe3LIfiKc1T7Wve0qvZNWiaDps2A2Z5K7QIeba0l/1DZNeKG+TznCVQxRw5
b2cz9eK9YvZd/1mT4LW/U+psjP1UGeMnmVKR/FSi+HkYa0g7ONMpWuw7qSpKf/baeQyqPkpQOCXC
3lSYlz2ZdPD9SEli6feAKZzt0nIEHanm8ScXQhoiELrVGIFlKN64ClseKgDEm38OK0PO/kBwssrp
l6AaUOr1j7yN+ptEGMaBWKd6NJB21B4Vy+NyR4gu+zFGmkr9xRBGsfY4JB2gv0l+rzaT90lPPUq6
RlVUL2GYl+umtoURdHgrP0uLXDzQTYyTfPx0c9ok/ZgTew8tmv526HmR77K4ioDOgs1WD5P4m6lp
3UPdFP0OHC+Xy4T+4ias8/wqbHSwNeR4QRGGKds/r/uPqZlM35rBdXqfRi8keKUL7+ZKp1PTUGaW
geZW4XiVuyEhodbFYfIFmmnVrmJLIjDuTVpy5yaJ8sGWUzQGBLWcieOEn+hdFuZpu1V6I/rEjiXa
lXnbvdA+cVci09MvdaiQJHSNDO/LkM6Tp85PFiJ9xLFxZ1zXXq81fqLU3mPpjnSeUyesnnHPqTUf
dkOBRJvZXbW29ALNbKsmMNNh2E2lNmxjQ4z7vPDyh5msnS1tIxDZWiOC4kWFAZ4dXtlp8gIGmgRK
T6aPdUy7htMzvaab1fqlogvaX0smNohcf1YSBQ8FhLe+Os6MW4/WEWCPCDH4vT7YH2XuPeRcZ7iz
6s26cmT9YyykzTyQ/+w67HVZkhW2fJpoX5DPE8/GnG0xdqj3mI19VrXwCrXM4s7N9X0Sxhuqzjnn
eJH6itdeVySHK9tOr6JQM39kqbrXYpt41i22YUjSl829r7jJ1oq0u2LOOHY8rlSniF7SAtJj2S4u
EFUrNyJUN95U+xaKArdK22zCEQqTj7LOKsIBY6YVuLX1/CORurnqFY1+tCE2kTs1QeSGGzVR7+eO
A8iKcBeL5yH5UnuLOaKTX1mp+QGoungW/dz4GsZXeDpq2TbyiP4Juup9rLv3k8p5jXpCieqPq+Cc
Yxbex66fLL+IiK7DuboTMr3inmj8Om7GXa3bhR8R3t8UFNHWOu18vxuMNsiYHHrv4/CYthrQh1rs
JAppe0VawxY5v6easMvPUecAosh76ZIu6IdB35nNUCMTXX800OF0E/42zMLGHxxZbNoqG/0pNZ4a
wcZOOqI8v861+bPn1LeaWZO6ZUP0jY+f1qhNl6tJGBnF6OoV/fWrsQm7+xndhDbQnPRaOt4mxxQo
qPUSKaOswbUTIsAGmHboj6X4as+9vnes2vJjdYo3RTaEOi81XhtTaa3UqnlQi+EpihW5GR3nZnK1
9qbNhPHUZuPYoCQKOtes9HDdyVT9kC16masks0y8batyMNdKhzNCF+GhRt9YtPAxY6LRUjWrrYjx
rYzzGUNU4TbiJZdTxgmTRah7eMZtOrTZB6Nw+tVAWBTzefNXV0tfVTPXKDU0TbRHdY+dQ9g/LbYr
bhhumt4kWWzc+s/Os9KbkbR6Ncd9s+mMdJ3UC32k9dIEpQf6DN7HdB4+cUZ1GJ+P3tqM9WrdgvQ7
qKh0BLms7+YiV/wOwOuNkyn5dYiw9EpSYVjXyqC8GlwOCCcP1e3s5D/YatdlPj0mRtkGxHQgcQhj
tXrf2s6e4uAT2feHWs2ca6/Mn7HN7P3OgHWctmhMRp2lkYJQFayUl7YRa7hE3ce8U8tkjZ9Ltc+U
gTS6Ml6SLkwDTrMfKKMgs+96G3IMGm6j692FSl0+aYOeHVKMKPwcOS8++f8yd2bLcSLr2r4i1mYe
ToEqSlJpti3bJ4Qt28wzJMPV7wf/6+/lQrIqtI52REcftKOdlZBkfvl+70D6Kd25DMNXApsx33kw
G5V3oIwEAio4Cv5YyQh31iCo5CLpSegxQYP0ED5YGaZAQxQdkqxjY2xaQQs90sv7Se11D3K26hpW
9Jh11WMTZ9onyYk/OmZi+6VQtEurma6MgcN6NZIhtrSz761YL7+AGJXPuF1cRGFb3+QNrRRJYdVV
oXwVSdED+Q5fqyXL/VypMjfsQ45ca1C+4ofsfK7UFMGopE35V8a4wD0k8kU3yM8d1NL9SNE7uq1S
zwdWbBdkEBO4IinZnhOZgEUhh+PHLCnERakM5fdMNgqNQB+4BzuWK8YEhRzaRJ5iuuhp5qLsMwAs
vMLUBla9DD6ccH+6Vfqsu9dDZ8z82myh3Nh28dVI+aumoTEOWdRm94PAMp263/b6Pn8cem3hJShV
/11JZPNGcXqTh5qWH/LKGUxvrNs8QOgFSDxT8N/WY0fzqQUbx5OsU5nTZIUzfkCqso+csTv0pjY9
W+MsKKoj3nRpmZel2rYH+DxVkOTyIrwu7bvLORckyEEWHp9E0+IFRJ1m3DVGjxRjGOLiDkLQI1mF
bD6zWaB4opDA4VGJFrqcBHBjZFskwTzQ145nqK0en2dSePOMycNOxgTBb8oi3mOXg6qxWsW7ZpQW
H8HZjC+F0g83UbHIjUe43PxLmcfF75Z5eARiwcraNEsEMLgDEEQj5U2543SyBw8RP5KCqFdlcaXX
Tf+t4TbwpZD7ufQEjgz3mk5UNut3gePWZ6xvFxf8VMIXtYPPV0VD69VS1g+umBv5QSxOFno6aO5y
ibbcoaoxIznZoXLOH4lO10d3sDSCbk1zcipPou1qecbS6Sobtk08CTbMZD8LitfalcqIEISFyFYC
adFh7fHdhG0SD123YJ6xduRoBKTHJSzNfLfoMem6M1mLzhV5yvn6TRTFxdh1utijr8ChWK+T9tfU
OylfSDJ2ZlAagmsFKQYqd9hJcTzJrJTbeiqNhlA2MZZePjndZ7Vr469NpFBPKulc5gQUFxPgLJev
iFuMWjwklSDwVxVjNlJdRgrpVDZAlZsO0CPdRm4kskfrkAhlswRu9w25c75URdoarPdxepJCc8gP
ep8s9x1OHRoHrpPjf2SI3nIH1ZDaC1EaqePGEkLAfWbnBt0FUqeWvZYMmembQs4Lb2lzqpRuiKs7
TS+WZ6U2Saifa4wTL5Kx1uW9bMRZkFvTrLmTnaXXcxbCauhJc/hqxOkoeVFLTNwFMO5InFRMDBZJ
Xp08uKwnOfcMO7XEzpaFpvGnVv2dFOX6Wu8mmAART9ryljpmj9HIxarcvKv77+RjgUURAJt8XOba
hG1uDlQ3kyzK9WmQGUwVAIrj5iF7hTvVpNn5EP4WlYtHOKOraxpxbxSFPVJ5N2A0/Ih08awxt24r
BZx0VzaIjUgvrVYKjAZu+BEosb0fNUIDWREg1izdpJ731pImQQiIXoMBA0AQB68NT41ozYkFLU/9
Wn5UtHz7dsI7gtw+sR9KqUsONr2Bj6RaJyWXnyxd3Korls9Vw1pxucVrI4rjzHjG8jzOd3nbq7c1
eMBPPjqdeAxRw2FYVmf0bGhbQiYjnRnYhd7bfj+2/Qcp1HUcJIRyXG1oOLklLcZgbKntp6ZtrasS
knYOUF6NF7VZVF/JSAXorbuncY3yc7PGCltvBBex3FCt5y/maNSHyOzpCQlTjxW/DXGBdGfeXO1T
cIM3pSIZbhZd7aUbdB+03KdxhaTKITKNHVUbEK1BPJvuyiIxVZ9EjOU73fT4Gjws/FF3tWpSw1XT
4KrktRP+qvTcXOZpBt5XRT5/MWxNfNeGZkx8ZSKMddd0C6qRfln7CtkyJbI3VQJHtj5GaMBxIdkw
sTha5b0YJ0XZ1U5uPVMhmqgze6u4xzssg73WNTVWE6UzPphyZYxuoTfCZKs1xV5olqgOM10/FuUI
kcSzIyelOo102bwz1z0rCLM0z704ybgqN3GRhp42jUnqCmcqACGUSuGgRZ1g7zpZSp+GNsVIxwQj
/JwD6z40pg5dAvNM9RaVsC3cMKoFn43sJJj75EtLpRo6sbNP4kFOKMGsJOdy1HfP0JTlizWEl3Fz
nq9r2YR2u+FsEWKs1lJSHSozLZWdo4ml8gjySo4c6VSRw9DAEEdax+VEIpztZ2dY/eC3qpJzP0zM
qj6MIlWQO3bqL6vGPcBVlXEYflpDaBLTEk/GdBk6iXWQstFZfFa9wVU+nYZfbd41w16UNeLqaV7Y
vnL0B3dt28ifQYKH73zZ8DnsOTN+YHpPq2ywWkLIZ3NOoluuVcl1OtlNhI210rNtZUr5wS6l6nPM
PqK4RH5MsEFqufgBnB3OnpHVoAjMKrvKiPYqvWjIKJTAXuCERKXFAhEIfG6xndJyX5VqwI1wgIVM
OlQ9fTetySBiL6nF4vZ02msv0pXloaS2SH01n7AtaBbNasB4ZehQCpfSX4T89Z/iMGo/IkEsEnbj
2AA/VGPzQ5WEHIoJn/lTS9h55VWjmSRupEqE9/YCKM+16jr6kqsW55wmpUAIzVTratCrkXFrpBEr
r27Tjp2syAdyUFuSDHUat89So5XQarRyGb2qBI5yOcVTy22XOR783BGdFlikXhd7Qw9HLml69I2o
eKPdl1Dojuh22jCwUvSiTEhjFEMTP7Uxbx6jbGTBjfS3f1LTCdlTCXgmT3G27W9g+87RBIop3bqs
HMs3BPY0Lvoxmfg0o48A9euoIMq6cZo91l5KYI025c+oSJpKgVo19FwqWXpaJg48n8aHAc689n8C
NTe4TRA1Z9JJEMOscETaZOiZIPqaL/UYBO6Tsu4615pzOnLaasTh9lpV5h+XUW8/Cz0ynlld5ezN
St8+ldxlHsqw4aQhkQrPuc6ux6tJTqbWjy16irsiyibz0sCnWtkXYVTctpiXDG5m9MoCJmkDOE1R
zwpzRvQrd3hCrrgKeZbPdR83n8XYr4X5pI7L3lQaLs1tXGGQbGhT/6Sn6CbAN7j03UV0g8dvWd1E
n4AFeRDmEM/zboKa8RzlXAseO72zU07WCsh4bFV53BHtCJ817ZRW3VdlLboAlwI93pNSrmn7RoRN
gojcotZudcHBWpVapO3tttO/cD2ckFVmszCvcYIned51kinpdi3tzXpfZBbc8lLJZyoNE4SSojtl
km3ejPnVPKdCcxXB7ejWaZTuu1Di3Ng7Vll9pp3QVPu2H+ZwF9E5a4CeOMvWvNfZYp0jt7nkXlwa
oDEMy2WBM4Ruh7YUu57V8bWJ1Xrx+0Jb7yxdRIuyUTvKp6RRx2srNpbIpySOFHeJAVspl1G23M3m
wAySUQn7XVRM+YexUazPRW+N5n4sQm589IPpTvA0m/IADbh/copsrI6ZOg72rlQrhXKrrrAfj8h8
Kl0gTWH4S8pGesFNVA2Jl0Gy5adzq7AoyFyvbkMESj96TYjxoTClxdl3lsDCuzIT6Qum6fa0x3yA
Ug3MNc1cgJtZ2pOyMX2P80p/QuooJGrI1oweaADwnXdpZTkfLIgCVPmTSp2QyPFyW8gz+Ra2HVox
G4emDnjMhCQ4CwNI2tf7cKCCl1s8P3Q6wWnVKrOrsrovw9hZvkfENWg+zRHjY2s3ab0v62LGgjRt
gYa4HGIiOvROmbqNMeY63nANHmDkvMdXbR136S2P11A8ksKWu7GiK+qOtqJ8LZqYfNilnMAjqqnV
vlF84kFqF/36qCOpIi19EuldM5KlwPnkcHGehjmip22vqfJproZsKPRZL6gBusVzFApEUl/XaGMt
MnPVoyJSr9Ic4ZDPjOpjmUuNzWJMs0dsVmm2pMUIMEO3WLHdBqBc2beOEgZcDYiViufEfNAcWK27
IszbjwI3zRD3n059jmLAF277S7l/m2Xxgm8ErYJrELRk7NaR7m3IKoYiGSZKUW5rw2h8MeVhfsqa
fnpqCeSAsyCn0Rl2zKphOuF0QIfVePxcqPFHpAt+SiApaFi1liT1JOcqw7dYxiyU3rUZSTXOY3CV
jsIWU8Kz5eoTJKUGSlMOeSGdmfcLHgs/A7M/CGS4IK0W+qc/Q1u1EzTbh4NcK+IDq1zy68FuduB4
5ZlctBeso1UOibGlyr1vZbGuP+UPwlPRauZMddEfLB3DCzfqw/Qe7C8/vPdNop1FBwQ+zrUM5vfp
MGZTFdKoyP1BqJxRTZrlblRhTTolYR2IJDlndvbyCTIe3syQ9Sh0Ia2djsc229NITfqD3JelT+tV
/dglZeuaTah/entqyvrbTxcNwWQUV3jOw3RSt3PLjMayEnXuD5mTGUGyQBsdp67bNxC6GHF0wh0I
WnllzcYMDG8svqqI7rJVa+vx7Z/y8ntZI9LQjmv8HqrfzcvMa6gCdIGxIirSC/wHf8YVZsZ5Eu1r
+b9YN5qJ6YhKhg9pVBuJHn3TJbIiuz+oUZgeprA2DlJhKGdUHq+tTriTyHlMTJBwzjp9ja1ORdan
bQ8YBX2KL224skqlPTOX1x4bIm14XAbiB8SAp6PEaUrhM8T9YZ5CLQzazJG6u9kBoL2KgOcqXzJG
ur1vv6vtCoW1CaMbcQAJZQYOVxu6n1nL3EHrSQ640/S/LMxVYugCU5zt8OELv7w92NY9BUBi5eDB
U8XBH8n91jDBHqKste1uCuj6Fd/Krks43C053cF8li8ceaQwgub+Ue0647mORqq5wtQOYZmlmDhM
9VGlfnw486O2H87vH0WZyma7mixuXdRtGb4jeMwURLNtel3eto+ayID51WX2uEnUuzrWxS2u+7Zv
5fTW+7IJ95gZnfuEX3kXWD2uWy07Ll3HzX5rLAhAjKRbAmPqokBJwupXkabjvdyb70yIWF/E6p8J
8xcJmsLUT9faNFvlCMdtCWxaHF7VDepFjkjxjIjotQmt/i14ZKz+QFtZ9tjTotEXZwoSUwaOFALD
B38pnDmCYD4q8Rma7mvDrYOt6iEd+uVmLWfqAh9REXOwhDD60T1CZNOWazuymuDtNbPdEHh8qPow
GEH2zILe0p0nR1o9kuU+UG0BoUWTwQGUYnrn+ft7lNVvn7MKN/GtX1ahUPtzHe0DHY/OX62Z2gcn
kqcfZkX/8P0TwloELjW7ABYjm/WA5wddMp3+qqzLiwdC9lkrqnMmla88NQsLeBzg2UIx3Nicvn21
lJQwThc0S/0zTUpnh+Hb8P5Xg76Yv5wFh4phawdu9Igj4snqgkUC5Sx1Pb4sc6c9U0i8NhU8vywq
FSjafK+n348NRISyURcB5LjUX2yivhTAkfcvAKwiEC8bGp6X9NJPR8k5v2upjeegmyv1PlGKNvE6
1ZSOKeQBcWYJbI8fVhtuujhRqlj1o01di9I/SjCt7OVBS9oJSzxJgCNBQpR9tZzRv0XDLB6zpi3H
M0feK49xFaYhTiBwGcnJZkWwurMW7skUpKk53yhxMQbprNvnnENfGwZNlrJGQVEdqZupLQTggPzS
yxWw3pv7mg6UuRedXJ5zwX9lB1q3VhVFIccbIo3TZ1gVDuiFE46BZU7i6ygb/Q+F6+FzQvr5GeX4
y6FImlt9DEHUcBnbRk6BcIMEgogGhW1ogabNsifKvg6qGojqvZsDNxH0c9QJSINIGjmdVeOEOEsO
jRM4o5nmLtYrX3Mnrn6+PcrLCeENhfkVxgDYq3FgnI5CaF1XNsSzBOEgp0FRldOV2piml+lF9/Tf
DMUmwZaHr9fW2KGfhiWrQ0MJdKkefCcpaBKPmfAtLTsXXLR+on9W5VxnSJlc9zuabdjSaKezAr0Y
YllPEaQ5gL+DUIbJd6xc/dbGENF3ouo/lAvkhZBmxZnd4+Wq5xLA10wM23ox2AZcQqA301ANlaAl
Y/TRWcIZ/EpW370TwrHkIERauco5tjFXtD1lY1IiKyA4tTuUixUeVbU9J/l5ZS7rhr7qYn7fDzdf
sD6ZUCdy7KEKIxQ4X2X9TkZJcPf2ung5Cscf1bdOIUiFuvUpg1/K65pkiyeWhPB9R1OZPRGn83vl
L0SOkjMPn43SgSNxm98GqTfvaMvKQdw5BAPNeubrk0YwR5aV734/HBwAF6sL73osbrfYsRJWqc/G
2vuN/FbHpVAe5PnM4fHyyenwbdHYsEGgedx+UbTfaxIpWyPQ19ZkNCMkhvGrvnsjQg61+jFjH7Ia
Z2y2V0UuoNs5vREMSjruuLf8CONU9t9eBC/3IRAXzM9W84ZVYLY5dKWMznjklEYAa7W/jbTSPmpO
NXATycU7cw44K/Cpg0JHtY9v4wvz53JKajoylh7IKw3UM6lcyNvQNPHuhY1rL7JkzlqgAU75010o
ESHK4HzUA7WYZ9J0DYhcEE3PvJ6XFQSFHRwTkByLdp25OSe0qBiAQ2pmM9vGVadLEVh1LHs09MpD
RcDwmfFeWXQGmyqpwWs5yc3tdFZa2+oIVWQ9IPXURKVjLwe6+OGZpf1yVgZY3Oq6zBUZiGGz6NjW
OP+cFFJnW1bJBaEb6INg4ISyB91+Fjuop3125ua0/vTTYwO4jcXBGmOPYJ2cTq1QB2HTgTcCdRqU
luyeZQDIHwarOOgpfBPUty0i8zzU0LTZgOr6XbFUojsz9/WNbX8GBRq29XRxkCNu3ihpiTaUndoI
CuT5ZDfBCTRwrdvP2TTd64qYbhutef+5BRCB6oSPnGhZEK3TuTeYA6VdlhtBigzRM+CjE6ozDru3
P3N1PXlP52av1k7UMzhSsjeuq+uPencpOyltErkLknaEuNlaRj3toRCvEp/SDm/srspsT0r0UPeT
hCZSAMkhe8ZoXFIuTEvAoSFhW609IzZEi+C+QvNe99akX8zF1H/q+2TC6zfTzWhnaKtoxonGUvVa
3DtoRhuLKS4UANhzNm8v3xmKwDXx2JLBU7kJn84r67vGSIXeIwjsyGeT8quooKKerFm+4Opte0M0
J2eK0ZffCGMaa1CovApWdfV0zDmZGrNGyRk4Rbo8UMtLXinPzjelsMUPux20M/eGV8ajSOS1gZOA
yL0Yr1rSWJ2lLhi48/sD8rC9qEJpN8uGcWnDoXx8e7G8PBM4CJghkwOZo0F6Or9k0ossz/Uu6NqU
kAyNTkwOPxleZXgOkHs5NWTGnD+rp8zqFLhZ/ZT0yESlnGXZtP2vHKNIF0FidBNSH/lJZOrvrg+A
3qmqOOgUUwfPOJ3aYAmawKHcBkklm5doXhD1G1F0Dpt5uVc7GsFUlPWrObO1zQfLwfKXJBnbwOin
/GlCVONldpSe2TZfjGKqXB8UhVKEo5vlfzqZvI6nTIW4HchdFV1RsoCYtIp58c7VwCiUvMAMGDlx
gG92RRQ5a/O3EwFd1PyASC4+OHYCkyYXZvD2UK9NiHYF+wCXVxP9w2ZCS9SaSqyKYAoN9WNWWPKF
RKCx//5RTOKW8LnDf4pHeDrK0EGTReUpglCG42UPQv80NUXbnzlNXpsM9yHATVzgQRk2JymMlsGq
JXsIoAHpuynC7SOfwvKdYD2XBJzUwDHoPGASoGzWgKiyYSpFLgIzqsBqQ5zV7R6Ww/sfmcUlQV9T
vjCp3r4Y6OGpSWYMpPkqeoSujzPjOKff3z8Kyxi3SfbxtRV3+mJmfYYtCX8cMDhuIG21nXobJVO+
f/cw6wlvrBUO+Qtb7/RwkajqJnIC5iaaqsuyLMzpGCUWiQDvHmgNJCBnnRUNFLP5cqo+JMgibYeA
dOToWoLAs08nazpT7a4V+snJDopP2w10DoopO8FmFE1GKGQX1RBIVNzpPtJiJd3FRVmX11NUqXd5
JAvreuyEbHpqZtTn3BxfWefrbR+cCTkIHvHrn/9RWZQCNdKIjDwY2rq6UbE0BGGfzqGpv+Hs7TSh
npn4k6/uBlubATTU02TOTLPKtfRSjfTkU1ZKyrBf4ja+j8nkwtTbjj9XuEfsWuLadkaWOGee9fos
Nz8C7B4nTvAzUgC2mLsQGfiMmYyBES7VTdx11R7iXIhjKUIkyA3NeGchehm9txfSiwOZTjGQFDXp
6svOJeD0ETPvkC/TEUFZiuiYIbLyZUNI1z3Spf9iKHxNuN7yUuGCbG4ZRuHYiIpkEcQG/SuYLmP3
PKNjPXZFlJ+rfV97nKCUDu+TlfMijaucs5oWkyKCxrHTw8JBfCzbGZMCtVfqfZ00vOhOzn+8/TRf
WbAsI6CwFSZSOD9Pn6YNrxMDDSGALQvlPg0HLNOdbnr/xrxeqh2Fi7UMMrV5kFYWTZrRRmPQZyO8
o1rurmJE0mde1/rmtwuSz4Ejhgpx3TZP58K3MCRZ27L9T818oFKwcR2ENbGa9sMS90upTH69//HB
3sGenR6/zVd/OuSkzQ1aIsKX5SbMcLeC0orSwPz834xClc0A3K23JjQ97Qb8DjikZ7TGF86iN36U
59GZa9FrS4Fm0z+jbNCPpGhLDWGYCOow1BD9Q/gZRtXx3zsXjVxH0AK2LpoO26UwQUmCg0nKDN3W
arcQXuZmyqCeGeXlJkETlaVAsYGhFUD56XvJOR3UttFE0GJwB2+XDM5ydaCOsnfjOLQBySTjJomf
DcXS+kv+2PHrrOgbOZt4N31MoG8+9BdkbxpnSvWX5xpmjHw9KmeozLe6qZ/ylmApK8ywepkWU4fi
2YJeI4jFuRaJY/nZDuW7sBAhAo28Gt9d8JDxolBZ4QgJk2XL0LGLQlfCmBrB6lBPRxJODcM81meW
3wsWC25AJ8NsNvZ0Jh6mxskzWJMdaESmM6Iy0J2hmCo/ilJjR8ZLC0+yL9x4WWIUNBCLF9wzvrx7
iZITT3lPhtmaS795pUkbsXiTcAiykCgbdOf6vSNV5se3R3m533P5QnbGvYhikubH6cKx68lpiXgc
AvCcMbtRKwmHg7mxxy+cLtPVmh1o71oD8vKZc/vldw7gCE6AezfdN9bU6cAdEae9rQ19IMaouTX7
UPI1LbPOrNj1IZ1uxvCH6e8xOzhJ7Meno4xxGhZy1a2VEKaeaYwuJ5+KMoDf2p5ZOa8NRUcDjh7I
GQ2kzVB9vuijyNj3cbBCryD1BQAx3P9WKPZ70Q5wI/qVsI14hPDzNt9h6LRiAHMTQR9H10kG0V6a
lJ8VpSbWY+qZeb3yogDv4RpQ6uiwnNY//2NrGaFMAt2oQ0C+ab3Pwxo9VDPE3ae3F+Irewv9Siqp
9Z4BTLz57hBzkVmuczebFxUngDTudjBoTV8Xkv4UzxHXwtoSl9JQJmfcsl6ZIE7u2K9CrYSV52xW
Iki7WTpICgLMOuqdKMr5i5am2Dq9PcFX1gd3QsibPEZabdurFMEa8OBwcgvQ+M/JhSrBqN6pKK8b
v0LX8/Xt0dbHtVn49PrgpbF1/P62T98aFo6OyJHIBF2kFV7XLm3jWeROZO74myk/iSQ8l8T1ckxA
8LUPx55FP3jLhSvVLpUcGpqBaKGLAva0mEfaP6qpGy/1KVPOFFov3xv1MAQIfNxg+0EdOZ1iTN5U
2zTgjLFRg1YtFjm1YFf+2w/ylVuOwT2aVhm5Fcxrm9+dpNLUyha3HMfOAtzOvslTm3qYHPyMInOn
j8l33RHIEbnyrVL04O3hX5skHokgxKwcODibSRqSFI3UKOzPaCB/tY7aHXFhmp/ePwrNaBWvRp4m
GZOnjxIzJyQXgk8gpWHrmT0GsR1hw+/eSfjC1x4G9RCg97YVXXZ91bVYFQW2pEVXmEo4h3xUzuyN
Lz+zNVJqTU2lK4wZ5eZAG1snSXvy6AIYA7HXpJXxo0vzaR+menr/9lN7Zb0zFLcW6sc17GmzDSe9
nBtWOrRBubRJ59XZVHyw7FrWDoYqrAdC2epvb4/46uSIJVsdCzWQ581qSDp5qmgJY61fW+mjk+DW
gbhgmGsfEUR3Lhn2ldHYPuhrkVRJk3hbcSlIeJdC7rqg1Y12N8lz65tpNbthp6XvPqfp2lLV0b7l
Hwqe0wVYY1hhYz7XBmk/6LD1lPQjnNDpog+j5swH/bLigczGCY1T8fpdbXu4Q9OGpTQB3QtaKLXX
Fvjz3ymZOiR7FEdNeltOqvxjlMN8ORO/88pWAixIE1Sm7mfdbN2+m0ZJm0in2FKsur2T5WY4jqlv
SJ8SkUUeIijTx6up9ppuDWOUonfffxkel/F16LWwXI/gP05yNVbUNl9wvcJONN7NXSgHSZyeOXhe
Lpp1EJM8txXOp1o/HaSnNx935oD1RkyXsEdQsxtSB011c64v+nJrZCRwEZxf+TdesqcjKfaIRN1c
MPHCLmsfdWDtDRES7z62QSYAQ7i+QaExtlgeskqtyGrKn1kl9Fk4q0wx7RzPSUV6Zut6ZUIwgOmF
ABtjCL9FDlpN6tTG4vyEWJV9TZLBuBBjXux+7yHvsjf+axDGSXjGm8Ea63j/5Gz8H4nMWOHc//n/
sRQv7Y2/JeO304yN9X/4t7mxqv6LizrcMqIIuQitN4V/52Uoxr+4h/EfaUzgcb6yov+dl6Ga/yJE
BuAFBgCqF6iS/7gbY3wMBY+bFRmwJKvw0b8nL2NzK5XAcqEnEs6xOWJEpNgSvAXlWB+V2+lo3xUH
9Q4jCZzEPp5T25xujP+MsY3J0qMWy64sQpd5P9zEn9xxL525ym42vv/81ZtP1HIy3McX/mrtaD2E
R/FUHau9/D36pZ/dWtdz/T8F73+GWGf1x6Y2jobVL0CSxzYW2R2mK+HOitJ2x7nc4sFi4FFXOO1E
7oWEeLrrLuDNh4eRk3Sfq8NqPNfoQTEgLufmi2NdjnqtAebwgdISH1Mu23cwbj/MTUsQX9wovo3i
fY+Frb0bdbXzFzWtd8OotB5ybDnAkXL01/74zqQ36w5YXPoDDryB0pr2k60gZ1R7O3pGBFT9Gp3M
9Kza0A8lLmds/ijzBTGLvjNjRjWnmCe6NhHJgYmDUhmXsqdED31XHnpH1DT1MZdJ8yE+lHZmu5mQ
mov1/NlF5ITdkXn23NtGhS1qPKSPZO4Ze3tw7Meo1fRADPT9+2bsf8g4C+yojooArn/kgTBVn1EN
aldd29aBSu8X2N7ObsIul/wKa7Kgy9RvOJ1JQd/biY+dgnItYrP8MMMj20lRMl7Bd66PmagSVwoj
zYsIWmKIHucIrA6erWyofFwsZA/PsdEbYym6yGSrxOfKaK7UOBw9NRxn1yGyGutcFJmVhggiD/Fp
SbUGO5AEezJVQl6pFOeY9b+Bh9cW0ro7/7GQsNkUYYvh2tFSjpJ+TTu1XQ4EuuN6ZfuSdWWa9yO5
Kg7JA+fsvdfP4LUhN7WqE5ZcGAhEPBbw370oFgizZ0yF2qHGS1BtMMocJoH/qXIuCftvI25u2SC4
1oBaUjkywYPpy6OLJ6SPOdofG+vd//vpf8ao/C59X5vRpkC1Zitq5vWDb1e+mmtep8NuusNKxJWG
S0f46UNcXulugo2r2wg38hXILsllKbmLeDjzG/62I6inL5LTtTEcyVmOdpPsnKj7MFrFDp9PP27S
a11PdmXh3BD/IIMy4J1qWV8Mfe3PtUt12aLUXgpC7QjGVp5iBRp6G3k5xiQe98svo1RfsaOceVor
PP/aw9oUvVbfY/BZdssxbzrs9+5HI3F138KqJ+mujB/DOabsJuvrP3vk5hQx7Ugz8UZdjilQdPtB
jC6paipuI5+tVda510gcxROiiq+syzH38NWmW9F8tKS7fji0xWOd3b39bv6y/LaccWKbKmmZpfmo
B5XtD6Nfakez/u4o1Q7B7ttj/Mb2Xnms2wpUQaCoKHk2HzW397OrW7GXjrNHnX2TXYsLY9+5OP1e
DH7ljTt5F7m4gOwn76bx4ZffN/vHwi0v5t1j69k3l/kOzvTVuZP2983ptZ+2OaxseSgHqGXzUbED
Wd45DijJdTGU3tj51S8Ne0fTK0lPc3M3wfjy+9tP5G9VhLn56qe5KsVipAstdXBsF4+mDpeyikRU
o7upPpbY+V6ZdnoGV/vbTrrFLLpBKvpuqPkAA8JFPMWd3Mxz2Ge0y2h/7ln+bavZNrlFZOSx7TCK
GYTB8Km8aI+dV3n1IXx0PpYHcWnvcdTaxdfhTrpIvTOP8vTu/8+ntIUXEMoAuJn9cgRSdxfjW5Le
ptqutTG52vfxDSxXzzI+xI6HksUd5MwfDBcjFV09s7qd03vWf37AZnczLXLkQlFhNWwhlBzyT5C7
b6AZ7m0izrhDe6l1IZyrtvraRY5fQdooM30PUBE0sWn6gKy7hPdiYOqT9t/yVrPd3rBoalxl5RdH
a33bmffytBzr+eti4yAumz43sH3cij3uExjdXNjDhZQeu+rBLj+olsDx5QoKlzdUl1L9qZMfhpRP
SLtPjKd0Htxo+TTK+JHb9yq/ELO4XZbIu1CNHhRScOk2SGbmz8kzxhr4wlyEy+fBDvJMvVLy6g4Y
9nLu0ytCIfaj1e+0JugX28d61NXiu0jvLwAX/aS09kpCKvt1X5qHCdt0nBQpd8bpesTQow7lC7J2
eFE6Ji3mozkpT70zfJ0EJ3k3LjutN260MX6OleG6wSPi7bXyt213y52CkpX3w8K2awfJlaG68nV+
pRyyqyHxyjvlgEH/N/tZPk4fzaf+enxUj+fi4/+2z7zAiZBLDUXMyJF0py5eP6JDS1zikvKd+alS
Iw//kaW4XJ/U3FzL2tdJvX970r+lYa9sccamjFKs3qE10S7HKR+uF83xFlnfOTmH2hCPQWuLuyU1
LpyRdrj4VNYj6UwLHi4q9luBPnyIuuZz5zws01XZdl/jbHbTZNlN1gfDINchxbZTafZphgknEgKg
xEbe5QR24FNz7EhZntbGcZN5QytDh8LNK4r3FYl37LmXaUMzBvMRJU92VnazREclvIxawp+yL+10
lM3bcNjV2mM85m6B05Le7Mx4OA4qBSuB4OT5vf2I/rYdb9luSRPGJAFKyhFnqf7D9GgdxJP00+Qw
uMZE3j53NfrLVrVVb8YYso/1wjDRJ1LMH0is+jUdrYP5KD9XH6Sg2y+fhsf859uT0k5BjH/2pS2C
Fw/JYio1o6mBxMu7XjrXIPD6Cgd2QnHQS3jjnXQjLqbUxaWpRR57EA/C0wvSHFz1fzn7juXGmaDJ
J0IEvLkCDUvQiqLMBaHRzMB7j6ffhHb3DwlDELvfRQcd2GhXXSYr88bYcfLG5QS2ADVkkPUaoPnp
/YPcn1oQ2G4hAb865u8cz2XpLG09muLAauH2zgg645w16klEXfcV+G5gtRBpfLbdKRQyG2zdCVL6
JXdq7QLKwqmRb+R7vkpndz5i2Q7I9CiJhKB0d1GfoUEaN5zZzBKeBNCvtgK8sWPoDuVOovU69LV4
ywtYezkW7iYtUwBANni6oA6nlYD4DAwJoB4wS17UIBlN35rYwgUF9x9oZkHhJUB0gUlU0JU+PiNr
H7BwQ70+Das6wdNSiyBSH0jWuxxDbdyqr87XO4u6bMaI4fYVtVKyLrSo6fchCiarAjRWb7rMUyOU
wwypA21rztChVkUD60AWBCLoTKxgtj2nxvwUa2wCWylPcWgwnihZ4MDt1IJXwAPp9yh7FhRqaQB4
Qq1QbHXQydYXNLsMsFwotn3GXY+61+O1Wrm8y87bKaVEufGxVvCTx86S4asFk6TGw+fj3/+qq95b
roUrOshJm/EV7PTo9AdQv2qCTmmUVuFZYvS/1O/QQN/ylte0YhyEOVT7FluPIYgPUcYa3cBH65T3
DppYnU7PCPlB7df0lwz8/F1DOkXlq10eHastPau1ZWR/Dgy9ZaZIRjjc4PjKCjUBx1tOHYEF2Nim
L2N6bxkXl0rpuzzxM3l0U718p3X57bO2e2IzqngzUkfaRUaign5Ql61MPdFqpbHkk9EaUyLtr/gX
nMXfj/fzy3bc+5DF5RK7ogEVszS6MXSl+88xN5jcKqEo/Z7e6nMXGqIp7UBaoMpqZVJO2hnhNdqj
A7BC+osmVKEyf9O3zrdq0DY77Yap+0Lw3vksfo59v+1851do5gYnuxtBHkGJ3mP51kRGCqza9DeO
gZMAybpSfkIBAAjOwplaEgYmix4xT0HuyK4HItTOhGqFtA/BySVsxSjzstz7rkVmsvRpDuRo2LfJ
gD2gPsATqKeEfRERLGzsyMqhX7JpsIo4TWkn4tC7td64/aXelyb8XShBkMxS9uJreYqsTC800Eya
6U0gnOobzEao/cWkcW+G85X4tvLIW9NZMsKCjMmLEoDUb4BOVaUC1BSCG5Q1p4yCK0S4QARZIwmK
z8SKvBu6WQDbBeWXp9blmQ9BFi6QSlTrXzLIwEa3tR6vzpq/sKyFCeIUpIMsjK7n0boA4OwRJG2H
adxVNXg6nhMZT7HOVZIWQPC+c3xTrHSwcgWFSYcHrgLrmSHHxpDdstwSoCiL0lnGQXmTtpNuXwtO
D07fsIEyxiGoQAqfxxu2bO3GL9u2MilTKLQgQdbTGIisRxpMFwGXIoHuC4ENI1Cw0cD+TqBWrfk2
hA1skZixDcY8rXAQkqpg0TQfr+LqJi8MKxQFhDFhMnjbIXjVxMGU5Ld0As31OaStsae1ljtUuaKC
bEUvUkEdK7esw1lsBUI+k68OjeFH71OL12WECwJOuQDaSIKIQLYjE3fuKUkDm9xWUe2rb+/eoVzY
41mWQuqr+drB99AQaTLIzkA48Vd5iEibqzRHkMnODrT07IM5TiHMlvjxWi1iCQVrKC/p2RZOF3f0
ngvSfjDW+Ib6eXaI9Me78UWUdG92CxvsVRKQqjGGALmhfwhvoEq8FKR2MnO0IChrT0b6kZyYnag2
N2ovnkCw/Txo3U1xPDU4wNUjveHvEanb+ZO8dV7nB/3OR3ELCxxwwOQPIj4qHyyxNLPSyT2NUQyU
Kgq0C6o5oit9pP6yJ9oQYo3q0ORFoBCDVmpGr/ZRZyjdX5o9gaRc5PVQOcsDZAScojA4EHMycNJB
cguWbRU9ftPb45X8at6/99EL88ylSI13Aj661cC0fyxNxkDeQG+fff0Fr6g5mLxBG4xT77YCmLV8
0rI1RKqowa86DBnZPFht3XyXmIPR2Ryp92AKRnpHRVpHcnx7PDF6Mmjpr8eTnTfi3lwXhrqjwKyb
zQODDdRFIo4MOpD3e2nD6147+EtaL9BDzK2h+H3oe1CAcGjKpbhxKWH0aB+Sx3NYC2m+zPy31wbE
5KMygefdVZ6oXJUQqx/AnKEpIH57pUlu+6f4uPV2fCVQ7qzYsvJfJBAhjiqfdWnI18VIC4A5n5SI
MEd1oNQshKnbg0e5aQ0Wh/aoVHsqP/WiWsKtuLFQoVB01B0g1pLd2sJgzwMDHnq1KHWpNHqQDNax
EaYGH72VOdSeCR2pnHCCPpGsWENtDb1ags93Lh/8aQGXknAu+5vAkbQ9+Q1qZ8eZd1OXOQ3SOo+X
92tm92a88NYhT0GJKWSAXOhS6qmjGKyO5msDpJtENkF6TEBMeRntZseT0m20YA8ipZ1wGs33RC+e
H3/EV37i3kcsDqrYsUMXpFh2oSSQZelfR8quUmM027/oQuYYHXk3fQAl/JPcacrbB1Ir8rF6xlMT
aZDj7W6ROh0K8LcgnApxw8CoXsuaH18ff99a1msJCAxRkJdCDouENDfIQVOJ9NUNrOn7wWonHeok
Eml2iArRbC1umPzVjZmdv2/nPp3aAOQrGHMADsUYx1ZLdaiERGAnnp3/gtdKShWfJvk5NjGuMLwg
HV5o/R+/1Virt3MIA9XnXDxSrSYesq008ZqX8tV8/u275pIhBKPwXRCjsXM1MG8QfLBaHdwlWoCL
GRioial/GJQ8agJsrVqYpd6Q50EvTEar7UB9erwrX91g907N4slPQQ9Pt3MaKk9Ja7EwCNrksCmB
PhVkSWU7R91XVTTvVr/EB96KTESBrZqluF9HiMyNFnQAoldmB5HR4WnUxaf0nP71DiJ1KqIXrmb0
rZdyLTe07Hz2k4GOldlQBt6vQjameo/MAQivCAsZFs7hIKLqNNRTYILONgnVYE9N5lZjypoB/XqW
vm0YDVWBbphfvFzt9fQQO7lmC2cdnTz6k7QVksxrfmcvllw5UwI+cn4+rRUOQ+e2OkDPVqHHJo1K
mEeUfXUIT/xrpSX7wBRNWQuNx6dg7W4uGSxTDih4D8QFyIVzZCK+JRloudE4B+fhGJPMgXrbxlu0
IFj4n1TkkjSCB8ghymZPLzw0Nu8IJLkWruykSG9QWnqFGq3Jq3jIT7HtXwuN2ilkCzW88pYvUexs
T7dACs3TPDPkChHMI7Qftk/oStT6tbrfDglIK8Wu6vHznBFbtP5HMjtdMSl7a+nW/PN/wP4s3Sb1
fEAaA/qXeFlqUyTyNdTArU4YLUCYQxm/gy3rOb8c987jInzxvXqUKx7DsZpsis71MmkZqoUXHn8m
whjHWBOPvgZ2ZpKSWr/5xNO2+A5W/OJlA0oEFoRJqTB2rPJ6qsEn17dS79zavBZZIbRMR7I471Nj
VCh0mJMBvT1Cq6Ve2ameXhICDTKj1oEosjiDUQFXwkt+EtXqgyW54cH0Cfthh7o0gnayRTD05fLf
W+5FfMJz0OqO/rcXQeuZMbjtDdrcDhjPXQiiWqka6bwJFZxYr2+Mitf8b+56x9ZI3UFvTAv5F5sl
kskaYJ/QewvCS8aWaVozvsuOPCCAAS2eH2/mOLm9Lpq8VhyhdUCguGGDx13rbelcnop9tEHlsZYB
XfIsxQABp948YuFP4JQ7RpQzqScQ3wY14EjErz8YuJep1mmxLvNALG3Yp9WpLpw5qfNBUD/IjDt9
Uq/TFYUthOPVb3gLHx3gCMciJcGkjjb31Nv8r/JlwwSvgC+WnF+gTikaYExh/El6Gf9OpIDpD+ZT
B1U3Aq1UEiETBYqurQUW7t/uZedElDZIvaCBw51QdfrjcU9tCRFqFQfsLLQEbgfyvmpTET4gyn/0
AemFPwZxFqD9AU12x7NyhJ+a1kbwG/J3g9qyyHao3Du6mSG9eBnFfbjVSbQ20YUZ6ymu8oYarM/8
8M4IN+Dy4fJuMZytlQuX1GYNFcVS1WEZoWsCIRF2718KI97zT/QrmnqY2+PjsXY6FiZrGPpq5l6B
/zEmEkpSVAwFGfq1aOhag8IwaB09hEhDtDHcWrlmSXUH+gq4eBHGK29Sq4aH9uDdyn10jPHukPYK
MVV3ckIbKrJ/a4u1Coc1UDsgzXOAyObxlFcswD9s0FwYTRPUtVEM/CsQb4+wn3uNToCtTyYkKYq/
nFNcqkNwFi//ccBFWkMZBAjQQrnc9Q/Kp+JdW+ixwQHi1F5RhT/sC/sUtiSINPG37xWE2cimrDhE
/2DYg0wC9w1I791j95RfmnmN6+fk2JPUnv4qjv+UmR0O1i7X40mF/ptZHovn3Ho86fuXA5DonxES
tJOhop7wwFXSgdZ3l6C8ge9lKzC+7xGBO/Hnr5e9AiEE9MQABcQ6jR3qEBdS5wwshBG04OPjg7Ym
fdLn56rYsN/82pgLG5Nkog+9PMwIa+kGkcsDJ+qpKRJ+/o49pe8lr8Kz1Poj/eK9SE4jaxkUtG3h
Aj1XKIAAcQO1FkTAohbuh7/cLanVwpF/FQLpX8QG+xCc040jvrb4C8uUg50eVNv4VABQ9Pgabrwl
993cf1omqbZVlLbGz4rCq4emUOl9aC7+G+0RiHcwo/n45KzUtMDf+HNzfQmimf2X5fsML+yBsTmD
FdTIjoAf1bMrx6riVdjLRxA+PosESupzPjM4lHMeotnnBoVC1xbD04prDEKOnx8zKVTAlzVO2qgD
OovzFWi0lhiC6aki+cNp9THQQ6PcuDUr4KF/WD8okJnKQ4HhJDXUITKoT0ZgiADni+RUqJzW6QBS
ENFBp5Ce7f2Ns71SlhHkhYVKwCtCSSN2tnXmDBqrsrQVhlp8CECUv1Mu3Q7tQzv2jb1S+/BEEf5c
fYJG4704wzdETCxCjtCgXxsn3VfHQfd2/FYf7ewd/eu8gpLw5/rzdSc2WdjgGWxeExnuOmA/LOB2
EU2jRLFFFyauDbMwV61SCX5EM4ybiIDIBXGnQdt3X1OhHkOwTZxUKZL36EwTgFxvqFKPgGSWG2QL
8reqe2pYCj29qSrPSBboloQ4rAAQN/EvcBmpQQdxqgSCus0hbEiDHjekQ0K5PlMAM3Eg+5uCX9Ax
TMGOmSGv6Q1ZS8pRMBihtyLZUPi3Ltb7TLY9mv1IUA1LOjQBWJF/UyRVBIgX0MNhfK+ia8U4nkjf
MmhgBbGoTi2YQxXWiSFjEyUQjznGga9xNEINsSLQIUfaXwi1x9d2Ibbwf+NvZN1+7lQhBjTT9jVc
+U8ewj/QjPnlp2r11Dhoo0o/IQM09Xr+sjHa2oYtrHEK7XKapya4tRQE3UhCDTrwBuqIolVS60N2
Eger3kMgkELBp7RbUNcjMZmg4B2xxuNvmM/GvaO5sLJ0A+7GHMxSblux2hDjTTCgq2M15ZYQ0Eo9
BA2ZP5d06HMQ9o5Y0sroyKjHVgQPECoyvyidtz+jy5ywS0x2R12BX3k8qZWUDTSofo7Jp31QQcga
Xq056vVh2DG76Ml3AsI4otGY6BUZd5n5eLBVc7ewrkmQ9BOIw+GKseNVGD2b84frOIVGPwpEiebM
enQoA96Efrs2jZw+eJDA436P8qRyDWcVfauFAI811TsPcGgoooaG9pWNr1t5RpctUmnGlzz0DJEr
gHOx594ki3vqjhFyu4RL38XclZD01bzABeuJJ+jtEyC5UHWjtOkZatzQGFEg5bhx4OdzfeewSQsL
XWZNFLcetkUePyr52oIG9PEsVx71Jb9PKOd5BAEbeOSj5jFOhYw0k906wa6VZyHM9XSLMWP+0nsz
WJjYNEIaEhToKEgBIx0EtNpzlB5Ju2ZMzCTY18PfxxNaM0TSwhBNEBKNvByHCkWpY/5ROv2zf5b0
5EN+nW7de7yxI+x8C+9NaGGCgMCuQYaGlePN+lC5iR1oCZEJxMfwTIsABCCkgHq1Su+K58QCwvFl
671eu6TSwvR0KO2mTIChK6jiah1Axkjs+O/SJbMGh/3kPiC46vHb+Pe1vVsYIqYKh0iYp9pr1BEh
oj6RwQqMBGma0SjMkLxJmq8N+lZhcW28hRFS2nDsvRHjcahjKOoVCo7uVrfSSmVUWLaC8zLVCgm0
xdwGKenx4KPtAhpOaPnYyupL9w/Gst8lyEG3X/g4gEnyzvW/hXNp9zQJug0U05rVXLa6hHze9P5s
ojsjdwarOqZO6UQEPDCHbtftGj0n/VG20Nzk8ICw7qJy43H4wsveOfJf7tO3TLTQgYI0Ah+fi115
TYyOVgFwnzwzFlRGsKbCohhtrppbFJT5kOhJ9LpQ/Te/h4y8Pu44HW2RZQNcxJgQWtIkEh63yPTX
wvplu4vUg5DK67HqJcDeBrQZbe93CG34C9q+dsqZJd2+M1NSbfElrIUGy4YX8DxAARHE525+m9z4
nSNNCLyAtJ9M7wn1TsVGtUg8NGb4lm54HGtHd9n9AhHSOgYZIuaoe+fYmnc7RDUFDQ//0agtO13K
GAyKHgQeYM6QsevPjZ063AtKqSR20VlrFdZIKk1wko8MwTVtStfNXPBKgL1k0ZVCqe/L2Z8SOF3J
r7nph2omqMVuiJxgF/x/cfb+j5u6ZGcD65VHKSWyIvHAQkec05LeevzwrGUIljIs0USxTRQiisoT
Er35kxZfOEarjh73lo5mBSXLnLSd7k2aABXZ6snnLwp4D2VDeu76K2t5oPI9tEe0J7acFp2Zxpx4
3f9b/wlCOEMk9AzUkJ0IuQ4Lcr909fT4u9dO1RJDzfueP4LscT5VSBGpvhkZrA3Eoilf/uMIs53/
ZjfSiCuKUsnmbNCnB5FRrlDTHjrsOelGFV1jwNjctnt6V+zvUjhm1pSN5bzHPqABVO9epSNioEtj
Z0ZsT+fg5j01B8Dhio98416uPFfLlp9R6OJRpKM5SVA6EKEVdEibD382E4jzs3fH7C4be3iqm5gR
rwp69XGkXgKUioo9TWDU1N8bO7S2ZgtnJvJCPuMpWPaOAbefW0EZuEtVsHJnCDgLpNgUl32SS8Te
Dl5ngz9VYwzgjFVtXMu18RceDd3FPF2C6N9Fqqf/mzx1DpRQuq2axOxj3lvApf/i02NQlBTtTsfh
6H10kFPQkpP43F98pwdpFVjOVDS/QsFe/PV4QVfcamHhwXiiP9ByjBG7VoNicwNX0MntJtTy0xbK
eiU8ERbBUwRWgYAqsGSId38lu4DfeOVXFmsJ3pah2J164CF0vR6S5F2tdtQhKFUlJo+XZu2lXjLS
FLRSKMUgg7whRP4U6upnH2kPVzl3mucyDmVmenqkrt5WS9R8hu/sPj+fuW/Wp259NhxjhXYTIQdj
1xniEaQX9UY8hAE4B8gEgBeDZslDfg2Ea9aeH89z5Ujz8/p+G5Zhpy4E8exX2f4ZF2ZfbgbOK9Uh
kGf//G0KspLp4GEJ/cN4i075jUNdjxu16SM+bsW/aw7OEvOcQP84AjgYyBib19EYvpNeBzt22AJC
ssi7Qv432JVHvJ+yr25q1KzYUn5hCMDiMbU0jVVrbBQs8mfGTKz2l7RFnbq2KQtLMHpdNNA9/BtJ
QW6KFjR0HPC/Wmnj7qwFn0u8cU119SDG41yJHCuVabWu1yYQYuwUdZounlEmRjuL0G9k+lcARJC9
/XkQcmEqyxgUJq5E7Zlfwr5H53qk+nZw9lK00yF96AKCuTHaisVZgorHJpM6usY7NId/6CXccJxW
9mTJKC7TQ10xlAfrLNZqM94oMJ8KN0HQFGUDDfvVj3jHBCxhvnnaVUofS3henAIYOAFdOqEDDbST
tAPK2BHOGSmONfAguVpoNPD6ohGSACARYHJv8q7WW1WytzAoK1VQqCz+3DSUZ+ReieZ0O7AgEMZy
WDNGRs+7FrvWRS1DG/XAaJzgIFq91VoUgf9HeACzhI3a4IqJX4KDQ0+QG3BfIn8wnkS0C4Qo0Y06
hTvx2PStXOIlLriAyGtYUjlSMCrnUgcQqKjUybs8/vEVpoF/FObaHEz3SoFfn5L30A2a3eCZ0ntX
3jyWBEiPA9fRBupWPWot2bLsqB0pkaoUUK26EPakJ10+RxGYjxl7CjQU70K4l7FMaHSBaMkt2Cpx
rhmSr5P87fWgGpGO67ncWPa/PrjK6FmjE43SjgrCglnAaqsX7x3h/eM1/boI9y7Iwo6IbCMkRYbh
ItmeFFtg/7KZFmY6H+u5oNH5hCYbeGbgR41LkLjwDjtZdGwXgYrkZ5U4FFBMKYkrNwT4W4jBTcs4
eR9o3KR6EURXWFKiC68tcbIpFw1GUfPGcx8pUszoxy2L18fTWGk8E5Y9tg0leVwuYa8idwIMa1DU
/CIZoCEi1a43BrW4oiiKBJ14Gv76b8NHeKxBvHOrT4/HX8vYLzHqgz9IkQ9aKHcw6Ft7aw++wx1Q
qiSCnruRg8TxpwisbXahSfIfnVt24d6INajlpDkdNGN9hV3uSEZ8LnYhSpSNRr3Ru+bcmJ7+eIZr
qIIvm/btXLISJAKKDm8AY9w6AyHJvrmWZnQJ98KvwfXs3A2s3AaOHrUf09eiw/8DVHc+jHcO6RLq
rdQ9N/EhHBLASi2mw3myp8yWoFCSa8GopyAWKsf/FpAsxUkYL2MVJoHTGHDaEOrdk5e8DcqNfXm8
jitv3tfyflvGomw9qa5xULyeoEw2KmD1uKD5adwqnK49Ml9p628jgH0JDGmVgI0i/PNks890rKam
d+JeZicbiTAgSEegOwG+xr1wonmzzPcMEdCWNNiK371EVlOCWHZRk/Muy0edymb+HupFGy/6WrJl
iZxOPSHiIYaLgkgeqFFhZ1eaNRDa8TankEYxOvnZK09ieeszMgECXOjlRR61rHzJy5s8gaskfZUj
e5Cc1itRmhQ0FGyyyemQtkFQKLidoIa8PZi9Atp5i0UNUUp3RWUEQLCX3cYpW3kov+zIt03KxSxE
GAd3cTo2/jPXXEZwk4QGB36UaMO0r8UKSxC2WFA9x4Qh49K34MpZDXJ5IPrt1GQP90Z7fJzXYoWv
/3+fCMg/pbptECu00rnl+E8meGZRrhesVNGG8S+vxFrcBzrqMm91mF5aAeRT1AnUl5oo5MdC2fIO
vrI8d4zEV9T57UvaTBaCZs5g0vFOGNHaRkOk7Vq2l3I8ih6rUsGgSS/8kQW9QxiBhMysxsnID2Jh
cgAwBKDBmmqSJTNRDdj+R/RP0FZ0TPk/RZQYoOqLIvwmOoEGQ5H1NKfVAKA16qVV1AgktpCXbxui
YFqJ5vO6yP6h0dTAhJHKJ/tIQvqvD1WOd7JwX5UQkfMJ2Dp0Fl0PcuPS/Pvj/VhJP3z5Mt8WIakn
RSgKVI5prXoSnT+dkzmdGZmPf33lYi/x4tCHAtmWV8EOC5908+ZtUdauuKVfvtC3rwaToF+mPrZu
So+oJ+QQOAPxsL9JUbXyfizB35MYQRUJItDg37UFj6TPncM5jI7AY4B/+nht1hy3r2v4bRLtkESU
1CHX2Rkgn1BjtbAZK7UjwzOQdFROycaVWwnGvrK538YRcx4SnXyMxeKAl0/epCpQu9Z+PIu14uYS
mK3kfk3jFOEAIYo9MmCNBEsd3KjUqmygknaoAug48ZWV3YBbdppbZcbXTdTVillcgrRZuWoCPg+Q
wVWTVIMXx9+yneyGaKie6yuKFpqTHuiAFStv0kZMtJaWWurr5XEEAU4BpzqxO8MzQRXtRtdwl+oy
EUzZACeK/Dm60n88J0tg9gjRyMrPcEV7ZzjKTrwHpIg/UZcEwGz6RTmNG+HSymVd4rGDKu+iFJpW
Lp/4KgfIVCRcHx+SNaO/hF0PTd1AUA1Gn2nbfczVSAhDGaX0jhIHNjFh0Lla0nLveaBFvZxQCfc4
8F6jZTKtEWk3bsFzOt/93fiaOUN0x/DTi8yRB85VYYoQFjak1+tLu0/3fxosJktkq9sHG+722tFk
f8bucVAWec1i2yomdmm202aJNYhZ7tIhJhWf2lk9bFzCtUCXXiSRe0jIzyiDuX2Kd9C/5wD3o7qU
maNbRNgY5Mt5vrdss7H8ZkfYfJa8nhF2mc3qtTkP4uvxnn3jCRCHJtpgqx26KE3/KTGjZ+lE2YGi
jggplI0vWKk/QTnv5xcAAQS8xjxNQE/QIlNqIXATaB7Wtmzy/EP/ThFqkz8HGOWooysGSbK4MsoU
T7dVx6Q2GHRANk4bbLyKK7k46Df8HKaawJgrDVhJyqpV72vL0EfioLMGJBAjiY9buKm1+SzyRxM1
JZA9hXFuah3wkwINtqEdnqrzFtrofnTCL/HVguelfixhANGpVXjH52G/BQxf++nZTH07bk0Xt0KU
46c56Znjb51ncDHoGI5FsJF2v39BoeHxc4CSk1qJGjDAyJjtxQO5hYIsRYnWbE30Nt7elTifVxZW
YJgyEPU3GIRPdRDrtflHkGgyUr0Ol6nxeGAQYNTgffFVP0PbcfkXWmZgQw4V8PMYj+3dSq4D6jI/
JwrxMW7qGXxDjIIyrzXpUUpcwB4l8N1B8IW+ySSnbnnYk2gw2+ZVHi0RDA/pXjY6oAYQ+xR7ygUL
0O/HH7RiriCB9vODRi/006LHB01PHaF20KDUw7PJmIKgop9iIwGxtvRLYcQqEKmQ7hEyNeOLkNvV
uKNzUEyDT3AS30t5VPnWCoMc8R2JUIYNWCeXrZHaScOV/sh6NYRw1+MJr5BH8EvYNJVJkg/ZPNoV
evbU+pURvoXZqCmSaHWCEXL9PuL2IXceI1WEUxHdQLOWMjbdIJTYpzSoBXZetqVEuHKxlkjptsgD
xSvxMdSYaW2DdicWNOcSGqpBxRlsYI/ue+jQxvm5xYhW004KYOIKyZogc+UJlzJArmfjKbjv00Lb
8+fPt1MMuu8Cc8hadCMxpUqBHTcQtgqB9z0E6Fz+/Pms7KhGmR8a9GCahTup3Y47dBoaLnWgdZD+
eHwuVsyzvLBAFASim1TGMJ3RfoBZWp3bE2h3qy634ptDh/TnNJBP7XhmDu5YMCOd/KdRS46xIxLp
Nf3oXthXCQwM4Nnx94yWQMS+UmNINqqbNa61M7CwOyFTJFnbzdMDuiUebNCyK0FKii1hjBUDvlQ/
SCKO6oNwnh6ag8sD3AFNRgV9y3Sv3JMlqreefEpsKLj5cgzjoPa3zJCfQIquy73akslpNOk6IoUp
nBPr8XlYaf3kl+DddgqmPJ/jZbYnMgyDxVg5pSZgwIzUAaUm1qoiIvpImMYnajaW48bIK1BBtF3+
PCps1tBhzmLk4RP9dklFGGDSUPTWfZM/JgalRTfwhmCmyj6+xujNh+ulb7kpK508kIX5OboS+soY
o7McVTf/PcduTgaveTCQT77lkfEtNsd9uwdGlqB5J7tQ56lSwYK9j3aikVutBuBi8GdjD+bTeccH
XKKC/UDhA5aD5eq1jGRGt5vOtcFphVk7W5Q+q/u8sC8Vw8dyIACCmB6U16zDamqdi6t480ipgS7Z
9QxB5w0PsEmAuP5TUZZfYoHZbKrpaJg4Vw7Zv1QD7KE8gmq4yD4fr9zKdZcW1mZExj/IRSyccgzQ
jFm7W4jNNQdGWhiSuAchZ8QjYMtc9gNJcNyMl+aTM5AvK9zuVO7DZxxRPTTzU+6ylZWEWuIIb6w7
bizdmseyhAJLJViCv3DNFch7PsAWDNkKdB/UlApVGW34I6uBv5WQX8kv8EtY8FhPZVAJqJx0wAKr
UacVaB74TZ+kWp2cCXmuTzBl1y+90zviZl52Pnp3jv0SKzxIFO2N85FsXtNbiTYOuKOfIuGIZzc6
vYuNzbba2cu7N9LC1HQFx0zlAOBGe6HA16BK5oCXNduXMHMbsffaZBb2pJXHjpnCBiVlOW0tme0n
rY7LauPZXotDl4BeuYS6YcTgPPofYACj9E4DrZGvPTNb4JM1c7zE70LtZQzatqRd6cm/oIocXfu/
/A2IJMgUhCFar9FLyJxGJ9v3JEnUkWT7Tc2c+b7e25+FVxLz0f+BdU0IApzKmKRjaip6BiKC2JAi
vSLlxrVasRhLIG/NDBFkUVvgrZAMn+haHcWD3DIqlW0ROq94WEsQrxRJlT+yMwLAM0DaXVFkDEA0
mgKRRGVaBZ6g6PzY+q0eimVQAzGhqZFg/qT+aQiJV320Eg9RzU5t/TfqlRpewy2SyRXH5x8crqcI
Ce8Dh5uFhEOnaWE36e9WMQbJGOqEPJ7QyuYsKYb5lIGOoldyrscEzIcYFSm0cSPQklR90KpFqnQb
0dGavVvCcLuA9XymaCc30KIesOI4gsLJa+KRFpDIlICDmXBgdspLNc9sfiJd95ZVAeG2btvac7yE
5UKStU6kqJvcznP6fNeOtJqB8irTaTQKgn3Vq9AiaZZOONipZ4+fMPut/ydN3CKlN47PF+7rzq1b
Qne9RkoV8PKDN7S6ok9QZYqI9NMbLekB50Jwc/JAmCdPh7Y4xM37CLm8OOQ1Jn9NQ8Mrc61Lyud+
yDSeRudmmWnFKF2ixOJAkasMvl61pZ5ypZZ6FjIdYNFMEJKZIlhfmXTHFoWeRh/Q8tUyFpSNtM6G
11r6PbbG47O0usULhyekubAcYqwwtfMc9m92BbrCkbTRSA6VxZzzaxarT9Hzxmgrt37JJx0qfcZk
HbQ/Ws23aDA49TrqvoY/8/iAbDD4QK4XXMugF1Y3LssKoRovLJyfnPFkBgJU4KtF9zd7rWtkkrLs
yPogeEqeaxGtJv6JF8DxM12zSDADEd3pWawnYeaK0nQsyytoSSBUgCsAZlhR1H0OaIVATaNBA/9b
O5KCz9WOyaCIMKhSoPPtYWzEjTv4ZTruHb+FiyVLcTNJXA8NIK8B3QTKKRNvTIIVRxIyEVcZHTx1
jXuJFE3LjiYb/I6pQ5FXv8HSrPrJ5xR/tDljjv4fOXnJGCS07J6n/hdh57EbOxZs2S8iQG+mtMn0
UsqlJoQsvff8+l56PWnUQ3WNLnAhl+QxETu2sTt1N2SvQnYZsWnGvNe6RXmQg+oTX+hq2Xwo2eU6
Jss9BLCocFvpVWeQI2rVRa2DphFsQXxQkh9cTpwmwWotEeyyelu64jQJQWF5PUEZKz8ORxxLqU6G
ZTpG5+lIeOf6P0ak/zKo4yVxUf4/SKSQGm0+aLjSimABkis8SrvKBbB9acME3p3wH0yFfznV/0mn
zvRVH1tNXY8mhHoVR2A7JgYjrpFmr0/WdP//b45/IXD9r5jPlAVVzBoGxZM7n8hNsfz8twvgoGo7
OeDu7W3mg5tkOsT9Ho23SfJItNIMW3bqubHlYw546T8Kf9FH/W5KnLEHzMRHYzoPOIaY/7Eg/+3E
+CcXe5QkFZN+NhQHcl594ol9UC+bJ/5ZEeVvhjMMCOHRyjhS5v5Xo/EvsjX1n0xsLdIHMV4yEUi4
ge/fP6gbwwUki/olfW1MN24um/Q0N19j74sPbeSspr2Yb6q02KQXv8pILFGwfY3R5ipMrcTUn+bT
ujpJ4ZaAftopS/T/6Nj/rSX5J7M7k9FDCwolotTv23jzrYxnglEaNguS18d3C9U+hO/uLrb/BYn8
2wr9xym+NUOz5CK/Emuwx8KPQ33XX/+rPf23Lu+fhO5srfq8+pMpTAgsArpv+aw1POFw+lSfgMlx
I8dT8bAetCfrofqdHrvC2a4SHtBBffivKde/ocbqPw7yVVesuuj/NvuDvs/uZA0F2UkKJTffT4fi
Up5APgRsMctvlT/l/78niUL/l2rrf9HBTRVaxyDjBl9mT6poPYjrWyPkn9U0PtSKPhiwQhLJlnJY
RRseBdL4pkiPqRbvyZZ2u7461W3sypyC1cMaXc3Ur7uHqb5lGlGBVe60jB2ITrQVUp/iZblGWI+m
5fqdRON+iNdzp5U7s2Y6nzWk/2REj8gEzuQ9BVBHs2lFTtkSQ5l2hy0aQGFmLy5ib8bzskg8JULq
Kw6PgmStdkfEtzPVviVLbruoLkbutimHVXksxvY0W7cWsacihnDavKEyE6R7FynyhsV0BPmDK88d
otkfzfpjTENRmxyJj6uZ9yxToeRg/i/a0fhZ1sRxFMV9JaO5Mn7j3tqZS+/km9y6XDf54DfLq1j6
wgCmXptEshcxtgj5lNryek3UorQVqTnHZYKv3zrDc0rnxt+G3BvGZU+xZHYhcVl7VdPfo7g4kNv5
OmWFa+XVs5YsQaOq98QqnKUvP5NlvgxLEkpWMDY4gQ6VuBsGy0bwQOb9sUk7jJRUduEqZxUOSmpa
jXZfaxxciu5VG8b6WFzJ9zwPSnmfxd91P7oqDkCiqdpJRm68UdnGhFRXnVCkjI04PLSz/t6bytnq
rCzojFEvPaPUs6+plNvPsW5LbFlarPora+EJ4qZFqJOwVG5MgGQoxEQrlG1v2DzF1Z46g6+cZN1b
1cnWFA4vhP5eZZFvI3Rvid7Fb1pdvWbl+1AM01HLtUBaNLeecnNXqOu71K/Frla0/i1J8Ai31Op3
q9tgm3uMk71suEXJZR6fO/2SJL0jkGnQ+OuAT/K0w9Sdit6okmvSOXlkeUoc5JKTRfu1KvHqL4lY
NK2RCU3YJQS2PuTtitTsO1JtOb0qyImTQxaHZbYbmv3SXXpK4SSPHGVs3Ai7p8XGMy+ZbXFwcWtl
6Sacw7pbCsGCyfuQHtXxKK7OqD4QrVOoOxpRDOBM4XFajkkPpUUPtM4BwDY8knwVJ8pfxO1E2EE5
w5LsRLeT7EhYD4XYniJMQ0rmKFihXc0tebQIbFwRpNTNec5vDevWeFtFIsZa8i1vmjke6+6nbH8W
9pzake4gfzQLi0SZHvshCcxcfWVch0LMoCURFjdVM+h+YoJ/9ejQpTsJe1xqnir1ukVP9SzXoVGJ
F8xGLkUnnTq581pSvsJ1iF9HyfRjHTxxe8ylc4mwbZnft7w+8DHWmdmkgHFP/xK1mzNZw2EVY/jX
1n5WIiscKvmmrOojmbbKkxnN/a4kCldIXEFZioOWAUqweZuyIjmnwsiKpaEywOrwesrsphYdtXhV
2sRd1uwJ9+155Z0nRNO2hl+352nbWsc0xNBQvHIqvSUn8aLzy2V7nVoE6kS9TZZALWov8Xm8F6vO
Qy0v00yGroCfVDIBlafQy8noEGIGWYMnsFS0IvVpzxCNkmgyPy1S5nfG5taa4tRGz0sS21Bq3Ur2
xD+tF64v9bESqhhj7pNguBOoioiptkd8j/v3c1RSIZdjpWESLVtBlmqW34p9vVMSGO2W3tzbRr02
8hody/g2z5ex/RmyziZ5eFiDvH0yeet6Clo0uOgO2B2lXjvGKDq9ctCFXWpWkVuN5w1vcjNtj0JS
hCVgfyzmpdOl1lNEuLA7cRsqgn6Thx4LbSHf84DnoC1OIE8WSeqD3R0NTraLCHRtXKcBe2eUS0nx
IJJLXrzDzDetG9EX4vSpW5FmC9A13gsrENcdERCojTPdGQpH+uQ72y3MBqchGcK0pdmRoDIyEFDs
iUwqPT3PBMnUR3Gz4/Kxlq4pnleVN9DAxK1vSochehC236REold9SSX2HYQ3GLiw52P8PHXJTsiK
UE+K54HQe0IIaznoy33CoKPty8CcEsNXUOFpFgnAix703FejIhM+kDv92C1Ojg0ttpwaV5rGKfhn
5XiIlSdO8nQl12bFsuhdY5QQaweL/kqtZiwojMbRtF0iboNT1Q2/IR6GU1sZ6ad061J/0byoQOun
O/LfeBa+ZRkohhEgBsPgdjEcSU9tFo8X96oj1DBQUnRI8XXWZHczBlswiVI0Tj1JMWbMIbqF5W+x
4e2C7OOxIbstx9w7HPTcGWoy6rJqvqv9eFkG3NIxJAf6WL2qOBIll8vYlZFkN3mjtG8UT0i8VmFm
jKvNwO81LSeZ0wGJBU/tI83PPU7dOW3RjAbzVG2hktNLqj+KiNOA6q71OROfy02wa5CAYW/ontQz
YumesY4KtP4Yq26coAtsxwetPjeT12PZpQIEEIxakk803LaHCYJPNjwixayijuS8ysOl2zS8MSXt
QX1eV86javF1pOe9PDrDuhBY7Y7iu5l9GyTZDbQxfvozmhwSKGlrzikIL5BmMYiXwtpSHFn2Jcmz
uqcuftbqvfJ3VNj6dKqrA9OouDzrq9fh+wtCrdq14TQN59xdWG7l9lTTtKijO0WhjKZtDKphZ5H8
Ccb3tsUH5o8qm2NLPohB8k3ZOlp6e6LKI7d3Bsk3pMEb25JzKFsfm1ULY95oE4sXlS60aNLhmJE7
U3Ud4yjGc47abp61LfsM8xEvFnuumDW/kM9uV1LiZbr+Yb4nnZdWG4s2cxRd3sV9ccCKaj/9PXwQ
XXPO/ZGE0HbD6b32Jw76hncBcjMsyx7fDkdqR7dazwVT+qk1rt3gWMO+SAZXXtpgHafKabv2qIED
6CRpq0p7aYejLNwipTj08gfRytUaoc4fpquSClckJ06LQSguk0+jAaYk7HWB+NMWi8lllmx1cTIz
O81Lq3A8VToZnXV3GGWjdqxtpbKSdnL8NhpARqNqUFSJPcUeRVkiG/5aLuXnNnHhZ4biZqUPeRmf
eKsO1Fj3V3XEhal3x02xR9B/QEvxZDTs3zzkEjBUROT1tldX05cr2kpZD5J2vizzG/Niu1V7R8Q7
sCtnVyaDca1VJ9GOVqHBy67Wg7W1xBNjKcLFluq3Zu59hJXkR5ImCxZgCSXxyWLyVkVGIEQfIpAB
aJu9WXvLeCDlNLBimeDTv8WMECiqVNt86LpAK6N9Y5m/qxIr7pQJ17IKo0b8kDKChFJetTa1gdzM
PDGQ+eeBsdMWmDeI5Jpm2pZxgPDdUoVs3fu6LoHVYfM0vZTWuyy+DNuLulLWeU3xsBEHIA3+SpAK
VtNRmOBZSSngyHr2OMvKz4S+yxGJAsT3bYSVVl7atDnVkyXbSiWEesOKFbqdMflyHYhl9qUarZdY
Axa6f2PFeiM8nnDWrtK9udAzG/X8QuBPfGircj7Oek+qWzUkYbIu+4lkFRsx7+NUSyd9WJOdIk73
mjt8h/bSCuruQ9oyr8qsn2UhY7XOnEl/yXTKdyj74OzplWh3Qjml8jPPaEymkvS2GceXqXX7AvrW
Ou6pZsM2Eg6VlO2SJgqIGX3Bvu+gqkKwzpQ4U5X+KhbRMzFhaRqh9ob5Lq4GRRrLTiefnNMSlkRd
nbmcDwrs4r47btl7at1FjaPibORWYuds+Goi1BPT/txrAJl6rfeElqNkWrDZYdx96LeFeGekWHZq
jclxGcxdFymXxuiOGkO3uCkP22IhYaMZ6CK/iDO3lioeXyPu1KFmUL6txyUu/XRLHW19FVX9vVlo
06TqUEpsKBDXTPvJ+ntChTSUDYnxKAG8VtO8bewvcjo4ouIn8mfPrNdUqpsgPTaYp3TzM5mox1It
rssQozQw+UkEg55HfoPcr8SYFCtFm/Lad/V9Vaxd3ecvVTK/yOAzi3xtx+NSJT8kgxDeSHQXIU/T
GnEvMr8pBcR0dtQ8xUQ7SqzA20DAEHsh9/LmzAlb157cH3KG0JK/WkFZ3CzaAWqNv72rNvvBkndS
RfgWt387s0pIEH8yxjZsU47dVnNXAWao9DGLT/rqjhnKIVX6kYvxTZu/WYQu/RjnhxOVpdclmRvl
ixu1X7pB3LjyU0/eZrTHlUKun9OjpIi2MPzopmBLpFJXz4r5UKZuaeDCDdRdY0OxgKUq1V3RsqsV
SUR6CHm4Iidp9ZUzjhHqXLuy/rYlxX416+c2hT3QlztZdEoRQ2tENIXmGtbeoE5UvrLY5Wwd8nfV
4CE5KTKMjCc37prUU9OnCHVt9ZYoromBhygcTXFXfjJg7DQnJra0us/Km2aGVAnbEuQ9SIa0T2ey
Pfpkb1i+1nJT06YctGW8brN5ijHMQG8k9pUrMO4dBkpaDFMn3ZlwsxpyPFOpiYbvZSMDlrgL5S1a
gwzf+A65eFrGnpyd1fZDR75kThnJfrR2ky/qpxzkFhNMArOG3G+NvV6fOT07bpgpOypoNcUHGWPJ
hf3TDK4pEkRC2J5qupb5HmOp05GMLYcaM8joY31OICa0f/7Dpewb28uCpK8vnAHQiRQAKWzYUO05
UnwtOpkWgVEOnU5DxTcI7micB6XkLDoUA263m3U2qYLVvPUk/KAAhMcud6V8JEmKI5squy/jMKbj
Uqzci+kW5JxtLTJTe1wrQN/Bbdb4hNFd0A90FMuwF4bEtyQ8M9M/ICElJrX14uEnIhYzLVa/nWrO
uNpOu2CKg04rcIJ87lQ8doJS8owi4kN0h6yI3TpTqI1TVxeXy1wboRYzb1eVbzHGjKrsdlztV2FW
faHwIxwWl7cI/UZXFeEqeoq+r8tfg6NnqWg7PAm4NMpCGWalbSLbZpITju27oYYT5Pp6/eibq4rq
o7KZLw3Ef3ECFDbVdz55xWpXP0QY2W2tv5R9KCfnQXgj3TsQZkIqTEwCMJPj6ZuDSxCpaZ2kgsoo
OlhctVONSC1ranCyWku//6wh6ZYNY3xI6nm+a6243NWo7YEqzVHdC0LtK/MSZNXggU+0TpLkvk46
dDTQ+cpIvrP612SvxVWHIfus7otu2c9xGsgWmUj6dt0kGcVU7g/rFFZS973penqiBH6yxLjaQTVx
cGx6GpTmsS3n3zimcVOxU4iixAiGpHpsTPRTkWk9iqul24ue0L2sETGswkMtr05PHDWfyxXX8dMs
piSII+lXMCWvHqPvdX7M2/PWO8270n4xIxyRftDzjK5SOMWXjsFYNnXeOv4VcMZwqF8FmZwK3Oiw
qDODv2GLSUemnpoUgZ9nCKSXudJsr5UnLf5Qf9Qpf72tSk9qbxeNk6h/8oSQHavWXlrsTcnX+tiJ
Op9MISCGtXzDn5JCsILy6w7iQQKxa1rC4EMyjy3rWtbIpX/1T+mivih3YfUJ95YCaXQl3W16v0hv
Y3Yatd5hcqxdBy5rLXYBK1Cy4oudJEFenzv+t+DjLaBtdl+cxiyssN6cnCoLWhwvrYuSBTrh2ZCK
K8NriRmiC473AoVO/axjKhU9Tq3sjaU95V+p7kewzqVQPSkwEesNt8VPI8vtImLk+dKiWut3mXIo
yybM9IAQeKSu8/CZjK6chlH2IyQf0fYUD19TvoWN5He4UTUurV8FTBh3mATbRKr2rWc1l9rYOE6h
s8VgYPmeQm5raj8zP6wpOxcansI6X8b20Ag6aAh8VStnyVgaeZjflCamA31sM4+7ZM1cucICK0tO
sImDtk+OqnnUL1pzREVuYqQDbaZxrS9haumyvdh4KUEmqks/hdJGInzOqB7bsFanDz902Z4yQUC2
L5JzgKjSei6tsNHeEgkBYjE/6uqXgUFvBsBESP3MYVa9qR3hhILuqe2xrNxE/O5l7H6rTwv+XPnb
TFeN6b+Ctrz2MPqUNACOk1zewZmG5BI1YavdqvzUacca9TwU8BL1POQmUfC49NYulOSQgmCrv6vI
K8gtL0rXALQbPOxQbRmsKluGPxkijvDJpLvJL1dSREbcoj5Xvcox648CQAshuuOJcqRBZfZFjee2
zU7Cku21rG3zk0ulf6l/tNaP26dCD1U0+eTck/AxoOzA0nhQrOkSlfUDEZy20vAwCaoXH60oIIEx
MZ/5LEb9UN3U5CVeLngNC9tzp1DZJKmTpdW5Gejjaar1pITKNAa6yIfbTtFrJWxIpglv0UIVr7i8
Abk5FFYRGFXGjsci0HKl5CrsVTykK5zDj2Vbv+jckgVFmJzQzBYvWn2NV7suH6KBJX/SaWcqlTcA
JVBUsX8mOHJ1YvO65jdr2yj7TkzWp+4CXc02jONaXyvluY3OGgVtzRSs8JXIneRdWRxSdNajAniY
++BWWRX2jzXnIObMvcySpa+5NZVv6O/jti8FMN6gfe/z3Yzw1/hQyH4TuTSRDS7vfC4jCWaRmDPp
q1J3gJt2Ue+11MeEhRh0y/DHH3aZYHmDumMCOlOBbNfUeG6qn7H40Nv+AbwdFoLSH5vBUXPe3Rt/
a5XdF6Wz246RofEIWdTi9fWWuEvAIpr6YSnva3recAiJ3/oqtkvlIYuCin48tg3rWV1cYDfrnHXg
YEqgVCHsLMfgpJpoxACBCjLYjVepPejQjvLkMFHKco7oTtez3o8Z9/6o085LnCmb4AINUVJ0VUgF
RLOcsh9J1WMtRAuKahtndlAvCyGb5UfcdfGHWn/NxVvfOSqaIkxorEtVVw4WvTpYiXToa3AU/QKJ
YapI6wuM7ErvVMlcm3phG8qLSVkROfXmiDBi+4cWL8mSy+M3165KfS0LR4+DWPnWrMLV9Kc8doos
TLpgVHcMObiGJ8OZiXNonvENzgpsy4TTWt16wqCb85hdk/5VqwBwD70wexOagax4X6xQEX+p6Foh
dnSqFJk6JjnkGxK23BUWODhO25KKYVeseaoXkXrETjoznCP1NtQx8xM+H0Yt5Jtpdv891zt2SpO4
WReY2a7rKF6eeoLh+vgn0g96tN8gwSauUQTTd5tRquHghExf85KXhSDZxZX7C7phasGeBk9+skDc
jwo5viYtCuCSyF5OuQIDHZREyMI2Ltyie8l14rxLBh6HbKRoNEKh/9hMw9HTfYnfITHworGroDiT
tCFznQbGOV88VX7ZfpT0VSYTXKD5fY2QyXMu65Ujlrx9ghHduHINTqzyBJVE0L574NanVTXBtu0S
0/iOc7Qg2XXwBQSTxHUyEVi+F9UbDriRrxIUIODFJ24gI8LBTt7J+le+vHXXmosl2aX4tlCmRT96
8TrDBAbKKjhqVUcZIheOzqRTngM7gn/Ycx+usCU14x4rp17FMSf354SHtDzL84GVULRghI6CHK91
rf4sDlA7AXtdWX1NAR+M67S4uD8p9JHSi8C8WwVJFlrdnRYgMcgYhm20P3V0nrGVtkL1roPnJJTN
u9W81ARGjrZu4jvwMgu1C+/R3tbvPzzwDu3XEI/i8rBAKaL1b+pg7b0m88XZqQU36r1+CLGtFtN3
cwrzrHKXmUmYOD4oU2RvhhnEMT7z/UO1sMNoPzWSDWDpXbLmMZ68rtm18757bgllxWH+l94zggqp
vsawFU0vuo0Qyu/G75i7ieTUIg71O9myUfmY827aD8wPRk/mjv5Rsr30U6o492MmGEeqN8bv5vC2
SA/qk4INgTw99G/KGtT8RYq3rRtQ5WMVSztqEKI4Hbr4KH3fFNFRoGxhnqBVRsiVDC5Dt8BzCPI/
yI6j9xJrH1LKSekN5QGw3pJ/ktgt+s+0CEBaiXg2l2dJOPSdmy+7SAxo+PRfNTec7p6p3834AchL
5rGdvcuU1Le8MllkzR+nQamDEuS9OEdLG3b6iTm2TeC8yq0rjKCwfqOADy43TfkYcQAwH8Tfun6k
lSj0nRrXdrsctJpreqFvDY38q5W+Fe3xD//HCIqTTS6v/wMs/S051c6OabLDOsZytHrHfAAWlwgw
lGyfehaKRBqKzwWvfOabNwTS+Q282WbWakQ38cbcpCfkUF+CdnnWilvGmkoazMSxqp0f1XBozo0S
GKsbLT5oCYQwwgAw4S5hN9LLsLvwNwo6MWwln/VmLO8j10J8HDTPiJwxDqKmconorefblmB5cLDa
G1Dx/DXGrVO/qeqN1y72boFTuR5MnQ9UPSN5+Nz0QxYRa6CDJYxOS1EjtLy19UVjPJO+9MLPRoA9
C8dYmXsc/oII1D8em2PFpaM0niXV7lh+4/ZgxF523bpXRQVfkbgJsd5/wytOyHdU0c3qTfClBK5/
4uehABDU130SJ2xph0ILsnxXSI5F7UpEjom72BCYJme0X9D6cgqR+y2Uu3wM2Jp66YNwC6QYAicV
vmi9JB/rQKdeMpuSnSnZacZZguYnn4Z2Z8lfM/+5hZMRNrldCa9R89x8VHK0j7JnJid/TY81QtLv
sPnq3/qTCqTfLYqjFA+dfpAmLnMJ2fKzFb0uCaSQ2uElUKtJFNqb5maMxDiJeypnnQn5ZIvTnwFS
6uY13G7+tTYqquZJXcrDotO0qf7M2sqRodrCk47YofxRFeleS2hvC7C8hUEG6qpOVrg5DmvlDnpz
Mv7v9U5iQ00C1DrPTkJKU11/qOQfoFzRH4xWfhMAIGxBG/9m2HXp9B1Te64hE+RZK3NQItJq4v6p
U9p9vyahXNWOPja7rol+xax5tybzU5DToGW0bOd66qj9Ts9zv5xVzzA9WZ+4WOwq9lW62StEJgik
tim5dfItJ58ybAT5EJkBLTgpup0SSs3hD4ZLXFH/ZWRffhOjvksVTLfR7NWX9ja2sTeuv+OkuDBQ
ei4uMOedyk8WFU/alDFYhjZxsG/zJ83rJH8z/YpRizamv4u+lxmdLOZ4r1SPZrztHdWcT3mLB/Mw
HdaBTVyCicnIawCp5fRcP1r9PdZEP5uxdWtzPzbyByAAPx//4rvkx2n6a+wBahcSjZvur04Wsffn
Clq6xYtbjtdmO4GpRdt0l8xbqmQPdRRmfLWmCY+qcMNbtMu5JjC6vybJiXtzXv3NosY6ar/x/DPD
tI5BAGwKfCwoDFdSDzPURQW3rBhHLYej9q/oZTI8/KEPK8D3cJ3jXTXtV5BYhlWMEpT4waqYXzDn
CTXpsOlA7rLX5JyC275egYnCbWMad+IWTkfH1H11uVX4bXd2pHs1As2IFJNgEvuwXs/1twHnKjem
K+AyKMU0XYVxLzxuw5E4CzSUk3HXzJin6xZyUBo7q4nhNvzoWKXUF/m2KGGZ490XEnJn5+Rzc+pN
o0/DrXZPqvUI2wU7aegEgnyTWfrUybyjWXWX+JBRZYgUCPi1mFipMTCKMZKq7HniCwGv+8/CuI/z
zpDDFaci4rqW7wlOYMkA7zJxlqsj1Vrp5YyJowW/cSXZ9dOlzF4s/bTO55wpK0CvtlcH+HaAu63b
MXVu/WJMQfvfsMZhenKjyKNEkfBnfJ7WSyvdhl/ru0h1e0w9PfpqFgCsNL0t+niXuBlWvnlMXuvm
o4AJZs2H6X9yf+fUZyiqDK6AvGuYHPPYThKlxD2neqSMLHzwO2WxrZ1FUlV0KfKgqG7WdOwmTygu
IrPlMT8QXGwq5uv61oJ6/oj02uCeQfNdRz+a6eQWTT9c5Vx0eO6idt4WV+N5Lw7OubqzqhSuTvWS
zqQlSaWXpPemPYmfJl8z5t5Sfkf1y4ijq5pfaQEZQjI9UtXTVmfuoHJ/ohjspX1c9we1YwaIIxEj
xlIMt4lOAuQYqM9nLw/UTie9eMk3xunQWUbIAUXvqzze4hXrm0VdDy11nKy71nDcpEvROsuM6XOA
0YavHiLjL7tb9db2vojM+R1V+Vn/6BQwaiyP7kOBttJSbPz1N7lMYQGLpHBqED9KBpg+FkLf7N4/
SbQmjTMou2XzlEfrOnUv7WtmOawHQFDACilmuCX8FtU7rmRN6Vv3ikJTeuuAWeJsJ1aWu1Z2DEO2
dBXDbhLRla9pxTjc/avd7uvqR9EOJZBofrYEiV9Az5FYMym6WFwHtcRDnwN12DcjHY1F9od8aMdP
JLlHA89vdfMFxpjbZzTBlqie5rvw5wQzHAVYGl1DoObgpxwaYrjQKtUbRn+nWIEV+3fPMFWQGy8a
T1t8ztd7m77FiWeJ7yIjulR91XMr0I6L6C06s8dDAQJvMf4huENM9WdLEj/HUjjELTdNhNHjiwm2
LzRvesYx6ybjh4QJ+vSBZX6Su/QaFSxD87hqWFzpvByI+urPEu3LTAhE5tdJFIozDyi7jVPrW2Ue
tAYzHAZ326WBSxczAIWIPR2biHMidnW2dlN/Zck5BZmOY6eDRBJ3O7MrnZV0NhqGpPvUhCelnCEH
zXDykXuyQ2KD4h3qY5X42VZRQ4Br69xSre4Z+eytGnycIgZ4UPLLUMx2IxmnkYk+/s6Co8gPY3wj
YpJZd2xBkLKptyejo73PH5MGR4Cp0Do4UCAmcrPLdcJtTLrwsvATekUmzyAmw6vZfJhSwLqkGQdS
FOZTV38UFmsiBXChOjWT+iyZslOZD0Lv/j3q6UEdLiW/MC4++GlGBo3RfCjU76jBLfs1E6HnSzTg
8pNAfnyi+cs2YHNEs0udHMEK56god9KvDGhvJT7ISLtu0CEjWXUr/VUgb906NByF20dtffZx/Pct
B9Z/BitGj2kTTqpB3Z06svo4LwnMr/LOlW1KwImGbk9QtEsjf+91INRiwdPmFRwEmQ4EMgYDb2J/
rJLfnjn8Src7/W5q7/4PUeWyaeeR0XpMj9ZyJoqm+VZTEqXd21Tke8WEk5Vke5k/PDaNA7GYh3KR
biOeBPO+Up+i/KrCZYyjF7Gfe3ezpMs4TJHXyX/VZn1PiiwoD8JytyTwa4huzshHGV9S61GW/w9n
57HkOJZs2y86ZtA4mBKgDqpg6AksJLTW+Pq72G9SnZ1ZafZG3daiGCCBA3ffa2/vV2O6a2Z0Kv+S
B0yU9Esb7AoN5fBeFRtTLmfH96z+uy6WIeqKZW+NzKXaNfNtJB4jrafS/rSKD4MRU9RuTQO5ZRHX
bJzMmbwnJMJm9+3QHuNMu08NZtWsLwuznUmMYvZp1OAS7aSgOrPOPp/fh4YXaehcibHmmRvrD2uM
HoWD1l7O5ipXe/QnyEe9LrZVxxPedibnmv3ZtUxKeAOrg5CbLpHvfjjt2NP3EHS7UXu0wYoLLARR
9WyK4NIw1K5pMCJb9IcIdZ9xmlTcPELYTShaVqauhKtSM+9tK4iuugEgVAXU9PlcbA0nuBY2y3sM
wNHiUwuSpWbqW1FBM2bz86zcRkAcOYHC1nXtmIYouYBQhn8jA+kbDad+zhxW6QnZ74yhxwtArtrC
yLVN54S+W8V24nZK1a/D1vgIajtYoYRCLUzhQfoAJIbesztUpbrPT75YtenGUB38bR6+g0EfngTv
d988T/0D7Wcd7x2Jd6KKvBwiKf8wLcOzWYQwL8yadiohTF/ihHHr4CcS9zpLimhCsco4+nBhRRMi
nArYkKh4zMZWZ01gVdynUuwrVQyuFPrSJJdD40F1PNleOzPy1Hwz6e+mRP/S1mnL3aC91yMtfgZN
UeZoJWiW8ibQkUJc6K5NkNFcVsc6LJ8tS70GvDeDVlsCsxu7WDVPPcGbjAkmqljJCIud7pTBm8hC
K9BfjZCMyjDst3WT3fVDZ6Bq+ahdBAyHcl1VCj8mhjnXlpnv+qIxFnVlqMsw4Pu2HWSSTosnD4Hn
0OT1OdMcV3KKiLE86s2bE7PknKCRqu8KNjiZ3ujAoZp6+WWKO7vItlHQ4Y3rIub72VrxT2a/itmC
4mDL0llJPYmTLgm0JSkgP8Y6hbNLFWmrG5ZQ6LwtxuCATymi6pyyx8naiXqlObvCXAfjtZd7g22m
2AN42tqyvXBbB6uWhR3IWcbMrD4WzCN1GDAVNEtdxqPO3F+1H7Gq85rPCWmK5rdmrHfMV+hGi9bN
6oeSrRkB3c0JeVvYeyO8t8xlQ9RE4zkRcyaE3og3S0dnkc4bOgAHgxSWVimXHY4GfQn+sCoIsO0m
29MDLrfcBpXcdlO46iAQOo3GsnoKh2XVdZsq1beV0Rpob5RMMcwh0DPn71N1XzBO7eSnzblN8dv2
72nrEFijv5b1F4Mzv86PbRAd1WKTasPd7HwbkmF3RodSa7vJbFaTxfdQiq0MP3SDpS3Cw35GWtQu
VZvSdXLlXXHWrHz06hL8xan99zqvWKAT+0Ak0HijaniisN4jW52pfFgM2HTPrapstDi8Tn7i+pVk
253hmn4ECVEIONy+mdZNbRP3ORad89XXpbLslEl6Qg2ipWr632oBj8pDrXcNCyXLFmw4Vti3kJl6
wX+BfBCWvMnnTAHpbNgIZgfOHgRb91AAeTqaLlslcbzpKmcfjiNKHstvoJgGBPliDJiNlebohk2x
YtRWFAbIWc/4RvZ5vI/HirlUeK4wtVWMR7okPwjEOL1XNzMk4tgVr4PqrCKZnMBzj0kUX/ybQVFn
7tRR3s/4VjKoG8uylKXS5d3KKm+E2HE094oRy/sZtLMYLGeV36BdOHd3CInJ98Ot1S9mmW0cUH+T
gsqgO4nxJhVQCvq15ZGvkJf8rKZka5Wl1b/385tRbTT6Th2crIa0CSlP8OgJL7DuG+042g61Tumx
2drXzIXW8if+NCXRf751l0Ag1BTKuU2Vbr0noqKDEZY3Zs95mTyqcrJOEzI3s4SU1vxGb6uJ7qX9
yS7PVvgkaqbUOyUvbg9cHpE7mVkfpcWNpr/AtKy6BDuaAkEc6tVPCcqfuL18iYJgrUeIFRVTuEQx
HHdq5Za1QWxe+mnIhGlGahznCsJR96c+/0r8j7Bn3MkjLKdvIIOBCjuL8eO3TCkmRV3W1mruVg3u
COXcG2vbv/jqUffb8Jzg3NShEK/mOH9FZT/s4uZJpus2tb7NLGLNSr82wcXY5beClC/0kzWwN6BP
EVa8tnST9iGyNNciH9Ye3BQaN9HbTXsj78i7hg0ZHZhfuYzalBHDuagOUwjwBL0qtQyVP/OssN5Y
IST2kng7e2KTA3fXYiBc6lbU5ugTCsqe2DipwDz5wssX7ASEq4YCUei6y7eIZL9M5Xg1lnU+HOdh
G/l7TZ4aM3YDjpikf+rre0QnpOUhQ0hdOTmTN6BTB1uuK1Rz1Su81lBowj5560V4SqjGjXo/irdu
cFYc2pfIqFZieDR0g+jVAW+C7uWJMC8mtV6WgjP0DSdtegksaW7aeiYDhPJ/Wfgduql64Z/fa6EL
xESBzENbJO1dRCeWZfMhUEnqZk6hMwRq+xhZdTrJ1LpRTOo6UzZp8T5PJH6MhlvPmquqr61f7Jwx
5TpwwSbvtg07xf+xuY0D0SHVn6wDgNWahc1MvsWrUehp5DEMnycLyymTjnTeOeyv1mYvK0MEEoK8
MxkMcAW0vbH4zqQFQQrdCGgfxeswWJXkwxQMsJNo05eTpL/bVrI/j8qEu6VvopJQVQTtPEW4Nlra
z4pAFKuZmDnoq77/CStb3kMGVIs+zLtzFzLR59gf0bWCUJ08RcHn4TCoiu+ULq7cvjSebDAUDB6F
ZZ7LXF9H+Fx2Na5kjCsi38iMdY6CwrubJA/sDEQ5an7o3RKdXsqS3N9pfk7mXgBvbNRWyXkBMh2p
o3atBYeRTU6lbchFpcWnXCxTAJGuIGBO12kXbYGyoEhcj2m90XoB0joyA6QQu3QiuAZ96k2jLu/a
cXofBXND3VRqT2rQw4Xt3Fcqq9Oc8Z6Ja1I/17dOudGCn8IhZT5SzzqFqFEOiVs49llrUJXTk+Y/
QKmnyyR+q/RVMj53NS/Nsrr68qITYA1P2ClsEpBPY/Lp03zV1XM4vKocbqF8aK3n0WSqqz4qDA3j
GxH0HBuIxTqf43HbHJ0B74AfVtWdPSEy+Waqbuwo1N593KoZwmkwo8kVvu85FFdKv9JvzV2HcO7P
lcMk1d4OdWK8t3O1HLQKQ7P/MEb9RvdtL0tG9UGRX34nXF4LZhVFTyBS7GWwADJqvbQhggfxUSsB
DpT4vWmy72AOmZI9l3OzrWL/STBeULqHaGQkG1oAN42ZJpvQHjUeH6jeQvEybr8F55A0bRUjQHBn
WJtU+ZxClgxKHa5Y/8wieWB40c1SQU6mNsGWA/rGOW4WHJj2Os9/9NxCYGyJJBrVbq+MoUpY8Gcx
PFsdPiFm8obh8L5L1s2UbSymeEH3XpCS3oUPOLHA3aEQe75ujofhsRtAQw0lp1uJPZOJijajDtlG
tGkpo5mgM5sablcT16u8uiDLpnTyjnxtbOU+yJ23rMwooJlfWlMmYAtu4Q5Aj+ssq59ai/KOgVts
9QcCiWOxghsP2nFtY4iCYDYQRKRX13Q7dXzD1FmRsQgF8gaCdqZDvZgW+HcZm/4Lg18OsOrb0sqP
nl8WjkMNQUcJ20vOBBkzJhH3ojtK1tK4Df2FN1XP5DpCs+iBmw1MOUlL7rB1qR3nJM1cVpiXjH9V
k3nZ9u22U4BAZrlny+kCW/GoArXU0k3baB35E3uMGc+I5yngF6vUQ2nfMYI81D2Db2md1aDYgE9n
wVC/jOyRzbsC/xC0GgnPdsu/z1E/aJaneU0807apebBMog3Ln8FnkFeMzkuX1EjPIV23wOGcWQZz
GaNcYU4YyTg9grVX2yZ15GZ2KsavoXGXx0z7qIUULyic6qB3kGZSrYGNlZ2vUQzHjRfHJl1dwF3Y
KD11KU6UxoRNDx3UQsO/WIPFAMk2j8KWVzupXNU/FlN9Z1HR6zJcNZJhsXQ5xvaJQ72CABY0z1UC
nDKMm8LQTywFRLp7RIec8Fish+Fbq+x9FjtLAtDuK/QvPu+B6W6dDZugr7YRf5bawPD3j4U6rMz4
jYN/MxXZPnLsjd+saY7D7mA++jA7Zclub6iVplBdn9nubPcuGPYu9F/9mtORGwW4JozmuzIwVy3q
tjGOjGLlY0lEXDGwlcY6W6De2K2RnhW3mr8NSK3W77ZV/uawi4n4h1vlNMDG5V9O9yyMa2d/wYGF
0XugIKTAsXVeJN4HcroNy+FSmWjUrI5IJm8oe0xkMfQ4mhsj/sQ46/GrP5wpT4uWGVbJUwx0IeyV
0oqrVtQbJ9RXNfHx7nTTYvQx2NKlr3UJAT8Vm148D1WytkiydaK9Nj6VmJG0nr1uhuLKqLnJHJaa
1m7aC4aRt4d+4GCPCWzpPh1zCDeG5m8T034L2W/bV+l6tA3WimN4yzHeZAB5WmJBmQEmWOo+og4y
MG/6TXBo+uswROtywvpnlTsdCwGmwCWBijcffGfwTYkesRPsyjYW9Mg99vmCaRltUmCOuwTaw2RK
l4XX2voQ0VWxPPxF4Guvk/ahlZ82urxakeravRb5jAc0Hj6nscBbX+avahGfy4gQ20Zvz+poP4az
Qn5BNrulM+1Fui8dIuYattvJrcpULKarvH0PQcifaWNBrPmdMLQoQfgFlMT7eM/smGeL07Owk3VQ
gJ8nSJmHrjyH/pVmJiwQhfdZcLNNrqouXrZm/GkyOB2uk3ik3o8q/9ybSFcjAQBKMABb+y39BiN5
+v9dm8CBm8NwUUBSZ0hbZ+o3Lc2JlFG60GR+1KrJm81sN4Wmds++LJhYvcUzGbXjUnYQuKoacHan
6ro0p09N2h+59m6n51l2bloLABetAcnKnOAozfEdgr1InGXvA5H7o8JUubhVR4WfPao103xaYC+I
2477Ir8p4bd0ByqbsZzodYnd0HOkrImeuAzsjSJXas2SxQi6ND+yL2fVarVr8zSTjW9IfZ9kiMut
9Hdjol+NOFwlpu4FzogRY13Ga1VAloK2d4an1es8Pgrp32OGaKPPYbAvwfRiBl9YfZHy6UItU3ha
eK+al1jo54Y5e22XRzEqrmXIVWEp1r09JpBQoa2vaOIIcMqGFVbEt2jAdTWQ0JbJ2Hi3/YS02b5i
GWg6/L9yXaRApWpCeyIrgXBWYQXuOn4nc1zNIcwRhskxf5byHfJv1j9LxAId5KH3RkENw4FSPklr
fqBn2lq8dXIVbcQJlGOPCUq0H+OcHO10P1UoHUHhRXmKtcIGGpo2yTitQxkcBaxBNcYHMy53WmDi
kRnNVVdqmof/Z5maFVMnZVf5TA2iMnyqE2VJfi9fAb6TCGK4aFZtNhyDxncD5JVinuDy59jTpe2l
xQBD11Tqezk7VshohYhX8dzYtds5nKgbNjgwuN5qwG0D2wAs3GpeGjCkPenDKwdvpz7LaWv4/Ggu
NkuK/fs5JL4Fav2eArsMrtwfhnOB55bN1qFl9uVDmVuoMdfZWo3FXUsloVYMDYx2PUj/yvOVK8Tp
ie8CSF4fE7c2Op6StARMdEpQqbgUnqrL1o2Chi9YzbNd2gxk0THkjWOvpnMPIq9Cr6mGYWeX1j3L
t0qvMYtL01yncK3rnhHp+5IJsao/tlVBCR3QCCyL1NcXVYUlrVgpqK66HN30lr5Et6Lnp3jsMI4/
Y2nbOkq+DtREW8/q/Dla9wO1WTmfHfGVjc/I4bToN0coS3EI5jXl7PpFvEKuTScTblPuKsgH2WyU
UP3omxLIONuNDGK0fCf7r0Cfwc+jT1tLmYUL3n0OuWBPbREdRkLAWUgnP8KZZs3X572Bgj9TS3Tj
Cb8LU5RpOfEin06CB7tXTKwI6iLqxhcsQ63zFek/qrWZm+acmSeUTGTiCb+xqI5hnXs6jvzYrA/p
fK6NdM3O12WNdqRnlzp/teOnqeY9iNdc7tMBlr0GF9ePNdlUSS0ZUt70ilVhY52KvPRGIaLPmhSt
UGjNbB9q8aMTmZviG7ZqbDA3SKmLSrz5comDKCSXrmk37BlysyhcIvFObEzUcNyugJ81S7pB33vF
fDSsnP8xipyPIBLxbhUVo0VAVCyJebqZyrtMu9Oob5R1O+/IjGWwv5jJQbJHDK3z0034CpZFucWh
GzGVNLcMjAxj3fanqnMzxlzB1QiWVU6RDZ1tfFe33VgMRmTyKKA74CQglcI7YPJFon9I+mfUBPgq
0SO81jh0xbELQVFYf5sA4zk05ZrOb4Q6EJ1QNIXJ6xWyovIzN2ry1TANd2WDuHGIun0zvU6GF1um
qyX7Nr4048ECGNWiU6kIbs0weS0zY2tLybf36ZTnWuQ7y0blrR2oTKyR4oOyY0tbzrgPozZzpGWT
ht7cyl3hOKwFxLhFi1u06Nqj+aQYP2aWw3VZuyiYH+Pq3VG7DN8KVodqUD3cqd6kteAPyVrEALJy
H9yuqPugTeeXh5diOo31rzP8Zd6Wj0rf3UXIMZ1NcHS9F32ATUwswzp4COLbXRFdTCfaVXzTmq+u
UF1cve62rX6QymSSiEoJGwcN2/6SjdI2R8zGFHcPMiheMGoAACAIrFjDtoy1rZ8QlNybQCXTnHtT
/2GaOuOijvFAUK7JxWKeWtP5Dx1J5barOdNWVabJqwaDSM78rohTkllCqrC8b5muWH0wrnzZsmut
ou2txm49syFMT2rcnUyeurF5jOqCp70JFDbcmWSsGK2mnQOhWo+33D7Fs+jvvaA3u62jMjgIHGYJ
hgO3KUcwUSxQWFLE9FzNJ9DORH1J6sKdG5IK4OErtOdXm1f7GFwrRCAT44RTr/y4fjfac21hlpjw
gw1j9p03mJ2nxqdG7SD71erJZuVwnXWUX0P7GeraXV2pO3nLgiizc0l2kVXIaFP0l5rBMZrarCaL
gCGYRDi2VV6LWGZG01xV1hfLjcg5isetP3wHWJSdkAYu9C9OT5mUy6k85TWQGv76ns6T/bMm3r5B
Pfm37rFECtGV11Q1X4g+EkW3zdL4VQ/w4+bZdG+zS+DK1HRD6dkazLz685ACPqm4GpYNz1rd3Uvi
esD2o/BzardaJJaKtpR2t0VdWZcEPZVpdg3Jy6JumkHVyBakRGczA3TfZLwFySnLvAA8Gyo0mqAb
pnNEqvmCOpv8ANDfUNjnbJ5dffDduFmGTfOpteWaZ8nrm3Df0TnpiXBN1Ec7Rbqu/LXGZCgcr8ZE
YWZdJVNXr/Gn2bWzlBKbdCyR9T/Z7YaLVqwtW+vWHcBO5V8Hg6WMslqXt/KCqVtVvmH57YaVjHCz
sZ/KYkbOtWI9qLQVEJEsUKnJMyrskwLDF9NfqAlhzhb+Y78eR0oJLG/4F8Mo9eY85z0+N0d7EDdP
5IXpThE/VNUK4y1e/HOEGDrRvT3Ci5IfoHDVY6DhG2PIsAqyB9kt/eleJZNFbHkssbSWzqoWb0ML
WBOvOtMd6ze474D9vsp94+/C4WFSt72/SQLhjdHZj+9S2FPHG7VrWq2m4SvPlk7+HqHKW2+RiTj1
1KKiRq8hZ8XwpKRLmyVUw0FjwCly4mly+tm5ob/PzmPGxFyqN8gzugtsCptTwqHh9BfL9PLxqPVP
uXGVvXUSgflW8u5M5ZEa2FP6I9Jko3SPVbjrnGedYrlkDp72frFsHMs/yW5wtYYfLcLj0WmYwGhW
WPlnDJ19cirCDhso+yK1jb1+M9VWlSTyE1ncrck4z9SGSrQ5OiZozxxzRM0ZM8ZMP7U1NJZeTJtO
SJSootn5dsGx0E3augfAcitsV2r2XCmfaTytK7wkU8mW3nqeCcDpI/5H5n7S/a0a19u6rDapwC2V
irWKCUCSCJPdhbd9MOMynL9C6Uo/PilF6zBitnalqtB5qNDTTDW3DqJ/w1ivHF7DhEX2uUYBY6Ft
qGvdsa99QRUPDryvTQqiCTtelb2RO3cXKjTRBZ7gOLz0ds7xO60lGTljtm6tk66dNH0rGQmhQCr2
XUqr3kwHaaoLs6rqnWGHvheH5gvaBIEjyNx1SIQUwmLIL96rxmegyU2MxyuZUbQTCHxUjrDXecT1
haXhySIgS4k/Mgn1GiLNTJqxZnxbGhS1ct7VenLI9OYaGSC/In0UQbT3YTNMERzNJtIXssSE1sYb
R4YbbcYQQcLaWEweURs9AmB+IftnoddPZYyfYVgW4s7viIyeMtMtb/ajBJX40nGr9hyu+s2pbCUc
dFVlQXdbus51tvdMt5Hmi4VPtxhqI2aBqMkWXaW8iMp/FTGyMMqUZZF2EJpfFi/rOl2qgPlOsx2j
lRVRroTTTxDH+9yBYMeoQAVlFgzpphvZma87p1vaYGyhmi996xIG0aGFzTEVphS3+jzFgZtbzk6t
CXV60Gxi5GxYoITBLspaW3kxnnh2mJu4CxvxFGi156AMtGkIsHEJ+IvAumOz8uYZbTefvioHDEQg
yRD60k8YomR2ZzM1rAFMuwikCCpwoaMHZmm+bIzq3i/yk5WGZ9Y/b8dMnsvuEA+EKnXdNyBNLDZS
nILE9IjceFH9cO9nluImIeYEqnxkSGfBDOuQ+DBO8QhQ/O9xVOot6fU3YYDGL4F3SZDPme0M2G0W
ivsxP2N4XtwiEy/DAs/gXyIT/xDh/+uO4DKJe1PRTAg+YxWKh7K9b/2nv1zALbXwNxfw66LgygiV
KdU1da8oQ3kDRLX6MGlhDIpoog6pU1m9dsmANdasTSr6EM31uwskspIxh9AHf/k7/pDqpf8SdZy0
Wl73DnTOPB5v8bkpfnYkwNXswXfhU9KWVeqyLx3N0xeHmHmD8pePtv/0Fdz+pH+EFtatbs2WzZth
NAjWJbvLCnwFQ964ZJYHLX1NWM+JdoO9NuvSfa9vB3Vrde9jS9BBww0mqnXr4FXEDRK1L1WqLWPh
fPEWa8INzy+DuZxv01pUzB6M5qKZk6tNVGoOF1Xdh9NzzjHcvOuVuongPxQHk3kcWO/h8Mg7FPMT
lkxX4jDzy5HVE90mNsUuNRrwepLf546KFuM8N7aOFz9bWMEDG0nsmoSziif7XemxVeabqqs3atLu
8lDAIhksaaUq/ErpD7Rqp/GfjSnOOx0V999/0v/8dL+7tX7ZPNGXSVpkuTKziDG8O3nZzj8X62jx
4T01m6RdKGvQEmXxLFysdbCyi92wuHaeXDCcdoP1T+B+4kE6KLDQy3//i9Tf/9KMH//7l86twTc7
Q80O04XzGAuh9Z2VK43T6SYXuox0qIj//bN+/8wSSPrfH2X7Ydnlgo8q4lDdyrzG6kk6xngbkf/7
J/w+ulW3fjl6WlHngR1FfEM/xlIcLUjo8gB1+Zfo7ltS4f/+erp5+9h/PBUGeEmgMhc6TOAh6fyR
Nn87cn5/Zuq/xiX7TlNYaVOkB1NbFEfe7BRYWH073pc/04PBG930/OfgL+tV/vA1mb8cLKIgviua
uI6E2uGpfhD3jGBvwYTFXz5As/50dt2+wn98VaEUWiPsQL8LtH5D8pkCOSSqFxYXvNS2tigdnaF3
sGQgfJNWYaVhkaN4wPem0+0RCoomlrbU/LsOEbSnodlUrFH4iJvniI4vIyfXPFfh2VHTjY1/oAvI
8p/QLgdicRVTOwJPn4dPpXxMzf34Y063D7CJgZs3WX4f60+C7M1yCSMVnJSQLLQbdHLUBolt7rmH
+sytHS5qo1sC0V7YY760r2gdc/g4mSuF0JWEENqDoEzuPJvGAq6Bg2oXvLYqPgMgMyyvy9nAyb/K
B4SUNbGX9zeTLtP/n8GGoMLQ6rIvSDnonwQbluehe9d521MRceRkyT5FRpzLE0r+WJIeIXZgvrUc
FwPReP3CJ2EsZ6rGrHJ4sp+BAkz9Tqc4ogvp+g2CGDbKZthapFF1yfGW/ZbpDyMRzcCJ2ldTcrQy
WfGBVNhmN0PhDB+mAeUedqsom48YX6lbwlBbKIrF8Rmc0zrAaWY8pZpxjuJDUEBaOacMqJWYi5jB
Y7Nsp22jGdDBV6kdO/+bFUnteNLHamlWH3O+x6gG//BU4+yzWBdTcuwTz4XXSmU+ql0TDmq1utZG
1JHnLq9a2Z/rLv/QEttz6KRVCsksZ3JA+iGJI9M+MR2X/jSqlyP5E4ww6AsWMv7Q/JxYj3IVotyz
Qb0MNpn/3ijHnPaMYVBpSBKRCVTTyMgBltskKe8y/UhlNKP56ADdOX9VMqxhloE955h0nJLWQ2f1
nv48YTHBBxg3j/W06/K9BrdSQ9BDZlYxYQJRzFvZ7H4kUYC+gonWGFwWnVszMybWL+KMscdzZxyy
7EK2kBpsHYvgpWhJAzLY+6rB3ZjgtwxeGy16kWH4lOSbXHGd8jFpL2WueWof3Au6iazvMdKzYC6X
btjhV2r0cD0WyQKkvgSs7bLi+u/n6n/Wl/zvyYdJ6L8fZ26RXjpTCShMxg/mJ/JARf8eNXRPMLA9
eLSFjhzSBsypehHGKVPJEiCPFLpiCOsF6NSo42dNmKSl/mGo7B9hQM1n7c3i814yOFUYVtAd9oT4
hxdwdmI39iGYPI6dpAOLtWoXOriyqZF5PJKt2jSIgIdB7Nr0IOSuz3aOpQLtPKTouCnIVdpcymkz
xc25Z8yYOghAZdeuU+SAhRmGFzNyPgvfdAv51fh7H4hMwTSStVeUhmXZjpdkHD50v98Y4+TqpDKM
KSHUWnA05rcx3+rtwZ7n/783l/lLwTXKesgNokAOQFEzCOHRetUeQPXnd/Mv0c1/qMt185faI6mE
KvWYjwjex8/8M/kxfpqLuKfRatW1/GwP6t8+6VY7/O/dopu/HP789ramA8Afhh+WxnH6o3CCVd9r
Bonlbr0Lv7u/5Bj/6Y18e5/+4zUTC8VSpK8kB5FzWNtLRxd/+UHUP/2jbxf3j390OPjalNpzcggF
KF4REBnXmB0+wiYlFbFREJEjQjLybDaXA0N8T7Q2mx6tpju2TWGsi7Qtdmo++3+p1H5fPRn6L5fa
kaubspNLu/MTnpZI8Bbl4IbNKohr/PfHXP7+mo3/5NP/45pzxYHfT8V4h1CHX4woxpqIPuBkAoPN
IF7IxsAnnq7gjQ45FE2Z3Ino0yefXvgzQN/oZf1xhhUX30mFEhEl26BB/qvFSua7MOGYVdEHSlwI
DXPfrPfMzPF08Ono5veo8rWPCEwnTtJi0sj7MP1U1WsY9x6TU5eXaq0eGgLj9IZxeRK9dvmxAOIn
UcVJeWeobzWbUrtx5YinMvxUE+VSz4i/ceb1IZSmSh63EyPaiI5thk+VcenZud5mR5CbsWQVxvhW
RoTXsxWjQ0CbnJ1woL3oee6G/HOcH7Ua4S7MjvWIjYlZAFp5jGwZpaXt/vtP8Id63NB/KWGVlpGM
aTWITO06FEQc4sp+EUbwaARYmXZ+RuIwcQj9XzqS35eChnb7z//5i+f5MAHXKPs2KK2rXSfNCaUS
Q0lWFA45/HlOiExqe+B3CQF60jbPf7nQP1SI2i0m/B+frIhZ4YyY9L1oalTe2c9XyWRdRUfdkkMN
5vYYYKU8mUrLjPQ7q5RlLxp434GxSscUvGC46iiR/MvNr/3pD/qlKh7CrOmDsNL34dAIXLpp6+ts
G8jFa1QopH1FqMJfgwbJb/Q2EqClKXAwJoeB0aaEv9jG+Fkn6Q2sSsutRSI/+al5k+/bActklWj1
ZbSpXLTCbx4Gx4qhowcVvuL20BETEQFrpjPZP51s/L+cYv+5bf73KDb+c7H/+JY7VYtjhWTag9VZ
pDXaTOSKVUHoJjY6t/Nt5FlEPKV8E7DPpixobch4mk6BHt3UOqieJvrOu+xaptPaAFjPQCNDdpFK
NkoGUMd13W2GGjEPn/JQl0g3RHva0TILrN2/3ynyduv/7hp+eXGNhuMrWuIURIMNiJgQV67y7r+T
Rx4jEhGSI3W8oXJj6owVPaDZEpL/27yWl6h/Hx4FPQRq78dw5LEizmk97wUwG5eP84ALYikNMUof
Vk0oy8aO35lmEz+sLZzn9idJ77AfcB9+p8XRYuxGl/Rcs+SF9vKTmlPA40y0zABnolkmu4aICbzv
bCtc4zFocyL0FtUblvdaWWRnUkylsUyaCzE2c/h/1J3XchxJlm1/ZazfoybCPZSPTc9DSqiEIACq
lzAABYbWHvLr70o2bw+QxUTe6YdrNlVlNGORCOl+wv2cs9cO6SC9pNhSnHCa+Onw9bvntI/qb961
mKy6nMF+XYHz38iz9IIC1hU9t4sIn3Fj8eBjEmcv3QvcdpfRRtEuuzBwqas2LoZdLlmGdBUsWJGe
kYHd/9QqXyKPXQHSWdrk8J7kGvnjNluiQ71B8HKdbVkkX8HFpo16S9n4PNt2Z91ltPY3iO7+1RF8
8N1z/TBo3JK7wm97CZxhK7bmHaJlyOD4wg8rAFtr95zHvBgX9gqq7fL122O4SjfsbS/hAdQnlhrW
Pg787vEeLAjiuUtHor7A2o/69Aqd0XL/iNwFiZIlCIhFvIkePx7y1v6YvzvXwXq7ITyk6f5cwc64
L84xsLidXkCxL4v1v5hBFQcfGqVpGWrE5F0FCjlBnV77gr7NYkzFiTd3JJ7+9Eh4Mxy12df+mA7e
lWXsRbIdnkh1UkLSNzYqq0+aAx2JDj9tmd6cppCqAcw/k1KjLl4N3cqeHtkf0KDibQYXf4v20idV
o04tko58MX8Ojzfn68qhr4MMeUTfYTYAw9SoL3JS9OAHwewMq0rgTVOcGAhHFn0//U3enExSg7ez
jNoqH47tbD5JiADuqUd3ZLVnHcTV0HarKbUltkqhd9fXiDfBaH48gI8lOn+uqt9cuOflfulGHbnr
poRtlTb0XqSRcvUSpQ1A9NFl2Wx6CKsr+rBurJGegNgBR4bNQ7TOnYg1J86/4NAldImu1mQ8ShUu
xtns6CQX4GMm2mZxNQKibxrxpdsK8zzzI/Oygy2yGjVCpx7NP1iywv9mC2ieeDIHtCPGs/Ku/NyC
BBsEwNIyU/3ZgSNeZtWIyCOzSwgXQAs/fhLHZsFB+KJO3sx0ouII0gJLgsJODFnCm1gI50TcP7Kx
s38GkTfPOm4cFwkWp4hkGm8beinhtkfOuvdoTXQsz1wPo9fuRF8FN3HUdBdZjgYRBG+C+K2aVwmB
7cS3+th4PYhb0ZTTmOC5I++tZucdX/i0vE1xfWJ1fOxhHsQsw5VuYo7hdGXUO/wuxLjxFWyfU0Yq
vw+65sFauO0Duxwl1g1x1lBTgNbb7nphrv+lgWAernd1nGc1XctXrg/jxzbV9xaArWiH56xPTgy2
YzaC5sEaFjFwNIvZ5CQTqYwuoac/L/uLJLdZ0UWXvppvZjl5C5j0K2HTLvTxvR2JJOb+fb0ZgTXs
n7oOxIg28bHLv5XJiTzy/tn85jNoHkQo36M23tQcN7Qu0mIPOaRn3kIDG63d+cS6/9i17///m2t3
Y93VRbm/doPOAX8Tp8WJD+CxIx9M/QZSiNfkHHlPsdPp/WCe8Po6Mg3Mg5VIh7trHhgWB85WAKAn
a0XfN0zDj1/mkTlsHszhph3C0BAc3fGiBWYkgQDbv/342Mde6MEEpmVqDJP9lSsUuCY6rj0zoPjk
20taWj8+xe8fjlQHszjKg3DuMxqNbIEMX1LUdwFhvJA7/Pj4v//+S3Uwj+NimEOAxOXOpXE/NOdg
YXmeOLd7YIc4FfoMVGKvyuh1KAVU1o/P+vvFJ/0h70dplNEGN9tFuevi7rlMpUNGXObbNAN2UaYd
ChQIxx+f6kgQkepgNrtdV6KDmpMdqqj02nycc4TiS+NufJSLU6W0Y2/pYGZXcexXeMImOy1LFulF
HUP0rf3nxKMzt4JlcMoP+fcjTqqD6Z2NsbJk0ALFRWKA6imLP3vjpTEhEWy/9lF1Io/y+7ku1cFc
r3Mjs226b3e96cePNS/+MlBlcPbxK/n9lJTqYMJHYRKqsGqSnR1u+vgh6W/M6sSMPHbog9lOXV8b
gZ0lOwNiau6N0IvXdXPii3psrhxM98FjRWf1PJX8M8z6An0b3DkLwONyBpt7Ks4eOYt/MOMdmfQ0
y+6fPeWtftv8Se0jwTsjWIwgT14/fgXHZoV/MO8n39L9lHGWBOJYs0p6DCpgWSzQJXbGRYCQoz4R
wY7dz8FcT2OdYhLNmWizRqdAwhIts9+uIfA3GGacuKEjL94/mOUKD+AgLaFsTupLn33LshYYycvH
D+vYsff//803VeeOCsY4zwFJ3PZoj6GURzo+8XiOzOifyes3B0cO10pBk//O3oHM75D7kWm+Neu1
XZ6IgEcms38wmW3d9X1fcIZOf4YKh1ryxKUfey4H82EqKr+KBgMByTzCOX5p0c/qExHoyKjxDmZB
YTRDQvdRukvECh6ICaEDtN5etrGq4Q2esjs+8my8g2lgZ9VU+PuySAm/zhA3Mjv/eMwc+SJ4B6Oe
Nju7ceMuRXOZM1xI1Xk22XeaaZ1CfP74HEe2StI7GPTSIufhJ3G6G8IErLpb9NONZRQdfdCEIysi
nzeHe6S1KpM1XYnDWs2FPGPF8pxq3zizwn44ERuPPciDOaKcIOoKt8p27Xhj2Ff4PZ0YZEdKCNLb
n/HNBGmjKfPrLM92FUgNRSkUlQQggUX3Enxt0RNj0naqfejYTRzMlGq2usjP62yX0IBfe591eyKC
HBsN4v09dBTO5shV6c6fja0NLqch7R9jeOCd+qbux9Vf9xbyZ+vbm6fUZXZjVAVn6AzcEzQcmtvA
+KEbyLMyWX083o7dxeF8D2My/A79SAlS9M6+TwNaBehyKOdTFvVHXsDPXPCbu0jdcnKtMaICLvLP
Wavppja+fXzxRx6QezDTo0QaqpnTbDe/9A/Wc/Uj+Io0+ONjH7vsg8mupe4z9O7ZTk+uAw9PfGls
40QO4th1H8xxDS7nH01gHU1g2GN+djfR3ceXfezQB3N2NGnJrJOQmYW9B/VBmj+FDbVnTlzs7yBB
B5n6F5/Q/sm9ebFelbtdqHlCKJEwL+uAZ3x8D0c+n+7BlC1qfOkgAjJiNI00l8XGvFXFZfV06jt0
7PgHM1d1rVP4IWMef1Prgbr/3nC8QX29oIPj41s4Vpt3DxatfVXGkbnv8+ucRX7dPlW3xic+GPK7
XIbf/LNlsKZd+uNzHbkd5+BUttuWWlZWuqvxkaU96mv46Ox7lxboDD4+w7GVpXMQJVpzQLmOmeGu
eEHrTbNb5i+yL+LFuwu+sk7++CxHZtyhP7iqS8/EUiHbeRG5R5KhZdOcuIFjhz4MFJU50PPO9Zvk
anMPS9MkOHHVRxZM9kGcMHM5Neh/GEwz3R2FgbJf9tUIKXKoVx8/mGOnOAgXpemBh5j7dNdD80In
D9LDJTF8anNy7PAHISPvigk/XT7GeU6V5XKKt0N0IhNxJBrZByEiN6XGUpJDD3cguzHUaVbjU37/
8WM5toqw5fsANNaxY/gDjR54No4P/S0dF3s36Bv9vb3pv7fPJ06zH+S/+Qzb4v1psjoGf5FyE/i7
4R0z7b0jFmDMrG1MTQXTZnlilB6ZyPbBRB7jQAUxbZM7egtgcDka2OB2CBbxS3Xqq3ZsJh9KH/bm
1Ta0Oz6ZEfa2GK6g+CH+rb1mQ0kfxr9/qgp1ZM4d6h/qLm+xXeax1RrClHHWEQk/fiNHBuyh+iEx
rXEOarLgvQHKDVtl41sJKOvjgx+77IP5LAejmxUK6CsN+c3ksxBYn34e+d9fxv8IX8vbfwyZ9r/+
k9+/lGDV4jDSB7/9r4cy57//3P/MP//O+5/4r1380pRt+UMf/q13P8SBf5149aSf3v0G9Wysp7vu
tZk+vbZdpn+egEvc/83/1z/8t9efR3mYqte//+2l7ArkaZ9ew7gs/vbrj87//PvfxL6b49/fHv/X
H14/5fzcQ5m+Zk/dX37i9anVf/+bYXnWH5ZPa5+vfCUcb992P7z++iPxhyNoJ/J923MdVzAGirLR
ET/m/+FIIV1aJqVre7a7r4a0Zffzz9QfdKh7Lh46mJIqE83A/724d+/nv9/Xv9EhclvGhW7//reD
ZjOH5KhrmyY92dJUjgOa7H0EEB5C4NmtzHuKetiQFuEq2CT40ItLPBaHELuUT1V4NeGbSd9T7l5X
+bpNNhh+0lXxRSEljq4yRSMukq+L0G3XwbigDxxH36Xz0GxgBUIC7JNbb4S7sOyyVUh3KgBATIbd
277bqWGLce4or2qijbDP3dmih3iJByjd3UnwGDXfTKClWChs4Rnq3n8w3GqlEUpbyYVT3Mbxd8P6
5hY3o8lX6qytbzJxU8CjMFkk+O7OSj+HdgY8ZaZX9mwKr7Lwvh8XEf/WOPldONapmXvQNfDriQrL
4pUj6HAPU+AYBenSj3Lzvo2dr04PgWEMbXDhs/fdA9ufarUq4YAMX4xROztPTsBtBrQGb0bhrxf9
9sUerM72l+HZtuNayrJ90xU/m4nfLGHpffIr2drzfRqJz1BT/U9OaMaXpbx04uTr4JdPLta/uQlL
WeDjIsxKAN3NpvsyMVZzbz1+fD3vAz+XIy1aUXkgyt9fj334oS/hnk3SH+4b0ZhQO2KQebP9Vctp
mycg/qVlnCNasdb/84B0NNq8i1A31WsBL/r1Ve+eqv8FcQno9Js3sI977+LSdfzy1DyBHXsbmX7+
zK/I5Is/PCk9xzMtZdJ6uN+8/opMvveH63vsnVwCg+8wjP8ZmSznDxNCg6WUkMQNf5/o+hWYLPMP
z/QcSRjxbYtX7PxPAhPBr/rvFYnDP66vTJcKEucXqN3exyUvM1nVokXZNNga4j/nOPeePWsMvor0
RCHv/Qru56mU6diWzaj0hXNYcitdWaFuhy0weNCcc32XVCnAGfFgN8Gl9oyzN+/hNzPzr6fjkVuC
bkDKzMyG/Z2/mZhpZfrTgGp043YScZG/xpmVJiYLyVcxsXjBy3Lz8Rn/+iw5I294HwYUX42DM/ZN
6zRTxxkjG97GgJnf2MOpzYpT2+WfbUvv35pn0oaKipqRwK8Hy1anKpsEJkKzqcOgPZNNmq5jS+ME
0lfhdFFaUXrpeK1+cKak2hRFj0p/uOdI33u7+ppP7rYoaSUBE7qP125zY9pBtXbh7hROnX5yurw+
kf87WCzuh5lLq6jyeB2exxNiPL99G4kwhYU4AdqQocGL4F2bt7egcBHQAknpIwBGvSNpvO5RIs9D
O6w/fjc/m4jePbL9BSghmGxQx9VhOXkErSXKDOObxKKValkgIbks7UBs1KhXgMFZjytUKljq+PR8
I+69EoG6GLFbQiALbZP4rc35BQPnUwvp/a0fXJmnfOGZdKl4TOuDKRj7EUp2L8cQHBPXbj0HNAJi
vIEXie6QxLhlNa9zWTWsrYWDzUde2fL246fj/iyEvL0IApEUgpji+FIyaQh6797P7JUAxhSOG0MX
/jCSyfk+T5MTLVXumecGEndAxiTKbos4y78ZQfMQDFgFBkYRgucQQ48f0cxzE77ziR+rLkxnNje2
r+yN9PoHQIT4KvGRXvrMEDTi5UMJW31ywvTrGGxEL33MQ4MIzx6gtjHGGqIftpmBFGCd0GJTreES
zd2VKGvLXgd2bz67lfb6T6HMrGe/yJLrIijJXliTob41mCx/afnni1EG5vM0l0N13c7N7K0K6c1k
h6d6vIUfD/uzUsG0aatEbfENAL3K4oruUOQGl06eFzAu4CksQCz0rzENTdBwXbipMMyb9KnFthX8
VQHhRdipXNfjOG8LjZtuWtSYPMReOX5puwmVEHan4L4dt1fb0U5AgruNHKhXuBh0t7hd96lRveac
7EE6GQiAwvezq6i2UBmnpv4hpjEB/WP5wTXpzxJyI3beVSpMemwqWF5gnmrmc9zPfbnNqGxfycbT
PyIxTGeuUaovhQpAe3ujkX8tPDe4LmY17CwP0UNvZeIcMGQKyLiy+1VRyQSxTOqDtWwc5VxEbE2w
ZrLBTRQZjgsbOMQAH5y8c4BVwSkBAOyyvgRQ0HdbuFg2/Q5h1WNz5blXam5BzieZaJ+rOEKq3znV
dI5xBA5WSejxMn3wm9CC6ZUDWiWTSG94lixocxvj+Qs64ptzFcYVN+n4KQ6e3aDr6bxuHCs9Z3nT
rIJY00iH84O3iRwHbnNdUc7Cjyj3cQ+Pp/BMTMLEsFKm8nLuXJwQi8a1IDBJjeDAScxVINvxSdh1
0i2spIISkzaWctf9rHFRntvQSFaQvlBKpykE7dSuFDj03HgIS5o/6RvAX7CoC0uuu7Q34mdn9nW8
HN0MR/XcqwTgrMZz7kZjD872w264Lts4+4EJmP3q6wA8ZQuldpkGXnw2m0C8a7SYOx5c8qPp+2rt
TP5tMFEbkFn4yAZol0a59+esivtKus6jV6CkNLK9hYvEbCswG+AUud/Y+KeOe0IVjmvxXGeboZfR
Cu6vezepHvuCPcrYSVW4su1Ins2VSbM+mrLLyKOrJOtsnAdlD2DEBlOciCQDB6LKx7YOy6cgKVhY
40IiJE5EGXz1ZT6Bn+1679kMAdeLMYbc5uJRPFslgtNGG3dh4LfjIvGHajFG6B+tyb4r+/HCh0p7
OdjI4I0Ifm8WN815Urr2snRoUS+ldV0a+OYZoruZrO7KEmyCcqU2YZKP54nZWEhW9Xw2YyGFFwgA
/ZYKUG/km7LIDMgle26nhdXL2GrrHPZKfs7WodrRNlFg69wWkIZUt8ey0qZTi1sxJD8SyxTnVowL
pBMYzoNhWhj7squ/HJP0uQ7nYWcWcv4xJlb8mBM3Efzm0XkDn2PVa+gfUeYupAcmF746BD4r9kG9
80xWlachO7EW3w5J12zbsDeYuKiuF0XfzTgdTugLKtvF6WzIsy+2Q+8TphQ3YowgqFTwtOj1iXyw
KCnmgA2boFVTWZ+GOHZS6EiDgtJR43AyFBcF3CEQe2GYMary5hoIY/QpzZMlTNxvdopzmtuVxaXr
pB7GlMnsIOG10uuAVslL3BZ6+PZefdFHuluVMcpHg3rAudyjwwaYVUWZxddFHt8NsTUmCxe4FYJC
G5mL31bDdZ9N3Y/I8OXFqON2a+5VxzoZqy9dI1WwEOGM/XJlZasmBHWj4VI6SnubsGr/BJYMuko0
9Y2VNhjx0f5qYIEWdT90yLNeZCpB3DhPDarogWXFgpZWjNzsz2OB363pj/OVPbrqrsjVdGG5UEoK
ZcOuTTz5OSJY4ApZiq3RVOLK0sDfvBqhoIOH6mD5+bYsZ8Qi7fxJGWEIXaRbQOmGAC4oXgKuV3aM
jRcrldCT9vd8hnaSSV1cYLernt1Gj9+zzAeS7DlQ32OjlFdaF3sXgJjvCtSYaVvlElV3yaowSWL9
UE4pTstdMAAaRwxeezIBdVpb69AOp/MhUs4yFia7chGU/VnoKbhT2NGtrQREayCjb00UIuFpyTnB
SZ/aaz7J9gsdQaDF06a+MjE3X/uxQG4/4kdRR9G8jWP49rasn/tivujL+Smt4HsXAaLeiluAyxA8
t4SntY+OXLVy3pqZvJXdHu4TNU95B4wvrJELYaHenldNuMazr7mlmHlD6f++aEdMmyrxEkr4RL0A
Ux0ViPvNIB03oWVhIzQZy7qvvIWTZOkyN+rnKRuamybAOTYwYUyp/sKOvZfYmrDiTbthDUcP0Zq7
N/0t8u/5FEW381QMy6rSxqvwEgjODtTlmfZ4P8rWlcW3zRjQ9bh1ZZ3rJo42sYrUXdfglmfHPs3B
Wad8cMMaXbmCNr4wKwJVZtN6nkxYkgbKeqbBtHuKRASbHguK8XpOQVVFI2MdW7vG/spqw72emV1Q
hwRT5mzskuwR0GadrZTfPwAWp3fNb+VDn/ldvfRVdwvku6vWUbq3GixdddOgTqLDI8ruQVT331Vj
xDdYxNPv1tN+EF/OdNhdDVOkvs3pDGXXopMJPzRDmJ+ZCfF5FkmqHJlR1K+p4zOEVOTor/NkRXd4
toykmIPQW0HkIChWXWoFS4ZvAOe+lw6NprPWPgB1v2YtEcu9/XNlkpUWkQ/amx0qTgoiDWt8qadG
3NByXd4a89gh4cLc4XPggj1dVc4o6rMZtxRMDiCOP5Qx1QZ8Rge0EG3lJp8xr7HpvfGb9keLsK2C
Pz0iE5OpjxaxcVoEzfXMWi9qsu9lDc/WmTOiUGVYV7msbZCuc2lfpDL0gosyT8Z26+aNswNOm/zp
Zj7GzyEs4vPW1fIqbyL/rApt/UlNuc8s5Pv8JSEGLFtbF/e4YmBxZ4+XVUQ328I1dUHIMgH7pqO9
zfNguGyTbDgbqrDaxZO2n3GWYYWJSgxIOCAt/0eW1+OWUT7fDV4YnBWhRExYtbWkW9tFYsC8t7Ct
6Ceyd2nmYR9QzEiQu2wOsStIp9tEhG7/KVY+nsVdbOZ8AoFhhJ6WHLal7WrsPORWrsKweGaVA1RR
EGRKnaRXqecn49asChhfQ652Zt05EdRjrQE8N0nEojaSRZQ/onIdXzy2Vq9V50/3EN1atdJZhYGf
VSsoOyPAOni3pvkctyMxnGVSeV+HBbilvtkHg1J1k7MkbvAVnkpQN/DnSgBoDIjtVJfGta7HCe+R
fMxgIw6I4gCZfzUiob62HDtak7/AVkJn/Z3FHuEiLiP9qYjpdsimTOMtX7dfWr9hseS1M1pa0+yB
RE+TP7Oo6oJ+YYTz6CxrU5UYMckyxJ4onyVej8HYu5+zGDYC0gNnJ0y4/biOU6L2VQswj1cL/3RK
QID3ZURTmRc5TfVKhG/0TMeslftbCSPBfzBBVWaftYPp84S7Z8GGUGEinI2O/pwmeXibYyWULOj3
Tz/VoqGF154SfTbUsqe7F6PaqQYfaYSgQudE7xFmsYi2vTD4BjYVPnAyU85lWLTcJVvx+n62hvZb
ojWmcdYQez+ESoezdMI8x8QLrx/N9nGkLr7wVDJ/0XEVn4khy7ulm+l5C4g5WvWhKs/doQ3whB7F
WWTMDQ6RcwTqZIKaQWPtIiyaehOUwbxUgVf/KZDUdougDwumTGc+zJHX3f3cQ/5/q0m8yxJuX8t9
3r/9X5AgJE33ZrP9lwThQ9ekoDHjVj8d1Dv4sX/kCF2XPKByhe+a5HNssReR/SNF6Ig/WOB5lqeE
awpyfpQ1ftUubPKKSrmuR5WC/mxSvv/MEErnD9JQJnlxKg1s7P9HCcJ9wvi/EwMcXXq+tJW0bIoW
dBFzmreJgT4IZZGxSViLqmk3g421VkQyHFXv4GyHOupOZAnfF83+cT7fMbkzl4y6PGzIEW6rCoU9
2zpPazpC2WLPK98IiUBv3sJv0oMHGalfJ6JkpEyJaxbZl/c3JpLaLw1f+EijRtwlkrprs23NomNv
Q+VZdMAa0FBcclQlvgpuYF1kqZIV0B4UNCcu5n3mkGvZF5l475a0fYdHfZAds1mPCIoMwToy5/TM
r63wwU384hKPBSrSH9/4/oW9e6G25fMiPYigHlS3w97GEU53jUuLWnfjaFCHrs1b7eDkp3uVf7F0
E10W0RzfGqI/1eZ20JD48zZ9RqzJHUryzocp2cSMUsciB4LZizVcgb2M7ijuNzt3KClLWb2JvMO3
XHxqg769iXjO2wz25EM7sphemZUbYHBb5o8fP5CDStKvy/JNSG9Ssq07lPFZVZH0hu2otVPW1cZP
I++skBPYy0nATodNDzBtRGzMQm1lVN0I5NkoLmWFw/3EQurUyPzLjOMFgXC2eU4+VaXDLvsid8LB
0XvwMBk4vUjS2gUdkTRgMIZ8GM7LMCSR/fEz+Mus25+TuU61kwlvHqaudU5SWMwG5xxrfZVlEMvc
AguOj8/yl6Hn+tL09qHOpGzGGHw/5XBBbH0jHjFZj6pGXndWryN8WNKugN9p5C+kp1J13ovCq85K
trenstA0+xwMfoKKAjXN8FO2pFZ2MOkTg11LE1gImcd9UWTRklOje9gjPb0EC9E99cI3v48zusWa
Lc2jnZpWc6UmVeN8ze77CZZD9pqFezJVFuVOsWax3M2biFINS7CYtA6W0PRhAu9iGXRTCDe7GRLg
3ViS2dNDFuZm/Tj52r0jN2d7i9wOxQ+7IAl9Y7Q5q2rXhRf3mADdrZLFONa0fPsFqzAg11NDb5an
M/BeRpS2DRRx4cNirXtW9nZjiWqJj6i6imku1mujSzHQcVlHY1qgXX2bpHHMI56wE65dx46WBaum
YVuKNsImxihr7FIpALnuTU0D9GdZejH+ROMeMTq2ea2ec8yfMPFjzSOpSDeV4cHNiApScKWZAoZq
W0uzF7AEBliABy37B9Aae7rvG3jZpCDarL0lpzn/yCdyYkDJ8+ilNsmsb2Tk2Oa69TOfsvQQgyXp
Za6tBbMSwcYwafF9sD3aZoogmr/HQrckIOfOGKFID0BZmqHS31JbKU3UyOn9Gkcz+TbMxmivStvc
2xAKTyJdtvakVYFllX/pxuBtFkNVh2yKa4LhIq9lrC7NWDYaX3eVIHo3FEWWZBb4E8yG2dqrFn+4
fOsGvW2cVY4wsDsV3bTT3mDvBNZNJCOiCg4c1AkHwm1QkRzzpEv7yuyQSK5ajTWtlHWEl1Mf4QE8
lS2JvaB0+x9NqSJ4x4RF98LMnXL00LlmOCx4aSO/CRlgNufM7hDdRo5ZmmuZNbnzqbWCBI12RA3l
eVYNa9fl0JTF/VTFgbUvA1lqV9J+EHtbXs+Y4F0E1/NLx9Mbt6HD2nxLhaP1SW2XxAYDRkdNr+Q8
YJts4VFDEEKVIW2nWpN77m2iJOmaZT0GjDptazqZ/MSD0FU6A+qQLrWDF48saHqRZiN4f0y/9rBk
vvb7TasiDTC2PZJNzxcVNz5PCrcmBcFjXbYVyZmZBDjQgzazgst2lLlaJpZDn0NjJ/GD5e2ZYtNU
DqtO2U66qh22hMsyVi6+f76bbIN69Nm3slgGkQfhp1li+JpmK0tn9TUOI8hy4iLqzgmlBvdiqxqK
e53ZGn+KOXuKZetOW1WnDd0XI/4w0Hgi5NfCSsRl62Jmtd8wTq8JvzylgaQaxBLBEl8Zrq6+mqKi
oOeiMOYSoJfCbXsevDnbEjDa/nssC8EA770hfB6LcKB5IxkDh8QlHifb3h/Sb8qz0mzNKmg0tmqc
o4Qmz8o16aqoWsCyYYk99SwHcwS9ASZ9H8ewqAYUG5DVknJemfnAbmf0QjYG7D1xHHKyhAYnr4gk
ImhduYtYF2z2i9pT/aKFOwTwogPxus4CnuyySHGZADFeyqXb+7G3qLMhBT/qQIfC6Nb0v85hHF9n
ogNKVFWxCfEaw4V+hW9eQB8KjlJ/ZoEtzocYpQafL9u6Kueo+R4lqZTbbPZxq3ekNn4YZR9CLW0m
jOXrMFF60RpNiHNIaMEfHBLZX2Up6wOoTF5tns11AAE9zkPHTRC5hQ6Z3inGSGXJS8NGS1C7vC/c
0Hhqc9e/waEOF3djtvBjTMtS4Ikaq0SvGgpdn31rdmiiEf4+kAVpVd5n+FoA04iCAHcU8vfYKllW
MmE6nmmga9hxPsw4XTtXYmbfiPWX0QdkWS1YX1VcwdaTQVVlG3ICvBu/6FV31duOP24N1yPVrVIg
z+u2yLIvRZ+JaZVPTU/LVDh47IWl8UpYVvi7BqGB4D8S8k+VsjxeslSmY9OKtTVDzpf9VxbfNc42
hS2LNWHY0pdxgb3YWUNSyjhDPdnK85lcdHkBzahxUK8Iws3CmyM73Q6G03gwHQs83kUnyDynblWw
R7RLGV3JytCvoQlA+tMsNfxGQM/eXeMqqFEF/iDdldvW7q7yqfGQJwtAqzT8ck9WsxPb3Kkh5yhR
JD8MpyINhQ0Tnu5e5fiXtCU2/s6MbW82MNaoGwvac5/p6nJs5rjdOPHYg8mvsCDKdQUpte0nHOTM
GYZNl5G8YMcejGBPsgCLr8THDqsfqlhibg8/cJG4BbeYBok6L6ifxAuN1vmqZL0B/bktY3OVlFE7
3XheVZmXU1A78RdtZE15VdtoGq/LOY0wVcqU0awGRK0z0OMybAtxAyZswEsBPy4NnS+28vTM1nJQ
ahU1Ounxf5cRxjg6txvY2ME4iJqnGSaeDwNSd9ZXvhS6X9lsyd1LmpErZKaZmenxohniqPsqHUHF
yk57qcnTjcLfpqmVn+OY1uAqP9R6epm81ituLDeEwaMrA8qP7dXlAJSI6jAuLlYVdzdVklHhGhi2
X5qK796yHmSBXbEXZ2JpjAn9QM0cTo9Uyopx16d1YNwWIqYEj/0EVMfaAoVU5oazM5ogm1YsFTID
j+k8Du+VYYS4WM55fdWQr9QrMTYQDee+ypILqIVh+xKIoQ7WpJvI/jQVZCtMpuxiuHVru70NvCyP
vnVWHHyJbSNLzjIs7tp96RjSf1S7ACdlxJT/UsLxhrCfmmG88fG5YWkYu5+0NfKcxw7nxo2ZWpSb
VVr4N1NDTX3ZziTplrpSIUqFWmMfaTVT9jWqAkzvHaslpgRUPiGt4eeNhylrImCfrh8Y0PSpSSzK
XmHBMnmVerHjpH8c075w162h/FtmvngGEh9doiZoo2U2utOf4DrnO1UlqbswAtncJ3WECnOmvHad
BK5XXYZjMmavdl+Gn7Ry5xDL8gxs69DtXZ/Nng8SSrvIILMcsebrUjpwwGKFqfVtKLQL+CTOdXPf
OpG5S1wfJqM2bBQMFv1cGmcRjcVPJDJX4XeTBiwozCi/i81+T4F2PPbmUeh9MTGyNdY686kGejJ1
BHBr5YCH8s2mPncmvu3rfvLAbSe5wnmriYkFIF4a6qiIGjEt90KzSlYU0wyfepbRDytWLHg1Ca/H
drHwgzg7SxPMFlchmYh+YQrUkMR6Gf0f9s5kOXIkTdLv0udBCgCDGYCr73TuWzDIC4SxYd8MZtie
fj6PzJmqrJ6ekbqO9CEvEcEk6Q63Rf9PVb9UJQom6VD59OJYoWcGFVn5y4tSr932S0262BitXwur
qFGUbHkMG0yGhZx3iB8odQv3VeWh/mzbRTCeN773lZ7KrNmG2Zp946rWmdt05XQ2bjq6EPVjLFuK
NMYmKQuaUGZl3ngehugHArvs3l239+0VZ0cyxvcaBYyDakEdRQE7GRTyCnEznmhAZq6ynPJKZu0n
R6P2rimw7pD0J4Ac66AS8TNFOCq7FtRye2T2LiAmO69ukuS4RoRqsKBVvtRku3DOjtkjm9T9Kf0u
qqi8CBNeagNrtZG4Cm8yO04fzlrmxNBO1r46eT/VdzHHVZrmfE29by3K8pAtM32I2lnK1zBJZkGG
mqC8XSxBFW0l59d2r5Awsn3oVYpMz8XQ8+56FIOohNbZg6QQseef18xZOidgUs21K/npSsw9u5Ly
JiCcCe+c288uUy4Z0o3gNkl9WmRZlEfS+EuW37oWX4kakOFu1YH4SPXgvLPZBIZesKSi4CLjGrIt
O0YXYVCMxJbJS/dlNOTxckmzpUKkTmd2ExE0GYG7VajNIVTLkO2atkAb7yMx/0h7h6iEtL10PMbk
Kj82Br/2camKIWACvIyaWu6KXbl0B+jFxY9NuuvcPvzu8pxQidjxKafjzuCQ8eNqZoNK11BtfHaz
HzJv45sgCWNGH1oCXoh2tZwru9y/zFSH8JFy3rI7LbFhsDqFnnkTSxqGh3a6dCHKMg/VVtQ8Te0E
Y7FPbev9NG2DU69tXKri27mIi5NP1/DCdNas7tk4TvCO2ieCU8Ln+C4zWfhL+gW/Aa2BC6VGRew9
AENcambKnOdjDTp1Y6OOERmxaUV2teDb/OUNLkvNIPKZb5v2cX4Uwey/mTicp11kHCZjxXJpL17r
PLxZW+9COIVlTd9rLCy3+Mmb1C1DTzpjaxPNvAFlwCB637oDWbVQQSXoTtB33JnMOtL9PmULC55L
GNEMaV1vVvIeAnrnQgeemG9+hMV28oNP15mzz7kYu5vUK7M3pJAs2juz5BJbtSlPVK/zMdglgPWf
zEcuVaQrKcdH09jxfSxKV2ybaVy/NXMxxjseVcrilqUgnhmWZY0uvTGZOC7GRQEUurHDyW/8vvpR
S5U2390qmqsrJbUrTxltBs4pKyDYaK7mdH1oJKWi96xPatxK/oD+N1OOf2W8/1uS9/+f1Kt/MSH9
1zT+6/rtZ/mfJe3LF/0paYfiD3S0UIWoljCfsPf/W9KWf0BjSumiNLkC9NT/h6Qt/5D8AcIQojXs
Zshf/QW9ivCC98sY+ZB8bxcR6d+BXi860z8kUBVHIQcumH51UbcR9v4FnzQDrcaZqDISs3NuKExr
j7PTg8iHS7lvBt9/4fJr/x+M3d8xv8s3VfzSaPmc+r2Ante/i1+YQeOwCCB8lK3J9ekpvaAWxSiW
jNYrExYsYt5vS8FkcONU2aCgIqvZ+7ckuD9/ChwPqHxewJsc/utPMc1T31ZuceJsd5XTBJNApG/S
1Z+2RjFX99cXmOTv//Rw/J+0dvU7vOPvLzlpyJgg0BZdT3r/qrbnemHkL4f26EhDVbMcbhZ625en
kXhZ0uoTMT8qY7l7JUrLH3nbobX0LL7b0LMLq34xL98hE6bgg6Ga/8YJu5tODJmFep0vbMGeYYjt
dp6SjT5lsvCrZ1kqC+Exj9XR9HS1iQ6eb4y1zY9s51xmHaseUIfv+oG5MiYdd/Z3rS/b6TrJS7N1
FiveGmJDtyBr5HbDr+od711fXEGWiGpbzFNEy3vKyn3Zyi67gWtSMu+Zj76qOGt+lpi+SDB2gm06
qKsVZJg25Sn9CUOcbFQtqhMmVbkjwS0++sCVHXhAPGVvJVNn2l1Bpmg2TzquheYZRbC/WhD57pkR
UGKkGvdX5dQk+I7NM8na6hkHhnNKuktznuvZ3ZjwTYqw8MkXaMpj2C+/r6f3ql+pWMkc++71+huX
6q9OJYh3rpV/jDvhcuxLOaQuJRAOt3Ru/6bapJFDPdHo1wSwK2KOsTCob2aJzhcih8MhvyKekuZn
Fyn5PRq7jpK6eXSfxjR4q8NC72NHXM+ys8VhcjDk7PN+Zr1vOBWfbMVd5dbapr0PwrTfLvXYH73e
WX6ufWeGK3IiA7wkdvTK3RJ3afVgZ2coty7lMfeFJXujrSQlXqrqy+KafzzdT8JISpazxfCmLCr4
OmcLpQtZZIvwHId2Cu8z9LgY0LHELNK1Ddu1nj0iFWlTrvsnP18n/Sx5o+ZTVY7pNxs7w3jb9+HA
Ft/E/lkhbZIZGlPjtzd80CLq1hc8/Os8UWVAnEN4C+JAjKvECmavUxubF9Jy7FN2mSpvPAcFgkRp
C4cHoJbuM/BpvZn9vMY1ExV+cwyzHESCwOjwyS8zJU4hHVzN1TzSxn0A7fG+x3NoX6u1WVwOmQ6U
AFWGkbftplG6W2+0FQf9toAtJBXXU/fBFC1QjCLIuRdFdbZKyL+SDkOe4ynsNp5mJ9803CYuLLLR
5D6j6e2XrO2eShN0cuerovkIWVopkSm6ytknTld4xyDPlierSNm5qtrG615GQ7sQ+fwL+29dlZpe
ZWsadvaRYq5tqJlFbEcooIByx0w1h9kULRCRVUN7pvYxIzrYAZAyxBZQAVCzqOwAc1ISqIocya1F
+eifcxKDlgNkNCW7herbbWaqS/9aDWpzpsaqdq9cQqz4vYjjvA+prKdijZsSlRO1iJJ95Ba+2aP4
X1DXSAXLe2EzNdxMYxu/zqoU1fO8xnG1yws/eumbZKISVYnnWLoz173GzhV1q33Ja5zl0t9Njc7L
dz7QtJimpS/Tt1H0oz7ki5MVmwEqJT7VpWhuyaen6DUt/KVikS8G9Ww7p1ffAXoXd+/Wyxye2R2F
3gfIbPU1xpKBsUjIqTYNm6ne2WX1KwJQYm98SbS/fEcy77Jrrblfb0mqaFboAeHTk70YPRH5Ea8H
kJbpWgxN9iTnepJ0DUTdtAtQuLMDAXTNd4Abavsal2str2ROIaHBzvC6FFIzjS18+wwpGYFSImq7
VwhCJWIGiUTNNR9akdxMOUraHkVzfQpmM1Ge0EvutgYwrr3z5/pSRhH707n3qKzfBf6if8bI3HrH
vZMeR6wn49EJKrnuFhag7+4Y2PI45qp7WXTg1T86X6o7WY49xeeV0cPGKDGF+zAIx09/pt/+jCnC
cJWjt7MHoKc0uwzrS7HxRKHGzqsYpG3nJay/hyAZj60XDgNibpzN244pKGXD4fxZVbozmwUmZO+Q
UdRvRkZZmzCMnBfprf6D07jgcVmQ0SEf1WBfVHITZy3kQnMr5JPatfNEz+44xB33Hib453EopT7q
tJjtIwjm3N56XTmttzpJWiDkLs1y5i55x1VKDfl9uExNdXT6sNXbZkFH3w5KFCVW/CII7gAiLW8B
VWoPpay6e8e0ZIm1XUdEDTMUWlYxX5TTxp95cHaEfPNSO61Pyx2ZagwajJz7CTl/Se4zyNkbPbY6
fTBLTqtnyxz6qPlBPlg303u/gkfbOHlVnWXtZsFGm+Fr0K6UQ9fkuLQp+xdtrKb5Sq07RBf8Zn+t
Rk0bixzz9qVIRUcPL2GWh9YO/nsTxv1nb5G/uAR6AI4r0I8+0uUaPRlLvelmZmmvhHvj+56+o9iy
G9/iwp+brc+wKTvQ9GlfS6obH1C9LaxTirnRTknp8YRnkXucgjprdr0a3ODoTAsZQb6zLBVXYMu8
LpeLvWM/vRx8Riw81yXDyuTQ9wuDgCl1m/gYlLMeKPBL1ksoYPVDVuwUtMSvdXOUrDAkSQfEPlxp
QA597UbNkJ1n2s75S0NNSVT6u9KtnOiu95b5CWUp19dRpMvsMI3EgUC2B3R6toFpj+1CXe62qDyt
b1vqNFe6bHSUXMecAocrAMqEc0EQtD/s7I43UeEs88kSmQxl5PXylh17ivf9YMPPrjSgwcuwDtRU
V95K17fJk59kn7v1tc3bOdqBl8vhoLR1+0NZxCnWg9ibfhbLmFKl6dJVeBpHUNedbznAbpaMPBc2
nhTTR6BJ3yvV9BN0CRvAYMfvJpT3Wec5162N9J4SjOgDGXZLNPebCcQ+lo45ux2+59zHiTrE3PeR
manm9cx5Yjx38szg0UraM1ZQiIbulqsoW6LrNBLuPOuKm7Uaos/IXvzkXGN/+VmcnMspa67IJAlO
CEjUmRkUqrafuo3jGO9ONKX5qcKajkWii1+duCrfU2CDlLJYj+5tkjshfd2xvCHEwfthsro/OwLW
oIt7dupcgKxDU36gV7uvheyeJo1nhxIWxpPQZpbmm/FpjWk99Wxz6LvqJhHio73otFV9+cQ5cHVj
aQaaCWP/VCx0BxXBwGwxN+kRxf/cD6N7siks5oJHiZpQs5wy1+TXofGKvaOcehvGTrHPqaK9q6L6
nmNQuzNDoQ+BGz1pU3ICGCbvCA4OHh3f9ogAuyQqcdc2xzJLu8OCF2QXVc3J1ijkgbwO7FxSkzx9
jUA+79p8MpumpcqI9K98E9RDsRezjm+ZGdkDg5LxxPLwy0LDHlGDPoYUXjAtkpMbxl/cvo43ain2
sze292VC0i+ZPGf+TXJeBt1RuVl+bVNWZzzS/rFcSGKVzKCy4TDE9SMHZMqUHPcxIZSeUYc8pfVA
FrcK2KYyXMYMAoGsDYP4tEPClwtJwvwQ2xjl9Jy0NOHldfHQeeR1ZqZ1bnkHk22vvOIpWwVxpr0v
M5ariTBx8iohOCa95aPECAi06dBoD62t6x44uEM6mnECyveN5eznyE/jZdO13zfqRfiT+izWJrtD
JP+Q6ygfRAaqaCMX2q4Nq7MTOA++sPNukMmLJx1WipGiJ253W3cJv8Jb3mod1SduQeaz84LmStbq
mNXE7baylWfhhEyxJuK6x3I99llF23r27lvl7aYi2SkNmm6cSzV899U0kL15HMa3tlu7Y6dLsfV9
c7vOxZWXzTmzpIzmYlFg/KM5uSQwEYirvI3dHxFzkcEj5aN2slPn2ZdOKzY6/l/ngbIXPAD1nVKU
gA2R98bJZXE2FaFt+6ae1Vejwy/FFHn7GdJYUj94VE067y0dtWxDeBosj/lirom1pFbMp2BdVLV4
Cuq6vfaj4HFZwydm+vZYr766A9qOvsmJOcmklvAQRf01z6h9Ubq8AYK56ZqkuckoK12m4hY2mS7f
smNk6dYUt5eSvi1TqitJa8Ve0ApV0XpuiSnc6XU6uLF3getLipQIXZ/wy+tjEARPjr8cy3xsTkNg
U2pkEQqXpc6+RtNIKbigzUp0cfV1aUL/LiNkottTERLcYT9JtsSnZQyilPdYoYDvnWT2yFmEOs2L
nD5Gb2iOzrqIH4nI8y91zlmKiUV0Yxsmgk7sloeEurJqrLFDxF13hsA4t27BEyoS+9hRDn6esvXF
jZ3o5EJdvM8eyrrSSABd2BIAM4bmwCj2HFCnQSK4k+Pk8MWpQxbch1AU23ZKKGltl6z+xLTzvPRT
8GIF290UIR4krP6U46oXHXrp01gQ/1GXFYdeP6x2iWtm+O+83S1l8qXw9XVPxtBhqQsMAG0zScom
GAYixBn1nvoqwf4U62tBlHi5o+1oAyKR39ZW5wfU/ePEW7N1p3betJlw96HCKuJR315mjmZTZnC+
isa7h3JiqYdephfESY55XDI5s0HOyMwTFx/Q2pwh/QXYTEPlVhinuIPTTtyTlVds2C+TTUBj2TXk
bX8wc3HNhTPfyWV2XpK1wL8jbCO/heH8GOcm/oRVWDMul9SVFndT1kX9pfWeal7b2ytPuWccsjMH
cmpM5th1t0xF5FvI23xL50lBC7ZpKETqLNUQYTRsZpHWB4yF9thHqtz2MjUvTVFRl0PrE2zBpX+t
DAAdOA2sa1I+aauas6qpQW77iIEcsgV8bk2vsRjVqQbzxU3AlaCmXPw6yxhG9rP5NViODz4DNWxW
CU3JmZluRMsMpOzz4bbO1XeLwLkZW+o/TUBbmjiuXXGYKy6Fm27U8T6J1+5MfauPG4XHdaCQGCCg
Ac9GTBBIz9MIYPWcyXEesGB1CO8PgXAjMVBznmTMv2cX/uEpNxDGOXAxQ2Nq/hSrw6XDTSta0fXg
M7Snn4iqLch6OVhuzAyX0u0EQwYovSY5x+f9VPnZBeahR/ZbFCd2pNfYqWSQ7ubZZGofOMRhRAdX
ICCymQ/tlIlDYVLk/O/e5KXxQzD0r2ZqhnGPeUUiCxcr/yq6nVzXgm26ctSWURxJLpuqigkE5J6U
t2P4lRGcX+vP0haNbE5zF+IKuHQn6YgDUq6xfR46ACgxH9dVepAToxJ1JDe9Zc6womwPJHudmfYN
orC7eh1dAvW5Jc7COWS/J9kF8051aL2q/UiHjnKQPvCBmBgFbKJKRwcGVt6up3QUxwF5HF2ij3Ht
f2fTxZ0BjvGse+JcicsQ3j7IneVArc6E3l7XnKLbX203dgeC1Cm7DftXJhj7NWI2Nqn2XhPDWvQE
+heUUVEmzhhmXAvqdbAtscDQbgqvKN5hYDR+VB7Nngkw8EZvT5rMHqaE3uhdWmGmy23M/VrLoT7z
UdSHNGPYn4vauaXoizujZVLbTiQeUnKDdat1oZom6fS72Khr4v5zkK7e5fMEo7qdK3YSo8xjbgfB
rzNg9IrWAqtlYnQqNsMcqH3S9dydZs8p7uNmKd89Jym2JlHloQ/Ctt/rnux7Gk7gE3auf/GupeAp
1c5BsaSrBUOHZsibcf9dmUbMOLJCzhJe3MGaZHF2lLmfjrtuCcVblkNF7UBEsrPPW7tj+EaseoR5
jPFA9eoyeNrkmZ5v+mFSFBItd/MQlFfG6p99rTbF4sPm6PEQ1IBBjBr2GZbhK9HgSwdIzcCW2vUx
WKfk1A46vW8SbV6dzN06uuKsUa3ZXelx69hwXP3lgdyVm2HyhxttRu/Gceijy0FhHA8TxsAydJiq
7HaKauegPbHTnoudLKuqYzxytCXDjGqq3EqkLEpNwydXTpKZHdFLqTssz72Y1Scjepw3qhJXw4hF
KJhS79gox56H3H/rRNxdeZahHDLsq6rXW7xMCs/R6uujW/SPYhrY5u0qbtx1/MV8BpOVSdsrEwY9
CdLRcBUEy6lovPmxndJom/NRv8/yXl3lZewfO9Ut8IZtq+YTWRjOrR3we+8mhIyHZAoNpCFPxRsS
TUIIg9ufnLqpt1nghjsM3gw0gzB54axYXCmV89D7TvvQj/4TwQ7jvvLK+rGN/ZADTzKfKyLh4QXb
HPuKqrudk6r6kIs83YYOk8boN63jOGOaonBm4a3KQJQ4a6/J2cfucawCSrv3JASExGLZ/CYtB4ca
p0I+d3612q07FPx+o8bg1bSTAfMY310Zdl/Wki+RRYyjM/wND8mJeFiHqrDach7WMc4OGFC9mfCE
beM8o5sn83AZsx5QNMY4/RhkZIsVk+cdahroO9UfdGzMN+sGy2ZCrD0VtuVy4NQr1pxkYnga9D8K
rhhUt6eUeroyOxqXKwixIO7GmqQ6ODEu4A3mkTdu7BcgKvsTj1p+s1Ie6TTuCaIEhiqf6V2FIez2
SdgNdwtX7JuYn/8FbWPeS274H0YhSm5lOn+RDa7gTWkNd6SenIx0ntkLs6zfOyabTx5K9Dh5+pxA
kyTbGObqy+I2K69u2O6HysEgT+H7cZj7/uwldPwafAOvZuDyS3uH98Nf9a904JCMWtzIXZvU4zOM
zdPipnpLOdyyW5bQ3ibtSue2cS6ED0eJZkqQ9Zb0kAcCv1ERfGXgQGX42quNXjjke8gCnOPYgaM8
CbGMjv5NPeAMTuYo2vmNgdRZm/ZKg/wfagDN+zkV+HSjyjsi1MVflgvZFmr5085J8yDyoDqGpG/c
K87a3ztInkMlHI23dZ53hTtQttvQzA0bhMecacjjlJivKFFHv3LgEznVySg9B9BxG5eR/y5pNNKD
bp4k9YpXpJkB3XnUjoI/T3CmXHsw6cuOj3cTmf7JYK3DBxU2+znvs9NQ1hBQq3mvfT1fxXWU3aCR
Rruqw/jGyL57cG1CUhTWLlr++rA8ODXg2RJO5VbS9LiZyrBjMG+1+EZKlnOsNaboTdsK2lRxOQw/
kKLW72Up1Rkujs27ZlvwFrDiIRvsPlHKuccVMV45lUNkPvIVFd2TyV6QAZoDHkyfmKqO+mFtb2qv
rq/RGUFE6+AEcRjd5dl0i+8+3kZTdgozZ7ky/UAMQ5Jnp2ZJ0jeMu/COuo2qbEvobjdSoKPCR3gt
YrEW/MQcecf8OPfDFTEhN/3sPyNbN9uk0K+Uc2D/b3h1Jn++W6xrT6Xtj7ppmEEEeO/diSc6kysF
y0hQw21Go++33sfrAAPnAb7AZg7lQeG6OvDl7gcKAsjm8hvf5BDSndD4w6veTRy9dWKishZO6941
jKk4q7Zo0iv5GwQtY+KVYWuQP7v0BweL5dPKmD3LvUyZYunXexyg+8rOb2NRcxOn4SKsBtzhvqKT
t+huWiGrfSTxS9aD5CC8iBZJ8jeMSoWzkx7COAN89UKuOD65XxT5kc7qu9/8FPsaTVfhz0XUA3tx
O+8QNZs7KGv/JYGYPYe46g62EPjSpt6Rj8kQrduyyakWQ2nbzOPYcoTjLECu36ivyogPpuyyC7Nc
LM9N53c8Nqv32MrZ7IfQYQPOWyoEAWUqfsjAFE+BM0cEkOUTt1aDU47eKpibeGKkNXuopJUbtA+z
U7VvHvvbxkdNvrDXtC/kNhP7S0Hh3nj4jJCYsxf0F3ugenLYTo5IrvOFK9gA3viWuCzvDJTi81L5
/tPSuPLpohg9ou/Is1+QOrb8RolpubanMBcxZpI4eBzZ1V5oJwR4rkmCOXFc7QgkYfxRTcX8RIbM
x6Ca8h3DDnzy9JtV9qLLy1LrxftYf4PM+ATZVviJuKwYuXyYUa9vXhkpXCydN3Bo1PX3ReXM3sYo
4vngehoBrKO+DeLEHTtCoW7z4GxF6tx4XdWfCy8Yb8pCJG/JXFnakxp3B+VNOo6i+uvF2LA9xsVQ
QBkKPj9IMtu0nmAwS6pbkYf/BLVrBbnyCfBCdHm0dZwFAKv5DXRDL6ExUV8M28anXgSdQe9sLW7w
30C4+xsOr1EDk63mqvzLzobLzZbTNNpb5EbmenajYDyQRVMuG9y6jndNQ8u4KWwPVfknes48TdEW
neZ1s7ee7p4XO6wnsikgVIH8D6kWYXFQCCl3y9Q3H6LDIbFh/2VlmkXv3/clGPukw3GnolZgxtT+
Xehbjv/ANEjsv1n4/oLFT45mMMDsxYcbJtVnV7nheMaWfTRJ67h7083mZ9RcmHowWWRdOqNedOlz
jC0u2roPRDcF7jFu++fRzQ3ucjwIS3ZXgLR3Y/zUWcaWQKW7bG1ech1izf5csYDdmqk/RZgm5Cbh
Cd+ZObhmbdyibJdnQ2OjnEdGCisKMHPeY4QeirJXnKcwUZu0Sm6WgumzSiV3XnvNL7yRoGM7hR1K
+/1yKNylPah1MlvbDttIXaY5bbCJi+ZBOg0zDCJXFpPdpV17sDM+69nO4jRa/2mmhhvsRpHHaddt
NmhazYfinayMZlcqtopc0qEOlOihVZwiNP+0zq6dsbMHuFf+nv/I5nG2jJKvfHCwwCGiNMMBNzn9
xdOSTHuBP+o55BaIWXu+dx3yoCMqyGM+I7uxhHWdurvctXdjEtK4bodfMfWqJPC4W4wmxSNc1FaP
9sqXxW01SqznFGdNUbbtu7k86cUNH9IpuvYqO+4Sv4Ohqr6JKLqXi49Cqe4SvNcU5Ya/RAG4YIMo
eCphwh/rxb3t6vl7lWpCAVhJEUnUphPhse7suu8jmN0I8p9eMO9SWh8TlNJw4wXbz6/zi82Emzvg
UJWFsHE2u8VP3s9cqRhhNFO3EwkBKjWyX0oMEWp1DjCRChp3kN5L57ZsisdaoL5ozQk2YR69yTnQ
b9PUrbd+qxkG1cMbr88JkzE0p3gTcdZl2yDow2vNEnLkxJewpzB9KuY5v40mPb3xQaD+1SNzCSKa
J3QNZuYbRk3zJu7lJfLem/koVlHKR3kR99xfCTMtgoWpDzItXpfut+8lLD33LuBgg+brxXCTbQFN
0WBPIHji0+lqf3/RJzaMuD9sYMWvy/q1tW5dfk+YwOhz2eHc4FfnHPZAXJU2twmDsRlhcVK0ywcT
F7up91VwH1ZLy/GNvIVnzFPxwuHOqhrfUszidR6aNk9vmBHl9TaVo/vLsp5u/ochHzGPyEA+ZTiD
qnffb8ZDInvTff2/kyj+38118C8RAVuICiifzN4IJPs7hYOZLtatm6UnYeLssQoq8zR5PZcnl+vE
vJujxg03HtYv5kXWokH3EADUOJk4eW9sCxEumsDZJk5VhUQ5STk9QSp22FMmdIwN1lG32msxzoR4
AFd63Oeb3EIizP2NUA3/kyVAV7JihA6h9NPbd7z7f1kI/xtM+w/8a//0jv8nt/XNz2+fzd+DZX9/
xZ9UmsBo7WP5m34nw15s0jwJMpRQZTwNl8yzv8zVIviDUTR9xwG0rITN5zH6XySa+IP7HkRbgInV
VYqI5X8jF9aTF9bsH2AUF5SIcEc8kUIJl/C3f40xRRGImKSWHnFRudH7YizTH7QGjBkh41F5C8nN
hbMw5XsdtsvRCRddIL2XzkcYaYV5ma3kh71AEVt4fKJHzJR841IeBjsdRt5DkoQlwHaDWrTj1t18
pCWPqV9pPrAuJ4ebGJSiYVuu14bjpmcJBCTeA/RDj0QWjV2RcARQHiugGyfTr4rbxWtD7sgLu2T5
kjCAGDfN6oTPbThdCKgx6G7q2k4v4Mj5nTMyJthdqoturPYMJi1dYeIRhKjtPK43zE3kookn9ZJk
azhCNDslbXqXDWvYbUM1qFdLO2EEBd006HWd7bprb5yTfRyQPAEUVHF5iUC/LldA/FNp3v0gSQYU
HHpsz3voo4M5E/UFIxRJimIWp+XWTyf3I0DDvyXWoX0TmXdXcRFl5k8r+CWIq1wOkbBo8b3F6uBn
rdk5XMkucrx/MUP5UlJYJJdRobK67rmrxkYchF9nH5IT1ETo1iX8I7KecTbN0AtnI7KoElv8C3iQ
+NP+k3UEZoVAH09hqa+m57FArh4G6d4L1yk4qtkFQoFGUPIKA0P8yi5bPA4UDAHlE4L28hFFSR0f
PdeHj8IZWRhmSc20v5i3MpwvagaP0qoCogsTgijkikxN16p9CxIY2p0/TeId0wqgdhCBkqN81/3J
etb/XrVjeXTXOOkPS+yVv2rSC37kWVX05/XizePO4KifvFw9xuzVWbjIcH3lOy31lfBn4hRh2epv
CMedc1CES3X7YI7jZdPR8lUfdB7Aghd0n1CwXZT6MR9Wwu5MklP6lrpR8uKKtf/F1TQASWYg4mxL
WQ4vAQaaZ3JNLqogIq+3UdiwzySARF/nZZLBMR2sq0+/l5D/Xk3/w5cESvzXmO+X/KdpPut/jrb9
/RV/rqaeG5NOERKOHQTEE/xTbAUP3B+sjkTaRkr4kXdZc/9aWX3xB81uCGGRh3MNZY8N+K+VlTBu
5V/SnEMREnhxScr9N1ZWH2D470sr2pEizhILvSclyIi8mN7/KQE2tHU2JJjFTl2VpXO39Zinra8t
AYfd7TAucrq3M7jol6kbZnFX90tTEY5tygxLIykslebxMmnoHQUntfiaeab+0UXBWj+Oa4aynIAK
LR8hxgPnLo6mPtxliS7oAI791DQ34yRiz6OFtGq/uXkR232/5IQl4VNy010j3Q5CsdNzvefjkaTn
KGq6hygZa0xzgzMdkdK1h7G3mr/1IP3PUlFbj9VodKZfZAa5oE/xWDOSCZnI3BtDqAYGURUkTMP4
Vb96bReOr52gNBFDYl4PdLeDk0Vn5oAkxGDwcgJqvzySWF9c+oS7Kx0H2Os4CPVfetwI8tSKfFVc
V8ekw/sXDuVVlqm2PjI+z57BYZrkasSwkx/JYYuYdEYX+xsDKTiWIhmBXThRcqA7JoBI87f/yd55
c8eOpEn0r8xZH7MJIKFciNLU4pF0cMjHR2iZ0L9+b/WMMTtn11h/nXa6myxWoVJ8EXFj1BOHqFDV
bSRtFmwXZKphakTkeKW2WxoHNWoyZpcJuelOe2foRRMJbP1WsNYLfJ84KRqdAavY5CO4rVaPVDo7
v2RtpNtZUrQ4Ir/IFZVTF9oaWI05tWGVAkgLxnS4an+57FO8ma5HCTj5ZYaa8ezxJk9kuRnW92l6
GfLKYWJNl3cSNGQPmIQ0bIlJwI6oNafKBowIlNWZx6hxnZnTNNmMhSRqbLEIlpq+Bm7lbdJ3Gfhc
B2tDM8Ah3VqCN8h6xyWnexRt0mgJB7c4Gfa5ueqqBX5p6N+N0kW+0/XCi0PDIarFwb8BZcQUdl6O
G/9NHKGFsd4ywcAyNgF7M7COJ90cVCStPuEQrddpi7F9Lmkl12BrCyt9bUDk4WPblvQ1WzvHJbkJ
SGAn7Hirzulq9ZdukoX1rvJ5/dI57RZHrjPX7E1a5emH5F7P00rOm5YeXeWZ727x2OzAdjZPqWIb
vhm8dqm/O5no6k9eN1VzZGyUbDtdw950qjFNypPbaYLMn2Nx405pGPWNHsonsR2pDREobPe3VW4g
CZlqLY7FmZqYyK3WCzm/yhmGM0xWIAJHeM/bZ2xOG/lno0v1PYOJ2DybNcriblgn7H9ZKTP9sm3J
vN4xzRerv/aMmO5h76W62Nnk4lctxKc2NQ8EUTFsp16F7mRkkvQa4RR9O5gGUTZwT2RmNwvAYcW0
1W+cJIf/kjapfQ2OIo1eTLQdZtT2dFVtyynVOtJPZdU8Y+Wjw8dXvCRwEZk76BUVuXKpTnXP3Kro
GuU+x9JKuNrp2cZKUCxsYLi/LEMPzVJL26DuVkStq7eyOWPcdZ+KfByNYC06DR/G1jaYRBfYD0+I
l/Kz3koMbIPamDabgxitJxzUon5dsQ/fGE5mbcdq09r5OGVbe/CcGK5FuSHX7EehlUwlY6JagfKm
zDWRXoBZfyO9gsy2l1WAwLBnPPCIxxUnqX4c9HArhiq+LH2VbFEm7aI6cRslKcSSS8Y8N63KCcoB
jid/jpkIkFRGc7UET3l+DRKtuAAxVHIIEGXv7fOt0eznsbPX3t/GaahQhBezDF1qYJ63KYYLZsqm
knDsq3IOE7ddCbgLiMH+1OV9+ta74Of4JAwBG5JjW3HAr2D+6RBbGJFtzXCOhWgJf1YbVbJZFg9q
75kC65QDDwDvg1YxaSHcRo1JpSMd7OBYeunZLnXMCQlk7CbS9M38TO2Oj0j23lrS2IPnO2gMr/0w
ibUNhOi2+tPr65XwPEH8/GElf0AX65pDttA7Z3gp8aPVYD5XiAbxjeWtZN+hpqS+mClpc3OZBYXh
vVRUWGF/SID1ZCuGR0Xufpgex7Q9Jni7TwXeEHvukGf7TeHFbCLozvmu72BoZ92rLkbt4moxwmW1
8mTa3zryyZ1h1RTOpGV842JWfOsWp+A0lWksxLgq0oIknGXR/gl98DXXKi/MN2ZQUVzXOe8QGsNP
Tj9YyLTjY623N9MdDg4A69zPcJw/5QjHAOjmFadUU0aIT75j2Q9ZXb8jaWOwzWnlwlhVhJZmfhMi
tX8S4dysjOmS0h4vchw8stsrbIiugwDXVzfxwgesLdkbt3ccKPiuA5gSyb52rCenAyxaA7eQk7lf
Cjf2C0/96uzpNnHGCN3RDh3yj5oVLweMEkaUNokRjC7QW9hKJ5hEe8Xh4ADUAJ9MbQpfuxrVehdL
TjLfG5lTgqUbLxjDGLRtQ/0DM5X/QPZ7PXdswJaG+GgaLftTdQzfNB6LYKPQNFvBX876GaqAcT+N
ndJDBRXC77nrwQpYj1rVWv4mrGgbyPbpYxJDjFQoDDG7RpeqoLSqsw4dJLQQY5kbmnUwMj85blie
zokrtBZBaWmR6hVmNmOVZwWapUT8VYjonUX0s+bDFpAPJoiwvZGc0GLI/9rbtIf1cMJCCjtW4WQb
1r25KO1mcbb8MK1FqCZ+Gx52EOmWe6xGbXvscjQDsIAKXbKJlpyA6Yj46islz6u5La9tpeFwNcWG
d4+1qaZ098j9BKWMExey/5SQnOiLn9jqs8hlwScENr9L2gAuSTxZL7Gn4mOrY9SaimtWGmTFH3si
CYudeGk539v1t12DgkJwdKdI24wnD3rlfhKMFCVer1+8wdmX4opwpUdiLamNR2vGG1VWM0cFpz8D
Gq18vuhsyFQJgkBA1F9Q3pZkKE51MpwhgUARnZLiKFpIxAs602c8N5vDayj4Y0k7mn8QR61ANDoX
5rErz5sko2BB5D8j2JLIdVWQWW66a0hhBbj9sh2CCbGKTf3B0gZURsc7wjLkYehYFWEAoN4uCKQO
swzSjkWzy5rdiN58z0ZS7HidDUa+unOUHSsaGSNjeeiId/E4Zgt+znQDXNheE6/QHyLcrpLPhFmi
irfPwfOcjxJjrrb0nb+5BhuRs7RILTjq0JJf3UkClMq/mHmQuIwdxov9cqdS0ZzG3jsuKRQepstN
OBfyPrPSO9AybZh0sGoYNHsvzCeyA+ZpFS0CLgVyBrdeZf9MpU0k30y7hyWxExTX7s7D5BS5JUqi
KdcLX2VGyQyg3f69dvXRFwzzg4qfHlmcDfxELlAEtOWnda0Ta+GJ3TnBYd+MoZI4zB3rtHXJ07SZ
8SFpoGPEDfCXuD8lcrq1Mrv/AIMgv5E7PmexbvsF2xoX8IMHSDYkUBE1QJU+WmhzPkAsjKQ2PBdj
kVzrS1IlmhNbvjHpHS+wMAIXmy/rRXzc1rHfQUdXAUdjqteLgsCG4cH5NM2bGiBMULgjiOIaS04l
PodOe9aahM6Vsfscq8R9M2Q5nWW+3Rdlb16sxHpQNDDsBKdTx6vtw+ywyBq5AzLZNKyg5c4c6Unr
qhtZbdZlHJ07yDsZpbcVPixhj9ZDg8ZHCiyDl220KnQc7uTQJv2OKjkQ5Zgfg1qoJGQeetduS7K3
Gewe2AWKcOjig962O0aRQN9xNf6qTBxWYCaCqpj654QZ97eIyzEsEDTOqvMmkkP8me/xYCHrqve5
VGe6Flve+2w5USRhRnE8LdFWkn+H4u8WgYf6fNCQ1LEtSyP5pYr4hf30MesxPgwbgXlOmfbCEa8D
d3D18mqQixEiVNkEJp7ZkE3y2KjqjfXJPa0tMEx9W34aSxz0kSBAjOX/aU008xm3iH60MwzwPshj
8OsjsyNosd1LQ3QLG0Hu3pn54t24Zup9Arnw7hL8Rg+atDVFwAFaYATdXrtfpNBuJ4TV0PPEPZ7P
nlVNigds3W8yr1yfPy2y8cLuDJfznoEGe1hjAytg75454n0xQaQbjYiTcUhyk5jCdtdp8XPhyVev
L5+SzIt/IX3N896b++U3yxeJB63b2TlGtjWWMHt61p0bTjElsmxGL5OmvxZZwvmGo/MzlLX4h7WA
rNtcij9rOz1NcbabVwObSqLy6/CJcNpuQl7qcv27nsyDbQ4fTuWY765gVS3k6ADNGadLmwqeqDrt
ujuo+zonDneNimxBRyIY/tFtmPfxinhYUNz0mCxu8ntYNejPNXD9cZt/x4mszl18nfObnBk/RtyS
oZDDE4i0PqyJ3TEvqh9Xu33IsSNzk8I1OKNDWdBqZiQeaEQwgBz1XHfDxUymuxyPN+ewVr1kumXc
FbqjhU1iPlWYWv1R0S7QsU3zx4l94WXPNHxx6mh1F+OUyKnOqmF+NAWD3X0BYQZ8tdrlI0rYprkc
tY1ub3e4dZPu+lVfhq+hyJ7JCmgR6vCNZXAedh03/dNPNqYpsL/BdhU0VrtYiU5k8fJ7WS0HhvNq
cL+PJQ/AnJVfhdLbN8AK3MoqQdF8NX8lY26dcwPyYIA1vtxPDGT3YPHZfWBR8H5B5LobQYTTfBLP
fmYPzc0g0XMHNbwvHIX2mWO+zVu9y0Z7Iu/gCHJmekqHIMNUQ//wKhi+nYsa0eEf42rvc/Z9p9qR
X+/6U5w/QC+4z2pYlkg5b1Y5kTEWgWXVYd5Xz/ZANhH3iec3C5dbh/r6jqTHaR1Y+Mu1oHBMFMsJ
xHuBTb9Pn+ZuMgeO626Pxpi0yc4mSmudMaZZQTF3M3O/7SzI3WA3WbygKeu7xBLH0taPVtlZQ1gv
6gj8hGIc24U/rqon5GlediEBmQzqrAPh2ZziF9p8hDP+lVzkj+J+62PJwcWWiJNtJVRwFpBgquu0
dlG4yRzdQ47hleUzqn7kZM4U+w3fZyJ/jVpvENKPGCPVe6UWXNqMs614uBcNazuFyweJh/pRUxYe
BmBAPI4qzfZa6k6+S/wy6IZ0+4nhoe34+E5en9tB0cHjyYyVRmgTcdpG/L0oa67eZDXsq2FmSTXM
u9XWDqS98RaoYm/wJjJNrZEtrzfBTgcAF9iZWG5Q6dPbrmfUYNX6IelraPbTu8q2/mSWuaDfo51O
XdY3YevZrRPqiw0xghzpb7NITmOa/s4Ep7cpYV9ylj6FqkXE/hy3JKNASfiZA/UbyhgHCfiOoXCK
OSzUat0VQ9f+9rQC++eQzZ8NeeIzo2ASGnzWQJMTJrAB47VqB0khxR7HdP5crezE7PS3a6o6EkJu
iQur94o94638WC1qPtYyVZilyHRKkA7k07j249wszh0tPL8N2Vxye+VqT0w+hMJxzpNkCGPGVrdV
wq0pW1DUciCcXzG+F2Zeo/2WcVTF5efMpwWX76XT15s+hxZus+xgC61vE5yoO3Kj4jf6CBEYfX2d
klL9MeQaR9BFxsDTYEz3jMXfSvrQmnKBieFa6pVo15XqDNo57/GkDx4N6UwB991KoMJOhfNgZByc
bEh4IYCN6sLssMK/wD9KA4+tcHBBkDj+4Iv+VrbJT5s37zFbH6WimK+f675gmRJyh43i0cna9cTV
lhUx+XLwrtwvtV5Eg6iOqVNwM60idhPqNPr4J6sQV3VG/0GdlNvdXDUNiT0nueCBXztiD8mGv4ps
APlX+cwkzwsnFV9kLtMdnogx0CwceJ3ssUjb7UtPMnIPAskLdTNOnkBCIXZ2ZrGkCOmG5U9GrIXU
V8LfE1Te0JaDt0fzK8tIzvNgbEHZNqgl/WTcN0w5ImyVF50B0cVNN3WykE0inPx9VHpls4Ns198C
0TZuV9kDh8KIgT8IaSQr1NvSr84pcZw/oyjz3dhxQzMQHEqXEtEkXh9Klzw7XaZuOPf4c3ucYxDf
+IhhfEDSobKM4DBjIH/NNXDeqGKwoCZF32abJPK4EJx5TCl2fTRSJ6a3BRCRhU2yJSlsavmuXVvy
eltpL8MBMxGFAGt2kG0+0LRsMH1k7zSaY+3iu1+KtFZB0jfaTiZuSPpnzXc5TSYfBYVD9DEQWVvI
EOF+LkTguPmv1Z5/Q4gVz7WcC0XzyuJ9j0R1rciuivzWMraPtNAe62KVb1XRIDo1yYttdFqEMyO7
TwakmisJLLZJcMJkkcB1PoYEZBtajvKNAtaPCQhmcsajnHsO3Xw1ACVbc2Rw+IyJIWEOhulg+97Y
/ZgcIO60ohhvOdPKe61O+2e3ragzkhmjMWex/B7oz7HL6u22mXWrDrRScqPZ7KOrjPGxGeY2AKHi
MvJBKWo962doykOuCMnUS/1lT/LRa/LyFsTKbdOny5FLWgLVxmKRWxrrTyJnKiOTsiDMJ84ZyDRm
zOau3DCXcEk7unya9GEkUVYP+fPo5HXvk3xNZTg5zmmoaTWgd2PJ7h36NTiuY38/mGql78Hq5PiN
ShhTTLFJG5AWYwPb4JE8OmNePEzuAoSJmBvmnEz3loDSxXz2t7Wp7rX4inbIxtr4ySA9vLNZlCax
5A5bhVtNR6tWEDz5Fu/oxioJReoZeIzOimAXEncxjCzEwFmk4Urohq8V3TzNoW90lpIu5rvgF4qr
SGBYXCHMNi3DmqQ83Z5olS5b59w+LLJvzmnNBLVoyAJmQjLthc+vRf2SsTEVLe0qeOQNKiR0okCy
6SeyndiA/QKdzYr0brSfKyMHhJfa8Pipacmm2Z8KizRBQjRn2ZVjntxPg3oFRNWdM1P77VaLRYxL
Flow9RqPNCcq7R7HgpRB2i7mU1Il4hUU6viH9s1s8o1Y9XxD0okMUaOs/s1oRY21tQTfBudxu57e
dZ5SFr38uWgs+1xwgbim9rcHW3cpt/C6lCNSAojr0YmN+M0W661mSCifdtYS6yV4iq7CnoTU6WLn
8WpKhFljo5qJW+OrWZVTqIxUHLum4SgpHHULJDysY9G+TYa7ZliFBBOwrEyKOmR2T7k4lVmPRTwy
y5q6aQd66owWvHxw3fAOTSeqWytOb112j8ibWuPcNzyJohDPVefeDGV21vDx8iRWFA93jzjUVcQ3
nFxhLeULzSMr/6iGg+YsZ7w/0DqsBqow0+TEHrXvXDS/ckuBlNYYvnJ+/n09KuHVQlkAQdgt5Poc
Q+EMQe/X/QKGBAGfjezjusg0Srn6HArTppSrFu2BUgnaQ5nS0BjWuJfOxCp/BcVIDK0275LnHbVZ
41zhJq73K/O8935JTl3bd4drRp5vhF2GaWkAvxyZCMJTJHwAPdBjxAUWjJOBjq0PjyM43eJ2q1QE
w+xk1OYUQsBIAzUQq5cD58/cW2/sGP0jbp8UFIXr1LLeQRLoD0SzntJFvMm/+sx0DvcVWhbfKJk9
YFR87pB5H6VuZO+pQ+dHY28ljPfG8b22iHmX6zi51wQQHLzSNfVyw+ZggN08MvYdkAgE5XzTHuVk
wTst5/Ro9vPwIPti4T5Q2hPPV0upDDdHon3YvCg8v9assbP2Fo4HAAmr6zv96Bw6t1XxftWp6fEB
yc7fhbBJjpJWIK6O0X1iBIBrumZQUxuFjw/ZdCLWHzVhsrTcD2ON1S8tHxQc4Gx1b+Q0XIUkiuMu
Gu5Gx5+Fle0Y+fFLnN7boXTl1PhB8iy4r7MNOG1phFZKh5SsjPpMnUvN7M82+BssRrw1wR2W5cAe
6mTaWQVqGhCuet+6zkCw3NU/RggBhr8gj72mpjTeWgqYb4yJrTQUjF8PagA96w81sWLSMdmLSrAh
BzlOhU9Lzb9HLc/90evZ4BiraVwFK1UNX8Bu2Xns2ZS02LmoFYHJoe7OzV0H/xxAlGht3SzAWQuM
bzFzVfjT3Ov3ZUFx39EYtjxQGSfzzG2OvHPqoRczvSu6JxPOtSojZdsau7xvOTN2pATPtuExKDU1
q/7C8Tre8yqzmUEsS71fO+DBwIUVILMd/Ji63MyAMWA4GvZ8XhVDTvy6qXk1dHjY0HIjDVMa+hgP
9/l2sPlZhT/mG1WCXfrFPe402sUVNaNwZtPzYo5RxfQbQxxsZFgudR1qhgDyM6TGgcxWc4ebgJBt
ySQpSIGACn9aJ+0t1uPiZh1gziy549x4xdLtOBIaf0a24zOPRwADUb+07uhSeqblt0OPpaYQ8/js
aBCQXd0Ft6QXTAezlXTUItULA+WK4iUMSWcW4IA2IQgPgx3/GscNSXMbnOFJ07r4OxGUyYRDX2rX
rzOUZ2jggp9H9dOqnbVRJ9fLOdL9Eljc45Nt2rFWwYdrhzbScKSoAMdaQePTMk/3/aKQqzzg0r7I
yyXKirl5kEwzvtKiPyZuxbvM7Mu30sl6TOLauknt7Aht1HlQjjcH5YzHzUMq0pl+6NfmqsbitSya
kBAnrCgF8xP0q7V+196V5zuQmrjkqO/g86t0DlLYPy8l1XVfkP56D0ZqM+C2s15KRkW8T82TgOlw
Gik9iR3naqlu2QvILGiIV5OpHl0LoIxAkL5lYg5fxVCfrZb/IlQudqsEfkChU1/e5HzHo3RF/fQc
YNIOh4OIC/QbyQ2P6K85HYt0RvYQVRbpZQUxqp3g62tdXyoSse5L0c6PlDwa5GP67LaoxSXPRWjB
nopsZdGlgwdgWu4LTWWMWBOq+hb1y3VycVOgSweqlt8CiQ531er8mRvj3V3qgQ2p//TW+Rke/Jtu
5U2Uwj8KdNUw8dUqnZiOpPs7Kzu5J9En/HbkuyLYqqKS62/UlhbwoRmX0KisK+XXgz/Eyv8E00GL
tq7YuOkUQ3FBCn/XJXcqEDuvTcXYfxs24xb/YRr2nZK9Dx6bI/KqDx2pcEbf+P9XqbVRv9FuuNcq
N2PQl3d3oLPec1VbRwweE6EBcuHMgNvREbj32YMCZr9M/5pFZ1A45EJxKLHNF22racNWVKhCpgAC
hkmMea965GKI7DnXo/ky9pBJGEH91Gyi5g2uaIbVmhAaP9nMcwqhDPTbiQBI7tJM0G+S43Yex/Zp
6Fb0f75iB11LahihsY6s3lBxytXWIn4x65uDJ7cplis/lCmew7eN0yUnjL6fn3JduMheA5YBYOxP
Rl9xQ0xHHrS4ZiqFejm86q6WEz9Utcnf0DZHTRtxIRfljTH3IxsLRxs2E/NtkB6X2ZWhh2s5K0cj
7a3Xde81TTTWLsHMywaNALDLzLU5WFcGmL1tRUVCEpilLEFFArMfbJCHr3lKH8Bufs/Qo+C8ZEQJ
dI+JNT6w88nacXgnsDCy9yLS31lUfIXQ+Powiycj7E3KzRwq212waTtjTCzi5C7rgNezJlky/sUu
Y91V1dYF0o6Td3Mx+jfTZnbuaLYPdMEKuFaJG0hMxuOc0DEFnlMwj3TqR2VYw473QT9uvRW/QSdZ
Ts2kO2gG8VMVGz/G4jzEmjyMzsRQKTaqH8Q85frzqOYLrXTJg819F3FKQnfTy43i1vnSt3EcUodV
HqGl+zwF0HNFMa68EeO426Dk3S3ulGdhB5aBr5KImxdpmBmhkMK+m8bxtaSC9UkAagOzsEwV/4YL
5eqnqYzlQze2/QWIB3c1F7svjsU8cc2dZQ2TE6rGxqyQ6V3pRCuXqxLBkD6AgLFGyr2i6HHd9Mk2
PI0MT3Qyz0txawlo5H49g/nwVYPpMewnxQZAXsfq7te2TIxLXMtBPnPVaxMGUotjIGTlIxUncPI0
NoHarJ67eNUxp5QDbfXSpuFhv5Awg+0ONDyYhOvmvOB2nhmTL8wEYtK7Luh9ffsyrQGrt70J9Op6
w77D5ABfYKBrAOTP6J4bFHiIwueWyuuKu66BdV9uVkekgq9flOELlMDKHO22xYRUhpLoCOwOk+Ku
AFhy9UL1QwbgqnHN28nC6q6tgmHi7HrQCcy0f6WghgExzJ0iXOIRU3zSYxEAmWq+t3ZbVxcvicVR
OUtMCUOfXcHN+Cp+IesruXfjcf2TmLN519EwVAZFlXG2aOW4dfcTCaFju1k6MYZVgGbIASG3F6HT
4ncw4fJy2x2pDKwxoC0kc+HKUlqg4S1yW1whmF+Iv8N8J1Qe9UJng+s5zH9lDrYl+OIVbh2TQOax
ZfgALykZaeXNEcIw6yCFeT4XV8D1alpwSbmt41GzRmCPyeLVtYpw2rzR/jteBheKExtQteEVYIOI
d5rRjFg/J6d7LzqD79pazN+8CsrzHNaYq5JGQ16Q/JVhdUfg76zKjexCXcYcukFXqywanNSjZMDl
DnmdierfOoYNPI7u1ky8QD5qvyVgQuAume1qvxbukpx5qrlsCxweRP/0zr1tq7TLD73uGCwkrqvR
KIEtdYm6SueklOSk4aK2NlbrIS97DtcWY4IfCmCW52Q0wRdzuibD0sxdd7MajVEe2m7OHkfTrN0D
JQiK22hv9KuP8Dv8ZoUbLiCV8QI4Isa5jGuuRR6vyKVJHZnXnwAE/HQmRtVPutwUfW/pYs+7buZy
FpQGvTtHPHAk58oxpQMEy1wZjDmW6MBbuMAu3M3fPCcxUlbFarZh9BJU8onILC1v0mgSZicrR9Je
9Dm3JJ3E3e2M0e6Cp67xDrz3mIc2+Fxqj75CqsagRCdFAxyN8pNZV1qggtb68LjOcvAiLuoTAmpT
pelTrC+k6rapr6zfdcGy+6iolQeMi1Gw7T87z8joRl1jLUUlkFv9QGyQFRr6gavvBp3ulsjqx7UP
YmtGcbM0OOOE/QaR3f2LN/N/oGz+d6qpw9toYlY3CHTgKRe6/De0p0xlRSdEsx6tc3Zi8Y//gQ79
fxvsf6AgCd7N/90Ie6eGvpn+diT/P7Z/+8+/RUPTN8P4t6MqP+vvf/XH/vNH/dMhK92/u3jtsZ4S
IIJ7SozgH9kDXdp/Z3WSto011aGPCD7uPx2yEgouoQSH+6ApdWq6CDz80yEr5d8lGRrHM/9KChBf
+b84ZG333wyyngn+lhfgCMFOIg3j32rH2rWqmWuW9ktvXQVCiP82fI+ADkmi7Ztn0EOS/6SAD8mB
OrebXm27mGnvQKOyn+nTzZiu8pvzD0t7tnllsAwGEWije1CKspVqdZcjasTwyAir3pPZtu5EXll3
JXQRHzX9oqYi9QGAqXAb12uDp7eexy3+XQrzwWlptanq7q1KuS0ZEE9CRyTfTOESbAGx63tu+1St
yZHA/rs+mQ9tK7MDBD1IPvWEPoRUzPnNfEjK/ItG9I8Yipe/0hcKr8Z95iyDFUvHp47mg7Gt3ATO
Cs4e3pp/gKd5NbrkxUirj4brKGMX92hU2md6dWGM5c/I6NfPBbWkGwKwZvZHLi+9bxrq19q36Pd9
q79VXfGV6e6zWuWB+JTG8swvx5V/y9HwJEZHi0za1v28Ts/pqChE4vYVxl0vQj13af3Vt3ovsKbu
xpRXl+uo/MsiXuNr/VdZxc8jBeM+LG7q4ulND7u6/CExJ8LBE6/0Pa/7dVJXt44+RCSTh2iW+bej
YQ4qBX+3ADl4F0MbDmJnZgpo1fdqI3C+Dhx8RdWk3yAUBR6TejxIVIWPueW8B3g3RVSfxvtyutaE
lq2kQlcLW72tOHhhyvNGtBugGPLkDVt/9KjUCyhjbyPdxjaTZ/x+ZxPtl201+tvY8gRkTgLKZCvb
XbfhXrRF9s0E+sFztJM+80fDQa0CrUl/ai39AdT2k7WzEeBQujDudXEm8BYlDnHprB/jo1hW7ZBN
2hLxmGSIOYk4JHP76HDH91WrW4d1I9k49uz0HKOROhf+fL4LTFWn6Tr649TIlA8U8HWoZKAiuanc
T5D2fdAp/TEf1uJETqzY1Sozf5WwQnz6vj/iJFb7TcyvhMPWwFFTGpLRflASJwn2CnOfCPtWU5N1
m7Wy+11T2Ou3GEsYXMkHbn8tTm79oWjyb3LIr3nH66aYZrtpqcp9wWkEtQxlyk+ue4lJIhV6lxGN
4KEOnPwRv7Pmvu5N5N6ORo/lGnlBD1WhJ5GuMGM9x13+pW3tUz3y6Tc570GB/SX46z2vW6ZbLGAP
GslQnEiQmmi2uFay3It5upns8qJnehNCEsaonPNNglSF4FvzsOOSJMG6WHvJ4N3PGx5dCydyqGlz
cgFTcPRqwcPd1Ped6WQPZAhvIXxw/1rbN22hMUubcJ2bDXbzgUs/k//DsjUfndpeAXKX/iqM15jN
1geMSU9Z5Q4hPIFL2ddylyXQnNus5rGT9HW1Clg+XevqGWy+czWYxc/twPpCTIUwq2tFpdbjU+Vv
78V4k7jlZcNfRGrFe1ZGe08ZPS4oz7nt6HTGi8lvT1Oi/moW3DCTYQ4dA+Gosei4acebrmxUyBy2
4khuTEEOG8Af+qt2B+qEjmrWP650ti/r69UiyeygFzxFZby9algAAkFQ+SonqMDusPrqOp9xV3KB
lIKvil1mX8qQD0LDEkb8prkjvyWJkUP9ExkxAzy6uP81wY2yK9ug0vhEmv5axp5MhcE0OOYtaXT+
fdIM5XEb8DTiTMcB1vVvNEy/ofYKLsQs+RTcuSGBqieH8ZxvMpV6LK4fJKx9/LWLEWlZ5Yasqa+F
zdNTX33LE7uA4MX4Tt2/jSk7RRt/Sjv9qay5PzalojQXZkb018+uMVMTFLKO0+g8xwU9yMAoi7DY
ii/M0YJLWKVClXDEnUtKGNOZM/0w04acrq9xlv8wKycuEAv95E3zTYepHEmKr2xZMwdp0vLSrcWl
q/j/2T1vPTXfmFRmRFvPtuTK/AO/5ls/VsZpcMFSCW17bRWnSwb2rNaWuwbmPMLjrAkK9rsaDGNH
jYJWr4HKt/7Go9VslwHn9efJyIJlcm/N1nxg/ElncdI+eQTrOi1/yTtaDpKUZwF7WxI6Ix+tjDvT
12eWor/iV1Ry3epJQi3cVg9PZtE6kTHk1DFpfJYG28Eyqreym4vTrOffLYMFuFSDEcwjiYaZAM2p
xLV+SIh8RaRd9WeO+LCUZ4DKwyYfZrPw9ha9dUeHBskEf0Uwq5bPNraf4b4jyGEl8GeN50UNnPin
+mm74his4mPhZQVrwn/8X+yd2W7j2LZlf+XivDPBvnm490GiGqqxZVtuXwjbYbPvez7Vb9Tv1ZfU
oCMi01aGw5UHKKAKVbgHuBGREZZEkXuvvdacY4Za8OQN09hTTndhMdwItU6MclGsQrk11oFJd4K+
M/Ixr7xLxtiCjMeVYJDzYkGBtGnZOqkVP3Af3KU9N7WhGkcrsZ4pkr+JptEvZHlk9Q6YuCvD6F66
fUobebjx4vzOrQZOHlBU9krKSR2FEJuyLryw0yBxzoJXQURnWiDVZRNMHoBIoQjD40YH5ZvgTZee
mMI5zAoc2KkszLqecXNHmGLg8R4lLnM7uAxMjOGmxyMO2qDNaFolWNMj/Nup5G110ReO3UAYQKmW
vAUt+hb33uvQe0ukuN+ihlUmz/xmLeRxth5ytHPETVQc1dnryHUCPafSOlNFEs0LjUg9peCLZcNC
3+11qp1kHRdJCF+tgKetFPjupI49MMCsP5Oa4KlVhE2CxHFuJcKx0VjKgYqaM07vvBtUZ3S2uffp
xUYTA2LmdawG6UDHWdTpnHXldAX9NiO6x+OITl8b3oGquSgmWkm9kSCsEmA2WX263B9sNQueNGXy
DQjxIQfAaIuol0rm/JzYJ32k0CM849ypRbw+p0aWo8g9AnC6qAPCuqyxzOGV8GCMhaGsynjMz7wa
O18Z+/55bKU9pgDOXE3V3wRkBz3SjufDxNXdVN9VtMSQo3Yp6n+mNTBsQGXQG8a6zpIjIw5aMi8S
bXpCaKZEF3UgheACOvGuSqTHbJgA+m32kGTE6VA3r2qkCgt8Md8moUE6WRGjiNVfBGu/KBjco75O
s7WG6nIvZoayHIoSVbhqVStsR+ksxPcKlIRb01D7eBaqrN1Cy+S1w0rBQVa8EEODtpss7QKDp6bm
YmLsHuaMdA9tx/ujZwGjVMeYilmLzYAWCLAxLreoBE9lwrITJ2y8fa0RtjjwL82a5cyTGO7Hhn/V
CnKzHEpuVHSEDJCn/UVXvG9ZHj14k1eznUpsH+rsnlA2QuJxUdrEcNIeAriDB808mr5COa2n0NZG
yUE6QHpOuxqf3JJ2AHYj4ckT2czUHHZ0JfCgE9jXO2+LIcZMc0Hc8ibxmfOnLfkyGS4iip4buMj1
uutlLBN03BdBy8TW0mJrCdtYm8sqIx0vZX+bFhak79Ws6JF8M0o7Au5DvzXFARaBrtqB3BMUWLIT
hWHPZYxA6NDIr1dvZ7T/DQfWT0Ncptd6zrDWBp5fV//1FkfuvWST7/zDbxZM2Orhonkph8uXin7d
T+fi9Df/V//jf7y8/RRS/17+81/PWZPW00/zghM/O+ZzTORfHla3TfqISq3kuPrzl8GvDqzff9zP
A6s+RbCgHdVFXSWkhBPjzwOrhnGTrGzs8LLBiRUz5c8Dq/oHdazCZJP/bkAp+sssryp/6PwQOh0K
GdfqZLH/eWF+NDS4plxiLukvGhwciz86OjGFKhO0QVHZJAyZE/VHR2eRmTrUmbC81lqG+7WgUgkA
pdS18Injes5THHBoRE70BHjIWkapkdls3fpel/P8keioYVEX6bhkB9POMCmM+PyowlMQenuVA+qM
bIwblXb4oozSZtmUNWu8X1L5IEtbtb0SrEcAdwtNdDE9WF22g/NNnAiOgNUoZxyFKvUCEre+7KTo
UTHSwUlQ8c3xAzXLpGWbT/Tct7Oanh+k0XidGBwjRgQO6JzYlyPOU0RZkVSX56wLY+ZvqYlNWyLe
1Bim06lHoVFR5VgjpDIkNiX7fPwkDcqFScc1KMNvCR4I8tPQME0tWFe8UX1WbcKFl2Y23ldMYmcV
4QmNFe8EEbop/PpgpffUu9gbH2CVkQ2XMe+HbJIjp+OUirKGlOGcIgTY9KtsuhsV7NsGU/a4DrTo
yR8I06r87IpJ7R7lHge8gDN10HJypsEwLfzhkzHtpD7OhpXp8/7zUgyPBeWNEySBf27WOGuATI7D
1tVwo+hDS3lMYfJ2sqW1qAJlMczVlLsyK1VX2vW5ftZEBYdcvT/kxYNY82pg1R5w4sO37qbNsOMq
TH+U6fFDN5RXyJW37sgwVCZwmW09TYCWhGzerfD8drwxJbGd0wbc+3Ru7TLxDdiAuFjJqDg2KcdS
na0YYONDQUWxBHXSb7AJB3z3PSLNoYaRm4FNWiCsoXKczHV9ILLN8PXIFrVSL/rsa2XLYDQKX6c2
QDRM77GJHyys8LblSaSlieAPp/NHEPqgr9Iqf8hDi9MRUjuwS4q0w86VrTtTU8+G6dbplWpvQV2f
WVnb7N568QbCDkZoI9XMrDIS+TKmtHqSJLG4CMbmDsTcSg4a0wZnhBgmeMqJZOIMh5cTQfBZ3qcP
lVteoUJP5kqYXlW827BgNxWTA664KdW2R2FYCtEilJMno4m+DcAL0XrEsK1VhSBTpeo3aQYNU516
HJbPJpb4wsYHCUWmMqoiHNQ22q5vcqZRw0oXlCdA9pOM0XhAGRRF7HQ00IOzTORokMlaPEc/p900
QUhR6hoMid2IfTMc4oNcauu6FyZPWnpVDjxnmPZetUHC22n2jJ5ibrsgfdVyCFixT0iGKifchLqY
Qr9SB+ZjnNqqEFi6lXT7MPDhfNFJYaaYreOQS9vnqBDmvirhIKm7jPTKwdvpI7Ow1tX0Re2N+07j
nuk1vk8RzfYyJsuVa1EjBsCncx7IYKPHCnOpFYHUyLWK2BAL2SIxCdq8kzhsiRE/QFMKwhbNcCS1
h+Mnovw7MFxo/wZ9CryjxVBknv+tzqxn+ITFxhWCV9dUV28Fr2TAq1Wpnby20A4Gy6Iii4qjp4lq
xxXtJMvjAjSYcGzZ4xULiz7HdBjiSoLktcQ9amN1nZmRaLcMaNEXyYw4Kv9bG3T7PoleCV1rb+KQ
mkcGH4/6gnqK1AvPriw/mXdhna4aT6bvFyM7VhgrRqb3VMrioym2MBuUIoBLOhWEbhMtJdpWMzWi
9RCpaJPNgRrG1FpW2pTWRgYIn4EvpV8+aMWmQdqCJirNz0myH9dm7xZ3DSe/hWnm6S5p0/Ipz/Rm
1gact9y2QfLNfaORjTA9bD5DZx4pq0Rjhdx5WIu4mGfUJ8FaMDnXqUHAuUlt9v+/BPnPfymSPsEW
Pi9Brhh81PHwo9yo3jfIf/zbH/WGpP+hGoopirpm/eh1/6g3JOkPJLGyLuJks1QYDn/WG/wXFS8s
/0iUTIUoMegSPxrk+h+KbOj0zKkQLOa/pvJP6g1pmpj8xeYRpgQ7/k9RJojUO3BE6XdKC6bJQGO2
qbSUeFvdTmT3OpWklVBmoE4yEqHPG+IR3l2lX1Q40w/+1Qvyid6/IK63NpYrHptRVBhxEwbWiJjI
xwCzfv70+9eQPhZRf30qKrj3LyJ6UufDphmcqLnsRtVW09ruNN32PHb8/smFCtgixS+VkXMLGFY2
ZDAxX3xCCajSLz/i9K7eXdNYT6QhQHTqiGG3ypgZQ/KlWzXiXk0oLg4iImA+8DRVmwt9skuT7xSX
T6vHExzIX597ekfvXlmxBASlhQDjnGXSzFZMkR2txc3tMW0Q2wPgjq0R6XYJttalefbF5f7sJjqp
VSPGIoVmFpkz0Kg5b87i8/oWv0d6Qynsf/EiTIt+eVFPRn6C5Mt4/TPXwd2Fmxxdv9WthvKcmYXd
ZIAL4f188XE+uXtOZ0UB7gir6Pre6XRzRVYH3UeaQC6JtmjWY41y0x1XLMOcRY6aglwrKRdfvPR0
xX7xdMjTp3/3Beqj0Puj1NWOCqe3FQ81mela6a2DiVqNLjqvuKLqtjB129elLy7tx9jGP+8aeZq2
vntR0+oFPENj7UQy4qvOshURMVSrriweGbV3V+4oT+Kf72fWf3yXvoHr3r0efYXBLGrTdPK7/Cp4
wUCNJor5DmKdPfJY5Fz/5tU8WWsIjQ5NJVIKxxIMlFLHBB+zMlhvtw/aS9tT5gXIVSlUrsUvFzjp
be381Zd4svpoHRVT55ZAxZc6EfQ30l26z/y9j/vLXPqH1JE3HX7EaJyDkXxG2kVv9yzdt9W6Jz5+
9uxir/YX9CWApJ5pzby6CaFhPrY7YUZQOcpnZV88ZmfZZYy/2MY6ttK0vbDgYLIs+eOLMHTqvZlL
t3HBoPKWLuDs2ZwVMu5Q26zWtbKp1Dnp9bPgvr5sLytzD5t5nu2QwRqrygkXw1pzhC3G/X7Z2+pc
cZfDqtxkGHeWqj046RoGsls9+/vyrFoHyaZel2fWJfJozFvprD8ml8KyOS8O2FDT4EJ1n8JbZeet
AN3gItlmazTCwDDwb3+LL4CGiKXdPqkqC8aZsEGf2K/KFZGA4bZZV//myiifrMlSl1hejEPVofJD
SjrhUBkm1S5qijY8GNPB01XIwJZnJr+m//3VPTjda7+6GeSPD5egoCuJ8LU7RF7McmKxse8xgQSv
Jj/4MLCzSX1RPgQSUhCWlbbOD0kgrwYmafWXT7jx2bpyukLj/qlGuXUxoJAQAw8PeWgzYDmC1VoR
wQFMCBdFfBt34tZNSJ/JNG8z+tpcoIpHRofmNJdAxqZosVEW9YB4fApr0EwzYGQChXBrYaspLtGt
lR7AUSrjdtOZUrCkSF/g57PZExu7kDHoCKjDO4EGvcyJIUEsR3OWNIiqRceJdjv2bo0BcZA4XIee
5EDLJLVPIX+kbYZ7sKbnVU+a2JRyEHvqoZe0Pf4YGxx+sVTI7DQLUvXobRpGcua3aJ3DxObcfZX5
1dqTKmK+pYSUpwjaW6jixQ+0sxTYJTC5eZ0/eeaDVH+hVvmsDJFP9qxQVaxYLXLXcYN1WNxZlvdk
CqLdB83ByLmCIz6L/BJdvUkybsk3zjr8xSb2yZounegdGt8TWy1CziC5xZOvSHZqKnagUAK4JCx4
xhY/NQM85as1/ZM9UzrZuNTS7ANdhBpQoN5np5yAtNzk064Jdv3Sb2HLBpd+MbC8e/DFjS8+52cF
rHSyeY10sJLeA/xCls8hjZpZiucoxt7kM92xwnyrjttWI5Pr8otN5bNPelIxq0rSVopWhhsS2ixr
E1flNUkB6+lLDTGBAshty/igSezUurwdvY3l/P6VP6mApJPdbBDSJqpyPdy0prUtVJnJaLutLIFK
YNjm/H4qg37/Up9e1ZMtLBO72EQeIDvZIB58V9yY2nGaOjdedQ2lmcqI0Lx6pLURf1X6TAviLxbK
t4foXVXQo1hOEQNJTuvWWwFxn9tdmkB1Ex/HqCRtA1ZDdzDO3zoAvJVoML5apGXzsxc/WaVVwBRK
HFDy9S2WLmvtotAw2RzCrE5mUm/h3choL8JyoltT71I/2iYAFRKSn4ryDP71dow7Jy7c+1zJAOjQ
I4xWOBexnIZzoUasszSrZaRsimqZZdthZCnCrr8U+PakpVC7czJ/ZwAUwMswcRrnpjCB+XpW2bXP
NwsytEDpjAp12rjn/sjo61IZt13+pDLIokj0V227AmOCaBE1RW+sx3Jt9EuxX2S0XmcCjU8KOrhP
g7sdojtFPusS/Dh3mnrZyEerv83V11q9SdIrqV1FCpbL1xbYUeW0QMiI/ZJWgDTEZCX105uu/GXZ
r6R2LbRr33M8zdF8RoRLWmSIc2e5S3NPyOVdaw4cRNoQSXoqrENFOY/K5ghmmbgn4K7uyIA42lp5
4ZAhscbYt6CjAm+kXWLddVqSTdrirB8iZwyVKyyRq2ZwRHE8U81bRb9uM3paw7CO4bhPk986V7dh
rC19LKO+2YOAYh5rDlcWhK5ZpZivQipdDpV5rdZnUoaSKdaPRFfskSc/w0jeGkF/KUE2ogvkAB1Y
+HFpewnWMzICJEtYSEP13Anm0qLKSarSzsP0cRQtMCGBfxGYNGjHgTVHvU7icDUWKbNiLgZp0kx/
THEn+tExLAwHl7gWvxAqM1MrLH8FDcjXwFuXdEAtG5hqMiuVbu836NhJUxUzbVzEaYfcWF8XuJpr
VBM9Id9koGw6RXY8DAyEmR8G8ghNGkxt3jGZn4I68dHHWzM3LyS/XKc1kthGsa2CuCt/PnpsNxiA
2iq7ivv0PGyxvMHTMSTRIbsZ9gNmjGK6NOecKY91dKtEKMBHlH8M+xkTTGOJpHvOsXJ4qbi0xtwx
1MaJ82qvx+JiCCHnqQYBFYH5oso9ub97qFFwBnlosghyucFUrx3WshhsOk+9xKm0p/N31XnGk4lu
GdwaCaPy2o/j5aBpOwJB9OFQRORBFdpFK3Y7GctOinW3E5uVRr9CSaS14GaOhqXXNcy17h9ApRP4
om0B2pIsE5E8fS/kLs9vf+F7qjej3HZDRENqFDwyFiUZio4AOV+KeMfKOosMY54GB0kPvtonP1to
TgoxCWMC/b+mcYrBGat+bRYt43GEOr5Jyg/HzdckBA/sUlLp44bMkt8v6Opn9cBJKWKg+lONCgeQ
qTBa9ty9V/OAJ+0yC8UzBbw/tMG5WtWzJj/DNzbLkisg7bZHwSfqV9AB5lBC5qQf23msz8WcJLm6
sY2UAQBGjmwK9KGClHpcLKMdm+E8QouupscqvRdFqp1vQSeTMKAxLVLZIyOeS2FFqsq8pURDB7Jo
8L101oXXMpa/jAzSXIiyM45JN85/fwlOuOh/HnNRlH445o5+O6J6g3elIAKfzIjxJpaPqXjPDkNS
APaDvmG2LxC/BY5pOFQIkyxqVpE+sshAtHdEzIBdOEt1vPd1YENx3FG5gVPVFxcACr7YfK1PWmTi
aS0lqT62H5xpyaA4PpuwIQCy8LoV4qNavRStsxJUJ3AFwHkXJcN5xl9OlNY72a2XSWfMyyDlezwE
8h4Af8dNJm9jEThCzmX2S3we86Yh4zi+U2putyeGiMRMu6uK2LMItGsP86OyEO9jMNbdlKyZDOKA
TxQZwlGQ/6mwqAjNZRSJUnOCjhwTDO3WOE+UisH/c5y8TkcA0u7mQe0vKmy3EYQsaQD1opKjU4oQ
PRlJ1I9C9yB5Hf6VXa4xVheGi1oZCAYUkZVeRLUTY7YMz1WEczrea6niLhT6OSEBu+y2zzHnyObS
RH0UhMW86IgaDKtlyo8vITz0bkzkgz636vu0xl1lHFV2b3BFBotuM5Zf3FbaVGj+om6Z1NXvuyeC
kXoKNBzOzUQXS6ssHcVVLOuHgeRjIreYQDoahprwxiMhqOjvC/9CS9r5JI4Z9GYxNuY8rsE9N97S
jKGD2FUUoEt+O2SRozFcaQWwfgRbXolOCO5EE00zp4a5j7vCaHwO1HwXknLJ0jdLdNlJNBcNXWsz
37QJZptP8S8d2ZUp6e1FO67J2pwDmkWVkmwiy1hHcmGHCfuqBkqxyBZhQDx96hHSAamCcuT3j5/x
Sd0sntbNbimB9nJL2Dj3boXlv9D3bN5bsR1nqlevmV6dFYF1ITfqt1wIjo248g2MWXxxkRefKSVB
XHpxIZWOym0eDsL5qGdMSKPryldv5aRydK9eoB9DXJzNEYrMtXQ6RLceZ5J7vSp3nddvTSEDdqrO
xPgR4zCWC5wMHq6eQViZIXGU3I1DKpwLQNzyTnc8cuN9YG9F06wxP6qIIMmLmLV9tmB6uM/hUgxB
jmnQXSUJqjb+fyHqDEX1lQhUL7wpunChTyfm7MoNc6CCk4BthuUJGGi0Avdg9zjVXOZnv7/M0meL
x8kpAeIjQwOGTRsy62zTKqnTqwsCsmlattuhPu8F/jg2V2SQ2UUFd9OFn4HMKZbqQzFYRGB+1VZU
Pml9iCeHiHFoXYbTmFjNEMURgt2tOJxXQybRzmTeF43NEzmNu9jojpTfjjJe1Y4XmVvU0qy/zHiL
+gIXI0zAUVZFbIS3Q3w9IgnDncs6lzwlzejQ1t/I1mzKIXE0s74csyzcKAjxZGvdaQ6cji8u7Gf3
7/Tn784nRg4gvO5iHWqlSm/Mv1PoaOW6XUskm9htqG/T2rthBrnN+q2uCPZYoyP7N198KifevXg0
Fkh9weE4Cg3hQZJRwJvbLLceE7XZ+oWMJK7dKugZpq/RCuNtydcq4B394vU/6fCLJ2VLnKI9kUu0
jhCjz3EwbhXSt5lrHtyQHj9gl7feVaeRfhPe/P41P6lYxJOKpYzIFybyRXMkjrUpwyLTPEzn+qlz
ElOadL44Q9ry+xf7pFUDxfDjBcZIXZuTHMcJ9eJaZ23WiBzMtW8yNHTNPCZBbmeaYcOKOgjasMVg
u9U4B/3+1X99spetkw2/LVIJsYesOTry/I4I7bE5G3S0fnxMCIIrGWf0719Jmp69v+9W8mkoDG7m
wR9rzonFcC51ih2aybXIZ5yuLE7DVflaFdirpZCtslKgIpHsq1KahspXt9KvW5Gw7z9e6RQpWK0o
o+lE7JaJrNqEvs2liF451xMJqV3XEqmC5hx94TLibX3xyT973ZOFMY5bqezUwXQqCyOdcTc9u4V7
U8lvYXpbiUuvp4Ld59GhyL683p99tSdroBWQyK4xwXV6nNZz+oBVejMN/7HUyLAfjZkuobqg5AQ9
3Hib1FShiN4RrvhAyvXBox+tlGit8JX+/jL8+qlCZPbx6scT7EZDYesA5ngEy7eoVDx0oraK3IGi
X9wi59lKrvbV/fbrhYNEuY+vVygJU+Q2t5xODp9MRo8J3mvQedN6ZSr+grhj4Mu3AYfh33/AT2ag
snWyVFWa52mCyR0OmGgVqKItk1uldHeuZ9q+XB26gWZxflcYKwK9/q21SrZO1qrEb8AQ4XuiYm+3
3ggGkWlZwxM8LYtmamxFhpVQWP7Nq2qerFaNhiS4JEnA8Wj9TQtGxnPajwq797CVS3HmqnhA4DBr
mvv9Nf+R0vSYJfzvTSH6p2L0Tdz41+/+b5KZEoiEzJNr+LnK44cr8soP4FM9pghN//zl342Rf/68
v5SmAE1QhsqGirxjqnx/Kk3RoJoaz79hSMS3vbdGKn+Q34X4U5Ik7W9KU2oeEceDqqsK/9r4J8qP
054nxSByVZWfJyOC5UymGB8fUYLWgRemwXhN7t2tOsgbTNIXYSlxjosTDBLKVjKnIE5lixTeWECq
fUEvdeWa2U2jaHtp0pOFFb0+YR+M/qU7thAWwailHe6M4CbKRsCRuByWuhtCqAp7RJeTijLzaPoN
V0MZXVhdesNM2zEKgn5AbKKcPw6I3zjPQNe0RtBK1qS+z7IXIFIMd8IcdEJtHZVQuoJ0vQiAT05I
SM6npYS4Un9lPQc2qux64pRNyThmhnBEDXzuJowI4HwUwIMaU1gTSnKfcAhOM44D0J9Bf8oYWMA1
vZR4t4CRILSqOyZFaoqpQguMYiYym+2IUpi32fCQpTSR/D66FyhmZ2WYwIweMJVI/RWRMHgeJK2d
Y+2wu5bzp6dkN2YH/T5vzPNph60m738k15dCRYNUqpZdYtxUUu/NffyEC1p0S1V116R20sIsKwUK
QXflRfTHoYJvrMF9lTsmwYQtYS6L3ZllcW17moj0BJtijqaME7LGey4pnKOo4qBcC+2KPNYLnKYk
wePYJ/D7hn9Lp9s01oMO9nMgjzI2kY1pNX9sqsYZSlbSXAPOS2ZYFPPELF7CmLcOaDKet36C1UrF
btRPxnVyoCvaaMVN6I23neIuBlE4pym4jUPOqOlYXBJT9axlSOvMXi1mkiyRA1yVlxKQN9EC38e0
oRte6OkeAi+4B6JB9GuVvnikYdIYWqIRHWaumbyMSenZoklKBUcqYi3jEBdBDMM3r2CfQY68tUKF
EMr+gaitQxYYZ7EhWCAAhNfGr1ZxNl55pKmAL6hyZINCsNAGa62S9jLLSXegCkQBHRaXuLDWUive
tnFxE0mcNIzsJhbrC3dsgAakl1IG0qHLkht3HK5kK/awBI5XwUQLhStqj0Edz+MhhG4FaGqu+zRb
W1m7a80SiK3rrsknW2i+urPA6MzcCu54EZYvkcQ3XMpbwY8uWstd0EyfGySiosfYNEX5AnZzHZnS
wgyTvRRMX4FrgtqDIWW25cKoYIGarQbps6adP3GApZ1fAztoGvdc4Uw25xm7B++14u3Nem14laVq
1crCGkrSWszhxZKo6ebiQ4fg3KRL03TxBTJwHEgdZi2hsY5Fpz5buUT7XHPyOnl7ax0FcyoKr5FP
CG9sOLnAxVE7aada/tMgakcCJrZDm3j22KmbWIzWcC4uq6i/EgthrYXJejC5K4jsefKF/BII/EPW
ma8t5/KuwD4hA1Edxocw052IQNouTV56sHadxqnv3SJ/+F4P/0faJHzzaV39579OJFw/1kZ861jG
2SGM0+ki2rtAgyUxXqeTTtQt8rtQQrdupqGd5N5z19N6MfTl6KY7r67uwgRucacvv3gXH4+c398F
cXmahfmARrZxUkQlqJGKoixF3kWSLxSgGjOSbtYF+CNPjncgSK/CPHlI8HPlg7vJSjTYXoClJfk+
nPtHm/+nO/t7/8h/ffq3ptf6s0z4P8NmYogmKkp25c/3//1j/Dg84i4pg/h//Lf/XkXT71bl8Pjt
kVpg/fiUJY8/LSfVew3onz/7r1qATV2T2bff0jmpTn/WAtofpq5ib2D4jR3E4Hzy03UyWUtE4AnW
D7QC3/9PTAIZY7rITzRM2SIAzFT/SS3w8VDwFkRGGUI1BCXRwnNyUsYOVlTGciqW17qLpoik40TV
bcyjdiY2Nie5ZZTkqzAbvtJHnJy6v7+wZRFAaeKcUcy/yd4sSS7qWqmv8egtSgM/LOTJwIoWwmSt
FUmxFTq8FsPY7pEakkVABDeAzg48EopyaoPVxBup1Gqj9jo8kuQhHIeFT2culdvLsBQJj2wI28sd
nG2HLnuSEm0FEmKue9pFEkfHLH/yGdDqRbJTs3FRJfoRutje0llSyJgnrChDWk6zZ+xXSqjfEw7l
zzTVOoo1XGEwrSXj6vDJV/OVWMVn1sicVQ0eFaCeTluaRy+hGV3m97SHrlWVNg5o6jgIvvlsNJEP
J6rsL1u9YZ7FWYn4LfOsiw2CmIfL6UeC7HBa7BsY2DonKs3zzgL5ncquvwSiQeOXuPGaixWRU8Kh
o2+ETcjBugawsaBxvktF93nI8fOnXbpOhfCb7zfhEgm+ujK6/M5y3UWujA/9QD1Q+YLP1Bi++tgu
ZKBmbxHmKtYhQymFea3iRSloYQJ6RjKFWYaRPaAohoJxtck5U6dqsoMjRjoIGWHBsCDo5quz68eG
4tvtAsUEIbVG5aH/7RBbVEXS9MDTrzH12GKvkVdXLa1iQGekXQxuQ/6j3p0Diz22urf1rXihwhkH
KHgWsPEik7/Ka2NZDP1Em6zuvLi/iYFu1Fm+8gVtzRiFHCB34UtAQQN1jankAivNKsBLO3CinSUZ
ej29OGRuf5NUVH8+X3uo75CF3Eluw2nTRSnRbwswbUKHIH/6dmCKLOhNQs+a8CFScylq0w1O+FTg
mYRp+e08jjmH+2guQSzA5J9FsbYrKjbsVkgeuon00QDjmZwPzZDfx1q5IVuIyHBtDaL8wtKTQyIb
OwiH557Sn+dFcQWXiqRrYVtE6rUf0Pq25Ou29JYS9cjgJgeDx6T31bNILpd4QPet94xM3NaT5ODl
vFfwlzGWy0LiDpHqpRInjpk2G27QnT+6m3dL6q92W/F0o2MNkSWFWEQYTKqCn+7jUaSNyjJJO726
LkXrmOvWMSRimG71cmjwtIu4nToJf0mvLfI6JJucOVyZXbrtasrOdDUyQIdiVRbhLsARLmbeElAv
Bld5n2sx/L38ACXyqA6NHcTGLh9RHZCZJMbMlgSp35ZF4WgT3AFvV9KnzkDhXhvdosrrW5eVsHKT
ORDSVcrzFhrDNojwHsNDduNyg5raBsf55OLP71qdAQOhn0Xa3ZRmaOeNwjtCiREkcBQJGKnrJSX2
ilippUylD/YBiGpLZQ78o58uPfbaNl0PWrPPrXbe5zrPcLQwWIWyOkWnVu09pT1PFEYMTNISo+fU
P3JYIPpB6vaJJa/AVYzzWoLXUKI1bEK6LDAgixvQa+dul6+z6JtlGljfODf0xkw0n0uZjyDj0yrL
TVPla8bAh3AysHGccnKFld8VDr//xk8kst+fZAnxnsR2Q3k1pWe+72tTOyU6SL/qmmu9b2qWFE9b
eYM2r9R0XdCjtDqN8HbvAosRMhdrIYT5qgaiLPRcRm4O5Af3WLfIyA1ycr6ydY4jkSJ7Warq2tVV
eBbRmZmQb5Q1t5WJ9lZRrgs3eJ6eEpnnlkPjsiQFwB0sh0CjsxLS+u8/JIXEu1br98+ocMLH+4FP
gzTlj59RjeXC0KOxvvZDAxYgr9nJDbHhXcSMMvxibXxTgf3V2P3xaqqmYVIFxYRX9eOrtXB5Cb1j
K1WzeoPHbGnMDFvhPG5427ogesqAKdtqO0CR855wA7HBHSa1rs/hIf1eLn6q8J7Muh8+Oq2F6QOb
Ev4WkfbGSZ9K0Zj7Kl3bXXcchMawcASL5v20qRapjjhIx/xJlRGrq9JQ122er7uaICBNWyY8T2LU
2Hqmn4W1clbjM2e93viNscswivVpeghTb1uwospt6mRWAxY4O2iydQi08lYdvS3GMNQb8nUitJd6
zcdMh+Y2acIzBZd/GSu7knQqL/S+JUmxapmHmUOzB5RrK1HwUrFry6QKVyEvQgmUmOkVDkaIMR6J
fYNRVHPTHW4k/g4Q9Pzeg79EMD1RITHrvCwcK1Hf9Yq/zYnk+uJLnu6Y998xbRpZNRUcyuLUHXqb
/b2bBuWSi/nX57LqgrKmqb1SYvf7V/f/eqXPYIfL9u75/Vus+jFIslLYvVT1y4c6/ue//FHHy8Yf
IMs4i5maaZr6dCT7UcfL6h+iigrqzcol6u8CgQUTzxbLnDWR60RNNCZK2Y9CXiBgmL+riNgIALEq
/7CS5+d9uEd0UoqnZw9IHn503qR+0gaH4JhrKvCprSiqsF2AO1nLAWyl3QuYncOcLlGQg2HIQzNa
uFiWnZFAg1tSYBV2haaylmlmiuBEXB/uGQIFK5Ld11YYIjRiug9uO09jSOU+yRhzqmH/UIeluwnI
aCxoNslgcax03KdN1sCMtCr/kBkG4oPU0J/10CVbVSDbM1HVaMHZO4bdWs672m9msaqWF5oSg8nt
g+eya3C/ag2UktRSsket4124GTjCeZdbeGILJUtwp+gef8LA2S0XqGbIDxlGQrw52L+8vZeKbHgX
WZ0G8QFtaz4nO2m8GDR+1ZM4dZEZhXAsoIY7VGcRP9VsFHXheg16RgI/M8R2wbg3agL8RsPoAUiV
LXwX8sPhcbYYOhME83dKjntcZBdhaidA2BaoVMep37UP27AS5mpI2HrYF/P/ydx5NMeNZF37F6ED
SJgENt+iUN7Q+w2CFCV47/PXfw+ktnqnZ6JjNrPpUDRJqViVyLx57znn0RQgY8DpsbhTaeOcARjk
D10uqtfYLoNXYzImkkGIwSEi21GFfSOCSl1ciwwXLzGYh1uhlaxyu+g3WNpwjZJeTXcoJuW+Kqdj
EveI7IaiqJ8NUQaI+EXw0E0yxwXHpHM/M8ml6zZwCQj0Or2zhzE1V9iErSdy7KObMRUZPpzG7Cu6
ekQ8V7Bj3pJKl/sW0u1NNA3tg2EE2vMQpKi5Vesd0iEsNoHnmiBrcxzz7SSADjpkUjnqzWai+hnP
iQ3NNTbb68lBUSos71XHanQ1jZGiwrPGa1ngZbd7BWK2dvMbSyeazU2XGbA+ild4XenNNPXB69in
Zg+kBp9+yL1jTSIhgRzBdxngsMW3EF1NceJeQJGWLxAP9Zc6iuZHItudGx0UET4DvsVKrfRpUHQh
+0DXiNBaWmP0STegQTSKqVwgdXLdnZXNzaFO1ODPmpNuvKkZHjl/ruMEBN1MobaJywlO6pKmkkVB
h7mQTNp92/I8FEAFkP2keucbQV69krnEhRYnysWujPAmT/vwTSH23X1PshEdzyaaGxTPqkkvVPXp
xcR1f5sZVNtzTAyVobp4Z0WInjrbpDJ3evsUEhK2a3OMPJkXIVZLCshZGck4wyiLe/hJ1XYWPULu
XjY3kbA1CAwEUS1BUd5iRCbRcL6YYs6/LQk2V043R5eAiuYzILl956REs7QEge/jNE4vCykrXM2m
9ZTNsYxXSnOy7Zh1YeKHWTNQhYVNX69zvSmRBreIepYEKwNQXuSnI7ozwtlDk7jkFDmYK4JLG7aS
fAOLA99A9xrTHT1qE3yzzu3Te5Bj5UnY9ry04qf0QY9E+QI4KbqP+kjcdvnYnhoHEfEMAvSI27J6
LJsgQXEbjB1gR9UfyHHXFhJYe7HjuF9IScYZQCNTyLaxFEloor7pVdafK6mKuzodGMmSe7QP2WcO
OUFc26lC0m3rtfNuE/97dKIweDRnoOahbaXrosrH/Z/OnH9xFRJ/PeK/b98cVZ6hA6+yPPfnwpic
pdYoiIM8WUaYPcHFxcJOI8IhoKEnnKozghNpvo4/OCZxCYUxvFToCnZy7voXO4lBqmvdsAuY8j5j
z7yqRgAwjeaI+zyRyYveJunJpH7eJkWlDpNdI4eUFfcbLy+9/zCltJxlgvRHveI6NJSoSOlc0vKy
KASXX/ZP9YolLIpMs6pOPYOJZ7ew2DVjrPHfJqX6t2h5D5u2nkB5fX93l/cZfhFP3/LeR8unUDWt
s4/RdpIlphV3IiP9wZoQY6RTot9MHEuXwSREAjqWoWP9t2MieZaPXcxItDTCC44WrNVsVS0LRC1L
pV0WTb8sn3hZSNGypDCZli/1sszo37Hi6KyUp35ZhuHMgmQD64+t0Y0XJPoJkWAs3CqOtMusBxR+
HdP9uJM3NIyTijyE1Pr0asHGLCo2RJRZAOEM4vQdwC51Pl8c1embgFjINQLLESIskfM4+MKDTQYC
T3SYxIdel9BEyZ07Fez7jHvWhZOdIv0tjU+JegfGZMOnRllWJ3eJ+dKgq+qqbwTFadNbyGnqdKZP
6omfX/Lormjei+mxNovNlB9EeZ1MH0SLrkzUdUxQKtK15xcDL3QPJz7sTvGzN3D745rCoQrXrToX
yYKznd5psjUhkeMEyHXywRmbTRdfow7FAcTZ2Q9wFTZx4BOudkjz7QIEEifABnfhR0WmGtdtDAgj
qOvtoF617Jm0e0u/SaEcAXyL823gfXHFfv6QLJkxvu69rTtfCJ5HT5+vsiWxvo63Ju9xZnob5iNu
9ExQKxqs0G+z0bcRlLjFguDVyVyxKgp0XTwWxXCVD9MqGe3jUJsn9q7Nou8Oi9Qnph3XxZ0NBy4i
zAMNHIaBRnoWriKtIwA6Fdq6G0d9X7lRh/UgqDaMFXjrXOOsLRHsCXH/O4oTg3Kg4GZni3EliEOb
lXWVNwqOqoeSeJ7xsBTTi2cP5z5T65ZaqwtDsrFY6G5sXTzcIAkIOjteWm2vjsmFIhbmNzWOL3oh
vmSzvqbq+RTKi4mYeMinatM3xSMBp/upbk8js/+8K49j1dsuNowXo99PRXmVWQ27Xaxfmzqqd7ab
+9rq91IU+ym/J9gVcIFlfageW+Y8Hkl5xY+b+Aa+3B5fJE41jwYnJLOzrcYCj6aIMDKKudmoPLbZ
y2lg2TWGEzePER8k5qaDincFqv6m6TsmdfOVXk470HfnRHnAI2eSa5kb9gRgjkbW+7j1yP0v5H3W
433BMJofJ/nelnwslj+7H6Z8wCUqaD+75rkct0PypYQdrTGzleRyQhvfFAkh/iuSBrnIwoy0SYPJ
w+sCsA5Ts1Q22LTRVhloP3aZ9qwqCrN6Xnd9QZTHbVVuWWV6FR9E88qkOyDRr7CeibjfasHCyb5q
9dcQ3BUA8tzLTzK4t02srrQaU7HO22OMpKcjBJETeRiIS2hWNZLFCqF7iKYsBEf1Gs03cN/FcyRc
P0TKl4WwcONDqFN/LNLonqeEJyWh8dE9K28zOSaS6G7VGdcu/JG+dnzZfMoQb/jFfJyNG/JGVs17
QzKenXxi+Fdf6Yb5Ru13U+UXw7kVayFuMkGuan3FE2i33b70iPw9ifh6IDHNHO8baMyUm3uR3Ll5
ejb1bN1DeE9MjLHICpd8R4h0xH9vlL2mELGQ6dvwBc242ZojRr4N2MKDCcF0kKQ4CaCPxrah+lR1
u5Hmc5VdWXa+0/tvnSr5Igbm8i2ke68Y3JYj1m+cIIRb8HrbjdvdSvrZA8skxLEdQ4Rx66MLfdHO
UAplH1H4YDc3HmkGifHSNCSqmCExqd+qTPlRRt2bHIAUbrqhJ741fTIbRRjcJq6mtZFFtyCwNzEy
+M8Q6l9I3tSSFWXsC+8K5nqZPRTYLfJq34RLuWKsIrd61mmhIhjoYlq2lOS4nUZHQTU4y+mVNIcV
eTmHWXf39D9AF+/HeFxZ4zcrNfAYbyv90BX1RkTvdUJoE0nb9n9osPzsMf9+tHLPs6RwXUn6HSkg
fzlaEQ9UoWmU2WkqAxZS0ozgDVyXhRR7NVN1EtfmilFBV1w31pzj75f68IYf16Oembh5mPml07X5
iKGB4qIMMqIYIYmkT4T/ezvte1FAJk0B+otKgUxYaOOtk5z0fOa5gzHLYN8orzvIfPuuaK1jNOrj
2gRtR3WV4BsfALeUHiToiiyadRomt+zRT1Ues0aWqjhC7T5221hiauwZ/UTzcdbvquwUt/HBjQOu
IECCzPSrLD/KalOam3SAcZyqNYwOue45JI6ILRZPns5zFewDwnBWIKz2Zj5vBxHtsypiGK5glTpg
plaiV+OVnjb5VlUP0ptXIf1y/aLl/cVB1o0CxXxJmltthAYfNSsLygoD67UBKy2/C+f8xOX2q6Dl
aD5lImR0T4/ZrvpNyi3RQ3ccPfQMi+pTOsorNLMkX0MUa4d1T2y2o0xtr2Xq4HgMb4bisePTkUQq
bbr56AaMGdpPFXMcazez9Z5H3aG0g9tCPnLjAaBqbITChDk4qM2bfa6DKa67k3LlvYEyJFMkb0bt
ykkeyhpilQreorI6mZja6m+OepJz66ceYWMANwCQ6P+hz/nTsJy1iI6GroZJug0qp/8zPlS63WSN
XQ+nRI6UDgr0bpXRaOzfqIXUJQWFslPFFG/GNqw48Rk0iLLRt2FFAfi9fv5H7av/RqX25yH1/9t9
La/e86/tz4K3/8FR9o9K+99K2dZ09kuG1g/v6VdCE/P3P7e5fv/5X9tcpvGLywfqEd8vAII7f7S5
lq8wrhY6jcilW0VN/+u42pS/MLyRpBwhnFhG2Whhf+1yLV8yuQzAbNBpdvEX/pNx9U8LTromPa6l
0eXqkoE6MUl/3fzQtKlSszNAhPm3xHqcmMI2abtmwA5Mp9iUTUheMp3vrOFSSiwWRfq/v6b9PLj+
P6/gpy4bl/3UhHFe3uLy5/kjlg/jTMnIZ7zMB5sRqUsKXf+WO52/pDl42uc/X+d/K7X4yyL+b56G
/8GFTiCmjpGFVff3oo3TO4dOnP55ff/xYz8WuHR/gSbCriV+KDOXe/aPPi5fsVBDWjRqiUK0rYVN
8dsCFyxwx5QeOg7hfY/6/H2BL88L4f5oM6XOwkTK/1Pq579LAf35eOc+y7RV6nLJ/frzjTmQbKGw
vINdmI2XloviSidO3wdM+kFw5g6Tz24gg6Meej+OJUQnLm1OfizTe3i4IUbM2zHEQZMMTrMhSPg9
FLhuZAbIFSET2DPbIKEP6JsYc3GaMhqY/GFjtsVL6oit5912A5nGkXuWRrNL6Y0qq380UoXbL7tR
XT0hFUwiX6bXwDhRWoyR7xKda7p3wo4+QXYDm5A9/699TJPiC5H0h9AzkvUUJeTM2OLKMdozDWOa
mG6z2M8SStmo3oamxKer4f5FUbtOQoemEE+V4c0uBV628bpFBRG2X7WmuvOycRd0LuAiGFtlFZ/G
sXseQnUdzDilo09Ja0srAIrpurxfQk665CWIvvXQLFXhvowk/vlyip9j47o27Wpj9QP9Hfw8evnY
WOLTTrj/MKm+NXSAkNyLvbJNHtLcFZfGTvUjirlrWuq4IcOs9L2CC7Q7d2+AZPVD3JXGZhbjU17Z
V4oh2BE+SvUiYaH5BHAPuy5vmjcwX/4gJsqirmkkKPeyrfBVOgyzQ4cO7+SKTRI00U7I2gJwrlr3
Ro2gw3un5huN9iFPR0QvCZHtaMQgiqCQnYO4YuYl4kenVMneKPVzhppkXUJ1xJkW/FCn/aOj9r/Z
gv4XN5cljffv95X7rBzeMYT/ZWNZfuTHniLEL7bDVI6kP0nvTl+yhn6dDTm/cFgKJi62JemGLa6c
3zRe3i+OQbcApZMgBhAp9u+HpiV/4Qhm0iRc01kqq392aBqSf+VP7Ti04/w1Li/BRvQGn+/71//U
jmuJGm0ysvH9oMlF9BpEpYRC7emDTvo3pb9fiYZI69BzYmpz084+3STA+t8bazn0xLHGzDkX+6nR
ws8G360CM3mbh7g4BKOoX8uxAxaYG95LCIjmKU9a02909WBXKG1zG/lFO1X5g9IadFsk5/qzKdOv
GeniJ8hk0csoB3XH3sBeNYTn3FUIUslQ2shmKL4I+OXrsZiGp2ogzMetbe02qDrtXCXSo7Uh23pr
yzEnV2CO/LnGbmJ1xUejPw38Dmn4lkVyGyfWlzEpbrz0JrKeAPLlt6UaagAV0LAVUEKnZ2DBzSq/
t1oSTUkYiPt1U4ruSoJVgRgwiLtelupWJpHzUsz6YpV2Rb4ToTfvc6ZvwMZC5+ANTndMdFS+aJm6
Y2Xiobc91FOTJn29T9x9UAJjqzHV01HDOer1kNbHEfyMNwgLfE5t+EO1bvNpZMd39W0+J+A6hAtM
UCWP3H6YlWh1mA0bovynM/H74ykXo9qWAwEKvRVG594GAhzADXBa+4uR2j2tLGO6KaSN4MfMi3OQ
CmOBOHL/s+Ib16yMdcdghn5IkNyOqfckYlBnU6O7NExbfoUMs78Ttu2xDJoJIE57RDFUrfXG+tRc
fu24sTGcOsWDZms2Ta2qWfVlN+0kWxuK/KpiW03C51GRjDE6Nv5ap3Uek9h+rfXQviEPhaEVAftn
8l+rXRDHBNvimoLzwQ1zNxc1GWlkcIxzbu5TW2lHJH/BxmwYEPb5E2CkOaQn0tw6zBgviCFGf/C6
b2BnOROzqjeu8xnpGjjy7jLxujZa3QPjwbl9UpONH7m0uuzODYseJf2Q7yWeg92geub+c8jn0U3d
E7ie8WkaeONgL+rPZqseaTcOJ13mKA+Ktj5WRT9sGbaM6+V4qCryMPJaYGEfa4twpKabfTGJ8RgA
St06ZmS9VYSF7dqIhDqyg/ULIfLTxuxiUsHKWmys2QmuYc7UaILchL5QneRLvNX0CqaAyDb6aNdl
IclwHubJWA/d/KzzI4AP4zA85CZJNi3tv30wd3IPIz70EUjg5vQmp/TpT5ZPhaVmn2iOGYdEPnPX
XPh5GCiOvac5hHUrSKlxHDwifWZFJy1eI2YnW5yazZfOoqHUVYYi7T40Hq0QUlQQxDqdENstjk0G
RtPQGxPBRfo6Shz5RVckfp7ViDPD5G5C/MxYlfjBT1bPu5fQOgPS1NNPKMu12eJgThZOhz7i7m4r
An4ji45Mu6i8JuUwRIuSfqPPmrchkMzgEUkicsjr+pTLEPsZBzYlSU0rQSmmtKRhsAOl9M8ZPrbX
xVg19zlI+aMu0S1GZZrQcBqGk21YxOQIKyFwx/AenIRT1uTMJ+fAkLxNRMoxtRDaoR8BcIiyEvuC
Idd7VKjIh7MOEX4K6aYabbW1I7j0DAPEvRYL2p2ZdRaqvNiuE78Kx71rS0wkcdtvqjIVVxIw7Tni
3nIA1nGviJbZVI5zHRV0m13ZMGrkkaaAm+CojDS8sjYlRK0GGdTMZG8sSCJeT8knCILjDDTe9fXQ
kh+IVObHqZ1o1OaWvC/aNlWrRicuPAjsTdJD4Kw5iM5N7iEExNNMcvjM7ltWlDWzo9+ERvIRi71l
ae1mlmKr9dZbqO0dJ4+Q6wiHXo1kYlZ/4Dqyyi0A5PMc9ek+qnMqz0KLtTvRperadOl9jJV5SLVx
Y0uvgk7fEMjWhQS/xNB/o8YItqTZNAdkybh/2vFZS+2Ecg7ytp34yFptm1uXC7M0uUHiTVkrNTRs
KSY8QxQHxLDRikmK2Huqvbfc+HomygWmEZHLrZmiQUi14Wbs4xDdA1npvdDemNh3uFhs96bPExNp
GNPdIXgpbHmoxUjS4Sy842h5e265R0Tb3b1UydaI0n6njfIgu3rbhZp+kpSq22AOZ1hXoRPjCarL
bThqx8n0vkH6RamUAl2ptQBdUwgqMgRcbYzGVRLX1dFyYmLzc7tfNdAwv3RDnRDdyHOaOJA5BNOJ
0LHTs8ZcGehJQJrDkr1h13P1rRHpa1Th7LS0XDxoBWpP2J9+2k3j19gKJ9jQRrQfrCDbK6HZr7ET
u2fG+qA/HBK1rNo6DegJNmUwYLbp2aumeLCZrAbTAT46NbpK67MLE2qam/koSRJsTOOWh2xrONGY
+iJeUHckO8Hkve6zdIWKujPQRA3mYWZ8kK4Ccvi27uBmu2mwen0LKAANcQb2DF3z8GgbZrXPrHHc
SWXqV+WYvZWtWKBiGNCddjQPTtR8G5ZgIDfyGkDcXunep1Vg+XBSdRBscXjS3FbbtZ1skWJKEh4C
LbDvakWQfOiRjYK3TgKGKchscqP8zu5SfUdGJOx01QWXHMnPtq776kAweXmKDLIwtXgExze2HWDu
RHtERsBIuBzH7cxYkDGZipl06LGlHr0wpiVIVnf71XLnhTw+E77Z1COoNM6JjzTA90umC9g4XGd+
VmjdU6KgwidDHK+Ab0BSJUYMpopmhScksOElT1J342gdsSHDWYrM3Fq5s7d7Xd/Csq8POn3ErURW
aCXRvV2V1ifibt5YjuxDppv5eTC7YdO3kJQCnWFXw5svsUs5zkY3teAapxR+EoqsdaQJdz9kbvjW
wjwYY/dAY+g0ifnkwHbBc4pIXt/iIvTNyq79FPg6wBzkEaSCekR2ukL4tWLzHjUz2kZJhtBh9ONw
No/4gK2V5sAoM7F1x2mfnUs3t7Y1cfFpPx2VF1S38+DI2z5w8i2El3LrhPMXKEiHgCmeakH5Ecwz
M5okmN8o452JSFkm4euUtuaGUP+LHhdXbjjBIsfH3Nla4pcs5F2PJJDr62WQJD2Xuc2ksmmhrDW+
ajo/yLt3L4VSpqWDthP09Y2S8CEdaIVmHbKZsC34auva875E6LvWUcIi5hnZxsBw11rTE5vhhgSz
jB+19tZVRRTzjBrTxeUoW5uqQUTkzXfzbN+5QbN1Jt7JqTWw2CXWmViqxyFkUuFkJTQbYhoBqnN9
L0/unCE6L669mdCeUtm7NiQ6bC7zBr9lx7xp1vM1He3PxhC03EdEntAOl3kuVgnTXYeSGnwFQeGg
ieBLOXhPZGUgBLnklN6QQIxkQwrnXUPytdYQH8HVmvhRWANZR7A/FIxVJDkf8RauKpOBX+UFysfW
sLNC4yHV5N5IsFYT9D9fB1H3GY3TaYq6YZ3OubMZZfTUWTTr9f7NLMp7sGyfKM+/BWm9GfVkHxUp
TMCh2TUxFcuczubatOPbIBh7X1V5DrHDqbbmQPHbM+yfZzJbDT0/WqHYRj0C6zrq4007Ul9nfPgr
hyyVe2BmPjeCRZZtpttweI7MCq8UtLknNYfbIYqvQvjOqwmAE5mvQMrN7LEAWryaqxoEnzgSkTtM
7KmznXc48ZN1YISHrrfKI8S66VpT4fiMYXavtMH3qg+tMx8GVWj5KjLis8bT7FLsYD5kU+/3TVM/
VHYsNsZ3Hl1s+1OSJVeFXTRH6IPgGQkhIyqLI+Wlqotm1XJt/5apxH7L8CZMpeZHc47sQOdDLTuQ
TkQXIfrzs6m6SlmK3C8m0IsZ86siWvhXdi2xBZqe2oY989WyZqXT+tqataSFoScDBVyhXY0NeRY0
JD/47Y6Zpl3yocPB4bTDtT6k7iNZGAMvZtKvAKTDOo+Vu6k1pyHHCWlP4zb2Ks379tlIWnLcPJTo
Ro9SQ2Xlbuhq7aTZje5L5eUX2HDOo5sS9krxUu1EKYkRJvPUnHjZJGt3eCyNBnkRGj78LKukex8w
I2YeQRh8hEp35jNYcAyane9Y4qoM4mMV16ULVDw+tm4M+TN5nZsONUNH4GiZDse0WHYn5B7bdAw3
3ehexYann1prqLdRUxsX6hLY7+NoLDicLc/dBZXIW6oPztaa1KX1Ag499MyHIcm6favG5NDX7g3H
AJkNKjiB3So3WVlPz+BZuFvU49cChDM3HkbEVhcch7Gg2G/IcBxDJBR5TVhiGZmXKG7vujpLttwk
HR7nyuI5iV+yARmAytsQv3MTXA9657zgSA25oHvsb5rVbiKt+8Aw5PgumrAlFkNuPSfctlP5YGX5
E+4AtnPP+TYY3r0o0ztORMI7YmvFc3pwHVWuGuHojxnrfNXnFs9xNs9+wEB8FVvEWyrcyTzgED3G
Tt3mIxIGWWTvIkwrtrJZW6cJ4+jU7eKNHivxBWXlDjn1uosT3KCFvdMLxG5pCfjCwCgcuhVULrvK
n0GhMge2DOgCNirKvuIkXpLdEvkkjBA+mGcf4S8SQOadIzFSr3kmfC6jKqkh2FhVpN0NsxMxf7Yv
mQtcUoAmbzXoMnNmx5sukK8Bq4/zxskuTenMG6L9v3Sif6I4uu5zPcDlom6FHZ8Y6b+KpAYQUlAB
5bYgUwbvUylIIokM/dlKJdmxVkFtjjBtUzcjrqGmfCo91a+mKNIvphOjfeMA3lF2Vl/dOJ+PLRgT
3sR+5lKXLfhzu//sE4NEZR7TCRmCl7kHQqWSl9J1u4st234n6ywMmdChWEqqWb4XuRK7xsG6y40o
zY4CoPiLpgbzWc0tE3cn1k6ESY5+GNkjfVE0MKUZqt0c5d6haVT1iL4vX4FWRxfpOlOKsF9SZM6D
EXFczYAcvdx+zrVstFA6xC9R0tEYUOzSKxpGTs5/5/nKqc15W+rEYlZ5/6Wf2vwQJmV+rGHS+Gnl
ivUwUx4XQOJ8NxShLyIUsVpsWYei7+RadqW8FTombz0tmX4Dt3sobCfZcsvTcMXNnLyyQ3tqB1Z7
1ZmiwAGua+9jkHa3fYeao7M6+5uWc+9L1WxcgPJN6HLDYq+Hmb1CB6gKlBWTWg3Ysp/jYdL3na5A
mtfTcM0DhVwEHaOLDtaAFthaeXBvYOI2gRi2DHeror4bmzJ561tH5/YFTMeOBGGdUavdlV6tTi7X
AV+03OubqrA3Zm5NnC2Buw31QCcjrEUIVMbZVhoSO3dVqejWExnFY+OkxIkZ5SnT2slvzdb5aCra
2QZa6iPvIkDkSMqCkMWBf1S1PIiDaWboOhTH+IRtjlxOd15ym1wECwmhXNvRw8lS96N7StPJ1f18
GAEOaxL3fzTRX+/sFHFIVNWbgTxFjQlXO5yy2HZeHWb9lybsOkTRdraWdVof05Cw4CYnqk4UWH7y
OA22GJ+TR8cK32v6d7eTnN9tjQ5gaUltV3sRaW1BaK4zzwyhTrJdpXWB/ruT1ga4GtVfuUaGuK5R
EeRUKASn06YL1KEsC9okyhc5V3xHYRzFSmVHD7hPSUtF8VZNvfFp99I9Uuh7a3iuALa02t3bVYUL
r+j1A4Zo87WoEQcVUIT0gqm+FppUlvTTtJuijTrosVMeHcHCxvtGs7wvpV5We69vtI+qn+NtR9Lm
zmki5v8dDJVHuvP2fSHV10Tz2K0karCC9L47ZPLFCvdJ4o9TE94sqj+f015bG0wn9jV6b2LGxxrx
SyWf2V0yptt2/BBGgbzS9SnalaI174I+ZA/IDI3mJWOjg4qN7KmonSthhRqvYCpGtc7HYLxPM3Kk
fNewiCIYMzEVvo2y7cpAZvqMRN24TG6NvzQGbLVIMhL9gP/SuJ5Ma5QbKwT/mpZ9I/3E0pKdlHN5
E+pTeWfRtaEtYGf961haWspoCFH6yLEVkntIEyFyEhuxEBnkBm0muI4bk8y8U4aj9cdg9B8NBa6r
r8V913z92l3eq59n53+ZTf7t+OB/cTbwY/D4b93iN+9aFmtfovidePz+L2OC33/61/kjbX9aO1iu
ccAtxmcGyL/OH71f+F5XOMavdpA/ZgUmpm+cVdKTpmPyI8vQ8rcBO7MHwdbD38eMXdryn80fnb+O
Cn7MHxly/+wEp1Fa0WDVkn1JR5jeMSZEGjdkI7JlvnmobFaT8Cg3NRrtehkT2EXkIFKwWD/NIhPV
oeyhaaWuG7/LoSmPjT6FT7ZV2keI7i/J2L5Nfd0iS5Yap3L+4DQDozaXi9KU4vSyo3ymrUGfGG08
tGiukbss9Y5RlMm7yJw0Y116ODXL1r3Wgn48Z16XPtlpar1gILWQgs4xeCxe/AVUPLhyQjZdRYek
DapgawmNfDfT5mR4x+jQ+IPBPIPaLCDhgR6CADRntG1ywYJVXoogmvdlFZA72sw1GVkFr3Lmu/d2
q41f7LgI7iPicsiNhSp8HmfHeaOTL45hquSmqmWNfR7VDud4fu6yEoFAQdY4JrOg/GomFjgMkKf7
UpMN6Q1F8UURCLJtlBM+BEyFnmRnOLD7dK6Uacq9wTOQrIWxeVuXs7lpHaFoAaT0SQ3UUIacGf96
On9Mg5COEOvLd2ThEZ7tqnEVdBhSBE30Ff6l8GpcxK+FYQ2HwA4KrpBV/6XFHeeCT7AlRHBXr1dC
b8ZjzZtJD4gJhe215s6CqIQAesqSy1AV1QVjRHEDb6XYB/HC8M1SWCGRQ1PMbMriYnWO2FeJnlw5
bjM893T3/FIL5J2TRN41gSLauQjL4XEus+zYlDBPIlI3UWzm2bWiG3rlTbXpY+csz1YgGLVUxuAg
dA0C5LNushrLKLr0FfPeLhnMJTWoW+MbhwlLUtbKcpVB05CuxCalFmJ80ugtAKjOdyeTSSmeodZz
56dxMJOPkNY7PoHhlqgNjRqe0TjaTvdaNtxO2oSAz6Dj4zIFN6hgbr/aeZBe9RZGaUn5+sMG8I+2
0b/dHP+yhf5recf/7v6JJujvB6zn96qL3rN/sXHyYz82Tlf/BW+bcGz8fN/3uT9vnFBTseT96sxb
0Be/CTd0QrXkAmfFj0B2wWJU+G3j1H9hEurgUFgeCWHq9j8Sbny31/1hefhduPFdMPTn2SqmDuSJ
NV0kmg6+2Vao592Um1F8KCpa69UUvRZcAKzZeJ2QNnEZGzGjVAd7YPQfpIRp92b5ahDlwv371SnD
l7ncyD49uvBiZqZfSX8rGkrowci/Bbl60MT8EqnxoTMSai5PrZVOn8zqKscP25hy0Yy4NYeHaRnv
NQxFvM676pHg0QhOdwB7YJVK0jOqmewpbX63IgJWi5INBGOaYnJXGD37cPbNS2zCjOJzMMxvWWfs
K2KqyYN/EK3j+SZZEL7j6nsHAy8PIV6D4S40mpeodb5MnfU66/HXnox9rm/wUoV4Togi7vEj9p37
kdVIPswlHymYyOXr5XXiZuu2HpB1RPdTzatoXWfVDtCPRDKuS47eMjMewnA01rPdfG3N8S4rA+PC
m1WAN0YZfktd1a9dhSq0zLnhe0MOmprJNDLz1SgiBxr2cKUjoF25uaFAO4aflfv/2TuP3cq1bMv+
ykO1iwl606U7Tt5GqEMoQiF67/n1Nai4F1c6oZRKCRRQD1VAIhtXIe1DHnKbteYck0Abssxd0i83
dRWzFxdYxpZFYGWgvZMhROVvwPS60qYqcLSMAyst3ktzKS349GeWkEo7nfgEQTSi2xQmthVb34l2
Gclzksi8JiwiFk0PyqTlLpgpvZnK1rbUuy3bOqQhYndDEtfoA2oYOqcCHrWhdNNu4j6eTiINi0nd
phtxwNE+W/1wvoSN9sR2MbQT5Wc0sYGmfwgWaEJnCteDMuswOlklXlgt9I5K7mIcFDSkzLkuvMTI
Ulq4cr1VU5Nlt0v15ygtvSGZrd9g1f+nZzJmj38/h9mPUfMYF2/mMH7h9+ylMRHJsmQY9BFAXpgr
pPL3to+fYNcFv7PORJquvwqDlIl85GeIa03RYme4+pj/mr1kjdkL07AIKU2FFMV09BXZGarO1wIR
hXqMKimruI19pITM8636jJ69wqMx164emeSzG0KNLSFToHGYxslSC5mrJLDl0mRSN0FkLQ9ytHaZ
5oCYPGVUd6/u2zteuJXE9MfHkV/EpmyQKVeyCLwWw2lVMQrCREOMDnSP4C3prb2Fr2SiBtcPyLfj
4FFQ64H1uQOSslTUv3l58UCIQXKKZyt6wBKkXpiEZesxkTJgqZXrYMZ8RlFjVO8kYiIcIVSF70qD
6pyeG41EolTVjHgryHt3cqjCUTdoDsxGF4OijoXGshNdx6XQhYGF2UsxrudFK702oErT6imltwaL
OJ3+hBYvCUGq0xjG8Cszq061JVFF+ybr4/wsKQZRHEWa08gdrFl/oJhp2bkgovP4+Ea+YJT+WZSM
l+9VkdHfqhoDmPqRXpbk6SwREGO4tdF7EoI/ecSQO1mIMFC3dUJwOuRPUkXyIHISpX0ochyF0VU9
wCUSQ780ruleGMhnKqxfybSrs97uyY6o+M9x2zpBGrsmyqFaNbdqKfwOmGUb834m+tuzyF+fHtWl
RsGaJXyVFb9+DJY67cowIXYFhyb91I4QOymNi83HN2n9K8f3iEh4C1EzrDXagG9HkYwljnJ07K4x
F+AXNb7SIrjsczDl+cNijIud1XHpfDyozPv+dlQehTUbljY3pC/9mNqBWKJNKr1rXKWoc69Sc/Fk
zOfVSUxF5VGTE+UXLy1QZksKy0s1h50DalKMflYlrRItnsuTTFHli14V8XjgxhdOxERO7pNaSm+j
mXYbxcx0M+kzRc/EDNXPHi02VX9cALMZ8C5T5kB67ENhIlm0OUwbFx7A5DY0oxwtHYiZAZxky4le
+g2sHWcZAsPXxT7z41nhnRMrwyklc9ppbYRxTyBOCjVKbXdy1ZI/L6QUTDRzM0PY0fQWVFc3OPnK
/MhlzTiVSmE8H+HnbfRKvOqWuThPk7Bwe401+uNviKn67fVpRPAyVxsKyl6LifHtY6ENAhy2fkSq
OqjNVm4whJMKClZBfQYBQstu+Swo4Y9ZjxFlVYLrhnHXMI9TQDICvzHjM2LVNDczWh97RmPipgLH
MJqdH1/eES2Zl4vRVsYhdQOAtKwib6+vTFMaoipSXE3UyaMg7Lsi2tsp1FhAnauY0LJyas4XbPBM
klbj6fnjD/Ayib957zSRpUviakUeI3oRbz9AHwgNCICwdkPdCgFz5pAhe/LkMmMJiAvRAjea5drr
i8ZAlFBbtO5qZhrNqIjvzXCvpkt7Ig6WhS0IupLS3cDGmj364RZt3Q4MdKRycEwLsroxzyDdiUb+
mk4gUgvLJczgUubTpWom9PJHSbjI1wZlBIPMQ6MYXrWJYN4MUV9sMiy7npFQBaDBJdN1pkdnd51Z
3vJMik7fYJmbUOvG1NUOE5/tLo7qfi8hoLFjMni8KSUv7OX2/R/YXn1Ylfu/8Ly4srT//S5rE/9o
HrPusXm9z1p/5fc+S9DWLRMyfAM3EZgp3t6/N1rrj3QdawtyasWQwcmxnfr7nKj/C+/KCthBros4
/BWnReFHPKA6swG6LNS4X9tp8VtvJhaNCUUl2Hv9hDq5VLoov33ugyWM6KKXzxKGw92yq27yK+kb
dkprrU7Ylat7T+k+3zOTnkhbjk7lZtykW+NgHeZf2snw1O2qi/asuMl2wnn2lDzB/N5mNwuOt5/j
XRfY9WPriQ4wM6f2rK3sVLtwq3rWYdkNdOwx8doE/ewzt76s9/pjdKE+x1s2LCfyoxW5MJIR5cl3
zU130u4FvyXeGXChX7iRk+3SO/myOuFkc5nsFL+8AvjhZRdQ+C5xZpacvW5yL96qoQNL5ry8HG+R
0/OT9nI5MTfTSX/X7SABnys/5b3qRP646U70DYm3fr0J3G6beuIeNr+jPycX5Z5PeaYcjG1wR7qs
ZeMQf4bOvDLdmYW3vW6jIqh1GxiIua/3AYNyTDu3fG0r3mLwQ45pXfzoT+N9zp8Nz6KLeU/l6Y5b
eMI1PMsekbY7ToF70q08CNTnSHTsys+ugxtSEDd8QKd1bmjveazPJ+JeOYncwaHIdWbe0EvwU4+w
dBdx0IZmMPW73ou+QWbYS77lC1637U+DywZZELm6D2TubNTrJXOnywi/vmYHPiLe1qk6B457KnoF
/z46pfgf/sikg4JF+aDtekd3Cn864BmvppN5dHLH/N5dz9TtVGekof1tOcm38WV1qDdIAZNdvdVc
3YHxsoOMzG1JdtHO8PMtuUQHeU8214Nwlp+aF4xwj3grsMm/2ZF8a3Lb0028QRFwpXDetJOnkEn0
Pj0M5+PGfJ5Pm84e7q2r0J7ulUN33ZxzOJeizYLRUaT/4rA7QbN9FvvU3dxq0zuS3z/CT9gDr3Mt
3csP0rlwzfM5OHEESAWJrS/Z5Sm/79J9s0NfP0CgEX2Db2STudX31pbs+nK4iJmTOYSfcdNWfKc7
bYEcUEWQbqaAoCpfyPFUO9XJ4I9OD6nxBzhMt95Ebgee5PQid2zVKa8Sn22cjwr2ye8oItj6HUXF
MDklA8LcP5SgmG3TCxz2/J7sCQ7t+XhTP+Sny6Hwu/MSg01OVcDmfeMxEh1iIw1blc51juGEMaUO
XV/S/CT9W4+yHuWxIBv2bD1nwQF+o44MRNlOymlnX/xsfbxqHGQOdNUcyM9uJzrK7XA5X2u3Oc1R
CEv5gf+mpXY2O2XmtD97F6DkLVxEydk2pbegn5cdCHZidpJzUBtoVdOiheQ52CP5pCI6oa34c1Jb
J+bZhTixUREyP9b75b4Q7YTmpFe7kpMke0RCN/3FlFL/8fSBy9jXuwJIwmO2B+9wUz/Hsr6dOQWc
GcxLnT/vixN1AxZS/KXdYnRu3fa8v67cwnAQN7Xnw+lsc3ZYTrU71Zccmv0utDQKMoVfSn5hdPiV
6bdXdM8JbaKxB0o12oUICtbdI3yMGxUgxLBRbpo9r7Ct35IFJK2F/Us4nkY3oGBD8W8np+WF+mSi
xPUmn3OIvIcPEU07IzvNHuNrYadvLNkHdFhvpmfBnR2x9u5LLDugCuz0UvB4qXdQgbTW65RH7i/p
f9AG1HvdtQInx1ZPiDa7nnRTYdQnAQ6Ole7JJmwer/gxCsBMtgZCPkDwzQGMSfudSo6de+MVAHY3
lDhHHxQJESraCZsngk45+ppUuqcf7qTlA/lzEkqD0c2CnwG9ZcVXrvtlC4lpAmY/7GUvvdP5N9/V
gyGfQnvId/l9fx8vHL2wPGwR2ImNPW7o+KJpejD0DVye9i6NfF2/61LfEu8p92HcIGu7c0RkU5kr
Fu7yrbdcbdmUupPuZuuRez1fQ1Uwt+P1eG3c8UxxhHams+5KhABUod2zm313mbrXxk7SnB7aglMC
5xyfcIqF1mUouON9ey9eipo9AHjyesFPbEI7BWcLqrK4FS5QOW+fLMiYdi66md1Wp4L6aJyKQu/0
3+rzPoXF7mvBeCqFV4WvQFJwJk7HD0Z/S6UU0KyxkSFTlIPgTD8TZ96gOke8sIvdzOnc+Gr0Zk8P
EFqegt/kQb7h73zLnOhylbIBjuDlkFwh2jdeX53K1qn+A3mzHbuJB/iLFZh5A1koQav3ClpMim/6
4Em1V9LYjW3zdMxVl/ktr21jcIU7Quvz7xbNFDS5+WkMouObdN5gAQsRAjt9eNI+Kx34keqn1txa
5xrAmX1unajixmUra/NS9cjNnNvB88afeevpnPl5E+2JaND7cHkaTiVKjlUluyETpVedDghlNimg
WHsymFhhT4SXvd+hnkLupFPDFC9YsQpb/9ma9mIWd2qs+nqa35MzOwJjcwEqEUhb2dbgFQiW7WTf
70aX/L8f5pV5hmk/drtTAuIoIcs/+L/uNNvPJ8G55uRu/WO0tR1D8aVWju5lJwRwtoBvttVOZ3VR
H6Jd/wNdw3gg2eti3KoHTbXHwZ5I673A91e79TcyoqSt7sKT9rlW2A+Sb5AkOzoRQt1tgziYgqxQ
+ih0eFYrnOq9bYxbzfSoVtfVLon3wULU8bbT7qlehE/9LmjIPnEMwSvyfcAJaaJSsdlHex4ynubh
lMxBogr7bew+mtsINyGyUtMf9X3QXYjlHmLM1LlPYuOIf8X+fGlb/n5n5k3z5r+RwVzj4Pvvt+PO
XDV9+3ovvv7733txRSXrxMT0TXeF5iqExL+34gp+2hfeuCmxBbZ0k0363ztx7V86DlvOhiiKNdzp
/NLfHRv+HsVAkYgUiqKSiBf4CzXP4wqMzLkW0y47fjztGMfXiuzr6lJpqYPUBjEhlsPSsCpZYy1B
UkNo4aCV7q9xNA2XQtpIJ1alBj9GikRsclWp+UFcJkB+o2llSNFqdZtI0wiDRTC7x1LTq2+wB0GI
1L1koOBMOjiFxsCuxy+ASKn+q9t98fu8/F+vAguOqldcBWotijDcL82k0seZ5vVVNBW2YdQxkqNJ
c04OaKOzr0w0EFAqbWiDuCcEOWHSf//6sByUOMyIoqJSNH47rDVVGj1tS3LwO9ijGhDhSZtZzM+X
adlXw3CKOqr9pCLz9uBkvFzq6zGPDk4TgUtK1a1jihMp9xW76JHlvK7lh48vTl7/0qvSxMtI3E1V
lmkp8twelSbEBlSUUCU0gimaU38qISXSV0lxYSTFINx0s6UecgBiJGj1NdAaQcRCsvTgkbBe6QdB
KIEYayIz4ZCiQwSaqdCbHuM+JdxOlh5FLceINClUtxFfW+VFpbT0rWlyp5n78cWAh/3zaiQKjJxu
TV5Cup1vvyupL1S5KJOFDZ+4sDJW0B/IWoPwb+FCnTxVizAIBEVvIOXKKYi7Ql4v38h3NuINzsTs
gFZUOg2CYhn9RurZ73RhPfyKVNhrnMJq89osJDQLgiEEILrQTvc2oRksNtLLdcrrJUPUSglnrJAK
Lj06Tkzc5TTYwXqrxvWmWeG4rN71jtwdMssAK673t11vdbze9Jo06trGuc53MQpj7RGSELDTUk00
uEqlZBzPolz9NSclfbWF+aPca4pZ0lKc+ql2zb5E37Us07M6VaR+RgwiYWRXqfAunaU8p1W8CDYC
WRzmnSwIyDVl7JhOpQwBgazaqCYnbdRM/HFg4Z1DIPhEY6ROdPSaqsKGC6yLLHkGcb58ubPSBS4+
yzC5pnG3r0NykBKJeIL9WJD4LOkLVHPM6nKFXDif7jEclTEBv3JONSvsryIqYjdzqgzfa60SxZNI
AkF8IYYWHdAuyPIraqPlDjLnPPioC8flSVvyfPFg0cWQwAxrArRJezm0tVGIa88c2vmqNMuFoCF9
hgoTt10QbvQsVfBUqUmTOjNpvYZtdpohOH3fQMM3wzbbwaBHA5iHcdqyl0d+gkN2lv226CiGRbQ0
7LglGAkYgIHabBS08UYO5mZP0Heeb/gtHhPd6EPZUSyLIyNtk/aaVkqIajII5ecomHDIMh8rv8oY
qiBROLJCSTgd+keQC7CDpHJUHVxbBECGNWLPNinZWE9U1tnbwJd3p2GoG2ywtI0cqn3Z7LGrGANI
BhwOkRnp8AIw2n5r10l6iGuQrPo6devrJD6+zOfFOrVjO2KWN9cJP1in/nZdBAxF667/Zz5rNCSA
qzuLheewCisOH6EYc20WEQochCeBRMFWRCal6Kl1g8Jv+azsflQ9YhLUoUOwAOq0x1Re6/VlfyU3
GMGjjJHBrVxk45ysdpza8wCrmg5S2ccnE1JISjzyc4VmOrC61l1o6qsa9KcgHK7wFG5rQCkfTzFr
KfzNdMlnMjGZw4QxdRbVo+nynxsTtwZXLL9cvJkin4E4xT3RXu5P1gmYvur1tkEFs35/hi9tvP73
hDP/3eqhgHNefR1/4Ks3j8vjf6G6jKvXu7CXX/pnG6bztfzVQn4RD/5uPbNBkyVa0QZNL9Aqb7Zh
0r80tmFUKdmBSRKiw3+2YdK/2C9RtwfOKuoSyTZf2YYpx2stJVXDoO2hr01u5YW68vqBLtpON4Iq
pPKiZZ0/9MRrnw2rpI2eT6AY014IlCJzQhIlW7mww5H/ZOAgpxLS03iC24hSuU1l5bQd5PSg1ZYw
+9II/J20iaW1+2lKzltlph8VFWHD9MiS49I8yN2ynwThvBUJ7A4ygdDyucBluilaRPpBpYN3w1QQ
ghcswBJiCmvL35u3///Q/g+W+48e2h3c0TeP6/rPfz+u+qp1lV/6oiDu2LIw2/x+XFX1X5wJDHad
miKi3FoR7H+fGiyoPoinLBkR+vrrbIP/UUqIGpILOu/i71/7yuN6tJdSNIAF4qrApXBPRO8fWbYL
MSBJjZcbjjOM16GV40OUtFKwnUxcWA9aWQI8lYsQxJ796g69s9M/2v6+DM3BCNI8RiQ0IUezbFEv
cZyqgeipfZy4QpHMN6M6tE4/iFHxyVjHl0nfUwW3RAqfbtGa09aX9tUqM+StpJFLM1NDyEcKbMpT
PDaTv0C4uJfqrjqLwmQ8+fj63h1TYiz8bMjx1KNtqiakABdzY3ZNdVZsQ5nqX4gownuhSoWztK6u
ELSqn4y5/s1XKxdYFCxkKF7wf8FUBMby9jo1LCxiqyIQgflHTS7oEuUcY6KM66uYsmuyBsvLj6/y
vRE58mIaZc4zJPnoWxzndmmyqJxdbawhMot1gs0WiqZYK+MdyKd+8+XxVqHBSqficcW0+vYK2yxp
EcPCPW0UgpEo8ZrQ0M/gZ8c7RZRH5+PR3vkOoTYAwpGJGNUAtL0drWmtFnSHPJPkUYNim4icFrLT
OO8FW8f9qJjR9ccDHktE+AItntE1ZNUCcXN8DgWuFJrwyWeXQvVtO1Db1vAcfXIP3xtEhzhHAisM
H2vtNr5+G2RhgpbXwrJcAgkxdzuW8IsXvF27jy/mz7tn8EzAH1s745Z6nLlep1Ut0sCc3XBsgFfq
TT7E5wqEhdDvBVImPJRFEaexBKGo9skx8XhsptVVQkvDVIHTR4/y6Bpz0CJ11CzuMMz0P8Kqu5Wi
QfSDVgI9EBfLHnQLtfCPr/j4zq6jknLI3Mzyz9d39Lws6RIYAC8W5AVFkLuqHmA5jUwpXPwvDsRM
xtxtIPXlWTFf1LuvJrQOK2tJQXhxO8zj9hgReCvnYv1Jrt0fl7POlxoBOApaY57+oykMR9aYCVok
sh+X5oeUwE02v2Ek6V98zQwO+YihkS3zRq8Dvf2yhlqv8JdRFdV6PX2izwzxTJPyc1HP+0PBSuKg
+MEw//E9fFlhXs+WQKnQCK6Nc5ZlEXzZ22HNPshCOPIDSvtNRXuCCApSHza6rGxbUtTGxAJu3m9E
arAfj/zHw7liq9bwNzwK+vqOvB0Yp2UrkHU3I2NTMFykClkIJhX6yiwG1QvVMibkbZa6i4+HPV5x
YXmR3iIho9IskwrK0bCYKIYRVTcxoGYz657aKEvQEzMw1xMMh1KIv6p3YzwgXTJ6I5G3/3g1IqZm
FOtAEN0Qz7JLlGy5Daw0+eRVOF6BSIkCHozsh90QLmj1+KoGiXeaiDW3imftMMXGfNHMxYKAWZi8
aIqXT1a8P+4i4+FeQshpiGya1lrv69lTaNSSPNXIdJXIar0F+lBoG9EIDTjuWC4+eVT+eAUZja2h
iB6OjZp0XLrr8Qd2MUo/tzXEdNd0Jk7naGp+q2/+rTLxvWvSIaHyFiIbtI6rrhXBA7gmTfyvQWX8
LMSy/KnC8m/tjAqE+8WncL0iGakv75xhoOZ8e/9IcaHYmum0RcUg8+qxjU8pk8f7ZYCM8fFQ7968
leDKQV5iM80u+vVXFRqEHOgLN08Ok+qA7Kt1FiNvvzpLrhfESyWx92KVM+W3o8gtPLQevImbG0N5
MxRVss/DpPjkK3rvMX89ytG16DlqsTX9x811WThQfAMjovSRu0TYW1N0h7cf37sXo8eb2fHlsjh6
0qLATWIefU/YUQNiALl5jd6Ntyv96xqmh3JI4zn1pQSABT+VfTNtxT2RbXTmhp6gaLnH3p2SjhMO
6SfxiuuIf3wi9mHAeddH50UC+GrRi9IKq2jOk2O0Q+4LktSc5KVk+O1YRE4j9k/i2Mh3H9+G9W3+
Y0x4PeuJi+7K6lR8/Qj1ebGUUy4Z7qTIMEVGus1WJuSbzOiFO7LQrwjtGU+7bDK2Hw/87isJHZjN
OfUtFoy3A0dNgGw91wwKsoOylQDEe3FPUlUWi8Ynp4ajehd9KR7gV0MdnRrMYsniceEaewgoELuk
K7mPVw2FVgEOz7dmKy7XdSzIfqlgovv4Ot99R2lOrIkxOvL7o8FLzHg0QvhSm2SkPG8tymZureI/
mXT+GeW4pEfkHWSnwTDcRRmmg9pjESpIDnG0Sm0+2cy8e0HrlM2MQMFJObqgbBkB/5kCX5xsDZvC
MMoHgwix649v27vPpQ68bT22r6rXt4+HQPFYCxNu2wSRcG8pi7EfgjG8n9DpPZaSVuw5z2sbs1bl
T27l+yOD3dQlnSfnWCgdmYUIapeRszGVZjuqAfPqYiz4Wl9G+6lWG1fX48UfmyH9+fFFv3dr2fKy
SeSVgFF8dHBZYpEmjDAwtBIDxMUnu4+JH/1k5nvvzXs9ytGtnY12FKFcGbg1JLRnQqk6tdRiEJis
/rep6N+uu59d0NHS0ZHEQUwubx5W/naX1Engt13/WZH9vaWDxuaa3WlROF1b0K/nMKMQW7B+XBCW
KRhEsooWhmwFV6KNixTILNtPHpF37+CrAY+WDlFpRIxesuHWepb9LLCwYubN4rt27JX/4G2jfIUr
cg2aUl664q/WhBonQD9ZLItD0yg/jWaYd804dZ8s8e9dENUUGvho6Im3Xn/+epRWjepQ451OVWiv
HHeDg1xZOTINM/I+fsbfHQqCLtVqyLtUqt8O1UQixNAyMVEYmejKcrJyDBpW2x5C1Sc72feePsrl
aIDVteNx/FzQI1saDgUGrFQVZnRVVx5t3L+SDL70jJucIinz4cn6Qx9sWikMgAadK5lDmg9CuDqZ
y7HffXzb3r+Wf0ZR3t62OW05xwh8Q3OTMMuHg+DFBCv+R6NgZqCcCED9mGpeB6YYT/Dd3LJeDHq5
k2xLKZFSX78WCxMNAm42yhyK315LOgSLuuRcCydl1bbkMGduVz6rzrzzoFF0ZdXFsIBPb8XDv36m
W1nr+2SElGsliVXZzUQnHACC1qBeC5DLfnxNf462FoFEDrtkv3LGOJoSwBamPdhAiZoIbVSf3Fe9
Zhc5QsYTS60tPtnS/Pk4kF1P0Z4mERIBvqq3FyfJsTmLJO3BhcslKJZoFvvQVD45nL1zUZqEhAcx
ELeQlfjtKK3ZI2Wh7OiWMLFmuzYqpbG1JhxQcUCpT7/8XIDzR/PPpal4AY6L9UNes6WgA++Wsag9
UeAiF2oupvGzcszL53676dXXDHOETjLZx/zv7XVVmDTnSjM1dxlmkIABDJja8CRDEOddas0dFAmz
VZX0Xp0NFbvzoMAhHHIZR0kiB5wlOAvwkyuK3nLslxzOa9+SUpGebmBaiB55TApS0rAYyx7EH1Qc
wyA1yuarz9zqdsI3YYosfH+cncMG8VPXKJwXCJwx8P1pQ4g5XUVbO6VFefXxaMerLLQbgxhdihCr
u4+Gz9ubxje2cO7B5lPQ8keTmQvp976OAIqF/B6uHpOw7C++VYxpAVVHjQEknVrS+oC+Wpf6NozL
rFAtLECLZR6qUSHnpzMVIXHTvoCl8/ElHr9V9OnXjibQFqo51JCO1ibNiqfaSseAgk5kUIgQdfV7
ow/yJ7Psn3dylX+taiXuI+3ao2EEs8Bn0EWBK2QG2Fg9q4xfc45ENNSC6gEEm/TFPGqw9QRdrP9j
jacmcWyOoxI8UiuWA17ksdlWbZHsqhEB6se3b319+EJev1kc5/jz5C6zIlJTfYmTf/WFtc3YAkuN
Sm8k5it9zERdqAmdY/NyFcuIXvywFickRXPQQzjLRjfq5fQ8a3LzPByUCWVWtChIsGerEOAiR911
naTBI0IZAdK9ACGb2bD8tqQh+iOJQLBS3UqyEZi2mgQKbLzcCs6knJ05tOPxgo0uFNWOystdtNSd
h2IouZZNsb0SZAv16SLhiwbguqw5hhrmyIm9VbSdicEkiUmS5rMCviL6KT3Ob7SuHzdKEKs7EQ0V
+YlGopFmYTUYzur5TJDrX5UsxNAK+kW0oZFIT3lSI7eT2uRBmq32ULVGdgH7mmVVIMv5RunJUjQU
VL8Bn8RuTORYqjb/SCf4MXavzt013t8yQgw8F7I7JQUekKEWoJMisElidw7NsNqE6aiHnrjkJmnR
y6CBUDcrNNOdumz1MTcPdSfkUAUUAzWZsKaSaN1ylrdl4hla3xCa1laIhptaVPAziCTNEiLgzyQ/
I25PQVjYCn7XxFPbzLRjIWhP5zBXEsdKC/G7QW7sXaJSEUEKhVhea0WY0YnV+0IUKb9UeZAHh759
BIGzJ32tKSvoP6HcbZOI/e5dVxlCiChIW+9UEYbGWZSMpJUgglpyJw+pRPrAZnHWmnGkGfcQ2UaE
4lYt3sHQMqBnjVphl4Jk5W5lSuVjlhTYBVNyfp6BYBQHJGBhfyNIWYnmpkEBW9LpKmkx4iqB2CyR
yNVX4698MSLpog35RVdpZP3cmCUYZPzZluLkQhIxRDddrnz6V7THkrHLpNNa6eXBw/xabQNo4Y1X
E5KAnKhEZSnngaQfQpEsEayF0VCd10w62gZodCw+DX0eV35h1cZ9qkTCvpHhE3u9Geb38pRcSdFc
unPZt9/kWTYwLICu7u28TCrFC7tFJe1uKK2fi9SlF3PVLwgxskhyUK+lpyMw2cnG/6g6qph182VD
0j2R4WKljy5FTxRmdQFxfnKKMS8np4uB5m+xAI8amrhEr7VyIO1NeolFVudqp8LQy/0itrKzsATX
YaflBFZ0rNvqrCO5esLchBCM4EAzztxEBx4On84kEjSp4lTJr0qOMdRapjBIp1ulB9W2gWRUtk6S
4eRz8ryeoysWSOKuZZIRNM+wkiq50hHI8WaPiD5D/ORqNpRErSZCfhZ2rRD3DrdD7rAfhC1xgp2J
wtRKjVS18aC2d/Vo1iQhtJYQPkDfLJStAUwJc3MSClh0za49F9DVrRrDdmwtG2ybGNHyrPLAicWY
nslAJt3gWhBRTbSS3cAfRicX+IbZJoanmwT4uIis0MLFaW3hHUV05au8q707ikWCRH42AVkPvEmY
XbLlIrRQ/LuBPhT0maaZo5ZSh/pTHjQEcAgGujQwDgGCe3LlkLeY9QiwoQrnuPAUvM2VC4pRNr0I
IPydEAqEdQiKBWPKiJMQvmY2RedxlYC0N5uiQsEpyufaFIyx24u1MLul1KoYRJAXIU5cYjjGUER3
BJ0bwt4kbuApbFj9SPqVF9Nd5mQidJHHGo5CkYAABLC0/BiTVFSciuCP78Mip8ZGTSSaLELZho86
FnHVzctQpN0aoXMg85aQb4+U5Oheb4Qa3Wc9joJHi1+IfYgP02ZEuxjheEG1bHdTCeeyWcSa9Eel
ng9zt8DbbEK6VLBw4PZ4ldhiUl9zP+QJE545JW6sTwlY91Ea9VPWdmq0PAO5tBexrae+mMfGSTrH
s4XfUOhxFFvGNLqqOpHzGdZWvOmUeFowtQcw9ogjn59FxBL4TAgtmgASh/qJlcYsWYNWYZhRzEm6
kOsKYKfULC0MwC4ynnsptc7YOinqNop77buudwsOxK5ZaHpNiZVs1QrJpdOXBfNImajSr2qMh8VT
c636nuWFzkWNc1na6hzCb5gMaU0Y7UhtNUnjrbYdS8clgleZBaKEuuo0S6Zg9ggM/E8d57aTgL7N
k5CWBo4XaRxVO6m7VrHDmrChjQSJrHWy3tB/8pB1ITrRWpQ8aZG4ggoSL5htlAeqXXZqlmyioVEu
ozJJND+qhVx06rGcnsoyYQ4y9bldfadG0/lAxiJCYMJpNJwqX4MtaBBZuLfkFjytqSbsR1uehgeF
vyijLwiwcqARUzqiA1rhO3EkysMIDpNmSZ4T6qjmKYmYXZumG4kG87bVjIZE9Xpan6gckIAtkqJ9
ImlJSH5m1QS/agFwIgkWY2kQdqwCPK918EJ+SqFDhjMW9+emlOnYgUqBWgaVOyij6qxmJp51ZTId
sMyTAq52Tm8J8iB0vcmVNGVVHuve19Rx+rEETNZnuhz1t8ECSt230mh8UI0FymOXiYQPx6tKuivC
/JeAP2rCJtpF1mWpjwu061ggjV2a2xxWf96NJcypKTIJFI5Y3wah5gu0cmtUCKpPYXqWc5DD9iiS
utjM5RKTe8vN1pwqnbnEUQorLIFTJhIJQXf7pwYhTTnURokzqCrWhKtCMRdAfOIM0CQdM7N0eMXI
CcomocdyRHg6aReDQgxlY4RKghNAKs+igYgZO6XCYLGFiIkKMABhzIQplKJfNmUuQZEem/6bHDDT
74YqJStsbkdNfgz6OSGVWJXb9KwsFhr2NrC3avZQgY/4kMNMqS+XWlvSHmRJGSU/DDmOy6duEvSA
8qMR99lGHfVhIYosTbOlPCN9pBdSH8boEkJ3qmFwF5copkeZuAmtawLJI+t4rDjVC1JD5SWVM40g
UO5fScRItdQ6TCld0LHRdcs0xE9xFsnpNwM592q3bLWRqYgNm8qbBv7Or3J9nv2siJvAJWmgxfkV
5l11HshZslf4ADi30jpZ8H+q2S/m6y70jLqpeqeKIkx+U04ZCjjM/2LvPJYkR9Jr/Sq02WMMcOgF
r9kNhEwtKytzAyuVDg04tOPp7wf0DNnd5J3h7LlsUVmREQH3X5xzPmJ4d206Jb+6TMakeYlZPZsl
Wqaj4xIPX7FpKEjhZmsLTZh/s+cBFrclax0u1ZEPdGdz8MmoaiiEbluiX8OjLmX77vCzjQNBssbJ
Vv04nYyy7+s9Od89ZcHgAh+IIRA9FlnveNfzlBtfCTvkOXCkb9X7YsELcJhKJNLhUWXu3LJPkv1z
bZcwWRCNZToqjQAcDtnm8sqUygLOUTfz8tq2EEv33BlN8FbURovrofbTbyNawIV4l57bbwElGh7z
oWztaBqYjkbTooPnuQCuG/EOQktPQLbHRzknQxLZIg4GYroq4u0DMeJSVlrdiYbs02vYI9BJ6wQX
KjvH5B09vf2eZVWdvBB3CZ6USLPsPgEey2+g0v6q1dOE/wzuLlkwYZFRMrLseveLWZSRYF4hsUBY
NSbHIXCqo+m0wUOlu+LTykvt4wnoBnM3ko1C6WyTtgOfwZ+fCr+pvnMiipeysgg2d0XcytMCFQTT
uW15LFwXb4qqqodWh8rCOZW5GH5qo6thUScB48240c1Z4yaKD+jgCGerufdJpm6BALd5T2DtGum1
c2sr/pUJj0D/qfEo3ZVe8l9zwHV2qIlYJDGD1JRoMAQ3MxH9RGCSotZeVVVCWTh2to8FnhvhaOTM
i/YgA2wcs6G9JgHT8pCwnObjV5J/3+JFgx8o5Dd3sslTLNdf3PH6Ltw7GvizIgiP6Ft+clyM9xbY
vfs2GH5i4En3DJuy21lW/AJp1wYSenpcdw8Jz/pLM83pJ5mSYrgk3rByGAZ19ODytpxHAa5ZrsKO
VKaxO7JUwW6aS0GFrJby+1CM6i0znOeZRihZc81XNzVSTrzYVe6c8AhU+8zslj0OH7jeiQfQnDmX
Z+6px+llRsz4RI/GT+UUYIuvCdO5CWLjsmRBsp9gLL04ppxvlrxtorbXwW2QgEcROgy/kJwcX4fU
CKRGVbPeDeZkvDRpZbyXTl49k7NpHFPROi+tmMbHMShFtovD9KPCVkYTumBo2c0Z3ev6sbX7ZgkW
Aj4t95TGBANzYPlvMuim5zJ0lygWy3jnuGURVaqlqDIwQ3gueKO5OltDUyJY6ZcbMeLnnVqebHDu
eolGE2sbpc/qb8uct1QVKazAMvtKTipELIBQkTMpoonjObjFnZESyM6zhbM/5teqc/3c+dyHRJs4
V5NO+0vCBBvruXlDzNS1X2EMh3a4Q6OKG31NVK4SRn2hR2ZUPllETnWpeDNpsc9+Peenup7F+4Iy
nQlgkX2pqhw7kCdN/35JlvHYzsH1rOPqdU0a5bWTNJVrr72OnfDKYBvzqcdOXaYx/RqWTnJnm0YZ
NY5JpkJaTLu5cI23xLTVjW7d6iVwnf5JG732jisHh451EubZKXQPQCq7tcldPwIxeh9pN3eLNi+s
meq3dmCsuxQVZCjMfRhuVXdNE5pq1q5m+J6qzE+OzhynUdKF5FGUbXBeZCb3eqrTC4I9Mg26cvkM
AgNqmSooqXOR7kPa6GUyP7zGM56KMI/PQvbGdZYm6TltGEfsEoPscGuWD3Xvdg9OYaUvkAA6FY1D
fpvMs3FhLjGftd9wlo3614BS4wiux8L26g1fmUcRWTHk/S4OuvxHnMvlqmbteFO49beK2ovOgkyJ
rHGcfUdw7vVUViQby7J+QfZLUITRdgcVr/mn2vN4jwMg8U6jxmNGSVls4Dh7B9MiO2Y09buOR+aC
FOtxCdvw2hmRvUaOB91iWeAEpFU+iUPijd6+YTF7ZVaVcYW6/mospvjieDUe6Zy8gNg2HpbAIqG7
c5pr10xMvo/LXL95SePfIZF54sDwf5WZw93gSfvBz+PP3uneBn6Hb7QfdRuVsIE/5iIkZMMJMqJr
86x7FksJMmQBV26b00NRDTbPDYfqTqsYyBLD8AfkGJRdTj+9pyuRByvfcpyHOMXTZNOJcC/ZVhKV
DUroHY1+HfMtJ6/fsjXJ5ojYSWbQQwdgUYB5CHdYiRYg5IorO53zngo9bWfAJ2aH95v6DXNXVXt7
mlHraZQ1Eeq8fLeFKMpUYT/EQ75imcB0cG6p7mmeXKrWACbWtVczuN0RYWd/bVwC2AlI98R3FNnl
MXHCLj7mTo15axm87G6WYTXsGA8VMdREOcm94tPKooYjoopgxvQlD3wT/LA4YnMePc894VRbUQfj
TIK4n+fUW3EHVYFRC8FJpDZUjGSnhGlPEholNA++QwrixGQ6R6dMGBS7bWblu7JosyZKG3uwLnlF
wn60uLx5O0PP5H5OyRiQm2EmI2HyTeGTv556+NwXQuGJkLb1u5EJWI4ZviyxK8iAf6sNaUG0KKF5
0QSKnkx5051ua0f5OsqsMvzZ1kb33ev7/qEgRKvDWOhIuR85tX8QZB3ke+620j72baj4YqK1k1GQ
+aI7pF7tvFaNwdGGpjLNMRcSWbxLqS2b24ExCoS8fsqb40hLFO47XajskHVe91yNdertoFdM/o7b
t+erwN7uWyF05rCJbH2bYKkerotMe5eB2FSBdHctGbiPvXbi276zcJpULJ1I106z6S50G8vgTJcD
AyeAr69+r5kbV0sXvzluPnPftjqVe4dS7HNoQaORdDo232CgkBAx49pB5z3Fwr+FCUyLQ3ZhsERV
HdeoiZ2ci0ZUmpJyoPQnTjRW6r0ZA36HUjM1DUcmRztOWt49IQl73QWYLVdmYdNg5Lfy4HasiuBp
UWPYHsssJn8g81o97/2ZXnzvEx1mXtRIjY3goJ2OGblXRUS6YQYvbRg5IlPwKzgxGTj6p7AKQHWK
ojXLU212xlnH7rvtAig9uPAB88PEGLZHj0wuZaR1u6bHlvANDgXn9hdP2fEvmXHzRNpT1VOQpl1y
IyjqsA2tmxpmPkXws2E1OR6k35t8BYnvfyJiLfAjQwji22q0n+XBSG0oRyBD5Wsxxkyy+QJmtH0B
eJ0DSq+adAIGxYQcyBx+gNM7LU+n0MBqgjgcb5e6pSELx44BUhOUBPWmZoWUUjBACgjRMAO6x9If
xEsdGIP8zLI87w9DUYruYjF0u620bIZnc6md5mRAjVjbELXGkEGIEMkxSM2pYUJSj+Ue3zwXiGmP
oFXSpQEPN1dkVUd2PBnXPt3Kz4wFDoSeReOVstqsMkmNDfw7lVfZN2sOSQxWaaLvxaw5AAcS7rA6
LVWlDrHj9ncDwcDpPrELIHVzUlov4+BL/9QPenQIHYKKCE0ThW7kSELSd2NLS0bqgsUHv1fJ1PSk
AsXOwO3TN7Pz2rMByh9bcF/qNkPY4xGqJIoCiolfsAUO7Cn+VLqg+SFYrU6hmTSmR9ROA22Ugfag
X4O+MIhc4axjXuv5OX0Om+uHeihMCmNVzPZOhYLMvF4OznQIvamIb5V2fWvHWNRFbkOUfXeqmhwG
7g4pvUCZ1XQTuVpqWkBqabJF6we/5xzdOaMLWrBcyrx50LnVWremrkhXDMe+pisp28FkNm6Tce4h
vqYVnVaYX2zL0r/MY1g1iCqoFN4048FxD8QD8Kxbo0KriJ1RwvwyE8bpusd5ZiFwHWo/m68YZI79
Q9chxj1w5Ivx2e0C+irQhLbBJ1mWaead6jRu1UtWuE7JN8eYpsdY26b8bGuzNK4SRGHNVTC7aPs4
WFT7PMGSRZnWkIX3HQxR4yUR8e32UEZW6hjuyWUzVF06qlwyUCoLSsqOJy9Vdykzv7rchU0yWnVk
lmyRrN3cDFNtRv1SN9qKShbWn2Rxzt8BsYIJoB2bGdOZuvMK52psirm4MJ7pw9cC/yAS0rw0FjL9
qzD2FMBPqQxG5UVnAYAN59ye7xcAJ+FTWgiGP1aKzz4+k68OaHu1VdMH6NDN3cNMI11+ZX5eTAcj
cToQXMrKAmrtzFjc/M4rUVU1J9aV9nKyYEzlZygd0oykoQxaSHcaw5TeUs8edV7FtmnH8LqbO/x9
oGVODVRkfTD91vCvpjg2yEyxtd2Q9UoJKMsvpZqn4eSDnaHahkAyGk+TSBPwJPh5jPkV4XGWqL2Z
lX1pRK0O6+nUxW4dPpRZr/V1XIdQCj2a/HQnB7jHe5tNQbpXzdhmBXdbOOVno2j75ontVCyObpW7
413hiZpFfDioJrjKYwS1y27oqqC6b/raV98qi2XXs4YJWLpcd7MBTWVbw/2vS/Ev7OV/t5H8L9Za
XIrqDy7F9X//zaXoBGA8kDGsDllkmARw/N2laAd/JX/UQ2dI2ryF4/0/TYr+X9mur4Kyv/1H5A9/
NynC/kAfABcE35Tns1L9V0yKnvmnjTBxrMiQUfi7LIMRRQV/Elow7nKLeCTxSdFKLFHbdt5ZVm5t
R0tF30bkFBjqmFZd+ooRfsPwKwFRxJz6lbEctxyMGzd59C1V5i/snrmHa7bMDH55V8jgoTRyd2bX
4QQsezPMjj6XmDyZUzfLY8gN412hhi39K28hjZ4woK611cegSkc/xXXDnAtQY1hcgVU0nC+OLrqO
cwjPCkN7r7SCU8L26d2cQS3QeDK2o24DD7iLt/Md7A5nfbud+3CJuQO4MLgPhvVqCNqO4Cb6e0hT
4XZ7yGa9SZLtVolnYMA7c7tt2u3mCddLiGBnWx3gBwzw7Ezdc1GNI3asW3fwnfyR+prbjDAIbjat
VM81x4KKtnuPy2+artztNiy3mzETnCaEJK835rTdnqHW1ku63anjdr+C9RjujN9u3SHnBra327hd
L+au0K9F7tbsVdYrGzAUw5O1ydtXQ25Xu3y734P1qnfWS7/onCwg7WWtBaytLoi3GkFt9QJXJuCN
1k2t5NhtNYXEu0CBYW3VhkwcEBnUturVUVZBgstaj4xbaZJvZUqzlSzFVr70Wyljb2WNHop4Pqit
3Im30mdUPmWQv1ZEk7Sd/OhuhdK8FU1SDhRQeVjyVzsAmJJD0bWmimbZNdnFXWuvVs7GEjVbSSbt
tTxrfivVjC5+SrYCDpkwxVyw1nVxTizOwd7Kva62QZspKp4nIGcUhP5aG86B1l+gfrdk8AxGv5yz
ECpr1JazhdGMrN2O4JO12FRD8C5N0zjbWykab2VpuJWotESUFmIrXfU4Y8Wp8oC/gJCU6cieCONa
5c/SugRbAWzHzTLvB2shJczciuRprZf15Pm39lZEh1tBbW/FNWNuclKqqWNlIsqkuCfwZF0ZrVX5
wJk+7K2tWEcJtuqE3FL1p3kr6KWzFvfdVujrrehHJtSWl2btBdga0RbYa4cQpAPDCHdrHMq1h/C2
doIJf/O6JC5NRrw1HMXYT3dZ1kIFbKwClm+3dic0GTQqTLBpWoxkbWAasiaAF6tVGFZuTU5OJ/ct
tCS+inhrg+qtJcrX7sjkLssO09Y0Fb81UFszlW2N1QSQgkS8reEqf2u+1j4s3FoyG2gqm56tVRu2
to3tDi3csHZzgK0TuU9alzZFzU7/UMHh/Z6vPSDNKO2gaY7TreKrwBhqymkYm615BPMu3oAa0lLK
fG0vO7/R72CXaTqlsTagOvG8h2JrSycv9tldA6jlLNxa17zIaGPZl9PSVlt7622trru1vdRktMDZ
1g6HTkNrDBh1uUuHCflWujXPxtZI26Gcq70rEuJltIPF88x+c2ZRhj35B1k69ORq68/TeCyQRGx9
e910JW/81s8TcpDfFVuXX6ATJUjUQPQhmWV+V9tEQK3DAX+bEwTLIK71Nj1Y1kGCE/vMFMZtvuBm
5DvvbRTVoOpJoSEPdR1HFIIZaFoE/RO5CEwrpI3z+0QnxxQDENW6hFiHG0OcsTzTCFegom7zD5dU
n2RfrGMRd5uQVNu0RGyTE2ebohS9w3fOZplwEcFi04ks4wFq+33FTZUKgjKtGJAuwI1X9qE2aY4N
k0uR3aFeH2/4uORB9+Zj7srpPvGzPahKtgeFzJ9mz7kuMqUe8qB6KpwuvdclIvHAuK7b5DlGbsON
IK5hJj/EE0CktDOcyAvGB1uvGTwE4ebIEOnwGkjjnP81UYw2MCrTs/ZTo9QjddyV05qXRC4M8LoS
KKTdfeGOAwtcxE9+FWSvuSapBjbBweRFeGYCSXIYfgJqO1ml+ILr9xKnCSpYjOaTjL17KyafJnS/
s4d6oQHxIsTYfCKxaM6jtzQsHvLbZZW454CtERp9r738tSNaLDKG/kqJzvnVWPNR06nf9jgoAI13
PUl5KES+OjKFYpiMOurHTl68KXlR/AQLSalkwBkkoEYzxEwMmPi+7+JhUOekte8Y1cGKZiVemg4y
n4ZTroYBWUpxL/QYHO209GK2j7k80C3JfSzm4DGsgD0tS+5xryTENLrmN59tJrLFGv57V0MQT4vr
eKqvetaykT2mOweEcJGWj0UP03zUPblLrZv/HFr3NjfK7HqRRHP7sPp2nprzPT8IndN8lw3p8FKO
zM4gOBhnR2evkG2rWz72kVzQ2ruJ804Q7TQTW4v4hxaRQjk3nceEPvk0up52T2HenkQFzZgE0ldV
FgUDA25eVnqMmLPhWjgxU/oyPCsnv41Bwz53bA5YF5TWozWIgFbCfpxbBbMhmKoPVzAtCkpwsbHB
dbJ4pqbZ4qpG33nXB2FbRHnINGnvst55Hqem+nR94vudoLZOJObrox5M77Y35vqeSPafIpP2RRnV
vta0Jztt5Gx6XdGFEbSXX11t3XeCpH+mAw4oNi3rZ6+Zil0+Q+Equ6raMcNLHzI5j5KHqhjvapUQ
HZmUObdrv8aHptND3oT0H0ny0s7Jm9n0xqNFqRrh6moPadq8xcNI1uokfxRF/8EYnZJm1dk+G9Ks
XzxwIcdY5fZP34pfM7NcXgvUmzvM3tQvCyM7TfLZ5KQkaZZIc9g1Riop8rNs7A+MYGI3D85PNrKR
56PpEKZ3SENpPPvId4jHLLy9q9noWVl80whcnHOvef0+NWta3+Rqcu/YP7KNs+fbDtEEkB83BIvI
au/SO+HFyImeC7m76qpaLtpAH1Z0bJGREB4Dyy8eBk+Kn65dPMXT8lWL5DMdDKL+jEm/CCbGH7JX
aFAuiZsxyE5dgjf45atGnFTtdNWF7CmsOwcOVIE3vksqsqJM3ZgPcBLG/FYw6goYLvb57H4qBE7k
pQnoIPZ+ihWk43Jwuu6p7UkYuRJlO4125CRkkX4CHBKoC4GqTT3Tq1oszX6uzayq7lQbJNgniskf
0WPkOXvBH2NAq5geaozPc4maSdoVUdqLMdhMpxXJW1e06wNm20KUqOHA07OvfcwSu1fPSFSM+d0t
S+mva1zqKPvK0wv2llNSJojZXtrSsARiI6805/wGChRj+wdoLUXQPYx5KPLsW6xawrj2XTzGn4Re
+YCGkDbxkjqEYR8OlsudSjo452L2LKZ+o+PNp8FuvKcsJDOsNNu8OHoNoqFu542Iku9aIzPs1wwj
x1fbFg2x2CKxzLcmTRzjb6FV/9vV/oXG8x91tdfD9C3t/9DXrn/gP/pahxR8VItrGMTWvf4tfMcj
fJM4QDbfZgjVwKYV/nv4jklCPq0myTtbLM8qj/97XxtAp0TuH2CltwPCVv41OuVGRfm9HJikDxdq
G+ablYUZkAD6B/22zv2BLRuiJYtOkzAo2hW2mSYnE1muHLJ1ix4UaBCFLTr/qB28ad4ZjalgYMet
aUXjLNMyqmROXF3Q12C/vTSJrwSJHmlUjbEqIy+c2xhWbtLgXBoSiwj7zJLx7ZB7Oc0AM6PqzN80
/2hlppHZxeYqJUZkDTUXZfDVKsThQhgD65GAHclkGvEsMyT0LBGl4YiabhiIri6QETVE/VqId01w
HAiZxgZxkq+qCwXLbOyspjVvjTjwgnPVFclNm5YOo0RHUP86s5M+lMJfqsuEVS3hOu9aghGrOiBB
p4r7Q17o9N5c+rulz4M7DhLjVsBmd/kFWyd7xP6TvtNzudzkiB7Gs8Gyd2bilj4kcxh/IczPZBdM
Bfyl6hkOR6wY6N6XePYYjioDnpIHZvNnOGSGeyhkVfj0/IT/XSGaneSx8FqvO3CmxHul65S9sB87
XD6Jbps7aeja3bljILisTeIh74YxYfbqsYOMRqB9Z/Ql1nKiObaTxyoJB8pwafcg6NI+fuhbZQ+H
yWavZ0s/qM6ZXTfXs1KV891D3sguz+rFZ0UDsyvQfj5QKXsUVLzLyPtS7xnOZnHTtdlImz0vmn87
tsRANoFdIaeZmx9J3i87sxK+89WVYjoXzF+9HZDUO9eGmOeB22QezDjc7l0EUc5VXLTFm58zdYnY
spK1KSmuaNNM9zBkAg5n6hQ9+lkrPVh6vu9Bt5NNNi3euI9NVUEvIMiV4OQcwdspq/9pYsGWkfHH
R4eVwToTInjXZCb0J5OAUychX5Fl2DcyTY9rw3OC212pXeiZ5cTazRvRndZ8RMomGXc3E2QILLny
zug7mmvkp/5j49cO/scmuY0ri838+s7RSc37351HD7+9qN9n2jp/9gnhPuExJ3CDKRbWhj+HJDm9
js0cxOleojNNd1lmx/lDnHZBwCed5TMZ9h4qnZSSB/eB6D6Y6pjztd2IPDzg+x/3eYvNA/Wgs7S7
GUn3p9d78hOCLFpTI6zORpg7zyLJYQ5kZYuCDXZ6fZ2IyttXSfXpZUS9T359V/MgkkxdAqefuiHf
S9Buv0LtZo+AwPuPkqUWvNSxAgiDjMb2ow748pfSNYxfWsb1o3KC4q700PzuYmUjOzU7fkRUtAnT
7Rnf2Gkoc4StiVHQ+f3jt9H6s3lifRs9jP+44lZs5p8t8cQS++OUiIF8gdR9qst2/Doo7zVPUnHW
sugvrimhwbYJBA+aWSQ/Pcn/5tA9+MYE1RBg6mtMRb/Pi1FfB4RcHn1Furw2xPhPPvL/5qV6axAz
Dj0+d2yJfzzYw7FKUENgXFhaMbzR3DE5yJrlWA+mYFOI9w2HDTYFHqV/huL6754MZrJQ77jxPFxB
62v7ncckDNskKDWSb4k3/FLlqDgshiEo/XTzEhijdWeXgmjCtCuPhACyu6sJlV3C+sgCnoT/PPwV
l9K4cbSAtgAu62pG3f9PsmE2Y+4fn9+AG5Y3BzkBEXd/BjQHWTWXtZcM+yKAh0mIWLcfZBc/o+fh
7lh0l0Udy5CE7m4QhMfEwyEe7SVSfv41lN10HlPP+SoIsqI6FMZdGxvdwQrG8uwhxzrPfjGcZCVo
cZI4+Vt00L9UbP3D3M0/pKP/f3M817/vB1Vrm0o0t/9nQ4yDklsH93/4B5TaKT6E4Vern351Q9H/
PSd8/T//p//x335tP+VFN7/+/S8/6qHq15+G6ukPyYV4QX/3VP6XFcLzt+Fn+m//t/32Pf32+5Jr
+2O/lVyu+1fcpDjaoIHbYg1B+I9VgvNX0rFIRuDhJeyJtJ7/rLkEwCIBHBJDqgB0tKaX/63msqBG
rsy8EA8xB334L64S1nvhd987IgADHO5ELgZ45nC/8hf9/umQ2pfs6hw8QAr62imWqJJTPArBHjCX
e8XSMd2LlvM3EoYwiXy2e/1lWXRpXcYMNTIzlLL4RLmhn6UMUWAIp8/OFEDZSSRLl1P8JPEu9ScU
J3SBiite8lXOtKrByLXyp1tJdQk647VaAjdqA7O6pvlfqSl23L6lmSKupkqNnzFxJE/oLK3j5M5Z
xBv9zmg/I6y5ZxMQDFNxTlRld5emzeW3WRTe+8qv2yWpXzyR18W+IO7z/JJLhxmiG97wukMaSZCB
aEMb4X7KvmJdWrTjtFdD5Ty4+Igi2wBL2MT29MipljH0GaSfspCvx1PnjMOKeEwcIjp6gIvJ3KO6
tPqlxC+nSAe+jrvZt69QKbNTDJI2e+abL0bcLLNu9n4X5/1tks/pqbY7cZsRhUi3W/nuV7P30/lV
4LaqLkucIb8Dx/grTjykz0nBOC0JSD2i9VPFKxvdtNvjPkrs5zKTTBTPLPzj/Eeu6twfd7jbUCN8
wcgDMndPpnrpqVMQLIxBxiXQElUxAhArYeIzDmr8nJKZ+gKYpRk0HXNatxxiy/hlhbUxYGVwXe47
PjApwkOVxkPdGvuybYPGvJ1LN8jLSC5ZKu9SY8CKhmKKXQZqdSk8DjIHy1EVWrdZEFCaLONAGrk5
ONCdREVgzQSvmBfMN+gWGXDXXhDVh140ulkd3ARLJ5Due+MYH/DEeW8xPh9j13mBGvdqYdewm6Yg
/AbAcrF2tZuH136L/PumYTC5BLu5rWD4EBtQmsdxHnDMFQzZomGwRXGLj8EZnzynHPlqQWN03l2X
e9NdYsD1NQi48C0M8+AlUHl957F4H45m0uePvkcw6JOVGZV7meKm7b4gL/K+xEuY/UzMynbuVT02
H7POq/S0+KijqjktZKTmMARTUZfuQ4CSOY+GxijTvcdCLnntJj/Xp3EIqBkmv5p+eAzPZJTTieDK
KfzgR6cSLGM+dqbkmhndMkU0EyhHe9foQARN+fK1x67PmNzq5PUiJiap1ER1sUOoK9JDWxmUijgN
pnvyNsb5PDYgQJeACNaj7ev2sSkH8eq6WgBKTpV+r4aRvxsjUlKTxjvkxxGJIvq7oLeuuGU0IqY5
QH7qjvaLSnXcIUK1wtdsne8eANsnl7bWk4n4qpFgluWkEMVJNBrfzGBq2fbZbCd3iY9W5irJctWd
GcImmM0QGZBNIxHXBxaVNGAQI19eKCcSsas130U8Dspy7tGXDP3O1Lb/s52rwosMihq5F1PbvAxF
JsGqoYRiVzoQ7L9PFOMMQl49nGsWJkykKWFYHnpSBEF6W17yrclL51xbU3JP8tLoHMsK/3I82Jnu
iMpxgHtNluBDiWlVr1n48Phnfur8WrzGfmjELK5CCmsgPVJln36AI+U4FTU7uD4UekDBk5gocYwi
ra8QHjdYM80W+hXz33NpDsy0dC2rL4GhxVdWmhJPKcEkb2Qjue8kE/SoVloPqRg7JJTFjRt3A18V
P8f/hVKq3/GnZXKwZ89GGpKyrtPKGeR1juCBNAip7pfBC98MDtZmN4U8Q8eEcPhL7TdhegyU1YNJ
ol1mnDWFIfb9TC0wGWdnxKeuiGCjWUqroop0jHzv2DtI/aqxX2R6zfpH+hehwprFl7G1RZ0hggrC
GBuIpD7ZA/ILlhCkOcXHfmyThSa7NEeoS5NGlbNj+720EyxRc/RumtrLatx8UIRxkedUOh9k3oeH
VCjbS6NBmKyOSEjPaoAOeAox2cXNgz8JO3fGHSsTNTLEnxTvacdDMqFIvovxOVYoUc3K5NuhWsG+
e2c4RmIwZrWGgKiMIfPL/exjYQWZKWdGXbar2vySuYbKmHiRknrDWgNNHjFUFj/3kMjRnFYbLJAd
jh1WZoINuUZRlTPsPqHpx524M9shhjQksVMOwwE9lj1dl27CrA1FYu7N+YPhLDF9beOEpUKHaBk/
3MSGN9JOclY3TsYHalSV9YGFSefP2jcqRs/BoFn2Y+N7TlXo1xGFJKrOqXQ19Lu47NvHDB/rcBPb
DuydzA0Jinfnrvss3Kp7IQAV9nJPvyZ5gU35iyFhIY/4Ubs+Yt2pAJURXfDRFLhXXpAnQWqTqLWm
3YjPwD2VHZune1ZBaXMtHQFpIJvNOOCxgCXNPBqJOx9BQRR5FBid6E9qzVjNdjyDnbfvymB0v444
20jZ16239Pf9MiAoRw7IzLvJkHsefasoU+wiqlowqWUcx7ZIeu9iL9orbxJzkBfNJmuCsrv25CTk
IPY6mVVaOHdYVGfxsJhVaUczrVl+VDMOuseM1a69F+koPuRqjGBkszRhZLdB1t1NXpifg0kH9z2/
UfhFwpcIOFRYi9wVjAGgmZojN1Te5gagahJjzOq+zy0mn8Fkuvdm5ecKoW6PPD9bK7IfpEjLOgrK
YXovlAGyvWR6eweIFjRcE2MTTRyOTQSgCdJMR6AzsnaWGMSHlbYglDh0nPoDYWf6tbD6VCIZZFmN
wG1evEtpSJU+Iuuqni1tCveLkc3+ysAGOCKuODlC51AoDxNyJK2w/XRqfqkvdVBW4aHOyjHZd0Gv
XFY/Q9DF120Bf/OUsXdYjkjMmWz1cTeB4k55IlLSMRUqrCvpmNmPphi9BviEZKOf8F3UD2M5J/Jj
YFP/kXlrR07oIC80I5uOz7QgRe1QU/KmF22PnfsiK8NtAPu5bl9iP8pwh5YAPY5NT6t9M6AqW56s
YMG9n+oEV/mi6hAaWhjChWF+TDcLoKB6QMLhf2SFAwluXuPiTwP2PBvxm2jaA2wPWK3rQIklCaOn
ud7ZVpmOH0NmujhpVFe4Rx2Ew8iWzCjsaLXWoQg1pQ52RWYXX2O+2+ZtiZvDPdlhvCQXdBLaRbTY
cBV4i59B1mDRzq9oK2PA9NCFLb486WLUTw3tHKm7kltIQuL/MXceW45b+X9/FR/vMUa6CAt7QYJk
sVJXh2qptcHpUauRc8beT+YX8+eW/raLIEy4tfI50ozmzExf4sZf+Ibf8hTJel1Tsi8O1bwJQoZm
iENbDca0b6yeKLzVeILVgni4CSc4D7QyaV9WqWlU3pS49W8qnZ6SvkLXgfOVnNhDSn8u+ZCIsk0+
wCuhC94luXs3R5CM7ieYTnsosCNKHxQA7v1Gdb776Dr0e3DRzh+VVO3zMjaN9Rl2f5Z4qg8wZofy
MmZkMwG+RWfpzu8U5PJjGhw/6ZGMr2XXYy0uZUvuaEKUn2aO6nQ0poYtGtlcnRafcA70Pj30fqR+
9Ou5+wAFr/lhhxGUOk2NOh30EsJzQAhVwa43zHYP6ZX9oqDiizYC7B2uiCJy3V3jDoBCKCPMgb3r
Zz+wjhSzzYc5NEcVzjskxR8ZjijiKNLEB+SMTwsvbZY1LrBlw/q9UJL4oWh7o9kFvoonYTIXeD4P
ibTkrqvJ3Bl2RYe6JV4Md1qTWhlxtV/bj45VhE+K5gOaLBrM5HeNyFSehqKzX4jS3e9ZlhQAolu2
RIvmA309YCVkD7EJe5got/8SzlDy7+Y2nF6sXlaTJ1g/d9SbOja/hLEe7LYGdKnGbnHOesHVhyqu
gVIMmo7FDjh8R4N17DRsCEtbku1HLvYNSQ4JHHufDcrijLBM6vCaihi/s8gGC2jCRZVDHxjHlOs9
mUXwOc793EtTOBdhhsr3vidSfTEimugAOyl9vsuf14qD178Aqig1QbT8LLSEFi0AHssK0iwXZZmp
/jMoUBON6qn5eXsUKT5z8Z1yJ6FHIu2xhYOI0GXWm5hoaggNQi0CZtwJCSHTTxyAmHOSH9YG0Js9
ek0NoXxDhOdNlfNiaFn/osT9VoxSUWm7HHpOZRo0wGYS41zClKyarNx3VuQ+6uNQKDsXTiod+3lk
/oniuFC0yqLQE9qW+QXp67DcqCPKGb38Qeiqk/o7AuwiPJuFimAb40uemlFBkcnA1dMifc/9Kfh4
e8bXRjHwJJeTjU7wcpQEeYjeDskeaATOZxIjkxDH31KFXVSWddSyTQTcQCwii0h3eTG5YnRIG2Mn
pypB3s4FjiQNWUs1vcYAGIuNtbz+Jtum+8X0UaPB1WAxmuFQIWj9IScgc9k6kzDHg+qX/ZYzmtyN
lyvkIP8DmN4RNP9Q+7/cMn2pdjx3nEo8uvr4WKDkUO5wYKLcbJT4uRpt5J9vL5f8IxdDoiAIgBv1
Y6nLsziGLo1CnlbQHI6VNz/rCBKVCMP+QQ0764s6D9mfPDfjXlXYpxv78WoN+VRcKWw+VlDdltYh
7ytShaWWrjWZ1BGSlNYxVVt8ofUmA1dNS27LDG6pek6LB9MldMTQ9ULjS19uTL2MyizSHGKbHiY8
6dnIwxCn0/QqenBAe8a3wQeF4iv6IH5+ErXtP0dlEv1+e8avFpnfwbWLGY+ru7buLGZ8atRYNxSR
7eMW00W0bWZSCA38RrBXKzQDd4hEb+6slXvQ4p43dNTIUZ1f7qzIN7I5ATiwF60QX7PC1gJsfWNX
ZF6aq31wcgNnhsSU1G6QbYh9Xq2zoKHsCHSz2NUcn8W9Qw1e5sBhhrqA7T+oYg4LkkKn+QlslRTm
9uwuBpOC/SZdajT3JALbXW4qKQwxxFMZUM8bfvhk8Xu36H6kujVuDLRYRtwVhKZydDQdwAxrudi9
sCQ6dTRhE6Ykwg9d19sJ4nfWt7RJYg/FJl6b21+2uITkgLyS3KxUlpnK5YClG7f0gLCWK6BX33Wx
6HEd3ry+rz7L0m2b51LWnQEHXF2sKPWEpYv0CiSNEmx2rHmz2YT2vhj0GL3b8RdfaBaMAeVwnApw
v8u71cpo/vc+drF1YOh/pGTGv43cdZRmBI0RCk6A37gRbs/lyi4B5AgIgb+42c3FlgynSCv1Og72
E8cCL+pgwpkXZGSsJ9PGsq0MhZSbRXrBgC6ydZe33KAOkxqRBNAlLKUTFjsyJTz1XPlPt7/qrff7
7jKXmx8xNx53QbVVxj2XY6W+JWJ0cMJ9afBFGpI/DgXPoe2fYnQ2sAmf7eAjEE7/eQacP+80Mbcg
nMZs9k+9mVrpE0BEaDm3f9b1DJimbqEDqOGGQIdkMdl5i2RO3ESUiGfSOh+4EIC7Lj648p9+fSip
1EeKzFN9NdnotIQjwi3hXqv6V7sbXvusewXC/frrwxC88nZp0u9s+UWIF5lljnzYvtViPK61ND2A
3qdP3dbpP5g8QDISqcNOZRNdLmnUqajkJeDQhgYKZxjN/jMkeNjH8p9uf9XijWD3mBY+CPi4OK6O
4uFiKAosaVKDdEGZwY/vqDZz7Ma+m89oWMQ0Fo3gSSh5/+ftUReZyNuooASkax0bxF6+TD3MER8o
OTbZaehCVSPXfB5E131wsbV8nsNw+A3Kd3dOHdo5rVNlG/Hqyu602Z8QehzUWYlYLyeYZBk9MGi2
vP99qb/Yaqr/UaQyNsisjB90+2uvR+NTVeg8KmKLjLt4/HG0LDvXrpDzqKdXJcPlsrXa1/+Hu+B6
IFp9NpEV3gw8TmKxmCjMOgGYVAqd8/h2Emic/aOTYOH+ADyBoBgVs+XstXi/RpbA672ykESLWKOv
1dj1tK34p1+dOovoWCqM8jnXIczQtk5gaCVT18T38mxnanT/T842G8G0OdpkpaDTFhOXCkGOWNEn
dcyweKDe+iMzzPwhDtsft7/n6j1HRR6ohDRfJFu6EnUXMLrquKXcEZsaOmDQGr3tr1kZBKQfqAhi
bTy8ncXubu1sihDV9hF5zPPPOAQ3PzlRW+bVK6OgyCq1lFWuKLAfizM0FBWdIAjyCY6PH3lfcjDn
3VZmeb2lURPSMCF/AyjSorochfg2isyw9Xd6AXvNM/m2/tSZMeGzC9wq+OWjynDAFKFVE0eKpQOG
PzW5b0+USvVigMuF9825mihVYOEyHm5vhbUvk5xBoiBKdleHFdGbCbQGt0KdJf7opW5UPKgJ6XNR
RY69uz3Y1WJRBABjY5Kg4/V6lfElWezCZHKRqvShuihUSA4qHhHeL45CMAcDEqC5xAJhl3C5WAra
Oj3iXUhLyO3WUHH1ysn55YljFCaN6p98jnmzLkfpyrjHESxBmYHUebjrsJyHmWxk9icSAbP6RSsa
0jXAkoJL6G1fLKPGsTMax0I4j35GEn1FUQTsApj6T5PW02+PrWADK3S1UownZY7xg5dwpuXlqsax
U9FSd9FfoqSsWKC1RteJ7355pRgHcV52g4oH/OLCg2aoIpCEFEqIWsD0oGYj6aDjj9W0ZTx2/T0O
N53uEJ9RvRGqDAXeAbRQbazBfQ6cqKzqEpprelvsYidz640t/qY5fREIsyVkZAa4GHQN/3o5UhMM
A8ownN1U3t29m4xPke/r/85AIzyWjYEizoDQ6IcSFV0agqaRelqA2sdpQoYLMbwQfhlS38SqyOap
yoM6Zd0j+AY0bLU2A/ppT91z1/YCo1DLUPZJmDbPtpbNX0MXraMThc/p1TJb0KyV39GIQs+ZhHBA
WgMULCEOFuOC5D9EHSQ4Jw2dhjv6l79V/mDgogS551sj2jE86jL5eR2H2n+mpo5qDc0bQGtCzZvX
YS6d4LlpM9DPtAGNlwpI4uw1ABoeXbRUpdJi4CPPW+A9uGNh3L/mfkRJk7scQbOgtkZkjqbCeW6j
RvsjthXCHWS6KIv+6g6TfotkylTQeFiX5wZ14GaMO3hmXUAM2yRKTuNpcx9fZa64Osq3lO6iqVJV
XiTkcEBKnFB5HiDkUE4y0tF/zt2OGHJQ0H6eynmjdLbczoiBk2gBqpIodky2FgPi8pZSIkKarYCw
/HN0M/OU5n3wiz5BjMJFSpWTChnV8mUZOXYgfgvgHrt6NAjFodp5s1Cyz7eXaPkCMQquGxigYVFg
UpJbXNeYlOhdE6qoSOdd8RA3uKLvmtQnA8iszURjZeLI0DigJBwEwstwIYmRTiiKTtl1gwJjMuNZ
CGhc/n0J/BJW8UuR8dcbvvB/4w3fMIT/5z/9X0GK7zGK/+30V/H8PfurWf5R/x8iGalngA6nRKRR
l+ZON6VqwH95j5z8D0Sk/KD/+p//x39Pv+c//tO5kf/WvMc2rv5Bf2Mdde1fsvaOCaBFyEJ9jyH+
5pdo7r9wl1RV3IbBjSHNT2fpP/gllvovrB/pPkhT4ksvcuH+y7FlbZLQjrYUQeQv6SZwu7+7/Tn8
3GByfKglssW0CBTNOqk09L9mTy9Gd9d2RAZNa91XMQQ/H/LS8d18vfz9B7+HuS8unrfhhMo7g+8p
PurLB7S1AIcLFw557AKuKws4IX2btjsEkfxDE+tbAZx8JpefBwfHNQjn6eKZiweb10K4lUCR1lb4
l2HQ2icxpd2Lmo4T2qsNWHi/mNoz6mmIOOiz9msBw9v3EqvyufwC4q7FXZFQoNccunYeLSrrXAHt
3+exSDd6LosbSY6CMaOErOIoRsSwHKUOYNT0GotYol4WA905Qr+G/KGisHN7AVcmlDakI/NYdgx+
CJfRQl3SSTLKacblyGnvWleZD5mAFupMRXqnReinY31L4x7leWi9w1Z3aWk78vapOoeGbU9qyw+5
HJ/3Cla3GGbAjdWMEI+Vap9gLmBbkHQctl0osvpUoYIeI0dQxk/oJM7oFcF1qna5UoWfR2swuj3t
xuR1HlDS3Qc94jYeds3By6yb0w/gm/afKv2Prb2orS0TcSNRvpw9SywSzNhF0DurVTZ/VroHC9zE
vuoQgnJ5uF6yUQWOCWHJz33NC8O4hiAYizObO79rCiX9wLmJ6I13qacg1XO+va5yiywOCsEf2Q6p
IQXYZfw8Rk6bA7iZPUVD1XiobCwROpBOPeSeqLFrr4ps36srfdx4s1duBAamSAFDh7RkaRVXmBGN
VduYEXu1u6PdTqSOKNiBnBt/ACb6tbeb1jI5CUmCRuWOnoexWIImKwYX03XTm6NBHHNATC8ZiGYM
lFAWvz2ji5f776FMjU2Kxg0xyeJQar7VYAk3mx5mDSdQfvOHDjrZxvcs6pBvg8gOxFssRzSywCbM
fomeQuib3tgSzU1aCzzOrH+4oo72dgkPdZ7tbuMKuFox5pBAjtGYS8m0uTyCitY1cV/HKC8VPvYg
eVo9ITAqCws1oui51ny5PZFLdMDfHym43igDUjtb9l2zpBvNymLAKEMkMgXjhaQJbgaa6UReOyXf
mj4YHzqraj9LMNJdljfGQUFK6u6f/BA2D5KdMItY2ssvF9aQTaOjmB6UY/Qg4qZ6ClLbOCDARvCn
ldm9guzKMWjIlGYxVucaNclD1/Oo3v4l18suS0g83RKhQF19sY2tsixDUNHCA1FfQudU/VNhtgfw
lBTWcUBEMkcPNh6ZJbWKZWBQaXpIoETYay/W3cqNCjKqa3o6Wgz7xPEBDmJIDWNw2ltpDLJ2MPNT
ABwQ6gFeKhkiRQk+VUcjnIFr+XF+14M59cB3PhtVVT+4KJp61PPbjQ2zMjsQS+BWySY9rn/G5TJ1
lZlbJKqqh+r7J8tK54+B4WefUPH7VrQR4sFV6oQbY169i6BXZCr1NjnIKy8OognuGOM3fLOLpKoe
+kZVQCdZkVdwq35Rw/HPAq7pwXUqFLzN4ldpb3JtJE2YehihrAUX5vKT0UsLUU5wmFy1sZlmp3oV
GUL2I8LpXpMa3TFKFe2AJqiLfkWReW1sFqdJhexB5iEO4F71IyrKFlqaPORJUXYHSJUtqnhD5t3e
vKtThTOoPEDgKJYmWNNUIFfcz6oXGzp6EoNSP89Fq3tUhkovQUUYsR1ExdO/CBWTjbLU1TMn5wm/
NWLPN8GwxQm2IzcCm84ytW3TPSM7QE96nOr7skGbJsD55RjwEH4ZRbmV2F89/ouRF6enQZdAbytk
t7uhTpCBJDzrAK4clHz6fnt+17Y/jxwVZpOwk8Tmci9Uhci0au5Ub1QLhKBq7PvC0XYOgaaFJ7qh
0T1a2ubGa7e2qO8HXXyeS/myzW0GRWY5O2lmaQOYyv+cVfPFKm1z5yQTPIWgt0Emlr8aQjC1cLXI
yQGuoT62OHtdZzcYXHHei9IwvIqr5ZFCXY4Kr9kfczUSG5tobSkpykEQI4Ohhr84bFMzWLBkbNUz
s9zeI8mcnNCF/bekrG0U51aePj5NZodADwE1WIv8RQH4XtQ8/16eZa0XJUHv5XkP4LUxs5M7zR3N
pMI+wbfJPXjt4QHTKBt1n1DfmGPNZNdcBIhykm1SVSo4mk32drmrhKlmRR7qeHs4Tb0z+hLQY2Tj
/ZEn6QEJDOeD0vXlvkXq4zDnVEdQHsv3EUYnH4wEAwxTb9EJIFM+397ty0b+29UHaoB11wEs6VKk
4X2lNJw6E3AOnnY9Hka7MNTPYGc/6hOaLJjtwB2bsuEc6pHwbEwrkeat6oNbcwXmmrHVvl87erSq
cOIG5cIFt1guPe0sXIF6BJTgx4DPx1KstMroLp4U+2OYucEHP8+2kHBrR4+7GKEJKsYg7+TKvSsV
W8gI2HaPcUGGMvG+MnvnzsqmJ6V1ix2I2eiQC7RyurpTDhpU5q2wQC78cmNI52AToJh8/xbzj7cO
KQm9AKzmcguRK6N81FTFOpqDkyGjn0ppY0S1cpmjIb1S34MFHp/5n+FTjv6nVxolOtNlap2txkQy
laxt425aO6+0d/lxyHkAa1tMEIwmiRjrNA9ZGW3f2XF0hE03HikbuxsmwGuT4QARlp1Xyg1vKeC7
tdApuDZpYnBetUT8hcKNuk9tRBCqvhiOU+1Yh9u7//o9Q+uSFjnFYgqsOIlfrv3A7T8lcLy9MQz9
fdqqUi47H89+nYEPrLQnFyMBuKzB19vjXt8GjCsjA2YU3f9lcmP6ulXNsP9RLdKjTwEmEHDbDGdj
b13vbEahJQ/qiH4Sq3f5dXqlYA0gDWE77n3JCbT3rkE3JEzN9uxjjYBdWpjdwfT64YyOs3HNX6+l
HJ1Yn8COmGq5ll0Pcr9QmVsgXi5Rq9C9EHTJa5oTHMBgUzYu++vLQwdFRnmc7IrgXl9sU+wiBGSV
Rsf9i2C6qkIXj4y8JMrOcOgSGYrRTWRuZBJrC0nlUSYTFOSuAEcor9VZLAdVc3N4CojavCZJu18+
gVwNEtJE9wwZYkqWF1dUJwyMPHI4+i4pwkEThY2m6NSdEb+avds78/qwy6HAivI3V/DyxTTiIfJ1
ZKo8lKAnT8vK/jTOaut1xa8XM3mYKUGBaOSggyKTC/rusDdB34XosqMVp8542afJv7GAQoDMaimA
Tfh2/YMvo+2gUqal3qwvTsNs+XPbCzwsq1gKH1SkoLoLLg9dqq2hVuIO2idyuSwSPXSnFntRn6uk
NkSPXyYSrNB0iv4QOmi/jpozIeqfjd5MQ/EFh9zSC9wAE5Ny0vdtqMA5uf3Vmz9FLvi7WdaVsnKz
FkW+ZlBRSpMC8wHP99FoEZ1zlHxEBz1AnJZiwO/oXWhemY3owta12Jj/tfNpaxQRJUWC+tFiE/c8
ZejuJJpnj2C8sNrYjTq+LY66ExoKR32Qbx2btRuIhx2BYfIVrvfFpyPh2eId5PJJYF0P9Fn1Q2M4
saeWCDwmypan+NoHgrOW4GNq5iz+5Uw7E0RPWr9ct1MUnQ1MZg8ZfS04eflHAaOPhAKLodvLu/aA
EUNTDAXvKK7Kf5GlJTn1K/mQTMFBQcjqXtfDHvK/WX+kOdHvaBSoJ6tytpx2VycX82deF9qGNIAu
v7YKjc4U8GO9uNTdPXT26ZANWu51YREeWMytM7V2MQEvogaA+TNx2qJmM7RjDMWF2TX8Jj4YGI4d
I5GHR4hM+sYdaKysJAkDEYHJtOpX5AjDV3UcXSPOTKOMT2VbnVt48jujjlwvq8J6p2hYXk352U01
9wkdP/ex1p1XxA0UoiIVb2F08j9aARaIIU/gLtQsDFZEeTTmMb5DVNA/qSmKlL0Rvap+YNypItRe
dWUOHyLIduggB/ouh8V+8os4oDvq0itoKBYp0zScI1xrz5k+1w9iwKtDOnbgVal1x9tba2XC6Zji
dIViCCC1ZZrW97kOoI+tFSIC6FloJn2kylEcwiqYD7eHWurpkITo78daFuSSKFNLVCxIQhpDecxc
2OyzlsxULK3qPMZj7bmo6BxLQ4G65RviiEJpinZukp6pIlYYTRrdCd9bLNLrHkTYFGIpV/XWxpSs
7Hl+pkVDkUkBJ7vIXHGBqpOyJFfCBUG7d9L5Sw1X92tL84z7fUb08fa8rI6Huzo9RkxcYSFdnjHb
DhSswAngwDT5HzPohXeN74ojggPY+VVDsrEOq0tOZVJQ9uArpU7N+7dCCXLHbS1Fg6WmBU/xlEKi
pKh86BscW25/2tvle5n30IdCY0qWREm/xOKJVMx4UGJZZsnqrP06h36KVsNsKJ9G0Q/YIyM59ZKM
tv3ituqnAaMvTyRJdGf4iovlRFX+Dn58F1b6X3HXaE/16CIHD2lc+oWUqWT4tWFj3Jfl6CIFUIRU
xsr24CZq7UlqOtbBtjZKR8+RLo3vl4PY47/a67sWLiiOJ1Vpf1XbUUcNKfTFva9Uo72HXwuUXZ+b
4WV0o/reTXOcqa3e6D4jZY42ABVT+xkVE0hvOQDxD2kqzR5ThEq+i9QYY/hchobknijS6qQhVou7
qa13eMG4Gs6YAlNrNJPtpP3m+mnyE6+Xjt5EF5SnyozQVggN5zdnaIdPIta7Zzu3pt8zPUN3lWus
PpZojOq86a3+W0bWkx7dQdQdFyYwJDyk4vaPAcHjz+okELypdP5vjQaXvczt8psLT+FT2xHr7YbZ
P1APmtHS1EaM/1rLaEdssMPmRyC6CFe21PfVPcg1jmlD8nHCDNdUN/b+2h1MbiTBIjiLXbdmiCHw
mGooNdKRuUty6/cq7aKD0VWa51hJvuvpTm+Mubb/JSSFfJAHnAEu93/AJeVkuIejcT0P55yduzNg
Sx8aNPY29v/qUPAH0MyEvWhpi2hIVBjm6n1L0a3jKslLtTmF4GEQ5mBxbh+1NzjS8qgRZdsaRTdy
MnvxVOuIxnRd2ategze1Z7itAHoX6ndl4D42sP8/tBnqC6XqQAyeAg3hFKyKTQp/9xMB4h4l5uFQ
pUCCBuBBJ1/v3NPtX7i21pBkTIkyoAqy5BvNgLZ0dRpVz0fMETY6+sdUvy3oR20NdjQZHvvY3ghH
VypyEPMQeOIiJ66gJXO52ENn6iOWkJqXGwnt7pm755CaU+2FeV/+maUxSLYS6cBXJIEwXDCzMXjt
MY/5Ok2Z/3moUtHiyNoVL9rY4jF5e0Z0uf6LNUN5kRKXgBvs0Fm+/HWox7VViTqNl8wRmPemRwdq
V8Dd63dIVTsotmra7wnZvAkJH3mAvTKm8XNoGBVqAY4e/Q72r/4prDx7DCILQ/igMdXneYQHQybW
fAshLH3EVD2C9Umg8u9KaezXsYwQWTYQzNj4nJWHTKf/iC7jG0nAWFz2wpHCANgooAeAtbQdTX80
ZWfuR0eNjm4j9F/fT7pOKwmyBWR3aleXk8c8az50K5a2URGpsMdqbwcqbBPUrl6SBKkHPedY316y
lRNN9ZSGLvYJVARc+d+/S7Tq2emr3G7JNqoooF6Lt/wM2OTcdma1MdRK0ZYkijIHaChCcBp1l2PZ
NgpQc8QHAolJvQCFo4OPBdTOHhD4MBTdR/688Q/ugLnEnOGKOaj5Uamm+A+7wRz69oevlJneMjqS
OviQxjJKiZvBrX2REijmbsUdg+RKn4XzPVamGC2pA6hYB3c0K8QFvhRxuzH8NS4E4Lcp+ZFk2hIs
pF9OxmDHAs0q6TxbW/aPTOuiz7M5i4fGH5KTm6G8nrQOpe0kq18dJ+k+l3NJy6otmarQQpupzRGx
jSyymEadNi7ftZ3P8X2D24AxWm7FeXRTPy6ofSlZpZ1KNX4y6/GkYwR+j2PdtPGArWX7IOI0jhop
mQZr7HIuXPyPVfQ/KDw0funRL8NRGy/qU6RmuGqFJitAHWlnt8ZOoRSSI3PlUY0MNl43eZ4XtxdA
HQkYo94C3GGxJDrqK4FJCwH9IE54NGCfGg29vlF8W9l4wMhpWMGslEzSRXhs2WmPoAb4YmjM2sdi
0tF8D6ZOaqaMRzBfuZeofX3OzSg4d9WQbnzk2vCwjCXFG+g8BJ7FXHd2iB5YY3hzT1UOdQWsXdTC
9mI/S45mnwrPRXsd3nf1BSl65eX2qVvb9rKyRGqG+ANM88UcI45vo3VCpS7yZwvdudR66NTe9SZE
rY4QIScE2NDFb5LROTg4rB0FYvn7zie1jAd8CosyRc8flVe0psuNqZHbbLn+vDI8q1S3CaQWF3CE
G7dZBIbuTXYJQ2vWtZea8ORsNLSVEiPFhXqetyoEa4PSRQEAyfanBLy4FMdOBwplhWy66dDVdfJs
dPl8jGwjuku72X6Y2q2mnvwTl59JmMudR36mUea+3AGx6Yb9iGocdVnDBbmXx0ddHQtvyOrqMbRD
/EosDHt0I8xO86T0uz52xy+I7XxP3XjYIVJUb0z8ynWDxRioDf4ieliCA9Isx4+qKnXPGKP6s2Jb
3Unpy9emrNFuxmJ1475ZefOk7gjPHXkxJeNFUSYJKHgZaW54kSayQ1wKcqSOWNJyO2frmpd/1nKy
wetSlkGN2gZ7fznZgs5sGrgpnghW2j5EoqRnErZ4y45a7E1oge/A4ot9XCtUq7MZcb7Qyjdu87Ut
RkQGbpMJBnqxeOOjQDRNrvIbZjevOPeIH6qz/Zqr8EpqFBv3ZVz8+/Y5Xx0SpJLEpXCglnWvWIuK
cTRHLrk5bJ9zbUACya9BlgROgS+0QL63RW1vYx+t3i7cLBIoCrcFsOrlbBe1GdWJ5rOREsM/V2lS
HpKxs+CYTPPJqSINAl7hHOB8pdiBtrFznAHS7dA7rT1rQgJMjU3rMCB+tFdsFuj2pKxtc157Lj5e
fkDo5uWva1NkJRv8djxz0kCDuGl2Z5f4Lk1U+OFHj+7WSZd/4HLzAVqTJCmJ917ik9gK6IIn+tsq
OGctoS5g4Vp89J2iPPlG+VeEdMk9qnzBhzIpmrOfcSFglJs/5WgA7VyUaokOh/PtaVg7frQY0Iqh
MSQ7X5fTIMqhy0mKgWMCWpx9HfgYZnBeaxv5xoSv7ULiO0CmNrgY8OCXIwVuE0URWD0PlTn70TbT
hBrvjM2riZFI1Qr1AdenLczP2qAgeejVSGyWuXzfYyDKUWC2pqeY+XCYxuA0t3VyhNioA6MovgBR
+vLrEyq5hFzlOEag63H5maOGgRYe5SZxhJ2iDGjS724qjKebaN64OlfwgEQs9NpwhKQlQtf7cqzI
CAOh1cjYikQ1/rCCPrqDx/aA/xqmOmXHxZa50SEk5TzVdqrv4eSMj3k+qUdHdO2DGSP8CSC+PCMr
Wh/yWUsB/VKbnlDIvT0ra4EOASUIfBegHM/55S+NgyZIkqY1cGGebNriwfe80+r7sK6rvd8nyT3q
uP1OK0LtADhO3xhdzsPy6AGWddEqkm/tsg6dF2beBUVgEktO/TFtuXO7Ru0/jbinn6guqk+4V32x
EDL/B6fLJbdiC9JYoWl4+dkh0gCRQMbKC0JBUUR1ggdcqwePxKH9J0PBOEbR24AeYC/2HbQ5jKYr
djp85nrvqH2GQ6w+HdAgaA+3F/Ot93g1ny7FXb4I3sPyZg+dFLYDbkpeYaBJqZXI/VVRMx9cRft3
CGnxaQzd+L4aqz/pqOlEMAI5wdkdT9g0gSvsDioulie3QcFRzw04BNy7Gj6IO2SLVfBB6fAQ8Fyc
AnyAdkXoo7qqVObGV6xdDVJ6AyoPlxLKa5drM6GoiLgvfpn03cdjWGfAZ3Ozuq/sqt4jco8C34js
6+2pW+o6yTYFIFUJkqJCKBFzl6MayoQAYoNzcVF10UPCzbXLfDAjo42cbE1D1TNS82uXWcGpKNr0
oS8KbeM0yIt2sXpcTphRA1ahM7AkO4d0uzCyZKeUyoAYP/jlD6Vjf4vGLHr8J1+LUg6xFkkObb7L
r6Wy646xr5vwVXuwty1N+lKMP5N8cI5Wgj+83Y3dXs0mMm9LwcQN5uLGuVgrdJDaU0yRU8/Vs1hn
YYL+VlFG9SBzJGeAOMbe9gtn14sBSXKjd9Cwq6IjTvXKIyqMOiY8wgXt5/r3CG0ZG+Hf+s+Rew6a
ObCh5YNbZBNSCgk5c1hgsG60NuwOJO7xCWuFlxMH7ETfz0eDiO0wUHM9p4ZR70vHdfcTb+vGCq1E
QWAM0FMzeUP4PYtHOdJmX2lV1cSCzukeZo0Lap4KBemUvj7EuL7d3hBrWw8QimxFQQ2AwHC5H4oQ
wQqk/HmO6ZzuHF1Bujh0SSmpAWxM9OpQtNlktw01iWWc3QT2lA96bXq16nOJiJCrV/TlbqyUrS0m
f/XyQEmK4P8aSk7yu7JdPqSoOxccqLhww52KestBb7BwvT13b/X8q2FkReYN9KIuvThsx7cbZyBU
m/Kp/W5RCNqD+El2DZDAc9Mn3JKalp9xLMpPjjGNaDZSao460JZNm4Ynp8MXceM3ySz86jexb2ya
6lTCl9wh1P4bBD954NDqsQD+ghwM8VrzGr2ujrqV1X9GPgKm7ZzPTwM0nHNYN+EpHlr9cPuXrG1k
6vmQMbhmOF7LUz7B96qxkPNC9IHpyVXxExl1urNyUCJFmIitcF5e1FdfTtouCOjRrXkzDXu36KUh
fFGNkItK9QVG/rDD++uPQBnECYtdh75DNqcIfSfIdgdx9TTUoXuM0AD+GuJ6vXGsVj8eZg6Akbd2
xCIOLKNCpHPRsAFnDMWkNvGpSavKqxq7OIrQ7tKNdV95O2kD0fiQBAKZSV/u+DJuRdpWFUlsHaq7
fMDptCnx3lSK4hvVwdhrw77aGHPtQL8BsNGw40gL+d+/m3AsGIqyKXrDU40guM/SfPAgluKhFFVb
r/Tbu7RcXGhO3NCcVkqhi7Fscw4GRasBGVIFPqiwjmgJN+OB+6uGdB40nlVQo3aT1sUwk3g17TJt
DwReOdYKdgAUtIODnmj2vWjL8ozxRfbomBAgHdpDx6TKFWwZRbrrTT2/G0Ix7fRgMPaTmRYnxOER
xx8NtO8Vu/qQQqU8hlGug1Wxt4psK4ExYlKSfS27pFc52Ww6edyZswHgEZsHnVKzp4ehdaooMHkY
VFBmTsLpXHdzu3GbrW1ZKUzC2DQhuJ8vVxPakuvUZmgCLLWbE84CzUtgoajZ6VjPUsJQ/8ERQS0E
YTJahDSDF+MlvWVHullxPzSYNevRiFVAEYDvLH1tV0SGdXf7Plqb2ffjLY6kUaqzCIFTQz/CRa7t
a+NQK+EjYJz23JhD8tzVRkg3bqo3dNFkJrXcurKWxt82NKRlxot9KG0yFQAG+ODkpyNy5x5XGzKC
eRpeadcmyIVH0AIqOzgOsbuF6VrrFEOApmwvXImJXuKSlbpWsoTMwZvjzt2pfhF98wnD74vUHc9h
7gz7ttHbu2w0/eNgtvpdBZviO3rg5b2d149uF2gU+ht7Pwx1+txHSb6xMqu/ULJsyZUo+jNNl1sv
xti+M6dKp+QhRSL7/IeBfMyBEKI5VRIAX9oO1nlTnIFJG/Wj09J7gFytPja6Ve+GyY6fhqo0ntUA
r8GeQPvz7b2z1oJBvZd0lVYgP3SJc9QapdJsRqW5okT5bpxT81Bk+g+k46fjUJczdiuV8xse1NbR
UCgDW7aVflD9sN54Vdc2E4RPl86/ymW4vAdF0mrtKGCGmRppewtUcI/lrnl2kDm/tzrLOnW9+W0m
gjxG00j38PZErF3574dfBFZZKGrsxwHRjWNjvvpUKSC2UMRENEV9vT3UG9hweW7gB73dDYiML0kU
UR/jQIoJrTckge4N+pQdukGFcG2K4tzBXvkUOHrzqJdzTpwTT6dAzUPcW3j1xtwXn8hmfmR6/Nkl
nbwHq4l/kTbavxMXAtfFTOCZFtD0XUktIPPYwe8zE713fUjax7CbtW9qnmoHDcNNgkibYEIkxWl0
e1A7epA/+nRHj4glOMcKu4hHQSv6XnR6dexSvTvomjVs5Ihv7bXldGDzRc2Ys4pywuIFZC7MXMNh
yeOx6j6GIWRfiHs2EGBplINa12NfdjZWwlP1FPdzeXTCcniYo9baR4Y5fyjsuD/QXsLSoLJtryu7
+Ws1WPqHoCvzk2HFOcc8nv7CH0A/iN7eaqysbR1IIGjQEBcBOv6f7J3HctzYtqZf5UZPerQr4M0U
QBom09CT4gRBUSK893j6/iDViaCSumKrR90RHacOVSWJ3AlgY+1lfnNWedKLwggns2Sv9fnoUxbi
vi0ZCQ5TZv3J0bLEiw+3itkxpGxgjpCkf40neJf2VtczRZuyJFkz44kcEXfZsaST75hjl3v4FXWf
qG399vqIEIvAHCpF58QMpAoyWeuY0uhY6K3VXs8ehsF8QdxT+aRE/N1KwC6WZ4qu14caXs5MCijB
SjUO0Rdg1ne+3StXial+lhP8diXm3ExCAZsB3Pr1RkJ2qeDpEpgxBCkvlCwvVjC5/JViDuKT/f3b
pRBfZjJBp5bY9utSc0W7DiAdz0wrgN8ZVbo2sXbyotCqPqkUfrM94OgsGo0Au1E8ODtusAGhy4mc
l1c32D21gRpsdLnAZ8We4F4nDFQn8emo6zfXh5cpdFAknziNP2x/rQmsvLQVz8B7bFUGWgoaSx8d
LbU/a+3+rhvIcIcJ3qKaJTNm+vVeok822P7EJKW363wzGYAqI7Aj6PRhMC8itV6N8MHXQtTDcxxi
sBZai1aBFSYeVJVmIzB3cH1M+DYyUiEep7a+nith7c0+kG4KJVaARqvF91Jp6U6kCJYxNwo2UVM+
//kM+F1mAB6G0RzjT83+0JuRSyX6ibSAdVRsIzgXDj4qwb5O62CH7DPZcRfnDh4i8bpKpmljjFKy
11Lsg5FLzjxpiFuvzgb10PS5gbWZUTz8+SMu+/Is1uBTQCcb9DruCPZyYL8rguhkyQvRFlj5BIRa
M8d6FyOE9fev/LtVPryIFo7sg1TwdnRFKHZhiE2Lhr7ANgnFZ+SS32QY7BsGzouSBTv2rG5PB7pt
LfU8kAcd/jdWYZum6kowQCZuWobiX5PPxjd2rpYX4HGzT17O37wndFOYOwN+WHAGZ3tX6ib29YQI
wljj+YdeebybtfZVDHWz+fOT++1KpOVoRjFvQ1Pq1ycntyoYkgXFExZBcVuo5rCpO4xVK1UdfqZN
f6Ul9kff0/8LdcCUJQP573W/bnFffXkv9/Xj7//rHq9gPbrI57N/cKkF6/4feS9V/4cRLwMKE6ok
o9f3VqYmyl8EK6wyaEXySvG8/rUyVfl5MlGGqgQsGjAQ+2/kvWgCciXvX1pavUR9EgSgi6BKPmDw
m06vx7gVCpmRyAJ3VvHTbENfUr/nKR7oiDaSOLpl1CjZi4x0CsDoJuZQt4K4WKe6jLodBkpD4vr0
zC3Mv61sXGXFuGiAZPiHuYy2DPNySISkuGZYWq/WmOT+GqQmMoMgyltL7OxOREAdQr2PdJhFvn+P
tQdaFGNfS5CT8fEra9zeDDAnSARKBkNZu63kKlotmjb5q5Hl5FlOWVuhna3lFrGB/EhyoHW3kdmO
mJJbUzu2K6VF78Nkil8E2Zua1UOvunZlJ6uqAwO+zVKza25GJlVg7eNQZxxc18qI/k+bjPobHJQe
+XAFGHly6Oyxlq4sDI6+xtQncgW6HV2z0enGPG4fqhRa1IWRkzFsptaEOiHHvkwvxu5rC8xAR5Vi
OZkAsoiv3XQHHLc5VZ3maOS1rjKMwdbM5fC1EcZD4avHFhIdMjb6XklbhDkkJx7V710UXlfpgLlq
k6eBk3cYxAJ5k8AJ2NiQxMVBKNlwP4dNjaFCQwFLMbXS6Tg6mS32fKxHP9G4p1FZHZpE2/VxcBm0
7cs4HDF+WOd5eJkg+pFUJoMQy58uImw8HVoj5g0sxr0dAIVRLA6ZaTW32tYs8IlrDOzLkvJhmqtD
yR1WDiIrqh1B6zRPodZ704TxizmE10MAoChI51h1irbbUUcdGfLr68bUcsdHuHylYQL6BNRqPOJh
oB27Xt5LbWcjZtAjKLylc3o78CGxYAsejDBUt3UokutM6fGYnZiWBIiBBkNdb7IR+hgcYG6tpt23
oi5dINexkykhev2lwHCi9XdpjKwWkDflkIypYXPIqtLeDPJbjCQ8mLAPZdIGHr4yOe4enR65RjeW
Fd2LMrzva6XYGUZtO/JUWSGuiuGlZH8HchF4Of3fzNHQ1HeTod4PosLw1XSRQ1VWg7/D0ewY5CgY
rQpV1e7o/AiEATAirz156HHqZSM4VlZuI72+ibS5dkzTz9d9PR4jMzHwdM9TJ56LY68yrOPZ02cG
7FmHxVY3ppu+KkCPRK03zG2+YdpyL6fDGnvululeNlwtZmJOQcbuyqHBXoh0hFx1tb7QkxLTiCqb
ukOKpC6/Oe1CoGaXfm6o64a5CHkpqglOYRhXHdrz4kKqsAZH2QN5hyAeXTkqv8p5ixtxFX2t8QAv
XTuMv5lll6AFoc0vTaOr+3YoR2D7uP5GdhJdmkapHYzF7ExLxi0+wkC+bagSrpXMSoh9plY6cznU
ayjDIV7G6iEGMuYYsfAPTafZLnWfTkFg2VcK+IoeATXZKNZaM74kcvptUOV8XbaZfNQsJc23WiGm
PYaz8iZOMZp1p5DvxtDL9IZBEqtBiEDZmQH53WY2wsjFXkvHaqa9iJV2WIE2lYO1wqgZ4FZebSZs
yHjZICQQCSylsoBSYdrn4Hvad3skaePslFXiTRbdqQnLN8M3MNRVI4Fb0FS0d83YW8i7gaIzcauT
OxwC2/ZeqoqFMhCUe0n3d0GtPU1mnoqvmVopoWNYDnCRi1iWBieyJMbSsp+rr42NJjDwZOs4ito+
0Es+RgWhMIlsAIp+Ia40I9zVUXmM8ka7JJ47XZlqp7SHLpBYoiOiYe4s9a3mCImnGRigNqCHveXM
kjwjtRKEPqrv9ZD5b3VoPqe2WKm9DSdTTTJnlkprPY3+o99PBxkj3ouRscO9Au2OzptdXcS9eiyo
uCDsFyAE3KbMkpfCF/kpyAdsWnVKnlrL4cbEV6roj1MS1BjY4p+77k0hr0Uns7MWi8kWg3pMXMnR
qHJip9TpDyfDpRzPBwynme2KgD8iH36UqypyNbsJxbUcVPol4t4poSbgyuPi1mx9z4Ih1JXNNqHL
4dqiowccwqZqpI2qlfox4bC8KP2WJrsRWsO2RArTMQaBFVrlEnN0b244MIKiwR1pMm99Nfyi+8OT
Cal9P9kPbV5tC4goY18tsrDNfl5ER+L5orON7ilDSNwx7e6CZqM+X4xIdPRpdUqqidN0aCpX1dn7
RfUQ1FJ7Gfij5VIt2KtQKS8Z34xuF70S6TonBnxzGG1Fu1FHLfim9t/TMl2BN+MOCqANVxHBYUrS
a6hi8JPHTesnezDIIeTh6hThU+OkmSE96w2a3Ha+T0P1xrBeylbv94EUA7+ut/Xsn6qqOUhF12wF
pBG8CylVMfIpvtpBdyrxQh9C+YAp526K0+tEuZDEiJsiClv+Tg5aID85eUCBKtVALdbtg0nu3FwW
99OkH3GJPFUk1W6Q19BBg+8E3yG4MH0kKxQ9PKFgn65x1dlb4q2Ur7vFqLlJ1yQHj709o8luxKWj
+vbKLhN70RnfaFmURt5QJa8lcbIo7xT1qzXETh9qTh1/o8+Pc1ZxIjdYS+OAUsbBxz911Egs8uAO
wXxeM5lQhJ+jgLLSyK5ActFoj7W4zUT9WHUXEU1brHYIyb4XzN8teLF1CaLRFF43Vus0HpCf647G
TPB5Rq/B7Ygo+HM7jABc0zpCIjrwyl6RTyJ/QspTW9tqxlazA2QH3aCKYi8BFxRE/a5Rxm0rV2CE
XtNaP1mRehVmxSqpkMdSGrZRSX7xRYdvSs8LGxdJJiXoQHXah6xbouJjkpqekcmo5K8U7VstKcQp
JbpCMYb7FezGgolpPRur2lddXLJXlqj2dlqOjh8MsOsKJGSu56bAVFPboe68DhXyj9EGseGjTZ1t
O+OqakJ8XYJCTpwwVg64P2I4TEnuAt0vr2M7IRchR7ZcqHwDmEOr9igsYQz72cWsbvSJDnOvbhAF
9+SS3YIpbFkE/W7oQHeb/rhB8+k0jGHrGJXsw4AsS47hYG6uqdKVC10b8h3mb9E2mMhLLRylq6Y5
MOjg3c/bp2bS1Au8ZqHMGOacJ47hR/W1MkQ3WX0yw7jY9qhleV01nxSruZTr/lJpV7VqTZ5iFlLv
JJlJiCySG13NyodRtfstuvaWi4s8vrhxlXmF9mZOyZXNhCHgW5xBswFQZ7cBmYg76Xq37fMpcsNJ
XmdJfVkDiHCGctpbUnhbqcjS6px3vH8Xabop2lhtXW0oV/zf1ZP8CeRguBuGht2NJTx2bwZpT4yd
lmsp4UuoGBemGT8WQUh6OKi3tEJWYWRv1CpyJrO50PT0TmHlvI5gfRsY2CrWgxZ1nj21oTMrR629
rpRlx6PrXnbqOkLSirMYolPkYki8lyPolkijoQecFPEFPACUVXs3K61tFBXTeg7alU9yPEW6aw9s
1mjcpsichSlmy4ufM8bIXuhn61JIT2pErgmLyp/K20wrjvE4gSI31ftGqh+X7zLq9EEak9soFs+2
nhzMvr0RsvTWiv5+sKvYqUkJQKP2blslTPbJpE7zkN+Wk7+u6ItkY3WQUnkn1GxnRjJnvYR986jc
ylpzP0q5pxZfm5TXy9S4HXF2KaUGO8B4lpvxi40LsVWbh6CTVsacq0402muBkGIelfdj4R+1Tt92
BRarDJcyipFcXwWtpN4PJjbzhiH8Fa3sie+tiLnS6AiUZV09hOStRNrKxNRbEl1Y4cBgTF4W6DzI
GdLsDNuq8yO3GscNGpjPbR/Vl6EyVlu/ho1FRl8N0yqdolWHvmerpteBv6Mn8QXngcuEvdKOwSqD
GuYYSCVA+18ZaW2v48LaBTkaTFkJAtQet8ABV1McfpktYwIwMDVbaJsvNCi8UYmAKUyeRXSMfdi4
eJEv9ictkzOz8ERlv5iNuLN98y5I+41RyE6epSiAGeNXNPp8gZCfVtaho8ihl4f2yYj70cvsDBOv
+TK2JSeYdX0nBrxmjZHsGuWFLahSopBKprwN20SpHFV/kgaQeeW0UpRsbQ6luQOntDbN6SYyowu5
0TA5WuYRVA8LvtT2V1VTPKeJsSo52QcssxQT+9C+dy093ZfwnkOGAVLpmNoTgIKV2r4FhVh1c34d
TUCfys4piprkr/VG7pGWnyRcxbO8LTydzJjW4kEJpOtZMba63m81TrcksByRtB6YTbyPaqwmxEPT
nsx8vK308NAEFCvBy0A+6Y2TvQ4M45CEvRe3wwPwgQrtIk6PORHJHR4fnA9qPctuExzjBlNDPxJv
hjquFKvOUAKYsXkNpkt6mnrqpSF1FcVLlb4mga3hW24irOVICRDFjV83E9UQ4iCPZpdgumJpI7l4
h0bTaxpGInXw6h7nm7CwU7S4aM5qGxPxHwal2SR9R0BPeZWHNripw1zjwuXIeIF/mT3bUpNprpq2
2Vvt54T1Ko45XkCHT7faBKDawQ+aKUw42PGF2pbQT0UwodDa23rFiEkS6CTB7JNPPTWcgD8uNway
zWqNm63f1i8SNSJZHqjOBRkXYCaU+H6DUQDUpKXUCoKBMysLn1OrQDSg0Wppp+pTj4d71xmc1qmS
jA7u5EJyscpog7WpIoEnFf64No1ayt1EzxHGU0L5aBhj8ahi6Xro4BQ/q5UdJG6XAYx1UwX8sTOi
T1GvcEJfhTVJsqeGWhvx8XGucKIuLRL+hhhzp8xqf5ULIy8vc24u2VUPVdcTCLbfB81sEroxejrq
zGYQFFFlUsBBn+onLesWWe46pQWtqF1jrJM+CvazNYyt51dxdOSDDXeB6Mr9oAgVl71qNm8zhBR6
J8L/6y4ey+QuqWz9frb94U3oMtynWaqBsclhnkQuUKlscJD8orIYRonjVU/1OF9XNIp9Vym0mcwd
rwsUtMGahshf61nnmQQM09V6yk0K5dq48dNSv7PiuSeyTH2M4W6pD2IfN3aWuu3ISGjdGPlQ89LN
WbJS53y0PARP4QoADFBPmoaIged3nXmyqhTSb14W3SWZpaWgjGF2hYs2AqYwmjWhF9sGA2TkIJLj
W7kFY0VKYOszGX+BgF9j9cFLlGTiQa7TKdikZhJJt8OgR0vU06Qv2A3JuIIrcT156I6/FhFe19iV
09x1Fgt64U7DJNc/hzh/1ef83zNE+H+uG2rQHv7vu6Ffvmff81+6ocvf/9kN1bV/fmhvwN5a+L3o
bP+nG6rJ/zBPWYB6/7ZJ+Z5/zQ6Wv/Rv91NW/kGiAIQ++G7Q3TQz/2PGcPVzENGc/fd7swHlx6Dp
3cACTvzCTGAoJEF4gmRyNmgr237UI50OSgGpV2zUOKzLqznRQmikQbvoVqXpiMW7E1SNiPaKHmT6
hlbOfDJnyFoXBondYg2jiGqjqHnVMTWe29LD2Z3QaWZ59mWiF2WisRFMjwmR94tVQHhHsSMpHi3Q
EbrT4a8jl7zIKAAPQLuL1uKEV5ed7deW1pOB13pe0XZipsMPCf2+v0c5klZbkKJSVKK/XsfiDVU2
DcV4rQ/BS5DThFFSOImIFYovESlNRCSWBXm2WhbJ3vJjkrmqycN9K3ViOKRDlIfenEoKB2oKvMTR
VXQLrnQpMrSLYKK5lkNqrGkBlVOVFC9WK1mRa4WGGuDsY0ZWiJWPSFKnNhNg9VNSgPAHTJkNPiAC
5Mc5lKWIV1AfOv3FLxhX3/l2pI+Si5bYTIsk0iNBwzGu4yJ7yFWr6p+nsRnrezrFo+yW9ZgRrobc
z2iJhRgp0okrQjVzzclQp+OM6Gp4bc++/Txm2chEZiz68DBGdKfQ9NANNa49VRcTaIWAS4gVN+aH
YdKIX2+J40xmRSS2fgC3d12rSqUQ+IrBYmfQXSvrILu1JzmG9uv4pllgwIlSCgrr/ZsUCeaoK3tG
wxc0eV6G4b3AaMqoNhgBt3bvBSpSsBR5GBGp7T6tCsoDp8grP3lVeuQvtzoGoyRZWdtq2TY2rDp6
oxkslNtAC/LNHJkoEevCTu6B47cvuWkAryWFzj07b320pP04vUQ/pIwvwOXX2cEMB8C3cW7qT1BA
anUb2LNR7vIhk4NtA/XCd4tZS9y5s9PrAYM2r9Xs6hqyBLHcCAuEvJCxla9VoTIWVnoEMiz8PzGQ
sJ9aKSu/Ul2flLo0H6UgFpNjJKp2Xah19qpYAf1tDfUsFCalrn6i1IjqE+pW6VMpjdJtFZD7IUFh
f5kDJTgEgWLmnl7KoCUr3S5qGvz5eojErVousml0vi6nKDVaR5t0FF70sbxOw0F7VrSanpTCEezT
+Y5oGKWzurYGSvRWgInMBgUOQy4hWcXZr+ZlfuHjVO/kDbWPNaoknZn+BrOsWHE8614zS3d92lLl
doqxx9KdH6EpNcia/AbZJhpIqTa+URLXl2hUK6si9zWXlyOBkCd1yW2TNUXh2qMek3Up1VIlJ3Fm
rNI8kYxLs0jV0E2wA012lR6Z9mUUMXr0LHAL1rq3/SY5ppI8Iv2FmkX2xD6Ih28YRQCtz5rBl459
n6WVl+mBML4EcTPxeKeR1j+ND51UGx+L3EOUJxOoYPjN7AqmVubJFq1pMPcYKiYncxK+JapBu0H4
RnnTG719NUKk/WrJSYuMF1KhIR62rdLyk6LiHow2vNpYET0fooZ7+GTbWZ7DFeplYORJO5cgTLVY
uWqGNmzdIpbbxpUCSXka5L5GylFWqxogUYnhaFLHibkOtSLKX7ImTOpdog1FvBXljCYLVoAUgdkc
BmrhjPYQ9o8qqm7jJmCerrhqF8ThviotcgIfXPeMJ4xfGel3c8iV+EorK1RiW7Woa2k7Ywg63yL5
2wqGO5WSXtY5zl6510B5DWhZ9rTV3p1w/x4t74+SM8AoQuQcXoukDiIgpC/ntlymPSzKlZqNv0gB
2rgPk0ujU32nFn23K3Lp218vxyFoALdfdMp/uBK9H7SbraVGZWOYThqL6BEAg3opUlu5rDu7OKrT
pH0idXqGEoGzBaQK2Bk0DKRkPmgoB/MQS1UDyA6He6j4bfCiKFRNRi8fJ4NqS+mzT1Y8G0j/XFFW
VbY3BSYAv18H0gHcFvJZVqyUoljPZjU6izuTW0tJ9Qna5rcXh5IKNDg4AsCqf10KKFkDK3I0Hc4a
6rdkGNaor3Z3plUX60COo3uzGdTP6JG/u0CUG+EYLRIL2rk+Um2kwTzpnelYstxvBPPVlVIm1bop
08+G+2ewDO7lojFlM9oFOghc/OxemkGQ+4R435H7oLuMhLlE1ab/BLl6/gosq6iofy+IUNBm53TP
HAkSUvaMPZ/24Vdk48TGZl68aqe0P2W68Nd/9w78WM9EIgZeB2CYH3CZd2CT2A/SCdkVhMRNhFxD
nKo2MIWnp16NkSTQzCD7BCPxu9vIPQQpBfrG+qAyRcNFSXSz4wIZlwOCN2Op8Mqybl//fGG/XUfl
PUPxGmfRc3ytPsjjbKq9D09Err6W4TB9leuw/+tdz03DCRN9S1RclXPg14xFc2rghbiUUupWzRC9
tos0v2ngeTtVmTSHyefg+/OlnRMMf2xFA375QrKVlR/p//vAlQ65bRGFF9vKHD1YMcIoyyRahJo5
xysMaCOAkCrT2KKyK4r0EpJMiXrjJ0Cljy+fDC5RNhZoDenPuZIGTpUmPtkMLpHxfLSkONiTTtMD
s6b64s9X/PFhopZEcAEVhTYs6qm/BheL3CgqZKYRbZDbd/rsy+u5meS/g0RxW+kVQ5VANAkCAbok
v66Smxko1wbfUVwWhNvYSuOFvPR7MA/lJyfdby5IB4hsatw5XrpzhzZiVhyguuU7eu3j6TzJ38JB
CT55tz8+H7YIlRnGshrSeNoSa96926mhS21oxbZTCTiHbqDRIGl9q71SkhTE8l8/IoPhxPJmA8KB
UPPrYjTWjB6FctuhKHgSUu97c5BEn+yD310RtSY6KuwBkIhnV1TqlSoibbCdmfAEDa/r2uQy6XNm
+XnRVH9rGcyGMEhKFmAsJAL13PTAmJjy8xLaTmI03VqpW3vlizld/fnOfTw5iRsI0qDRxUv9wRww
6mbRw221HHnImRzl2B44SmgmdyjPDbvatkEFTUbFIP//YN1F6XqJ/BqItV+fWDv2cg1Tme0xZNpd
Wk6ym6eMovJab18nWepvRcE448+L/mbjGxauq7LN5kcQXf11UeQpJ1M0eIxjEQR9vUkl9asyVJ8J
Ufxuo9ioPqHxgIMjCoy/LpMSl+VFY84xEMO8QDDzG1lZsUFXx//kgn67Eo+EhguLWediqFAKaqg3
su0Uktx8oZyuS0ebG22r04r9jCyxfOz3nRY2JEh3NgmpAdHw3BRsNIK6k42Gxfx0o6Sz4aLH9zoE
KrKQ6meGLx8fFS6vC6JNw0kS3cWzRxWbBc4eIsckd+glF51qRhR68an5yvJjfr2mZZkFv8wR+lEs
JwzLMQ1z03Imfx58rzMGJq7dpHSTB1kst4EDWNzTuDfDJ9FbNS1VCcgK+nWhWa7BdqLJqvihlmHm
m0um97f7lU+3hBsEnnG90ZfH/y6G6lSafqNy1WZpIE7nd9J6MpAy+PMqH0MAru4m5BviJvvyHMqN
tJYfWl1mOSFexPsCevZVIKmJJ1tNeTuZbfUUoUDxCb3g4/PF6WYBVNqGRaFxTqcdhOl3/ZxYTsNt
3UBQzEDkwiH+86Uth+Yvjxd2CYuAUucNA/V/njanoMLE2BhOPeX1qx5NiXCilPGkG2G6XXk1UDVx
DKs40/a6Dknvk1v74ZWBsw0DgDgOtwGVgrMHaIIOyFqjZH3GCfsumGlbaLU8bsd8SipnbqNs9ecr
/hARWI9X1JQhzqIFce7h09l+iUOnwoDeDLX8XvMLf3bIpgPtYpbjwf6kYvjwGJHKRxgWJCssNJQs
lV93qFKCFUUURXfkdkBizGeUUhTjZ2n7hx26rEJE5YDHLVc+t2NOQSBaZajqTorGy1rNC3mjJ1rj
yoUiu+CUym+Vr/efPLuPiS7UazR9FnYPbp5Uzb9eWz63ft1rzAITG+gROsNPkSE/5LZ5tMLmTs/6
r1giuprZ34WF0X22Or3ys63Lq49oGYheSnf1/AVp27kd5CnVGUfp9Upo0nwRBjG2prgOXhkVbTSz
auPrqumGjWiUZtu5OmJA3/68nc6eLwkpzhfLx6DGxdL73Js6los8t9U5c2MzB57VDtiFquZn6py/
W2Vxel1y3wXMfBbs0ySY5jIC7qrDk4Q5GpZAuJLPSNdnwQBiEX0WniSWy/KiaHwWDGA4DwSioXZt
4DMAY33DfmmbyEpdoaj19OIb+hCvm7DSsXvspnR++fO9PHs1l/XREF9SHhoU5JHLLn8fzZWgtMK5
bF01DsQNJwcoD7zoIYCKGujy32WrrAayHGENC28bmaNtuefvVjNokQX5aLRuGzCGQBYMNrCRQBsD
JDNgMPHna/thIv0u0rKcxtCHtwWoGqwn7SzSjeh81JFc9i5cCFEQD3o7hzZaN9AQeoCH7a6LEc3z
Grk2pjvg2goQBlRaBGDWVFRHrbbnePA6JiPGC4oaMAG1vmkrz1QC+a43Cgh2QAnMMrlG3AVozBTK
nekpDIyeJzTvpVWcyKW9Nnx5BvXS0ksonvxY0uKfT/H/zwT/B1IE7x6699K+/OKMfiz+K3vJ/2fz
X4sz+vvZ4I/v+zkbhA8Bz4Yqlmxiqf2WGumnEbqq/bPo3i6kaEgKnAj8yb+zQVX+h+oDLiVi+0iN
/wjv/2FK/JgoLjqGlEDsLlj1Z8PBPw0LzR/n/btdqpAG8JlopHE4sl21s1I+7YdOKDoYS0CKF3G0
r2r1GJTF16JUAOkqKUEhuiINuO98a0fjYmfO3aGMnVRLLmVkRwDESl/MUjZdYaDWq47fA+YVUxbs
NRd+BrRpy1/L0UvTKs/4gEyuFhWo6mla4cZ9+9JHaFVJTpOA9Z6bZp/rIF0DywTQXr0o2kZRtvB7
4xNIsLr0Bs2ZStT7VkbhFju7hN+30a1dZV2dWkYppglwxQ3D/Rg63Qb1qkx1EYXwW1eRwRo6uNRO
seM0+DDFDDDAbTpjuUKJp+yu7OQafFhU3Pgxbh7rqnB131vGoAndWiQZjmCLbO0ivU1vYy/20pMf
vFX3qnRTHXTJgWLCVzXhPJ736RrV1kfhe1PlZM/WtClv6SbD1L4TsotnWAXKMvoeyjf5LQDfuyo9
FuKBsYOjY1MQMLhzhFq4s5Mq5aGKN1JtMXBz8TTZAIWDszI4YTZ7F+m4r+1qa3TXhdiE3brq4KPI
TpqnbgPoWd40Xt4iQBe63dP0Kp7F8/Qq/fhV+vHr8jV8ad9+fg1flNf2TXn9z//6t/iFqfBGe+3f
tFedmOQMQiF+Tce+WfvT2kaxYq9ANtBssI6gutROddRdWmbPKbietURbQCm+VIozm15GIf2Uvmiq
2yOMktwNXngzShdJC8Z348guIjXzCvrLEGzQ5Bz8U5K5sr4eQq9ncFeckKwb5xMUDFW55meZ8oav
HZPF4mTVW5Physy0Dt4DXxZ3BrEaB+/L6Fq9TefWUSd33lV8N78mt6M71g5CCfZz72onB66ka1kv
hbYCiWo+b/BSjksGfie9BN05rVQJU3DXNF2stIALTldcJ7Zz+DwCiILXMDja3XQVfvUlRNGvMpD+
+W5Utvmlr3rlNkQw3WqwikpvAvEaNKfM2CsX8IeDDd9ehA/jeDOqz3q+uzKkdSye2KqBRpDXEGUF
oaUMHCBMBLGaX48iQNXOdLIFd9tfJIk3FW6kXdZg89XxKuy2ar+RZtcyEXxc5Vxwoa/REFjE4SRX
AGx3S5iw/kH1D+UeGNW4BurW7q3rZ52WDZZLWujap7qFf7gKCt5vd1LuGnHV9PghLe2+2oulKyaB
w1t4Fx0P3tqz0p31tq5GrxDH4eUgkOR2aNDYbq5hw72GylM2Xq+5zVFahQ3jyJWt7oFVpnfi1Icr
fiKCeXqwaqbVCOh/oaso+yR786NHK0R1eFppYj+4GuwdkIYNc3GE1jYKgHFN6I6uZEAFoaUgr1FH
kmfOYmuHlymsKzn6CvoLSPeujvdQ/nPw42Wyt6ldfSanfDa7XZVX0guZbMQY9MEGwH2TVW+JpdE0
c7N0XJmkIzczGUNYdp4ENMciwJwUbRc30jb/FhWXMDc0t+1dAFELcNiV2VJua307AWPgo/FEY2e8
AIuM5pzkyuZz4k+In323B/HYxjDNttCuJ/Uys1dmWjpWcBfKj1gAc6WbXFon+UMuPUjpquwvp6P1
osTM4bCqN4WrzLshvVQX2oG1okp3cpQJrqTpDgSAhrdksO8O5iOeLKHsFNfZNXBE/kEYSvz4l/zU
HZrDj9/m937+iUR4BTOeO/MS0EAr/fxHb9zme3GIRrcZLgiM8+X8OAHURWCTwTP9fM8CSehYV5V2
1H1Xnr6y7dXIE+P/Yu88Wyw5sy39V8T9HkV4A3MHbphjM096+yVIV+HdGz6G+e/zRFVJqhTd6tZw
B7phQAik9OfEa/beaz0L1WnBZPpkzDiu1QdJDgBCJj1rqjHdDr+UhKgjlzHTLD4XQEtIXhTto1qi
JMTzW+7bFGSuYbkjk297JsJ3E9d7YdwVQTgGo+1nzNK+AZiM0HzExNcy4WcEzKtK5uUqml01qRGv
zavthvxkHwXr4pC20uMzFs62whDQu8y0nfoxH80NME7EaVaNeN51Xsyz9LUfvSZrPR2xX3Uyo/uK
4xEsrFOSheZblrvEm+VUzy56QeSwk/pYwj/rKA+iQWKmO5E+zdpBtWCrSzBn6mWHKrxAZSE1L7Sp
gvJgsGiT7kE3pqDW0fV3xka1Fkhw4SYf66+RkcMnZoulo5L2Faa90c/Uu1DJXjnYn9Kc+ewkYTNH
t4Lqxxe9fFl0Igh7xIKoGpflCl+xb0eDFzmaa/fAUXVl35ZmIOX1cdUfG7Pta1IOkUgE4/h1jM7s
9iGTxi3Am8xN5HiTOpeS1hdBrOiJy2Db1+fkiiAvPZDwaUzJwgzTkXRXaVGSOxfFdKNEk4sVNMhU
PZChLnP7YKJaR4U7gtqTGGtJ07OhDKcsVc5Qel5Y+XRf5Oa7WupnkX4Rl/8Xt9R/N00awK8VnPr3
VWnbiqvnLzf963vSdiJ5636+hf746t/uoYw2mGZChl5LlR93UOMLvQr6zSRSMDv6dAfVvjCoxucI
vhaiATO73/RquHVpUdE9QrTP9/oL90+qyc9FPfdPdrOVqMu/IcXaa9H/U1GGRRNTHmR4rwmdxW0K
kqCgrAu2mn4/2KSFYcRcLOXB6IpLoX+UXdQHc2Wd04wF0NO1R6Mwd0WVeeNSXEiSeagG/UQb42iP
2X1Sxyc5Xu6GyQQI1ViHnNbAINqdkmFmKdXXWY4OQod4oGcxAmen9PTCeC+QAxQoKV1MYaaNQNNt
i3Gb50joqzR9tbLM/KiHoV2lUqpyN5VOvzWMpjwZ1HmHwbY6b0wVbT/FDI7R2vf3XdYYrqbm07M8
g6WYcFVADpTsq7g0X7P2Jcrq6iISWEbj2sTHk0yYHQE6zaItDpEzkuhtWGRKK1a801Mys+qaNvGq
WbD3KMByT6zyVWylN5FsVG9WXHXr7UHxJZBypy4ldg+lTtn74pv8NW6Qu2elbezk0npoCrbBuXds
L9U5ygo7x45oCOQpcn0pImuvpVPhhmmTba1e3NQk0WDsaeM3Iw8DUfE5lLSHrGijK6eo911Tce9l
W2Wi4IUVYR5DEQAf249D5YdyfJjxrVjZsR2zo52WexvWJibUtuv2la0hp4NbISrXNpZTkjRuPXPZ
SsP4fo4GPqE6xTrHjSM6apC6fTUia1Oq/SVv/dNUL8FYR55iP6IG3CxO4yZ6uV9y+AYaQPMbqyBW
jBa2WWLl5G/S0fWkjnmmxNKASaq/LJu5fKoxLXNnHKyuxXIY1W+tthh+anBFVfS63Stqmd1rq5wo
L8NTUWd7seRiM5Xy8wT95G71eaBgl3dTmKYXTXauSdXBCNMPfTjiG9qw2DZWyjhYUpeMEapxAyUV
+NbyJrI2v+RuY+zaPjmkg+FlePJQeA/A63rmTtoAyk7BA4Lb853ngHxCC2cJv1a2UeWwPhZ5fpGH
FlI5lbKnbYyzSajFXtNnVF0yhikLQKFrd9GFviylG2UxtgRnfKTf/SOq6S+1Bf7dNtw/Lff/q+yS
qH/5hWL/F/dFvPbvHEHsOEk379//8z/42u9brWQqX9YJIjl5kLTYU3/fb9cPsddpwFuouZFDrLHc
vwqCrS80VlFIAK5h5AAo+LcNVzG/0Gxl9Eko6o9WwV/adD/tuXQVwfowXwSIsYqOwUF/3nN7tS5t
BH+znw+FdZOA5D50MwWGt+o/XzUYNphkhwxYnKz05+ViFzNpBXOjkx5AiKU6oak0JhHuZyyVDyg+
WkC5gAhKN+nk5TVTmYYxquq5wk34dH864C6/tyZ+FqV9G6r93rHgt+fokUEYAn4yeEW+kdx+OjEk
eQnluTIoIXtjfhknTb3JoF3L7uQslRs7jrhXBkqHKg+TzJ0LgDxJv5nlUU3dFRaxR3HLXV+i/1J5
o05MjdtLmXYXAUKH7WCd6MdQ5HXa+KgJBRtYQ8bY5cAlZ2MxOggIsBFYUQupfFwwwcsXUV5iApJL
e74yU/R8EP2zvQNSGy9ZoU+J2zHZ2LaJTHfzz1+Lz/3T7y8FzRuQ4CvSkUHV5zdS6XXUk2Y1wYrj
4l131Ib9JKMPrOV/lAX2eeDw/UetIzdG0xz6pDF//lFJVehKV2STjzpc0Dyp5UMrhZQhzmC7Vhta
FMnl1bc/7y/tIP+k2WD4EF0vPn45f6nbXzZ9+f7SJVX5P9Yf9Vbhv0miuPufn/+TPtmP32Rt7H36
j+Dbor7qP8R8/dH2OV/KN4o+qvUz/9kP/tgabuf64z//4w15b7d+t4hf6+ddAzwN4JP15fz7t7zb
vnz9Zd+uXcb2b3/t943HML4wFSJOa1UBrWNEdpDv9zw+wkjqW/ObLjuIw9+3HdX8so4BUX+RE0Ao
xcom/9FrXD+krUBJ3nesCQodyl9fiB8L9c96jX8YNmgWqGuGj9xAmWKjtvzDsEFRCw5kA4K9JWP7
7vFij1X8mGrZa9GDinMqZdrkzT/QECmflwi7MD8VJRjLmKExdqQ//FT+R2Ji/zN8pYYbAPbIoEmZ
w+dMisOgJ6dZVJSoprZNi/wyAtzrtQU9nEzEdyn3Op/dHANjmeqb/2fPdv1R3nTi46Pj4f78CP8r
P9F/fpS+9r+c9+2n8/PHSvjtGOWZlQ0S+Sybnc3gYOSZ/e1pRrqL6MICGcQEyWGz+nGIqsYXogM1
RqPfhqzfjt5fn2Y+xLchioitkjWHAecvPM3fZlO/H0PrgwXYdlUJWBrfliP784Yo4TIcJYwa5KhE
B22mlJ/TEM+vttApUpXAiNMsGI34xsFiJy3muBuQBGLVIGUMd+zGWJR5N0XmvlxYD61hV97/f8K+
37TQfXD2k+/BxoUQC6bxnxbJ/+s6uAmu7wP/f//y8NF2H4KK+Y9sq7/5LX+rnFHVy7BCZdTUCDXZ
q3+rnnn+QFnx26wSoHW28+sER/tC+e1g6uermP6tOocfzyHVMwJAam5k7t/2W/2vPIffZeo/PYh/
67X4uYLmXNQEUAXFi4rQcIVh7CKFoLikqpdd0iX6muEXbytjODdy6SrVh3taQz7M331r6OlB1mAV
iL7cQlsARUQaJUKX3mlPWdPmz7Y9hd5A7LNboLPBkxqpW6rpBw2mPLqRtDrMCvWxLWb9Qs5IvkmT
5WtuRE+6FJebGY/nmZSHNOCm2ZPz4hp3M9pY7F5XPbcizxoqfV8rJFY7Ha2meSz90XFIpBJOQvdu
qERzLVTK8ZiQH8yoybSd8V65uaWA4YGzVE1WgDv+vC1sfeMM5UOWxvWlntDpN2ykF0sibitde4lF
cioL81qOsSgZsvA0aEYen3wCC3daquS+c5KrVFLOkB6cx4m6Fca8BEXW9mcGKidvMLTRt9N68QwV
3ISwnK0u92oAOuxcq4uveJVCT0Sp4umTelb0y9m8yPB/dMb3BbBSd5TljzbOX9rQPEXx1DLlkiQ+
LmV4U4SxmbqRYrS193hQe0xnc3RW1vQElYGGcZsdtRrbblg6N1mY7yvHvujVaNkWXTV9EAjwlbqi
hTQWrYqQed8RK9RmkTeW0E3CaR+SvEzfActJirLHpeECocm6KJP8az8L5DA1YDNSZzE3WaK+MBc8
An1OPzhNgWlokEwK7Npdu1dneXZzIemnUjCjYY4ttlBuuHfiUQ5CedpVrWLdjMqrVc4pHJA2OcxJ
fBNHKpdzuyzgqnVi8Cfe475a0ockWe6K2OJ6HPEq9ybm9nKqLkFqVWedGMfLZXUyDtIoHZayfWrb
2NkWNU+clb8NpdZs8MBAdlPDQAdpe6BrkNLkmMpjq8xnliSXJOlNdy0ebQ83kK17as0siQKnSmW3
VvOdYxUXWdreMiUPKPUYcHC5F1/xXm2StT2gdduGLEm37TWvL+NgqBM3jup9xSxOzM/NTKZa3zD+
ML12Lq+6UtkKFHNDUR+bSPVK+WmgveKkU2CIIpDCaOXDuCEt0SY1WBx4lex8a4lLOKzbsTukDpr1
U0aueG5iRtHgVhjEkSVExUJ1kCTlwoLwRD0WBbIlvHIYtuLuv/Hk+HSl/te4Q7Pt/v3L83/lry/l
Z5Ahn/99a1cVrhgWmzsBKbhxuBT8urUrzheV+hht1aps1rC0/La163Q/Kc/JEULCTZn+89bufKGH
ya5P+vM6tudDf+GK8Yerq4pKTl5lZMRorVL7PyrJmr5JGnyQABLSeEDj0eWNaw2pFFTAasp/UEpS
y3Fh+fkcwUizZgHTjzV5KdDnfb7QNEaR6tGcxV4nKv1xcbrkVcYr32Cr76tzW9L7bjPaJRJkuOjj
K6M4O3LzSAVhlWJVhQCUI6xLeiO9mMI5ygOi53vHd7BvXuk9wm0/7swEo5vmFMdW7yC4FmU97gGs
lsDxHQN500TX5DELI0T/Oo7WiT6jKmYvCpUqdS01Le4h+7KHKLRKrzJTVJfOiOqs1aAI0MxKSPbR
uxwan8Q45FGENdOkpJfAARg9lsNWT0d8rkldG64sStWBsRWqz45G6oM3z1Z83yKMZUiv5CDCJrKv
AZUY0joulDqt8Km6JAtgWz2cIpFXD+0UFkcyhdLrqLREuku1WR+8HK9szwJt+tCTB2zUrtQ3zeUw
INwJlG5Who/Uyhoz6BDmPEeVY1zEYbyqJjgHHu22l2Z3ELkKAi9XRzTFS9ncyxhokp3UFhCKFtRh
V1bWlYVfziqJmnYtNU+q7oQPiTPllU+3HR6kUcrt6EbywhGkyeP4DCa7XbXsiv2gzsOkuTPsstei
mJNxU+kzx2UPRgh1ApDywZsiR7kapajQdnpntAbDVaW/SkfNlBir9UWHfTGxGQpb+iBvx8nsoVyN
wj7y1NbyeiVwbunlxCuFj20ZV0qNnt4k3fQ5nlDeYwtW9RepaKF0rrTEKDCzORZAe+bmch674TUV
I+jI3lk6tuuknwysqy0hJ4SkqHe6bIgF7d+Ez7RplngLTmGWvWoc57uuhp/I36/DyjJ1c7gYwpjc
vXYg4dUL4wpQvOTQNwbpMm01lFEfSS1XZaDjKGW4Nlr5mS2Ae3iqsM13rMCp4s75LN+WEZZzX4Yu
zTCvHpgCK7JoGYvlQ/+oj+tRpc4xjSaNo0QNCPsdnznsp8YNJxP4vKgEl/2ogUPl6oiqDTfUR6fY
F3Or53tSOefY4zGRXu0U06qvSlLbrU8dF7u2A27Gjw4Bh2Q2AcbuxL0JuF0sNTeaMNgcNDFx6VJg
o+XYWLEreKFVMv1sm3ECCebgjG6ajET62lAFUZCLBlmTuINWdeV69fz3StYWruyY41enT2tmdXbO
aubXuDW0aURskpDlETAaIkMNwGAde6M8O5JnFXmnbFRn7G+ZU2l4GJIGB7Km2dCMDAxPePYn+1RM
pQSpaTGad6zxPfiuUOlN126cag6ElXQvtWlj/h3lqLICQHT58zh31O1qX4fCD5PEigKCYrSPUTOK
7jytoT1tplq01XaJlcQ4ONLCCJ256RioUynKjZE0HTCYdYjfD4WsnXdzi9myAkjINVLEPdbZdlmE
C23ZfF5MSVCjpUJFUGTN91bSyrd1PpTXEd58TMDYAC8NB0BssDRwEEmB1KzC/288fj81tP7d2uu0
hP7koC7fMTJ/agnw+d8PauWLZSOTpJhCM04RvzZ9v9dgCnUWhRbnJFpJqv5VFfyjBlsPapxCnO3W
2hLQVgPZjxqMD+ko4NdvxEkHJOMvHdQOPYpPRyf9LFIB1p46WuzVtfb56FSdUlrllakbhpX8Sq6F
dalPFcG2XKS9RUZh2nJcANO27LvByrtd2DfSXdjUZ40mI3nKJcb+s8fWvU8Bz3DDG21Xp+V8PwkO
lASzdIBS3kaBxogynYa3QhbPC1Qqf5Dmq5AnFLBRkQdTD2t+Uatsn5sLcNu2BLUY6eJZKMlzM9lP
9cj9uKy0IwjLO9mMtU3ZzfE2bMRRsQsJGld5V5tKf8Ic/RFyCDYV6Jw1x1OGG/7QzMMQtM1MCoVK
lKCmdnOgFIoVpFJru50ydW+6JF/zqxTnQ1bCUhtF4IxUOwQ+gnGrZ9IoFjvZFApKvJKF51E0cvaO
5uCHUgUobeyOnVCkDbzHMgDatWy6UQCOrbR3MD6IOJDquplRbCFYDrdpXl9rUf0eZtKDPoQqr3Ri
fJUm5WBPSXwbZkLfsQnvnIqrPgPexquLejksIIq+e7v/UrP6tir45489uk9L9p/rZ28/qtNL8dH+
8Vv9C16+V2fhnyzqnv3+8+17/YIfq9r6wvSCezK9Z3jdJuvz+6J24OkwikGTqlqsba7Bvy9q5wt9
Ftj1dABXzew6W/t1UZtAyZkK0aHRELrSnvsrt29Mf+uy/elGTOPmW5dRwfKwNif/KBhPowS/5jKl
nuwM4aHtC88BCT2NRMwgw9uQkn1wUKCiR9NqeZdMOo7f6dlK8CQMam6uF8H41jHmfkasFmd3Y1oF
UsPTjjZmjG9nlc5LHBskUUPYKDQG14lhek5GhZmr0yZJbttZA72id/tBGQLBoWtWIA8VbmroeYCr
2hB4H7vWqM4051WI/jCrtlvGYebqkMh9nctKFWV+Yh2y+ELtnf1kIqik1DgvV6dyNl233BJK/UFS
WrdzZi+XrH1TIDfN5eVCN7McaX7yoIZqQzQrIi5LCiRxPkrIKhfJLzL6R/n8NCkjLEW86o2CdFYC
7gOBT2/Dx2GWdihbY3dK+4BYXl9Ez1WJTng8KPVz1znQruxHE9gIWstee2KwU1Pcl9PDIPUkhWSq
trMA6hH1QuiiiZavl++AkG/Jc73rM/1twT6A2jC7q5aDiowJ1LKzsZH75S163LSsPEmbjk4m7awB
cYfibHo9iw6jyt3RSRFTjNfaFAJ0Lad7C5FAa99azgVxtPydhu2tEXNs5BcijTUQrkW/zeByL6kF
oTw1NyKWd0jYtkB1zuTpOR5S5yqnzrqvaru5VYC/npPGdd914GkFV33+0FaWH5UO9KW83tjrQwfP
qBI3acyYnx4I4irI8EUMkNskQQRYUrXLwbJYzutiS+dZuxw7wGJ+jXC5XcaDoeqrCk7bc8N1BxLe
70XfejhIC5o6sghku7oUc3g/6mnzujT9+GHXDyEHkjHNL5xYfhTal9BxLoU6enlzxUkJRQVKZB76
jjZFflFQXxQ11Y0LIepMJWGxFfqtBW34npyduznPWneCCbWDi0lERwoRqZOR9vVYkiZN8chO9q1y
8IzyjlzHYFTOAYZfqWZ9NEMJtQkn5NqWge19CmG8h0XkI37YFalxVTvhfVXxkiKkJq9aJxOszXLk
i+Z2rArS2lPXjM5rcx8CDtIARMuxvpukCi1h7yJ7uLN5uA3rPY3g9VfHjE4P8fPEI2GmMY6GylR4
QK9mIqpz2ls1dm6S/G2BFT+nd6CH+VRkRhlhT9+SbJ+X4tVpr0x6phohElO17VGgx8pE4XlEyQ/3
Ew4qEvfjKHWvSrjiqpoJiuxVqPL/NeR7jaBHCLV+iaBOSa0HP/yumeVLQSNsjuyTvOibRQU7ZyJV
dhS6nmDYUS3ZZX7mkGXeOPVtY0ZXNZqcKQcaPKigc5QdjB7Tiya7cdW0qQGXrFpXbaJchOAMRPJo
2Omlkolzrem/jknyXJCDESxz+litcfBxLAcN2GpHRW5JZkHjl6kxvylLEz0udW1fjXlFfzgEeU6p
Ts9TU25jfRgOFF/tBWO9fiOaEsi/prC0KEK8VLKB3zniUm2NG6FV15k9nhNwCIw8Lb9m+O3vc2tE
rY4Lz23UkPIi4/MllzcMaMh1FiUbo40Pkdzuhlg67zPZF6jjhdU+c3bToyhojhnqKxHWuzzsjmKW
bsLOTj0rfdKL0UujsoOMP2Bqon2B9nlWgqi3R1+X0Dg3URA1L+HUg/CF/FoN6kWpfR3B2o6pOT32
+hFQmZfX/QDOrIuCwYzi9zEcwbUYioSindqW4Q3iZDmk7apZoqSrvcjPIzC0M7gWoReXdhUg2usC
K5OdbVvymDa21RNKb0h+C/0a2JGfRjpNvbADcas1j4VqI/8V4GodsMRSs8hvQ2OT5VDlCKgp4wNm
nUHTPKhW85haOOHC8FEUBzjo9nWTvNdEmUVhbnkZzNiZRZbuBhYHzKbS9CXrIpEPegcU3Nl22htx
SF3E0kCIpjXHmatnEQ3PZlrEfmiHuzzSDlmLApnHsK54ZLUXaj86n2WgJfTyEUlnYw7TlpJ70lfQ
mjuFS4Q0P97K8yMiZU+1pCeZ66bVFBEKOj3bGgtlXW5Vljvb47WCkSMlOEC1l7O6SK9jw7yhV0df
Vc7BY9WFfQLw/wy/BsdDPyFKzX36IvRGbhL1jIYE3WLU0AdVXvzFvrL16KlIEj8aS5Citt+3Z7p+
A9SNB0z2QOI+o5zzVZR/Updto2oCpepcOCYpGtWeFIk2egy75llqWdTNAU8fDMnG7cFVD1xwIUD6
sSX8TIpOzUCK9prYPOVPiTXtzeauyMWjXc+zyy54xNgDmi3S5gADtHBtEijd2sw3sdNZAMAjNOPI
m+NBrH5Xhfp8HM6gxF6p/Oy9vvrhigg+bD0tXmGdqOC3Vux4SBxOuW671cC7PDvv+iw2Ecldto2L
JDU6lN6wlPshOU5pswepCXGXiwazfc+ohmHvlC1K9xysTK1nT5VU3YZj+aqjAZ6A27ljEfoF2vGC
J5hx5abqquGmL5VNnNnv6pSZvhrp753pPHQK/e0x6g46K9+NWoxCSyHMzawqElRcHXCZwaPilLYn
Q+WR8qfJpAU3T4sWFIgm9TF/VKJ52k9gtL1GtdGOSwsTJv4YebhtJnBvjoNNT0o2iBaC1BKPcKhx
z4RXSrMom6arN0gYHXdIaG3VS55sdbaquFs2Cid8VtHXW7RjjWEDlHavpV7V1+BX0WGaw94qyOGI
a7CGS7JMrkyaX7IAGLeVY1Uhi0/3GLbAPWON3DYWr06DtaTMDqDudjR01o7NMSnxHfFdtWTPIaZ6
WRtumJRsl4IEgSm5qADS97L0MWjCrR0L7nRypRTNTa0VV0SPXUDtv5biKpi0sHjS9AwVunmTNd2T
LH8FM7vtq6/KrB1G2NzRS2T0JDyX+1HuvUkad1aT4x1BIsuykQV9tfO4Ph/s51A9yMM9cQqMiVD7
FWghD8b8UDpl0MjzLkt3DnrDUilxCtIhde41JnD2+MLsjNnEtMHklPCFwxSBRUM8bun+JBuUWIZX
VtNuVGKOi+I5XS94nVyqDyI3fDU0vEqzXQh1+JemeaeOtIW5bB8VckGsAUCj1N+ko20GCSqpKky/
yjZLqc+OkT6eJSg6XUsMpzTek216hITul2Yhn+iZodfX30TfQJ+T9YDclx3ssw1RxOy69a7OKYXV
OvEbg1xDu7oyM5Xr2/Ra1s1uXBCfCRT4iq0e1MTc51EOEWKZNoZZ3cHNDTq7uVbacxUp1xKrV33y
1ZIzfyFt06mQNsXqAbrrJRbgBFgwwSeiQ31p9fcNWamOCf07IcRWW4G4xrjBqXuvD2KfcHU6SXlS
My0j76bN2Dh1A8MF1XYWREMxQaueG+AN0OB4L1K7sjcdA6eiBe973hf4KYxcIz5juatG/gSsyF4U
99a1k2rhzqRM9nK4dBWlPBOmK6MWr6YtI4edeE/g/B5BiF/nJazIuQsWRQJmqFwwaN2P1btRNX5o
UDoUzNYOOakaKqdta6Q3/XJX6ngaBC9o1e41IoriRdVcq7LhircHRYh7Yk12wEIejHi8zyz1PE+U
I+eEN1Jyp5V8pJHhJ2p8Dthsp0oq4v+lJ7yhUb1aH0b2bMDgplWg1dU3Mcx8NmK1DsjdOTamjPEB
M9dizi7oDq+o+tu0XXaOBHGhS25nXnLQh35brHO0pTwbiEXyyVfHGjZ0dyQzcdft5TgY02Wb6pgx
5MjwCcx+aWnfYfyT37i6iidyydsVxC6fImTmbB5DSaKd1npDr+glBGfV9DE8wMyVLHVm1NYcLdgB
u0idtw1A8h0tKmOfp5GfdOENDZboMp+k0htaUd+JhTm1G1fFaF1I85RdTEs6uaaCBUgfaNQ7OJaW
Rda5S29DZtkmCRe+WTobksJXhS8vRlxKD5NdhZeSSrE3aCpmwm7azKG2X4RW76zeuIXEfLLpl/LA
2zyRdUX7W0ijgv0Q/qFaLsRwUPhVQ0+4biw9gLFghlla4bNkOpepLAm8etzYFTW7mFNr2RCH2u5z
JqOYo1DRI3Sh1VIdMie8toQmwy6oTzFaAvDZ5aUYQhDDGJ8I9ckFGbWmXsNpTzLJS4vyRUH+eJmk
UfuuGEu7s3OM5ICkvDHh6tZo2uKN6J63diW1pDTppCy15Du1CRD4pHeAU3KQiQhyNhrGgzHot6qU
xz6Au8rLqbSMsvStSX0Z1FbbkPHc7BKGK/5I8ALeUbNgOCa0Pfefba1gZCEL1JvlunRbZ7F5kzZ1
KRTXXC6A6O9Bj161Mk4Vrn9xAkQuG96tNZFCX3o82hHDDvVDK7OzcjEvrJ4YrHWxqD3G1ILbY6dI
VH9VYnpw+OML7vGSn1DsbruOty1cStOrjaLdzBBXMTLOBTVR+1wLCJJCudZqdTe31lnVrGD78mLi
yT5msFF1+0nI/W50rK/lGolRZh9iMNykDV8wte/U4s127qNRudeU9kbk+q0xFfGB9IM3piovhmif
q6J9sqT+OtH46yVdvcAkngdiMV/qiKUgw8J3Yq7ME5HYak0wABL55L2giD/GZpX4NuRYdxjAfjDx
MXEFAC2jr7m0XCTSfnkQshFtKqBPbjOTm2vXJ0mSmKwsV2o9xTstf64hnjN0GirItx2ZtMy5DKwT
vtm355JBKK+KKcwr7GrjUCgslXzdcnzoeXZQp/pQJP1rPOGTt8qlZpMxJ7/JHTY9uhY45qsoesjL
+KYq81NotKdazXwj5zJVL+9DAoSGg9eLhRK6TRajzOK4nkwubfMYzLZMDzPdUpVf5/Ww6TLGIbOF
glgadv3SSmdkWn0lqkFVovSYN8NlKQ/vTmcy29eJB1sspp1L+WgvFmksMYoVMPBaUwalsB9FWvAC
yXbnApnHFmJFHvmKqEGek7QjlSbcGYvpautBoppNkNtpHiASoliNwCovB0xcW9EaPPnKoVS0ozz2
GEf6O/yNEm5faxtO1mYgWjdTRj9B1rxGCBhcJV2HnSoz553oJteK6BD1mvqwpEx9SHbZ6UpLmV27
a4xs3JtcpawXDNi7wm4PPShUu6v3vUZLYwrBATt9RqSFk59FXFHnIVQuhYjhuZMfrkn3CFsHr5Jq
hAtGasuwccZhF7V1f2ZVc8xVdNoP+cyAMU677oEbUX/mNOobjXC3k8gYHbn6gQmhmzZExmmYCYOj
Ep+UfazNyWm01suJpMU4GZfanq6sMcojfzTMkThK7Hh0M260Bud5KmvzY1erh7HG9TOhsnK7IS69
Pm1fG9MInOk9nXQ/K7rbOJmIM9c+qlLv2DHH5hRptQSnXhfzXRSaI3a5qKDR1HDy6kGPuAXlO8mj
+DOIF6Opjb87LI/82p2Xyu1NOfMOLiySoBvx3E3adDFUXTCUrQfhmm55WF7kvPMS5I6xwjMoJxui
5qqt3MHER1Jg+nq3vuZL7tsjeWkAMuM8vg+NivAC2jL9aBgIjsL4NLA0PIUSWUvnxzq39zTP9U2p
twyd6lE/mG11LfosOevnaQ6sBLowcw4EQdNh0TiUwVZOjEDT7LYRtfAZKxCgNRIAK9WZzarqeUKK
6Q3vT2Cgjb1M+3ljrV2K0tKpRHZjZ/mgJzYKJMONHEZZEyQTj303ROaJTT57sFUaeym1APv1Uz93
5EON3F86s0A8hRETXfV86o12upuLZM3hlqOvWUm7sz81hbRLmuiNAUKyjWrQiX1mMMeGaDGwmeIi
F0wMzcOQ38MJQ8sWelGNNs3ujZsemq9MrGGGw2E7aPt20r9qCb2PbJaCwkiupqrcaOmyGUJCGlyn
Wc7jvn6QNHlPnNH1yCJ2hya+boHiuVFofO1QH693FM0cUTCdxemR8BW/wommG+0W/P6trb1pOKPy
JA+6XLt2yoEkk0Y7t/rxXR0bTtGm2g8iOyb/h73zWHIc2dL0E+EatNiSBLUIkSE3bhmZkdCAw6Ec
ePr5WN1l09VmM9d639uqysoIEnA/55cQoXt7EU85htHWtnamBpqaUenvx55Hv7x/LmmZPanKvFRB
pLdmMmLJbZ3srRQfXa7Pdv8UVU+tX1Px520hK6wbwJTvJeCc5U7m2iPnoLWoWZrx5eZeHSPC2khS
BKiCu2TiSzrP2RJ0q2IBk1PO+yxjZAU2uByYnsaZGo75NdNYh7iWjD41NkaNeorsVGaR5R3Q40iz
5t6ygEDQzhyDhuuvtFgGrPZ5FOTGo0j6MO6dIXXh0y3EhA5QT1JC+JQhrMh7n4RzDxrVj2Jf2dka
40AAstKecu9HlwQbj8Os544lICyuk+xUNtA1lLYlGQhQZ+b7xJwppKNIo0IThwznkLD2zPh2ccNj
RZnDN6xVauXRNTkZ+GJTbhtpoAyo+4/OuHWg0nOyCiWBKtw8s4dqkKA5v8s3brBwHpGmnmzMRE/v
afJYGZ8NXP1Ud2AkyZ/7C+aPEs13uzOU+d6XnMV41YDr5+uUPOsgPHaBd6B1hurAjBSL3Ri9FTw/
WpiPQ9V8FkgT1uNIibYsD1HPkTz1zw3HhcCc7YtNs3jric+eCJjLOLq71rwf0NGu1r+g9D+7iMR6
8e4DTAzjdprD75wtxwAALYZqQ5b02p/NnR8Mx0L327SirA+X7XOqv+kyLcN3kmlXIv1NY+kpUmNs
DfbaLz667AVUw6yynQSFxgm2AVe4diW9lB1rg0VvYGTgfcaE7tXdqUr+yIabxaouini1JjF3IZEJ
Yp7VKm1hA2m3Tlv87ibGapmHWyN9C/xiy6LLJ+cmRzv9TG3nUJfVwRgfSgsUufCHvarcfXbvpfT8
B69+Dp2fJXEKaCZi8rCfqpKlXrnGbrBHktFVcesyinbY2wh9d2LLL7FOKlK8QalbY3j0l+mrogiu
sbgJdScfypCy39Z98CrzvHDqtXV2KMMFcqJK66My7bd7WoDfvrXjtYYJEdOr5WRbmfzR8AltsVb2
Wz3dpt5bRdVrM2s+XMzf/lI94Gcyj8RhHwz9VIzQEYSo7XzaV8siPNJHfzapfNNNshmd92zp6RSd
fpT2ZznN96w8stbdXU7Qv6/TjSVOiffhZiFVRBRh9lHwMnjkSMxTea67fJe15anpbyIamh9WloI5
Gfs2D1YWlHLVRRSEURUlTqRTrWtNwYM9b3MiFJZiWhMixMUfrvv6ocXLsJBCUqC6dX/UNKOEtl1R
QUl90+dgH2cA3/5ANRP7972HL0fNeYTnsdSZXcq1TpW8IE1f5QCU6bEID122HIzkWDMhp3lcMCxm
cV2/lsut9KutZ34aXOP5maYynQT7nBmCwkeqHi5TFpfmzCUieHaIbaFjqkg2IWlzJY/MfTV0Dbq/
l9/C0RuUko8lnoxWv4XkqyO4oSywu4AxN9Mdel5w97JGTs7WrJMHO0JlY+HecPYpbg5FGksBi9UQ
aJO7jEqga1k4bnCSHYLWu90rocQbVwBlB3VstievPnnlxTdfO2Pf9MBFWyezVo381vWr00F8xZnN
HSiDp7biP7UayvOARCCTy9HfGkTPr6hoUVaOdhSyY6wIkXDtOFx2s3T2SMPWIU7YRl2VzXObICWd
Ppz8cek2c03BQQBonstzXe/CbFgDEfcOB0vGMWVv3WjZuNr6spbwOUXHs1LVw12VCFkBBRISKBUF
J4OSjk1SEVVIPsCFxG/C2qPgbZ4nJ26WYV+wgjFCxUWzHDANrWALCJzKVylfoplepRa0QGB6I4cl
K36MKcpSYCb8veAiXnoQorRWrRlWB3fuWNCol7IAbcvhTFZ9s68NeaNV+efkN5+OwYLbD29oFdq3
fCzrI3oNxkKrkJc5Uh+Ffl/MpVuZXferKbOzqhYEZAVoz7DOBhmH6aY3w21l3PC8ru4geUTbuwoM
TmGqCuebMPmV50+DqsmAUBVagbMX1zWBOPauOxh73e20PVMAB2t7h3x/FOwX7dJ5MTHQcUXuTCXP
c8vAX8dV9Dpbr21+dWxBu0m/Wow2bng+Z6fcCvTbzvhgdb8mxzhkjTrY4U/kkE85KKydPQgkXGGg
4mCZmWXarQJJLkiwKQ/zEKfi3Z5OtfcMyn1VlcP83S9r27MTZOeAUF3bPy9lnq4RFH5EuBjL6CMc
5Vn6ziaSsGytyFYBBasahisvl4s5O7/r5MsFPN7gOYkjKtLInwmybRvUV/ACByxK6nXhjmea156I
JsnQ4Xn7yuuKWy1U8eEvgs6l2X7g3erjHJ4kRi8XgkhENCmOLq9TAAvUDR/FUq/TYiHnxnlMKqR7
pp99i64lGNa+RGOyHDNqovoi2bcdtu1IM6WEhtzkOU9yi7eMbBWgxTnYj4Fxz4AhzlYq46sxomu9
wOMa2NHLIgpPYdaPP8bF/UljIuqQSD9ZoEM6Un+Gvj1gpaE1q0h6aC8Q/wh4Eos7nIjWj1GUmz97
z/D33TKER58VJVh6WjZ+zlDtK7LfNFAREEsy+tUhiGbqc50WRX3ib2qR4BsI0/bR8MTTMrB9DF76
EtkJWTkhKEcqpMn71CX7vLKcx8raishJGa9vU3ovFzSmaVVlzs8ope9mpv+GlVO7t5bzCFf1PO0b
ZJicWmYm3lgMIx6hiC44vPg7BHjGkbIuy4v9OSm2dLTKjUvakAz0W6L5NtrJ1bGr3qYp3Bup9xNf
3rbwXYhs135Fx8kKZm+7ciK7jjCksT3AEG/pJdlixjhI2zz3kXkNUsJ1coP2H1vrY76gckcUdNaF
MjflYtA0x5P0EPjzyaJxEpV5TeRKXXh0jMpgRriel+UbejuXWjlQkl3Xuff+VDsPBtYkxzY4T6gN
LQZJkV2XAl4WlMGYm3zOd5Nfxh0BmDQRen4Mi+OcBpffqYN1AKNFbCvWIsy8rRCy2XVm/eQ5dv3U
WBCk0YwhQSZ2u3PoRosLP7Nfgk5eiqlyYlZNhFTBpFaWZLcZqVwhrQSoYknN/rkFdYlB9K2HqTQp
lNOz3++dpYSrHnS1oJqws/mxHVs4cqqxrC3hCekeSThV5Y6FoUL+GkK0j9da2A5gQ9I4H1MVtH/G
O8ib2Na0lhSTbcqiVX+WjDCXKFmGb95BqlyEM9yWRgWxUyjQlSqHDEaOe6n4cygZZhz7pBLxv4CN
cccVBIWOoTJ/j3ImfCYt7QflB69jBETmSrHPEW9s04GeQyh3iOlGDjg9FiPG18bpUU/WxpQmAWNL
Fr1j32fOLfsJn479ndat2+9rf/LOLd0OP1UC6Z2gd/iWNY1Fq7llsjfvlaUTKUmirwhBWFqQNj8d
zi6v/n4y3frsG4BOjdjzXfScjdo71q367kdL3rwoZXOEjuS+1cFacjWB9Rijy1w3mYeUJDnO92m4
WuXsvY91RFqQ1XURXUKajC7XNEZikolKMNht4ixvqDhgo9nJ1AD3Fek9myCBz2IPLufyW7lB8Tz0
gk6XWncQKEuD/Gv5pHWJLttqKb+jnEjsTQdYBBU7SgIdq6zOH7shCfDcMbrdvbd8yRHb3RgWDAaV
TXvKZH9YVFzfWlPYHz17zUGiKLvY00LUm/Lsa8X+wIRD3fK6mclyRxJqWehlsMADgBPhZJb0tPBe
W82ZakDgwSkNd7LFpuGGNekVkYJQEYX0SXG6INc1YBK1G/6WHmEYMNqm2vioW26ojqMv/DTUdC9G
gLlEeRcqDs2tyXxwBKFmiOIuvXWjod+CEReVrWz/AXNLt/XRpQJWSs8/KTS317Bwgs0oe5QwDiuF
ExlgOrqdWtYJf/wqp8RTu8yg4jQXpblWjqrNo+pC9zyTKPlk9YTzMJwFTSwi6FwWsHnTZEZDInGB
Ajtx+u6CJMTFANDMycMAAEy5gTU+FL7m9+tDA1baCqYtXcLpxbNggxOnyICnMla5wu53hZN4ydqQ
5lsoxKK2bUVvqluV4edIBT1BZ0W1tBtuMePJLpD9BIHxm8pc4vzyWfyu1F00XkM6kXFjxRlyqhqI
QkTXKAE1USV23T4PQr6WzDtYnfegRVtxa9YW7hlJFQINUxabYkOejFsK5wGAh7i5zpeldfWLYjBW
uRDEgYL2rwtEJLFhhLnFO2s3Z7AN8O/cGzcER29Cu8G8NefhYyCTeafFlJ9MlY9xQxfVOgn8YB82
qqdRUGePkv2itYPqmjNIIvqYxJ9MqnlaiTYJL7LJHjT1n7sUwaRVK3M7BA5ErlhAiaVtr7NRJu9T
ERA7NnlvEwVbN7ev9YNt93Se5LYT82vdezCF2AMi9ae2ENb7/SjcehE7FHEP88tkjnwJPBNPSWF7
u1lJ/qzOeIpcZR6IY5x/+IMP6qIrK6bDjTcNfOLRVPbwCFIlDah3fAKr0BwjalKnXJG8ZbgetXB9
9ZLCJIiQeEaEn9NJFHN/DKeu5Y1IjI0OrfDbpUMOlpqW80bC+vIOQaq0Lo+HxZj/O5/S+QIg99UM
MOZdKHfRMsIk9wVwTKmX+ho0EetT3jHe90XlHlJVmHuiYnmEJ2c3Ryhnuig80GEG4h/i52jM9tiy
Zz/K2h0ukJbu1mr1fHHmbo6NvuQdyxVVY0RjPmlR+1TJT8ONrnNNnlBbvIZNDuJEGIY7IFPQw9WB
JUHIn5mCeWcsHnSvs216R2N7O32aK+XcZr5brB+e4cTQScG+TPVrloflo+dHw3l0A/GGbN4EcSve
LdCFdWV0tJFq3exVU2FgdKctFVNyI5gaXyJveCcJPYzldAdHm7kcXsPJIeWhaRMSjVofTwDAdC/3
qsUd4enCvuS5C/OfNOaW8QceqYSVCF2IygWC9BZ4FrKsChQIJvmki8m5dq1PAE+xfAL0gM80eAWE
cCipJK2o05NPPpqPn1lLtYyrHiadjYEQo1jqCsDTMAVscUVN+UhdXhxMZb1hYOi5NBhE6qIjE56s
wgo0r0QgzPqyiE87KSxiwUYf0VDEDrLBBFP8tGq+OmEjLHAqoqxWRXbXX7R6wsSRoDnp20p814kV
nmdgvxZtzYZkDpQ8ebkxoyZYm+ZkHnlAi32Eh+OrKiLEmZCSN0QcDn+RCnblkvqwPJZtXE075fdu
ir0gWQIEJtH+wSScrAXWTVid514QOzqzl2ddW6J1EtlTj7CRETMcmziXdrbvmT9W/LXhW1kSK9Wi
rJtXYTbytSShFYybrru7V4EF9c0uhh7ICBXbNTBLsPWp1ofcFjmSzwEvhEsf7ZtkR0Dz1Wb2RhKh
9meq2uzm3psFGn9kJStStNQ09Ooj+lcYnZT/H4GL3jJa5zCU7UOBb+qr0wEfHRHc5m0mSvj33DcL
VYolmamLORdxkBgwBc54Z2B18okCw7sZnORbGwDqaI9jRjJK5KWPxkwvGnlv/WkagMmntLf2ix67
DyKUyaKMPKZpBwl2hFftAobVxPTTMUWn+qNkf+BNbAwAwx6Rx49BaKzBlMddIiFG8qiWqFrZtkGi
IVb79WCi/FsareJ5BrIgNxp1LPW/y0YtLTrWagrVDU/SXucYTyVX0sEPa+tIGhV5k5OuL20n602W
z/NNN8h5VBY8CfjJrQ6c/CMNcVytPdbW02AMVCdoP1ZGuny2QktMKxHyrLyBcg10/2p2PFQrnZkK
gK4PTqShIVCcHh0/eQeBR4xgzupatrmz62t7uGlTwE9nRRC9KH+Q+8YvyRmj6Cg2mqF7pBGTi4Fq
Im6hoOIk7RcCqFVI30y3zOF1qRFd8c4Y59Sx3C+V8GGmjk0wZZK00Ow1MB5GbIuC+mV6XPK847vz
yaNMpJ/Xa02ub1x4ufXGYfI1wCoeoIXppgZaIM/PmLd1pvOLmHPeEZHkvAuTt0w//WiOHsPkUgqo
j/QUeQ+iSqujnyTqd0URuGjFuS2WHXj2KvB7RgAKKLaBdb/NFwN3Kzili0g/0idvRHWo+pVpuUhq
q5Nb46TtVeSxTopF89KH90LN3hDBngHF+wUn4X5wc4gdWsV7UE4TeL8iinFeh6pO9yVABuw5FL3G
pGMaDPa5vwkkpUSbssTUYLqtWtthuqsstcf492oC/w3rcLGSh9A5Bq7aKwG8LtUEedyo5VAGgPdZ
ogjldE8FNQTrgdo8o1jOIhxejYZ/46T8bTZIvjd//yV6/19zwL9Jt7Hx6fy/zQGr7xL3ZfVfI23u
f+A/zAH+vxDyhxhq/o4Z/E9vgP2ve7Ec5QMmCVAWiTL/N/zDs/5FMIRPwgxhWeRoBfh0/vYGRP+i
c+zuAzL/w7b7Pwpd+GcYUvCX9QCrbESut+fjNfhvfh8i1HVJVKGHD4XLHBkdy+jwNpTuSYyq39rL
vyu7u38M/7Ai3M0O954H5NwYHAhE+afDiMzsZsoJSuE+xPpoFYgxwZWN/Ac067MdMaPJgWDbyXmL
Bu+X6ainPJNfc9XiOTScrRq875QZGc/o2m+798aZ2dSRtcZuF/6bgC7czv/th713DlOLg2vaw0+M
wPCfP+wwQ60C9trcqRMgH0m6zNhtgY4E7cGK77Rm6kzzfR/29g/F5vlYZOR7p2piC1pe5qamjjGp
4QIdkdH9qzjvNNQQHunuSuHoh5eht0URNa9x/jqfMBOPmCMgnMgYcAa0W0t4S7Kwj9uC8nSy8ZFv
BU48Dsn4UgPVbLygYrcR2R5rGWczROGXtvurZkJj77nLWA2L88CiRdsGk0sI336yObLWg3Kov42g
spWtkzPW32BjMjevVdB8VguBw+NSgj11KQkMtd+Fm5SD+bHtR+OR3Fh/G9k1/v4acHi4L88UnRN4
OZgxjaYEj/nhVlQMTgiwZ+cbU1Px3aE+2FIirze9DQ/iDQaifuOuC8+eu1ChKq3qt7R3o0MQBu+L
K589FOYNd/a606gqCibvHfIowhvbZTnjiYsO+SReLZ3Q6Ko5ZlvNB2RGHIAEC8C9KPLPzabtEKwZ
x2hsX5K5Mp+WEU9ltYzUnxojToSptL8id8h3YnZ2fH/Rvm2a4ZaY1KuzmHqXjCG9SvPflN5WD2Uk
sjOG5MHa0J6R7jKW/1VRpcUOcmuHGIDQkb41vYMXARCtjEi4J0rSAwSrS/rc2qjOG9HRpQvz0LN3
rDI6huCiER3OpvtCUTrsShEdosX+ie4cqzb9dOsZXBE7XF3FVuk8AJmoeOgXCmU74O0sVQ2JnTBH
Y9GA/sr7RlTAW6Y0Dl9KDNLrOhR/cj9NfgPP/ezmvoTWK6ucfty030u/ah4XTAibKiGNBH0V6yOZ
cpsW4dQ6sVyCKMY02WJR/FUHS/bTDo3XKS2dmwOrdcav2u1saTinFI1nsDTle+t35nMxg3WmZgBO
k3ii20gncS+0YRix/ZdEwsvTaV0HEjpLyGuEFBJjH9cqm3e6qsPkrpMLioORMQwZs4W1RiHgUNK/
pWSS/uizIOfD8fAcK7RPsm3yqxAIaosy8r4CvBkIz2dvbQ5abV2dPjReiYbdIxs9r6II1CxPXlpT
P6GmzHlBk3Kr+hmPithnKUIs6atpo6yeymklyQBI0r1SlY5DNqOn0kVj6g3S29m121wNM1qoEg+m
j2ER7mNJXX08qRQOZR5TsbPRUa7YQbu6G07Kh3msvHm6gK+6A5RUiHImELt+wMdF+9TwVTLF+hYi
RllifOnThmVivmRT8OKCobtO555p4CBqpAmH2CvuZASGh/5xrATR8IbcOjST70wfJes0BW27Ikm3
i7vMzTbFoNvfowbSTpTrfwjRvVb45fdzWiM4z2TEDCtRgyUTdh+3Hn4udiWvFlHi+0D5b7lj5y+s
bN1j5wzi2nRWcuEIynAedIQO0sUcd3Ti3uo+alhJQOqxnYWfs1FDBvKsPspWQhFkNemgeTGS05ji
Y/e9GYi2QJGXkXZtC/kTlK8jorbp/4ClWatsDpKb52LGd7NgQKrZN++tTD/nigD8auif+tm0dikx
QKfKG8lwMcwbLvofhu2+ac989SCcfVZ1mVwKStn3hQv2tLbz0UKzZeqjV9rWAWtJtyk5IL8tXaP6
5QXeS0sgL2FcAySoZRUhuMgT6wCkypM4DkTkwxrNmwBtxd4JJO91VxHGBjni7E2nBhkgiceGCiky
j7W3lTfZembKLdBSzdzK4SPAI5ptSzG4KAtT1MTrWvTmj2ZuNJ+sqv+4cqj2Sw84YmLFyc9BYu36
QCBwy8rf2FbtTdaGzcmVU7PXOOOBvgIRfHlW0mwpNRSbMYpSe6VLsKOqd9QR8OxeyOf3G9Ek3iV0
cvkoVFmwnZXzPtGucUhYm51VMti/FpJrCXwJB/GjCwa6tYZ0tCiVltNVtDo99ktXP9JdZEEFqIMV
RnmBhlw6K0IN5q1hNstmSKnBSXyHVbPyAm9TRYDAfepFD/TAMfx2VUmBzLRBcOYh6UWA4USoiUm+
zC8Fzqk/beOODwpMJdpaNRM4b83WHAyWeDuHxbBd+BXEfQMsD66u6DyI9M8EIPbaqC6KDe74n/0Y
EHE/uGzgLXAqafdpIa9y8OWOgRx8rrGwRSzVWN1kLtwvY0ZvK5xp2Wt3fLbbWhzTORhgux03liBA
sYyG77RKymunq4Yozcm6ExpHfD1FTBRg/9DBn2w7r3pTrOYgD4Q7chs06X7OanOdkMG8qXWYX0rT
TOBQR59jgtgoVFuRSRGGDXNAGjrR9CEpwY5s79+hoT88SkdKj26EoaTHo2pvabdkV1qRsVYW4hxy
A2GJnPBpaA9cvBy5JIc8LzalKqdntja5NfoMvVg4Lt1VRMVTT7QnPg5bnI0+ct4c5g6sCHV988LW
3c8DBNxY0G+f9xPqht4wU+jgIDy3pWMdCtcSf4YAY0vIjXEyOjSZlisV9FH+J6NL9oATtDm15JC8
Zh0PKUe2oanD6Ia5VUczl6N+Yj1Fmh8mJmAbnbt7IlgHwmKctFyXdQcetqT5BmGsvrgt+Kzt/wF7
d9HnNUu0LSv9MHtdfZf2dAHUa3JRqYWWq7SjTecj/DKqHN/qX6Co9DDomb53nZQHaT8Y8n3JtNi3
C2rvzp3EKdVCnZNR52+JQVBqh/9xXXD9ndSoCZxoo0Fvw1blRwQLEtNJJk4TLZ7fhr4DrlOVNLFd
NdNlSmZ/5xDy8uQi/OunId3UdfI8dVZ9GAHo1otr2rvIuUsRsQqCu3vmxgFb3occP/GQ3PuR8iY/
NZbh3DAl+Ouwd9yz66N4rKO53y1e8ACtA82jqaBxw+Lbc1ux9QzgxCCtYcwRhAy44FZJj/KUNBJe
QGtuNoMzzetpbOv9mGfW1dIlqh8vO6cuTGKtgh8TjCvOI5hvd7R/183UHIm5Wfle5bxKcITHZFzu
iCDdNab6rQgDbBYUyWKcilVhFozvaf4YwKbEmRyHRygpQj6cJQyv3KT56zhweXZO0nA6tu2pp3ol
N8nqr6Pc/xYOVFmnlf2aZUn0FvZw2V4+R2v8pKj9ZF77D6ldTw8Tpo+MTABkKIsfRDgypgGcLsvl
yYsAFposfw/UPTvaxt7lgESBGpfqas0JA6FR5pzdzYOwqh9uh4PRtmqCd0my2jmDd7TpBX6G9Li0
ZYfuwFZxHxjl2UGweS+kXeEeKg+5haypUVT4ROa49WSAdAmRWBVkUewF3GRjmv+RaliAZp3fxeD/
rET/Y27k48IudkFu8wuy/CdeiPRHc8+KsxIbiqX6IRmyERCn76Wrex8oHUdCZBUb4LlsHRkl02TF
wzcRcbMt2nGi7ki0a8SPcl2W3rDPBNUL1UzvYpPbZNO1Wt6WanlWTR1uyZclcLzT+GISaL3MfeCb
vCOh6iJLUz4B1KOZrbhB3UFSTtKI34afZSvZ4eK6qylozeSvnVPklmaSr1suMKRyiKjB7dH41p38
4ZNCfy6wxe48dDGk+NFd0Y4HFBPVpfRQUlHM1K2Woa1XDn46htHQfjCzkpg2N3W3ROagt1968v8g
YXI5hVtAOO9p0vI3Wjx06TOJ5rkT4N7JKX/x8FhNvoPIsjev5P6S0gdZCjgYfAbS6PZaZfrmVgSR
T2W/TfJwOdUYNVCIGio9U8S3qSeXhatT5JSXBqa0wEK6wxnZ+KS84rQ8S+VUD2lGC4jVo4AgTa4/
Ak4O6MUK8pP6jmilOlvOhdYhWuvmbSnrL7Ndpg35fAGmSIDTFUas8SspQMDJ8iqfbSoAmhVKLx5U
7Sk0VCockF407roBjNvMZX8XCboO+kQvGfZDG+0j9CFzTYbEKjAHSLMqnySPHivmIvo/SWF6MWVc
HMdZ42frpYeMt0nW2KjO/Gg7GjE04uYqROErM/0xTWN006kd/QI+WsC5GmhCJqRVRH8ubFGit7po
ql3muU9dRfIMKOSjKqIvyJ3nsk+To9vcUeGFNbKfSeBGMb23IbXede1nu5aVXFf+Sx+FDUgdbt2y
na/m/aQLIkwvaY6rLYqCIa4qN6QQJ2KbXTHqN+eosg7hLMt1bgdQG3bzuxuW6rlI7vb52jN3blLc
gMP8DTfLgi7JwxpU3dvfM36ydoiO/Ewf/vxazgmwodXcWNbtJxUQTeeXNb0wen7yGpQaYR50H41d
sCWHiQ9bVeD7JNsKPdN91dTUePURBL1a2Jf4+catSRgIIgteWInOZWNnPSUIGBqrmNjEo6yKassD
FPvkpu4izQhs6vNkl/QPsoevA/EUEVF0mWrBlRUhvKD+/aUJyr2b9Hzpwl/O2cLmupgRWm/OxYXY
ymenSY1XZm7IF8efD/jUxa8AS8DaR5d1dExvs9AK/6aK4RgUCNFkk87rIKIwpWE/p2B3ksfcB+tf
u440Xzq4uB3kqXFZwDcOkOLdNlDNPXSxSr8XZ5a/FkflW5VjGvxfCPGvmO1/ByES8PH/gRCbjnC/
vyL5999q+U4alp2f/0AU+fP/GTdCOp8VWQ6RQCSH3BP6/s4bsbx79H5AcLZDDgnJQPyZv0OEvH/Z
gUdktWO7AZzKPf31b0wRKNJ37AA7L7icfW/p+x+k/aHZ+SdsZt87Ke/FuECbHoF/HnEo/zXIlTQF
PEOjm/+FeJGkp10uBgE7frHMhUMe1AjihRmvWC3UXuAWUcvg4x1L7hYL3VPVmZsRyl6XBtSfST9Z
L11KYCAm7aXGpVkplcd6mcjQ6kcWHfzxPTmCnl224QF/8jRs7BFAaIMfCWGL9gFcrp6pa6Igutn8
gwBlAkMf6VuOh7EsEdIWRvlqMEUybPjEka5r7y4EE0Cxx8DuOVUzRICvNANlbypJCwrrhgg+vQy9
52lKCZITHjPyqlk0cQ747RHge8HEP0A8s7ey0c6R8EaQevjF1aWPKoSVld2pUziizSPwovTjJBjU
KXPL6NmsItIlZoHZCByAdbEOx+s0COTu6PpaHCIjiALJYxUc/4DWoy9MO+anLwh0SdSprGCrYFVJ
CFtnxeRR3rLMGfkcLYl+eFPy9gmvXf+nSzlGTqXL575pCwPxU1RlUbZxplKFJCl0kbNf3M4U50IV
2UiZiiliqzUZJ4WvUtBFGWWfk2sGNKn15I0QweuhVewnD/nmWCYXI+/8T0NV4bQaCM/41RRm8Mtw
5TJjvysY/jxy/kBYsmCfiByuxwkrIIGxFOlLgPiKDr2g1qhBzKK4VmHVXzu7M4lXCEdSXIJU8JSl
YT+NKyQs9tkvJKSsGgT+9TqzX21lUM6XS3lXXJKwUPmBp/BsLaTELkU9+CurcrMX5KZcerwX8iUP
quSrxryD5Eo0QUiTT7W8VaHiCqgSWRlxMLt//dWmyfmNsw0plGl6D8uYUSDWyMC3wUth37YITGxx
8v2BIAz2C5RVofCtE7weWiepMiABSc0C8AYo3DMSQn60NhgoIJyj/FAyr+cHObfgQXk1XQN/Kb4y
bQLu+j4sdTUm1nkBvMSg7fniuY9UQr5s3WFcKkXOXqHaMnM2VpZV7xNMUB0blXE3Svv1LhHN8jAH
fInsHFPw2SV3DfaiO9Jk3LqarfUSdumzEdnOQj3hHP7K8tF4CwkdImwR2PQnP9L8WFPOMu69WTFP
GP7oGeuB1fIk0QtZF4dmZw0cJf4PdeexJbmRZdtf6R9AL2gxfBAu4DKkR8QEKyS01vj63p6s1ZUM
sjJf1awnxWKSdCiD4dq1c/bB1VFiRbJcIOHSo1azBWenQ9vdy2OUD1AblsZ0NAG6rE9bpidBiXig
HJEa3qUjzK2J9D6qug9Mbxg7Lch455SEo0s8ZfK7FeTNJ53wWmIjO+e2zSl9tnF8QiA8PmWinN4q
I8asNYzDApcwzp9xXQ4pvi8ZbsNtMJA3gIhaagn90iaUQ5M0owJXMrOxMJyKHW0GMxtvrFik8sQc
pDhGR+q3crXitN3yHrUG7rxejBtseBLaQxyisPusSWPJ0Ymq6ndtlYE3gCzygdVLfZY6iIVuiyB0
4bdHQ6OXBBkspu9MzmcURpkH7Ih+YYsi3g2qUamcBmgJDV62gOu1JeGozmKWayJTGE8FrYE9DQFo
IgHJjGFnMwWy10xdPe95W6m3LKOaPhdhzG4WFCsZEl6hA6VBahOmNzqk1KbXpXWC9P6dr4RQuBrt
KdjTIvwYgTySxuEVgGgo60kWEZYmTZe2ZB3Gln1MCFxH2Uqs4DjF6MgoPTQktQpKDmFKAI0i3uzy
Yx42Bb5PM+E2jmN/E1g0HZ1GK7Vb2aiBSk/pVa2xLFLi6qZytbd0i4xywlqILYpROKW+YSIccIwq
SATsrlDr7UJc6LCZFRo84kIsjRk91IVNa0zNCHCOdHhYH6H8CMYcQ21kQMvdFEpo3glZ2iCpQzOl
rQRTFI8MrJxIpaajIVbHoHhco+UhkT8VSl90aOQM3kqOzXyB1JD5zbwIwgPNcv71iM+V5RhC3Ume
IRuduUNSEJLzWkmW4PV8sl+s0YCbKY00MO3UMDpjJRBYexT1dLkty1aQXEvAIA9sRJ/e+qLILnqv
lv2mLANjF6hShiUzbvv3LorH08DTu2r+Dfg7lPCIVwsUMgKvExqPFFBW0EfRy0/1yPkPXNjPeTXX
r/Yff3oNBTL4qhOdZiq6QowaqQHyt4BdFSk28ziCCqtL2nMuhNGWr7aB1wiwjJwUmkuzqdjNmET+
g4rx/w8393+NI0n1JgM0J4TdQlNuUjZRyv3rIvFYNl9llv4jQuXn4vBvf+gf1aJuELqkq/Q5VYLw
fsQx/UGng7f63xZ7m+wAg6Jkn5NH/o9qUZBN/iNV1kzTFHVa9gobtf8oF+mYEsJC0Dk7bORGsJf3
75SLMKt/GlbX5L0fv8TaDlQelcK3YjEzQ5O+Wx1dYL41Nsrgp8X/6R79zcD9Ecjyz5H710N8G7md
pNCjWDiEaz6Er8NTdmKIArbBf/XHSAV8SGbO3xyK8vpXF2N+C2nJEO3hCeBIpddsztkfQRj/8tf/
/kIoNHmMAP2o/P9cWIdFX6RqNEYXdh9gHB+XS7AS76tjvPr1HfvxLv/ljv10oG+79KpEZ7qSp+gC
RgXXAAw2Y0Wbx3qLVtvBVnzN7/xqF5x7F2/flvbCUfFmymjXXKVb3S1XOb16w/v1WX2LwPnHc/zp
rK53/6fArCyhgFggC18akx0RJ92syk/L61edx07d6/Q4EFsHj+J3d/3PE99fD3sdwT8dNmoCMrwN
Div6ktvcT9sFqbQtXNqHYSf5SJ/O7eAkml34vnH/H1yyQZg5fBZT02kL/vnYAmpPXU266CK9w5w2
2Q9/Ic32GfO2et+AXj6lq1j2NJwUb78+8vWHv4+Anw/87bW0ZHxeIjbry4gnG1IjDabH93Lz64NI
f14p/nFrfz7KtzezVYhhU/mfC4JdumTVMzW1hOUbMS3AmSsT2o4FZ1B+85oqf39cU5UNYuh0+cd5
/fRIkQUmSO6s6KLStClamoIhIRmjiQccpDSKs5FKBEruDZ97YJHTVrmqjoEJdTtDEjLKXKPGltM3
DmEH5QFTMRZEYqzxqt8lQoO3y3xMczPx8oBUhxg4dyELXyjwow12KsuWBpBQkyJDxmgvy7y0nrRU
ofubu3t9S//6DP95ld+mi0KKjHlCHXqR18KpO4cHtloc6UgZ+Ti/Sc+Qr/9Ax/7rCer6i7864rd5
o0hCQITyEl2UO7ybSNQJQPZyDwvzSYgc8wlX3q+v8foZ+uURv80J1LLUzrUUXWovf603AXgMp/cI
4NqLjgHn2vKGMwn0bu5B8gEfT5xI6JEQirYWbesY2uMmWmfbdpOt+fv0JLjyLvjNxPV3Ewi5Y9eW
CDM3OTtcw0+jbTEHMSo6zrHZLzvrmLvJb0oz/e8+oiY70pImwscRf3RkfjoCsthaQR4RXzDHOPqa
WPJDegtW4QNAJ/vKjuC9syVYP5jPyy5y51N3YTkrePFLt5v7Q2eu9O18lu8wP9mVM19CN/AmINAs
8LfCSrqbzvVGBBj2mTjW82hrH0RDp5J3I7r1uf9Iz4Gd2ONutmEHIt8/v4528ptJWLk+x+8j6+cr
/DaWM2QAKCEwZ6Mc86ItwqKTYC8r1PEsrl3RG28JeUn96M7cXpEuq8Uh5MfNV+obazUnemE7l7/W
d5GH7Nntf3N6RG79+vS+PWKW9EvBVmh0mdfJfvbFyGkf002/HjZd6QKlM7v15Es+UAZfOVv7SvvN
CfzQzf3q/nx7DwpETWAgGAEo/feqHz2znb1Bg7Ebz6lzj6rGnXYAVp1L47cuu2kMClwFDrsYh2jV
7Kab4u38+o5j2UON4CTOE+hfV3k2kRO4qEmTQ3mRb9vdiAvvMO7637zG8t9NyKZs0SskJ+Sa8Pfn
VySS01iY5Ci+oLZ1i20DkWltvWsrVFarZAWpH0GOp98tXn+KPyDqPYTu169nkh/F01/uIGUtdBsq
ZU7lz6cgR6Ewm3oSX+JHGkefwq36oUc2+v/cS2lFQppFbpz/5sKlP+sh//gCsqj636N+Ky6WNkw1
pcjjS7LClrYR7DNIqXXkj7vfvUK/PdS3WqKp6NYFAofCH9jZ+YEZIVjF28ILjkyc5W8mvR/a0V/d
z28VRI2KI8XDEl/UdeBPLmvSY+B07rTHeecIx+lN8OZncYuB3KX9sG3vUtdw48tvnurfvpg/3d9v
FYYx59liEIR44aVcj+tqs6yzt+gUvVnH0Nc8xYM4yP7zITiKzJ3rXx9dvs5Kf7kHmiGpxOgytH/8
85/m5SIrJikPuAe9t7hgpk6ZCyXEjVzBiZ3qa3yu3d5lH8mXd6FLYMMB0mT4myFm6H/3jSSCRzNl
AxS5oX1blcy9xX4r+5+Xp+1bbsf2093h7XEVH8GMuIw4uHG70n7bHt4MeweZzpbc3PFk2/PXlR3Z
5y2sN+ckO5h8/Nx+0tcvbL6u8vU9c0i0uvVSZ7OP3FVqs6Hqbs+eyvUN9ttjuLrL7VOw5SvsrHZO
4WBwtBX7ALrAbu2Xm4Ox2pXrl5vUPrEfZ2v2ClKpi3DNvpncbD+tDqfBHT2kCK6T2c56ds+fq/Pz
7bs3n0Dny96yiu3DSXQ0W3ZKeze4un86qN7LfeQo9lfKlR4eX9zavn8EDma/N+7snA64U7e5vSnt
+8zm+La0UuynVbAFufPjBkgr3YlcfhVRHdPk5+mF3Xb7pnRz++442x+Hl4VLcHeC692e7Mbe04a2
ta27uvEf2eW0D1zPR2PHq4fNR7iisWlnTmVvHnoncD6eAu/xJdjGdumcNT5fmXOHHcopnRP38jo6
pt0bzwODn51zzUC/7a1m3xzu3ME9bDv7fj3ZL/P6Zed8EMnGH71MXBSpPsyafMstzrxdn15YqVFz
Wc4qd9YLV5geOvtW56nOZ8gM/LTq8t6t+P3O9lSbduz1/7x7muetTduZfMVx7jz/qNvpenteTfbz
5oFTVZz14Gxb+xzbKuN2fzne7TLnaJ/3C8N5v/EJJXdq1/P3vne7N23fcp9qe7fp7bvG22renoM4
VFq2A1LG/no13dahIl24P+tnABKMuDNbOr5pM70fevtY2N4GDg8PV3Z653gn2xsvsj+WlcYNVfz3
yF2PK8FXfFtevdrHh9lN70P7JXLytc6N8275S2X7wL/tu8R+tGzDLWycHPzh/tNwPJ890J3nS871
zD5LZ+WS6uQOjn467jkQ5+lUzuEUu96X5/rrz2uh4x0/Dr3j955lPzChwaI7e4W3/lycZFN7h96/
mZ0DcRarwZVWnbtJ7c1B4fxl/5G3G6E3Q/Z+cFezQ1KM+/B4OGn208bgjRhccy2uvU3nGvbjYXfD
macuFZkHs9Ce7V3vnR5T1y7dL8W+e/pgJF9fI8P+yl1v8/DoeGd/ZgAe18/cvtz+etw8jTZ3Fzrz
8XUPvtc+PofO87yaPN/rbmbXtBdv8IR16eJL3bFJxH3hURQ2Rdxqw82ufOxfLr96/b3esVzNFa4n
9OA9cHad5wfO3c3T22jvIBVwQwybN2+FUn97/4gRikrU5BbeGG72INrZpjo2fuH47W9WkerfzrI/
zW/Xb+xPs6wsmHqsYsG9GEwvT8LuaXHfDoDMuIu9wwu7jZwDeXnc+tJ5u193Xr59p21Qby+mvb/W
roNXrxTn7j+rChH3sMRlV5WE1T+fGFJCSROEJqZzUGxFDyB0sK62bHtmd8mqowE1nnTstTYoaqdg
wP3663MNffvr1+enw3/7AsNHiHS1aK81oXzzUh6nLTJ0ex17yhEG60lfVX56qn/zNK4/+v2Tx76v
rIlIcXC4fLtmMWKj0FTG+IJvDRSoFpyhsbPYkOrXAn+XDQ6xBPHeGL/r8v3dKMBMZ+rX9byGk+3P
Nxt0TDlKAgcevWUrfplf6vP4JMMip2I1zsK9+UfJ/W9Zof7fNRXkNYtfi/+ySe1+7f+r/Pqvu47M
blKs3v8vpJ5cW3//uuGMsemVnIWfO83X/+CPxrJC/iuxJaJJILVCWPc/c41l5b8JQkEAQN1zzej+
qbGs6fwjWdKuMgWax/DU/revjOtJRutiGmzuSCgH9H8r11jGYvWnoWjgLiLEiKOgebj2t7/rEAbs
r2kcyERmB6SIgW1GMitNNebZfmG/GW0nqF4DADZmjqYXzK2WhadhrGMFLs2S7dg/NdaFWrzUItBL
yYJYtpQaAMVZwJ/BJrBcAUOSuRC7b8WbIuxngJRldofpBjw8CNYrG92v0xyJQyJAXxPZBIZwDC+j
7QVXQ4roQ1lY6/kyPQSmMIAzApIS6K3Lv4WddgTj2QXJRF4LHECE+lXPUrKiXDIk4FWGlt9MCCM3
hHQ+V2qLMyeh9upbiu2wPRXZgvR9VN0miMS9JIMkqNkBttERRmRudghZq2qtKxXbaDOI7nxAW1BZ
FmBUnpAd1uG4A3j4QaiI6ZVGcR9mk+Xk2XiQxaI9syNco8MKyZ+TmtIvwkLZEihBElOrpBvdyssd
Y4S6VqwpHetM2KRBi1MJFINTiFGPa7tXMjbDomhl4jVYl2MAerhRFsFBsq6jNqyTR8lEJyUu43Kf
1aW+i4UqANSC8ZWNFbRsyg8O4LJXtbj/6npzQ/ztcluEg6/qHfVpTh5MY0r7pAZWN5XynjTm2U/y
IOWD29SRF44G3MvU/KwBsmSQFUDm9WU12exOTg91qn5YadygUm0BvTaN7i8V0O5gsV41YTmBoh8c
uOfyaoAhBaojRZGNOg7Aj3bVvJHSiJdLgbPbnCdlSA8C9ipVxPxLjBTDQMms7VyXeHXaxHCwv1jg
w/qtgiEAAhGC1qGMR7dKU42EB9KF6y7exY30YkW14FUCqTjk44Covm5N49xdhEgAMw2qFS1F8yKJ
GZVZWGebaKxhtdUa2FGkFRDazAGVm/6agEO8IqtnSdiHmeSqWe2mKRrzieeoVe2e7WinlvQ9WYN+
WOQXHcsSg41ngasNlHbSSA9TW8BS1IBV5RG0oxpPRqhuBhbZYInxu0vsvmwgctaeqIEAIQMWVF7Z
NxqvBbmlvJ5q+9hNmWbiXQBansVjvQPs2DwM6DSyBYsIrxaoeEjL3H0gIcjujEUCioW7OelJcsar
E7WVhOEc/ThKK/OEwFh5T4SuQO8iJ4T+9q2nin21UsURFEZUz51TykK3l8RJ8VutVpE9NrXhlQCW
vPzK5elG9r9TujdqkUi+inzPpmMdH5JA0W+yrgUTwRf2Y0zno5V3HtzWdRkrpVtk7OZWpjy4opaI
kOUR90DZzh/UkpZojkP3qavC5JxXVQ3LTpv9kagkJxjw8Y9KP63TpUcU3feQThetm84M7r3Ryv3d
wk420UkCrFOse7Aw2ys6s9t0SU+4ioXao5yDNSp5OKO1CRdw6DPN70kdJWASdEw2jusIybQNwrQD
yJKAKDBeDb02dsNQoxuPU7b4MW4dmqYn7Gc2TMDeKg6sXmqgBemLcBPLLWSIIWEmQojtROMUeE2s
P+jR/Ly0EWol2VxbaR5sw8Hw0oLIaN20bomoZJckMAQHJkLh4k4wVqCMmWDZ1tnHrQCJzwwsvwap
hKoplLRjWQXwUyKmiyihjigrAFkYtnkoEFZjXYC1b31VaGTzitJqiNMXrdGVw4LXmuxK/SAa0MNa
OFIcdyCiGMuMAo6TkYsWTLPVoe9PA1DbPfDRbhNNMQj0GrgJ8muXIJ36GJla9gD9wHQEycTEQe4d
JowKmwd6Cq9ulGqtKC0yHFkz1iLfG7qt0Ji9Ie96JCEqGydRpnpqoqBQHoh4jO2iLK9AyCHD89OS
WAA5YKTBFEmn3Mqf57nfRstyn/KdCCmRpkr0ULw7kjV4am/wCZudxNLxYswONBna2Hpr93r7pqNW
gzvFacf7AIN6r8rHbDLPoRX7mgbLj70KRt4Nuoka/yX0dE2C/w6aAWHWoBHz2T/nMbsEw2VUoztM
KKCq5xu1b7p3bFwZMmWBlBYucLKyc2iwbh5xjQCNR9GC7qVHnpNUSOLfhsQ8zIi34Qt12DyBjUU3
RqSIJwt1yx7lBO2ADHuTo8h9584TGTfWVIKcw99zX4XmR5lPOTYO7SGopnGt1dbAyRKOaxejDP9U
q4fdIA1osAeSozsx+mKEmRtLS1LZ1eoqBuQt5h4aaNpbnTrjNO0mMvWSCtpJ2gQnIk5VjLCceTth
OEI5tJuL7iBHga7YUjuGm6xL44MMF5y62SSgL5oxrBhjbd5WpRm+CnoqPeomPA4bmGW3Vps8pr2M
7v8wKVLqWyh7D4siSk8dNMepm5U3NmJCJ2wT/a1JYTu1eJXWsJyoGZQJWlLbybT+AC4QCCiO1hbS
3Lypi6y+J/7VOs6GWJ3aNmG2iJBj8xoi4UqrvGbMXf8MxeJn2dCbjIE/NL2FnaQzI/2cJuByhRa1
sK5hXTEHPyKo7rkk4pw0NVJ4Zwxntp7hy2vA6HitiEEQxPX7ssDdYGZqoKtEfb7H4YnMj6l/RULG
XQmnHfpZ9xYUIcDBgoiUnKx2hOaLtA1hd6yM0mo8Qdfzt2GIrAMD66VEOmjziEI2+CxN3NZxBu+j
0czbKO+NY0bulDO3i74BmnQMzOg5D+RuO1XLc6HlV8x7wwvRi3bToC0a51S8H5NJ3HaplW164B6r
QpvKS56XmkN6s8VDj+qDMA4KEXTxEiBVGc39hE7HEyo+aZXRCCv8Vh0KrYhQxqJb9iHC0vW4APvo
9eqUWES/AQgUSVXoR91WkWo7CZq9hLCKDaHPCHSsq3H+iuUq7BAAezwE5XMB6G+lVubkBx3aItds
0dwR9h66iQKNr7c0Mm0V8ybtDBrvbZ6ue62N8JNZgC2zIl730pg/5pJM0ljH12sYSTWJhyYga6nK
11ZDC1H0KfGaQxsi2cJh2Lujqh2EjiTKpUM3KRJUJmt3dZm/YMG+y1LRjkVIxR38Wna/pkgPzqEU
EPliwocFRQHJFTq2F4nz/bKk2uVHQvEcz2srK5N3E8Onm2t94bdFNJzL1jzpc4lHONUgkeVx95Ys
wXhcWlZfzoi41tMqsyDpIDx3zZBeDOhKDwqUu5NeYYk1JYUAggogaxOH5X3GXdxbody5sSbWhAIZ
qdsPc0ODb8S8olkD5SVs524Ipo+U7PhdbQorZcH/1ZGPC+gqfw+Vye5k2OqaVa2MdDw2lkyUCKRk
fQR0qZMlwSDVqurWmJatms7kv4RbvVciqgHVa3XTITDGlxPzKZ6my6hVgL9FUO4axd0UYqUdCP4V
wcub8xVKRPDUHJXDJg+ixwRS+0zAGCju/mbswZEGhKBoseVLs4hLcwzcEfzHeln6W7PS4ZtkOPkF
ry7exd5w20jcpQWKPE6meckF86UvAxCcxD0MZvkwmPmXOcsr4DqYonlbi9E8EomAf6wVDsVA6rPZ
+XhivKgEnFuUbD+zx4vqBw+fREqNfBuOYf45jBmyjMmY/LrvtX2V4tSHIJTsWtJ7ju0ILzEzVRcj
0Q9wIkVTaFAkGVF7EEI9tjHNnYxQfBZavr9TLmMjUJHmlcx1nFKcbUhWvRCpDmBTYhZbQFzxQSZ+
QyrXoNBEHCwzISP0YSfi3ip4u2IB7SZqQzdN5uyAZE7ZDFUsnSssXBts4WCplghewHgU4AAqZHg/
S8ATXzpNPeJiiW1QVvIa0EvKOCrGNfDc8DaH3vc6zsAEljQhcEnsP5UIIioS4mvCVti7UtPLfBiM
8YTLfvaspC4ca9GUExaUo2L2NxMwF7i5ifRqxFm1ooCKPpM4NqBci8lbgWlyKgbmL4NXZxguYpEU
DxZpkQQTEoMSrYnKhNPCSeWEIBIFPzpGWk1HLMMfeiFVREk3HQhRvqSKCHEL/TASBE3/jCSgPfNA
5JNYaauxxiE2l5mJAwvLMBl/geLHRfkZ9Jgcl3mWD5YSPrQyivFALfHltm9JAq0MPKziSdUMIE9K
D3KXhK8W6RZsZI1tsjglAC0nkExiT1C5viJ7bGHeNPFqMBcvVWJ6J70hszueRaR5GKvRyHUBM4mZ
b+ZG3RDQedCNZbwDn32jmxC0jKK+KbXoDtXqE4HAB+ST8MHD+A3qERKJMPbI2NwISenzeYtsQexj
n+xp9QC8vdoyHcW7SEHFaLboUcVc1EnYzPZBS+Vm1cWyVgc4vZDHlEvQTKKbq6X+WtRK94wB1FU6
ko4UWpID0VQUrF5JjFZUaY85kewOy6ANQo5NhiS96Btr0/D9WWcaLzUR4oPdX23TY/gw1LAjJ3O+
kbP4TVcDeMq5ma5hp78OJbZGkCOmlr52Iwz3alIMmKGyuNI0yui2YioCrGqrPQEkEjkEewSdOqEd
2Zkg4VMQsG0ud8pGEl6HXMC2h1FwVPVNLFf+lAtnDan4azcNbFLLSbZFCkc1K2R8T0IN19xylSmM
mnKvGQxgSWvYqVcICaT7xN58DSy2kkQH3cF7HzdbhYC6nSyKyVFdssmzjLRHwdybO1JC76yUZQ0c
BssujerFHANrYw6mvkFJjTqiuyYkJxJzq7WcFSF/wC4FxVGtsCFA/+J6fCWuH1GkotgVBoJXcMxh
LmBRt1vgAXgqNX4BM0SFu83raVu4hwjTEnOK5Vx9MDUpg4IqtZRfsrDt2qyFXGgUe8HAiNu0CPI6
I+9uOmzBwGSXBZD/EIE4j9HWuJmEIbXI5egcV8CkaikuQXhRcnRaMexLPvOfFsBSjMNIkXUxnve5
pj+AFa42ipzlb0EpNfeA22SvXuLis8kVEhnUuVgZk5q6sxyQ46KArrLAnrmIOALmHCVdlaSlPdUQ
nJ4rJe9fMdAgr421z0TucRWYGR4CYmFWCIDpqZi0TaLcxMsRiVcvMRGrxsRXpxyjyhfNuVwFmZJ6
+DCXtzSqhHUt6IR64qQP7CATqlseDZi1zKqcMIhJhpj1aXD6voauXQzGHYQS9NngZm7ARSq3nWIA
DG2EKd90qMJh001ssAlzQyaI1p+Voa7OrMbNfVmII1AU4F+TgCUMfXzmpGbfO3MCiKueWgqQEpu+
EFWhVyy49jNDj7dmLIj3BLXEhyCTCdQTjPSQkCE25/BYzCBp/SQIya9shHx4qgceQzdZ81YVS3E7
ixoBpPU67hkt4dANK5x1Fe/OyNRaTMTO9YV8khs4H9oA1AZzLQ51W5w7ls14Jt9Uo67WlDBs1kjY
zQ2w5Ld9tDwpYn4Ix74+illlekqZMjLDq6Wv7KSPOmiC0ZYSPv8oTnMIkAWaeaec2uxuyqa3KhWI
ysVkdJe1yIAweVporsPgmSBMcg1JPBtdmbX1dU0P8DESci8vypkeYUsLBjCmcZxV/HRyGj7LsYnb
OzaILWWBc7DQQAM5EZQrUTSRnwOisDah3qGg6CrumxqT5VkBoQ3Et0Cb2c7i9uyoNyN7VgGqdFV2
B0fiWSBEEqacRONoyN16kFs71GdfABbviq2hUIoOksqaCn71nJtXOHUCgjQVsDBAWMeF0QjqtK3H
LLTsEdO4HZD97EpgOtxppnPRDaK50cs+uyi9FG0KLCvcMWnZNQzuXYC2/JSGKjIxYoIvZiaemroi
UK2tAibmesFkZbYiLcmwiD1Bq4LWroCMj+KCzmVY5qNmpBpruiK6Kcs698WFQBQ1hNsUYeHE9mol
Ki9E90mXJiCjblp88qRlUuSFxk3gOOqJIqxF8kZOM4GR0PycGsuyoqQkN0xTcF8V5RdkARN9O3WC
k4wp+DmL5OlmkRNib8jcoqmIGlJshW0jsfD90Z0mMUOpHVkIYcy1QUV0lMRCEgAhVs6YJORrMlDc
mSPh09YqaHTCbYH/JIRH1aJBvZ0SW1pbCuw+oZruMikI9+0UyKteCMLtImcE57EOedaJ48s6Zdk0
RdTsMMhQRqnaWRelYxoZ2X2ltayXqpj2STWaW13LKDxxdMALrZWdrAZ8PqdW9LtuJgAli+dTOVNI
sgiVAex06MbkkOYnSDjoFx17faWx0oA3u1I+vIqy8RHMdOaimAoXM3tOMDO0IGFTWWAujIlY4TqS
6Eu0AYEPyUDaSZZm0DbU6GWSNbgrBFPGbrD44Vi6+OpU8pCTRbpRp/KacLmsCCNg/6a2rLUisWvV
SjWumI62dHci5uUgLtVptKiEZxEcV91REtFqgYUnM29Vvafn/SNDmrVjpN3kg9DZgSU+sTDzrZEi
HDQI082wLvEYfNHDcFtLuCtyI6RurcOPgMyMGJvcqohUYtKWBsA/U/hFEi2/G9RbUaswg6jpF6F8
FrysvHiE+27Aai7IQVlAWdXK9CYVSbAKxvQWgDqOiSwYkZ6CI+hkfDJOkrWGPYBv1KXouaKdMlbq
rWDiUs/9UgCMK3AjrcwCgluu6I042KbRRfQ6VJKo3Rm60rCsr4aj3km6q4lG7itNg5dK25MIBEw5
6dkg7+e7eZE6bw7nJ7XRiMUQiy+paSFJisE6roxsn80yRMzRXI+0ozdxUtS7qSoEb6gifzaQ7M1t
Pm4gdTCnED6zSy3j2dDH4EOmyzkSugh7tb4P9QxNYwynYwdP542lOdawK0C7TZGvJnNMAqk2OyX1
L5HiAygAUIP8Y4SEEZFqglbM+7YX04bmbQJavB8FXPJGF5/EeGHKaWZJaQ+wd8pVOzQg6zOcUDTi
0h5g5FwNUf4G2TJlJzbHE0SQdq/Izoz3Rufgi3FtSMNvAAscL0THawKrgjHQAmeps+pD7yz1WCah
kPqBmWBtAqdlPksDfAjSgqXyHcS+Zbq13MRvXVJMvtyGozMIEjy5qZdZ06dF9whJH7XDMr10IdFn
jJWLiN/pyj1IIt8UFDzgaNthx+yZMui1YdfaiyxN7gqjDh11UsQ17DKRd7VDMBS2+d1YpNFuwSbZ
gXPRsEJFgegOwdBjdVPZvSnSRFr1SH3PlsQyzxTDaCdWXbIGcalvLUVytSgBmEb03E0PfVIz1Jcq
0jI6KouP5xuhG0Hss/HREQWLGa2kFzZ/9nGSX3payiejhSbMprLK4y+MVQXJ1dZnMn6smQy5YAHt
tDTMZ1ZUITcgo3cttuMLENSbThqS7VKBqwnnMbyFqk3kHAsbTWAaEoolfQiChGKkwpsUsEsmU4Ex
u44JqJHWSw1AXama+UPKSk+CHdHXyeBiU549KSCPbpLZ58hyOtxJF5iuhslUqnV6btGNNInW+zC0
02s7C5hYF75/eM20wZ6XBHpOwSsnj91CFmgR9Dd5P58RXjNtKNdiJdWPc9eMnsr+Lj7TMhup5eS1
Ei/Rtg2TB9Y3DwxS2WkAy5eK+ByRdkIG3n1vLtumsG6KaFS+aHrVPDKNRCyx5g2KijTzetgwEd7d
5t6cJ7LIRfEjHIneyAbCJ+1RSTalGnNVAbjfyaiOQOQ/1YWvMaE9ygnrmq3q0LJGaLf07xcQ3/bM
iO5NbXmh6w5ibgICFShp75ZUI3Yr46zT+4gtm1TSNj1JO6XegklTAeOSY3fbCN02aAP2iiwWzUz3
RMwM0I+rKUJIvRjJWhiXmFCZ0tTPXT72DgrzfqUPIZnRVYi7c2pScGeG/mQJpc4cI8LnAWrBRzwX
nsRmJphI5nM+27j5itu07rMntt0Kd6GgZYlcAF+Jv5YKrWwmvJN2hEbOLOJnzJcQZoN+XZXFh8no
5rMOfwkNbk0orYz+gnqrvOoIWUd3S22tWfrfI4ru6XZT+pSx+cHnD3lpBWdZWogODIpDomgzYVoF
SQJi29ypkJ0P1yf4P8yd2W7cSrqlX6XQ99xgMEgGCfSpi2SOUmq2PN0QkiwzOAbn6en7S++qanuf
U7tONdDAuTFgWHJKmSTjH9b6Vq8I3fFaiTapKR5t28bt0qwuIVmMJaciRqBiFaijiPIjlXq9K7O6
OtRd123VSC7QmoynDinnxpT5GyjEZ3+uriaNDtzKj4n0GGdrQFk9uZ6g29uPAdsh6GWA1OH8IQUJ
Y3azjXWvXDD73BBueefM5UirnR5Jw0QP48qF8PRg+tpNtnrCYGR/nLLMB7XTqK1Dg/BYlUSGzHnu
Xkbn2Q6UtD6zatSPzZLhKWRF9WA7kvyZ3ihiTsMLdTDcV3MiiGezLaY9a1186CgUtyUR0du5DK1T
0IfZE+nw3Z7rbugvkXpzhKd/2ZeQnbY89ySUGJ9IYr/ptxS2b5yWDpydifO9ZZl5yRLLCGMAN9ek
TzKw/GtZ4n/02/xc6xGidK2pZ4vuY7Jepm9Ea0K8fHdEfxKEuO6XMq2fWx3cEAMq4aNQvwAadKCq
m7glott5GXCxYD0NyOBOxK2T2Oat8gZU2yBPIhC50CQVvWBf2+bExVjdIt7xruPlB9AW00eZPMb8
4FdJF0ZLftlhdWS2bG12x7SXlXsdFq3mkEYVVmefeoKxWGYpzi/Z35jZcq8av5mONYkM1txXH2gL
yb2anA8WKdyYO8x9JToyCoHub5Kw8yIgSwSbLWyrNDEbbovtVMqY2W457GiRKs0RE9MjWfMbTu4U
F2bVxw++IUystir70DLzzX3rmzVALKz439hsZoRNZU1441Rt8yOtCheV21zwVexxCT/+2A/Dez/B
kzIVPXpX0BIY8zlI5oVjn0msU8juXq9zNLf6KoynXd/FOxB7elsyMo5M43xodBlVfXbdNH6YUsRP
60OyZv4th77ZrQ7kxswmAD6fyNAQKR4UnqdxewG1lAk5QEO8VT5XWd6zj8Alz8kpOzggBb3Z8BCO
fn6VduacjkRNNn56kyIrZSta5kSUAtHfT1PJIli5zyPLEhL+rOwubiprq9qM0a2Vt0xFKxlc9TMz
5ZD2aE6XLyUri4Q79MQ7BNPKFZEiTZKmREapU4ZEWrH6c1nSHKcudg9CZ8O3JSOfqZuT/jEP15qa
FSv7LjMzE1Mn7ndeZYhmn0Q2g6FRXz0GgtcCICwjDX/fgWWfuWQYbEvswlQfgWndp8DojO31XB/d
3viYQKpLMuaQ3Tap6KmQoCaQL5NF5VKJjd0w++3JgDjWpbgH4tBeDwvnlfYAF4RQPfkQOzvYKqI5
oe7l7hGM1Zfp8qjLY1KBfTWwsPDZN5aVQ/wUVvidEk5yHav2SqyVdag0A8o8+NIBlOanAggA34Fs
onjYNSlPWeIg5c0Ez5LIvGOi228dQP6OBI1+bg5ZXzwqH0vxeM2ALdLO8kE23OIp617hw9+vPws+
IIgyVJ/FjQcWjbiTz0XNPDloniyPKUq6cH1aHf0Z09/ex5QOgWNymK42zqHHYOGP4rafg2lvRuJr
nHD6xO16NdkkQAUDSau1c8o7n4HauLOXcVvCVs24j6om39WkZcy4Brj9WQZjHa/6fNnnpWSSwDnW
1TylVzBITemcaoLQU0u8qgwKJHdKFrAcTMAlth03JXFDDSxRcoxJnuyB106EFoQjbFN5oh1gvGBd
aaHQAPI2+2T3Eg5yEBSap9W44s6BE8k1UxK2ZdScbwYweDtI8nbEoPR+pFk+5Hkx3+oecepUD8fM
YzvEWIn30Laf18k6aDNX92Dh+kgMAfxtN9B3DvFd2zoEcIb2Ztk6/UCYQ8wsKmeseCMm56tSKcIQ
I/IT94abn9OkbO4hBLpRT/jdqW8GKn/DaQYe63X2PevAo/FuBV+xtViKcm67z33A4qROdfGZ0wKR
QGVAlGRxeNBt/sV07AQBBBY7+F0rpnX7Pajc5S5V0H7SuRtoHtNl65JnzMha+Z/WcuAGLtjrMUtv
LhmMhtgAAMCZJb9IWhRjqgMOwA0od0isDCDkVG+HhhxWBs9RzmNx5xlxjFWzdX2wUCJIv9G37NrG
HBT0imOSdldEhDS7IJ9XuKIDGJYuzghwlHG+kczFPoeLOMkUNuY4bTMD9WIN6hALOa1jm9+b9PJc
zN6XJtxr8o2n0dc8atM1Wm15o6aKGRQFUQekAhUKGFbIuis19Xjj++7es5nsE8OIV088dHR1dDfB
Y06mpOWShFPMTGVxyINMY12TEYZHyxPe80lYdzWNwhcpOhrtPm6DwwABHihLlzq3WPf5KRhg1faw
VSi+6u+Sto4VYjkHx3G0u8haFhfeCNpXTzP5n0MiilkAP7MJv+4SlviO4FjL5CVfDefzGZjbUzjF
5fUQexDc/IBeaQBFksWpRRVDoqEsrhM6fJMhNc78e39O71TaPK5W+rEmhGjukkPQ+vepqx6dtJSb
laEfwcTkDCQifEqchnUVpJudyIihST0N+gypbLGx+bwgp2n7uxIBEDVhqfaTMKRw2kLLMPJkkD3D
zYKLPGqdZHsW0QPetYCp99pIKF42CrFEPZgOVCMhPmU9MJARnHrQ8BIi7D0y3ihBSZHWns0QWjVG
w9hwQhLbRu7ILWyH1f8QQmjYGk3wVzsm9vMM4T/b0ud7IeSqjNvZM2A6vAJabGX7wM761TxAyUuu
qCSRnoXyMsOyeS6NAMveNQnxpCEFm6Vdt6YvnBNNabEdG5ye6jLYJGEziMxCQWS5463XqSLqbHGn
DGg7VDg1UDgyc8P4gv+7PGIlBEHXSU5KJ+2NRu1Ihlq4MEfKPqGN0yQ/9p+Qj9ESyGE9mbZMHhZy
wauArUNGNiPirnebKNZ1cpDNW8Gyk13DkH+VxHmFY73DcwScu6ttIgA88ID63uYxBAXpIeOCI3ag
vaoLc2vPhJ7k5vky/9x3SpiTC88pkhMZWrZkOxASMEVMRRo+L/PcEjBv3ba5w0PBZ8QwsMljgd4+
IjNjnbnuZsbtG1MkezdZ74I8iVb/shq+gEmMkI/CWiCnErPg2cWHvEKuYHuG7Nd4ZUuswp0idg6e
YsOIi5a95QxnYAak3bqtu14fLB0OFskhwBm1WV5LMCBbQtlCwu0ge0rNZC3rm/OoqFerZs13SYcG
cVKLeaSe9K/VYA+cPpV1JivLOxTOj1tqTPa12zh7g880GsL5qVro3nqbSXMwzzsV26CRNEZdAJsj
1VnCDnyEy2EGSEyFgCyjZErOD7HS+yUlXjpUzXVdG+vQ5qY/846gj5ZF+SUBvR4p0rvPVUrF19TT
Z0iN0zFz7Tqy4s5s7YREzGFt1wPbuuA27Zr3kWUCkOBk2hFHlN5bY+dsPJ7P5Krauy6M38pqoKbT
CeF9XXe0xnDal+OlcnWpyhjQxOfQnr6yeO2OaDo5PgEgbS05hpBD7eQ4rT6z+XVK7gfmsdsMM+g2
H9i3xMa1bxHTwYJz6vlDR9VyxWs9pzKFCqcXgiiXALQbU6SY9Fe33XkZz4eLwXvvqzH/QKU/Rwuj
Y/i5Mrxvddo+NAZA30I6CZ9q7L4mrT1dA4NZb4i5gY/lD0WKjTb2Tq5fUxqFA1FqYgBHDYTnQRae
cw0uZ7qpUWnKzYy+hVzlRfXbwAf5y+RreSi7vP82lV5N/5zFwQdvdO4pI4HVVT0gcwrGniUpMTJA
WhcNzGaXI2wrtgSq2VuLpTDrCnagW4uffju2cPoWCS/Z1I5uvtYxUWVRgSj4uzM2Hg81pFwbHS5o
+GrPRcmr9SyuO9kZ6qO6u2l7Pab7frmoPmBoJgEERZnc545ZH2qnYiwDcI1izJDcoqOk0fUl7JHo
M8oNCEvUW6WNeSvz0a62za6WtdpzP7db6DVvtQev1Vv1uGlLIDFQrKnaCA7ojp5PevQa3DsV/HtF
v5IOa/gw+KLbIny1r92W/djOTSuCgnJ3EiHdJHoQi/neNszn61g6H2oTFnd6ohxaxvw8uWH9IEZn
2GfF8GIa945MWglYky1xGTjNFXxCMkZj1tSlcaj1EsZm2uV/9hkikq8jbkSfnhLLgB0PxL3M5uU4
GrOTlbqrAkbvavysqWlJ9d1Jkkm6fry2+XTSrHkxYfIpg5tka91tmQScYz88zUOxsx3metSGO1Ly
/P7if8/3A6cjGUC+TK6aZAAGPnspTc5iXa/E1myhHrgHqqCA7OtJXieZx2ui4L3sjMavTrfsa2PH
62ad1F5oSMn+BZwEGde+GufEe2zIj6U217F46VQ2oGuo4/HjCo/owl7MXnq4YFu9EJizbWVc7Fpp
D1FPcauRjLTxWRR1/5kC7AF2LLwldCCEWSbdeMjpXGDIGyAQNA3vfpmCfPbrRyPdmRZ4udOO/W48
knZq6wSg9GxnZs9FetvUY9RNLSo+92yZ9imuvNeAXRc1hUvf2IbS3esgtvZzZtXPvsNueIOG+zbP
UgC1DYhKoKVkIJTeDmwyhzYie2hjQzAXwUvRKhYDEsJ31K4VoYlQ177MPZWdTlJXsl8eAa1axUlO
lbdzHHLXTCXuhqkdJgJbtXf2J0bPG5r75IsmRnbjFsb/CD1u3eRzVZyYmBA5l0rqYc5ENfV3pbad
5zIvKOx1itinIXxH6ZB86FHEe2lZzhfGrI82u6ArVXB70CBY38rBs1A+pyZ8Lmsuk9ws5ZVTB9lx
9irAcqVcP+vUYezBzvgdBYW5ccsl+5Ail2UtYVmnyml4P2rxMnrOWx1S/QaEJd6RDP9lKAb3hnZl
+WQ7TnxEQt0+LIh/Dh0qllefHuE01E1zZ9u1e4+63rkGaJWdO97cO57K7C7agnCEnE8yb6vppLI8
fyX/B0UwyoxwBk3lDkz55NIO5wrSwS1MNQAHJeZCP8l2bSvCoyFG9FM2q9dMj/31ODFv9gtU3TNv
+G3mLfioZveh7JN8OuZgtL8mVTdvFTirJ+7XiC0pyNPUt0+oo895OX2vvOm09glmfTzeqErGjKCC
oSZNyXPn96lCAZYWAN5cArRNPLRbb1i+WWrsgf7X5iEcaiT9eU9S0CqKBzUuzBbtgEhYA2ycNm3x
nzLDf0ywoh8Vtum2jspB2Hbe197N82Vbkzjf9cHwTfGAazYrAmRaaW4vhvwMqbpV1IdUOc5tTUjG
Tsjs1SQWi4TJJddWd+8dnOz+yACq3BtrUE90YA4p6An8ZNjxLNXrr9nIinGyUm4bkETbulyeDWg4
xI4pMDHPO2HzMrfMg9xrSeeDtIB7f8nWL0ojyGR5HHYoFqsn8iY4CrrCX47d5H/VQxiey8uaI5ir
6rksfHezJpgG1pEPtcqRniiV8PxOx3fjS7CETgnn0TAEXivb2TPZQ4o1EHF5kHGfbitprfups1Hd
l7pQ2Ps9xi+z7CqyJcbyKMfRY6Eu2E6pVX2h92Bj3PsnIYfrvnHQWdWxOxx924uvBTGcB9Vb+Sml
kWX6IeLTUkI0HC5k6SbMrj1sNreOgScW6LqMQPUduiog7cJmrOPleb7xMx3cx2svkJko68AdsbKC
WuMPDkklb1UQYqfUyCopF4rjugZZNEEHPdgUXC9oAFFCOsx6FVN16j4BLg691M4ju4LgGvFpjP2E
WPYQNe/ElJHntp18ZWZCYeS39lPJ8j5KrCSMOt/vHosuvIJdZCAhzzdG6bd0JcqKZWR2ZhkaRoKU
vl2GWoIcvIp+RxIpcSRkDpo+sohonPM3r5g+1il9MHBQZHLNcOogRB57i+zCefXE3nTkO4pg+Thr
6w4FNgNpwsqG1CFS0dhfRlB1pAcRzpnaF/FwE578qrqtCvcJxk6Hnqkj4ygv8TxjAmK27kFwk8mh
qmJ7Nzbm0eGYfpi6vDuUlgvsUtvZUVq+sTcBUigy6Ivp2anqB9QGXpQxQUQ1e9nALkxjbTjll6TQ
W1YIu6kp3A/Nj4ujqrxHiWoDNhuUGaOp1ByHCVSYMWnc9EFgRevSTVubHEXLpn1N4RqHg1QgmO3+
hIYzPVJr89jx1+AjTiyXs6xhnGes5thMaRCFfl5dEiHwkViWd/TazDvrnmsySLAXoLjtB3rJVlZv
6GfUMQVCmJQdLZPJb2wrtW+HwRKRbtyY98VZQJNWJPxA1ouMR0WDLIS2vB943iDBnWWTbxOQfFyl
9LhkvUByFvX95DTyrgtQ2stkubD/QLx+RDY+Hduxns+UXi0bNettHfVlNiRkxEV9V3cNtc6SlcyV
LrVWUsKEXuV09rts+T3R6d+y7P0pIg7SzRtBDAhPdf/Xf4qcu7zeP76s++v//tvrb1/6l1/+wiwr
7ZeH4b1dHt+7oej/TtW9fOV/9x//8v7fgQtLaBV/YuMbiuSlTX/BCV++43cfH6g338akx635w3YH
/vfvEWXOb4ReCRf6lCtcD6vfPwBxrvubI3Ba4rITtvDwAf7Dx+fi45Oez3fZ0ON8BSzl77/4/e9O
Ud6zf8oU8pxfHaXKAWPMNS2JHCEqzeb/+9XY6U5pDPuWS21KkuxuJCRh61nU8BApjU0YlEYnVYO9
ZOWgXP+dMQ/ul1wO4FhTmzbdDxpfsDr38tvWTeMuWtBSEbC4liKGL96vn4Vr4QzxWoNBQ+RoFNip
9KuK8tlz8Mg7c4smn6Dkx1XSCXA2Jy7pKT9WKVqL4GGwPGVtxOz4CTN2wya8cgrk4jJM0CUJPhxq
tvljppf43McrL8veOwdIU9fKPimvUMsmj9myAL4acvK1WUk3qMOn6tNYkhCtvDtHlnfa6z9bZBjO
U3BjeaysGXqHZYe+ON9fFtAenjAnmXexU+50PR/jCgNDJ458HcL+TI47koWQrgY0cOjuZH8/h7Z8
9ZyPbWhYxtqa1FUGm0jYozpudzg1j0y5Xppe3cYWuLwgu66bkGXrTFHlQ3fK+t0q+M5BTSiGaxDE
BW8DfdBM7nKHGvPyxw6NVttudGCD6ZUL3wLaOWZMVbdYxgf5GTvJfqnKU9u41bwvWdNKHDh9QPpK
yqFTaO+r08zhl4JDep/2GbtG082ztzWG9te3guQTE8rks2gMumAtC+t9chbW5ILJ9s3Y0mny4GFX
CQwLrhgKXOwpQqf0DHVdMgcLwQs/p9jKbrPAMixLEumeF453UjFrdV3k2BSdHI/VlI+wlRxfk6Dq
I7VP8RIAHVgmDAI8yJhG+KCZ960g/QnBIpU33FKZPibEIiP4ZRFzjeSE0QbHJRv1vnyw/WEhI1va
+2mhLLbb+YlojoJ9AlGcxI2HEG/9MT7mokpYW5I7ufMct/q+aNIpufI5GxM7jXKPFWGAGvLUK9Md
m66g1ag6/bb0cIlYeyNPpbLJ7xIWRbuEoPjEBVKdzfHwnWQQB5mOq/YdtDIAIKJcgis1GwI+gtlg
X8CPl1In9cQFMG2IzbeeJu6znvr6Eyq+gbz1lkRPLEEypPfPJqT5puMDDn1BPghS0I/zGhafkEEU
iDdGz7ufGciRAAHi/Cszx+5Tu5Te61Lx0hsezwt1VtZVZ09mTP+b/BK5gJzJQ0+bLR77iyp8k5QU
XGPaYd4VlqOIylLB040L3b12yToEEZHyU7rL4tYxOyRzYbovqJbGKK3DiZj4Ppt282wTTOcqlL2M
Ttozlr7YjjDn8quP9rJQBdX4Cs6mcMt3tjbTm5KtrW9FmZr2Nc9ywcpl6qpDg6kQAbWy6uGgA1yU
F5p+HBxRkaBfrRbG/Vhr3Li9nrtFfubi4Xfk6cTYu2H0u1lmFw56yjFOIzCNpTkX5ZClJ6RBfncy
vcqBp1elB5h8zQmnGFrMU6RKcYY73ABoAhXxgOCJWRZRr0CsPa8ZHrnDNPcl2Nm4Rfup6UtifBoU
cOwRbcvdzahiYrzCVOeXrTWVLuNAfE2DGJktVsWEMkR3Eq1Vha2o25Y6ZHRXzVOibxPBbb3lrWrU
ZgJVfMwkl92VK2rKMNfYl6bfSe1d7YaX9tkPBjTpuQragyutedoPE/U/sstB+vuyS5DGa8Zr9Q4v
C1BjBgjTXQqTVqBUL5d5yxPWN7uQkG95DFakpVsxsQC7nqlx38SK04SfpUZRSW4wiz52v12/nQrB
EjWDmGYixGJhc27CLuhP9RD3IgqLKtN7M4fqc2jw3xz1uCDya6cg7vZNU4zihNEZTQ8RfU2O3Kfy
6o0XeBayroVJ2RWZ0dV0LpOhIhEXg8whGbpguJ8p+m8XQ4YUApwWOm7BHs8c/WlCijsLthL7tulZ
ogQirp2dQzqkOBBX3106IbsAbKOTCZ0QWKP6PPd9+o7Iou3Yqnb1cqd8U0JtHh2hd+xMshPGw9mO
xFiioFNJHbg7Zoa+t0dWQaWYtTnZUBO99QveofEcN0RDb5yQ1Ajiq3zipG2JKpNvHAUDpA7t+Toz
0mEuSicSc3SypbP7dI76lj7qBCV+KC7CNxyHpT+DMqeBcb+2VeYmuywZbTKs7aVllVPh45PZ6F8P
c41wbLJy/zx1XpFt7Vjjb+ZQR4VviQFwIp5NWu7EadnBs4FC2e7xbO0igFWQ2CUOq3rbzKqf9zKY
HAUluw0uOnFSxTZQ6ruvy6DwBIZ1PBE8nmLLi4IszuG9uBkJ3bGL4m6DNEQjpJCaiYEf+6yQlSHj
cJcUq/lWds34OkhmUCj0Bv+STBN755Te+b1rEhxeI1GuCz6hMR62LvOpTjhPDVjfnSg1Uzw702Qe
enJghV8U5ZF8Lk8yWSqWM9Pc6ZOLsiGgSZu3q+gys+2yyXn1GGGVbA6ni8l7EiniqqS7LkYkD6ii
4qo4lKZM0wOBqdbD4pQrRo3EJF889TEhQht7uzt8IwRvKeiM3fmZ40nSbyaIQDeBn4RvLvJQmKio
Re+WxerLSA+Tg2dJtDGLbvgBG6sY2HXxBvtPqnblmzQ9qm1n8ggjQTpevwVV0LU7ktqMPJQxi5jN
ZMfS2rA3sk8aAfmKFbVkVIY6UkV46sAhhOgfqaAD+d2LJyILVcLo12pm+dWZpEfypatIGDWLjxWT
rKCJRx+JyzDf/UB8Z7TOgE3WI9MMGv8cZ8JqfOQWiNhJRPEaRrRrbtSj6RA9b0iU796woA/+Rk0D
H1/f+CMCDGPzIUnf4TQiG7XfwVJHVk9KGU6DoniUbdOUEdMedCumCQ2sALXGXE0qRMCASIcFpFNe
+uKumhsgAqtwr8ZaIghHc5D4+Kvzab/UikwmDmhiTSdpmgfN5g4t+JDpr9yz4be1WyfEcKt/ybEi
OmmiaQQKwfNwGkG+OXp+LGy3euhTieMo9BjVhiuOqh0rbZr62Q7iZUdSeXOFcIDaA0GKYEFb1ngs
YpO1XMMlbjmM6d3q7labARLpPavzilqSyRV/9vgJFBD2omxRg4J0Tt3/BxLKP22Wfu6V/vqnzdf/
wLZK2FBm/nlfdXxJ+/RnOMqPr/+9q7KU+M13nNC5BB0DNaE/+p26bSn3N1cBhCPE2beV69Af/R27
7di/0TPBindoyOi6BL1OZ4Ze/8f/EsFv6MGgmQTM4gVf4/07XdWvaBTPAwMeugx6WHtAhlM/UMs/
IZPWoJXIi7XaVeM4XdKiUsPhHIQnBl8Uzgm9+I0aR+sdf0h/588kG21/eqf+1uf9jJPn9/+JE/T3
n8AV2FG8MIQG82tX52RNbtrm4nOvTM55KGXk6krsnDy++/NX+hV/9/sr0Y1K+HsOrxX8AX/nNa0V
l6jidqUQzRaJhLfVVVH+i9/nP7+jvKce5lVPEAKpvD/ghzRuCeMMrruzxhzfhFmQAyDpS2Dl2T1D
HeAi/bFhpXnrz4P3aWST8a+w3b/yni6/KEQd17mw3h2Gcu7ljfjpQw3x4mGkcdzd0hJ6XPudT/rv
RTpYdOUBZUkVSTu2jn/+7joht8QfPknfpnHCISIYBvAj/OFlnTJuChvBl13VkJ6MTrV9styCLcGq
nTrcMTZvk1NPV7RGGlcf4gvbo3gP69zcJcz2nuvVxviG69A7VwT4eBt79JuXPO1D0i7x6uL2pI0g
RhJpM6EpK6Klea0cbxPKFS1PCq7Hj5alwvbCTyr6Qxto94MdwBI4pN7sqE2rstT9lunukjiNcG/a
x2KKn7UkJpAPK3tUhXRfg7zJxz1hsmF/LCkcishvQv8xWYi5WdlP+Q+9pwtAHvlc8KBGJJodg8Hy
vyTeEuMfLUI9POfuUhxck634nqpcOJHwV0lr15fjJzKB0osqmCXdbTwUzlPiq4qJBGHGz6u/DuIQ
uoXLiT1pHHmI1VjVV048vPi4895kQpSH7Zesw4iPupwAM81htLqgXKLGHulGXDGqm2BYu2XHZAdE
uKLCd1GU9R6KqIDYUQA+VMj7ih0TyiVcUc12ZFJXMqbuHQi+Zmr0lr1RcqraNWh2flnKLPKoFfZp
gBWLBciCuAxCjXcb0ER/YF4xhWC7V2z3c7EGZzWVxGaQaxu8EZnu0XwHREewVaMVWkORHTC+YnJa
/BX1qs+NMpDCWr9b8I2f1txBEcZ2awoRRZTl9yZML5ZrNA2UNLhl76t2fDVZupC+kxl32LQoLSCh
B3PzFvc4+VaLkQfxRsBHYrdPAbUofQ47P/zcJqN+n9qUhkgS2dxvVLDKzwVeObTDRX9QyDOuyxzD
43Vmhe4XdI7FPUNNdmgpca5X9EBoDdUsnZt5ZvmNC0WED6Pv0wf5KRGvzD4Ssm5zkxK96KhuF/dL
w3q7splWjZg7b2eh8d245VzhPTNDmpJaZemPdT7qhxo7Dkxml2U6YUjIYmlEi2QXZMGcfSzhIqC9
TFKV+1cDCvJmU6/MS65mN4vXM7tgYmxrRJSPqQqbIdJWeJHIdvl6IE3TGqG6UDlth7jC+7biH1qx
nhvfHF3MYq/uuLAXqaBMkRcY14SN9mMPRznE/l+TaVBGsl+hatTe2NNx4gmWd5mc+phk8qG6RNV2
5jZzqx43Rxmvj8uwmC9BvzpvCdWkR7CmFT+QZxTc6TxTsLS8OnluBrw02LhF965MUN2TsONeknG7
7AFrCm1TFtsFfK0UCe+ersv76EL2+EpeffU9rHoLWhA92tduDeJXkdgzFVwoUE96U+XjQycK2T7W
ru/FdyNhSnRxoc2Uz1YJ5sesMJSOPMsLhlVMq8j3Mzn3iVBZeO+PsEuIEKvEJwYiMketPaDFSkrP
lFGXVqS2QPZg9xL0YkCDQde98RsLZJB2Bj4YpIrC2ae2qV1sDY5i75oSEI7hE8EtIZXVi5cgJbzI
6wzCqnKYfR5kliPRVzpQpAaGcMQ6B1JrjG64bFhFYYZCprsCKJMs47pI5uUYbLFgT+VhGEF4bawJ
p1PESriwDyvDjALtPCws0E4NNtQQXzqPATt1eLgQzPQyD62lWL4qEDP2XPOb9YrdFuHLIL12TdZK
TI/jZOsrN05zhi5TJqvtlAfVS5C45f3K1Yt1glxisl1bs8KEsMg8LYIxfqNpytw9t9vwpUgs+0Nj
eUXMHREotgeeQu7S2mhMEfgBoNk6rk0AlFMtEn5NS7zklomK94EFe6+OlZEZE0kfydjVNPRcmXPe
+s8DEBFY5XYVlESRdbn4F6eauBQF/xdj6Hkcab5vM+AmZs8l+esPQ2fBuCLtrSTYFbiecALRFohX
F3ERz7g1D/1rjuHZOTVZaQNrE3bX4mVxLG/f8CAY/kVt8Sve/fLDEF5GEKYnfNe9pPD8esIGhuch
MwaPeKfBeyi6ByNi7ypbi/rRVXxyf36i/1evxrAdYCWLNI8a9ddXW81Eu9VlZN4VxmKrU67babJI
5JaFe0PC5/ufv5zzn99qqtmAGT/RQoyyf/z7T2VL27Je4oHm7sY1GR40u3wEvt6g5shuQwSaXlYh
aph0xsAusxa7enb6wIovuvGeVjJk6rRtkCEt277p3BuykDrC1hOZxJE1VuRhM4Zn4oWfpVuYAiVp
/15xDv9/TCka39t+aN//cvNSd3/ZD9W3lx6nyo890j/2Sr9vkv7x1/8Zayaf2+Cft0Pb96p8afOf
G6LLN/zeDwnvN0GF6jPz5UK2Q0WZ+HtDRGOjAofnCtw7oUL/sn/6WwyRp37jguDfHJI6Lm0RVfXf
+iHP/Y3/jruC5oo/hCv+nX7o126EyQ2QVoJAKJtpzVzaol+veWwYSBTRzEeTaSnseHBu477GxZg2
/yr05NdG4cdLEWRAOqfirpYy+EOjkKcqXt0B05cjOQ54OY4KghrPsxqrs7YTIunbsnjOatTHdTrq
008fyX/Rd8lf26HfX1+xUrsEc4bceX/oEtBCLgSOk5+Tunmi74WjA2hZDAr2bIiIUbdSsjt5Cxad
RYkADYdULhFPSo7qLclUfO+4YQtuo1gYXcEAanDjihYOQpxbpdg7a1ZWB4Uh5Xsz0Y/w7NZoQ5uA
t7S1ihJV7GicaUMFU32fySEkytDJFGJi6s4PXD9BErUEmb9CVBo/oaZwnu3Oqm7CkfnVbqoK/fzn
b4j4Ayf3b++ISwSq610+Ef9ycfz0AFpqG883PpNoSkP2DQP5Gi/V6BFIs9QehLZLBs8n5rLipeh8
FKs0QukEFAXXH6M12XxbS9wSGwptnFS6gJbUpUn91on5x26pLuPIq7KAzCmoHtmByb58Y1noiQND
vP5D3BOEuNVZUbx6g26KvTUG7XwM+tp8nocAPUXqx6QV41QDKxPoeSDS1MpwnwTQ2bJhQfOZq67c
WfwWEwHng74d565xSG1H13XHrDXL9/+Hu/PYblvptvUT4YwqZHRJglS2gm3J7mDIQcgZhfT094P2
ufeKFH9y7NM8ne3dsRFYqLDWnN8UOMTaS5oo5AhpyUikU+5VrFSjrcPWSge0jMC1zKjZRHk8OmsP
++yryHD8rAp7Qm7cKt2xb2dkP9qmbQ33ZyApgV2g8xgo3fcwHrdxMzoOOEcvpvA6q+4JEEMY3hsg
/nRKyW706jSOboMA1S2oDXjSYW03Dl2Qti3m2k+7hTBXtRgFN2LGU7iOmlikm8SKaXHQNkRFWs+9
qRSRqJ4y11M/Cnh285AaN70WeM51GwQtkljTzh5jjFHCRwfNXlsHJETZ1kUld0Ecj6f/5oFt65rj
sY0smAJl/ABcyhlug1Dzgu0cu1W8jRGyAepjVKC9EfR0LwPDwMEW9Gmr+x3i1uJLIjmOYjSkkYyz
d8iMTZbI5otuF3O5MTKHc8xgtQUwl6Bvg19qNqN4a3aGEyJ4QQ+ygshnL/JwDwyXk3oYC0VBXiry
zqSpoP5BF9DSYIzpErqiP7OzODYZoSJziexlkyGsg20Oq/yU9gLKZkgs0c6OOKG1dlt/4dhKl0DR
YfHnXiu3PXS/FUnTwdvpj29/r/H+6VGHMsmsoWqxwIL3P71OamGMC5MGfhIWPgHk5jV4yfhKN3O5
K6WX3Jy+3kGG2D8XtNjaLMpIVg5rKWZ8+NZtEAhlJU3FoQyJdWfiXmnGAopSU7qvqh7xuuuzueks
FOtTDegpqyvjVzmgUtyOE0n2Obai7Qzr49rQkvC/NxH/Ue1wkIi13J8pdAK/gAOgdjCNg82Xngtv
pPUE2UcLSKTzJtRk9Gf8QaRYIYH2SQrII+gO2j2gfEZdcjQzYTPkWrcDKizObIQ/rxas1cKiSuex
bpONsv++Cq0tBNo14hBypPfrPhmosTiLXOfMD7NfvFoenMKZZbIeUcNyKWbtX0hWqTWAyRHrqBz6
+wgXXuIznRnJKmfz/VejEY3OLmGvTJM8ajgTTTFLtWlHGNSkGjBfpc00vNTWbGDAt5ualHmqUOi4
aGtvVJnDEDp9z58HLxtypCm4FHgzbEL2b5m9s+X0wXLL/Vz9kkbZ7oIxoEziFNFTjNJ+d/p6B4cS
RwhyGnVbRyytC2IZxcHXCoOnVKGmL2bNzPyOLt+zV2jFcIEj6TA2dj0AIMvRm0AvTNPvw9DQrR1w
ZWxP38j+oGDfws6FA8JyLLIEsvCDrzaarUpWMqGQ4WrDQ+a6OgW7dPp6+irvuVj//wz2z2WIZV10
RxTQGSH771cO4DeSPibjiYm/QLEBlyGvc/sxVtn0W5lVsO3aZkZGvPQ1wwIq3QiPTazMxE7TLcxW
TGrAQ15DhZ1udfru9mfO5eZMT7BtpNbqUkR/r4p+mEjQK+uQGKJ6DXgzuKwtV/PHTEY7SlTfQpUm
vgu6bBPU0CLQvbdP//7q9NdcYS2nVIq++68mbqBdmGAqcal0BKB3WTmsSjKUOO5HYbuZx1K7RcgE
Epp2vPIbmG1nMsf2v9d/nl/X6VNA0CFT5h2+/uH5OcpHbPIYAz0EvHndVdRTV11SIyunggt4KEO0
OLW9f/rBDybI5boW/RQ2/hazJHX2g7FnAAHXmwr3DVTdMkbrhDkzC2u2Rj2491v2ao6vtcAmrdxO
0EuM0TBuYwuGz6a0srnaIr2Nxs3pu9qfCd5vio7OcnahBE8F/mDWZowIA9SOWs9BhizfDLtLJVA/
Usudr8E6u8+nr7eM/P0vg4kA8a/zvoc3DvfwxjjDQU5ZxWRheJsUzaefShqlWuN2TyiaXB8r34S+
27PPvP/Pn/5yZRoc71fWD8V46MeLzEVct0bs1GxCK0j9wAGFf/r5Dpbp9xeKn4bWGedFh7rHwQsF
V0IXoG76dVZF+UWIfPzWaKjE1UoWX1XmNMta90u10tmaeautotgJv3lIoW5NssKv2rxML5PGpNLW
W+6Zb88Uy1p08PolmkcmAFvanjjsXQGywX7i2fW6rYb7sIbmSnpZi3VQZGrF9hv3HeYR3FTdgm2+
s1TuA8QGiaLt3Cgd0zWeg/SaRHirQS9skEWOJo3lzZghQa2IerZ/56i+Y7ixmHc2sMIpjUWpjF7s
CIaWjzB/3IGhz3YM/BkUh/echCK8oZYjAz/VXMx0lPocllErAzfNxu3NIg3kxdRGmtsFnK8ZFnuF
dTMnkwB47lhNvyHZwMPvBle/HJSVI1TIQcuhMoL/1hQ2bXvXBTBl1oP4olXSzVHA23296rDjATGF
IAlqx6P/sBFdEH/RtQE9XFtJ/ZJKqNdiEdcr0GeejqnZTSvraSjxvq7VQGtj1ZiEmK+Laerh3Tk2
DnJOB+CUCirB7dU0jd0WzZXMNmyf3bc5dMWMDrLzvtlSeQOVaoI4N2FLIXpldXXzF8mOQ9Xayq15
U2VafIWgjN10COcGk7Hqvo6WUb5kQdz+dUOjntcAyYmwttom+UuH3QsuGZumiwpkAo8NEX34xbYt
JgaVHdFXYSJT3tqI2rDcZAagtUQEabhNXD1ACFrK6UuhMvkXa874y5VRdMfhuDe+8jDe974tUo4A
MbUqVNcFx+ISyDnSn7Ik13dE6bnONeXF4Ktz2Nr6KLrUt4lSw7oWMoethmrmzlgZavcuq4z4BVeD
h/dcTvyg8IxTXPzUjesNiXrejogLUGllhbt6lMVEMCINTHo7Gb2MZgLIwQ7BTf9MKp2/mwHzKchh
K7hE8yABOQxA+dZpNfUAYSzN4/ejPv/dReP6mvQgmtZI9MQPnX3pH44REx0GGkFvNrDJlyiNugK4
1SjHyymbiM+LINl9bbS0hkEN/LqkNf6gZThYN2IykisqvmEFRoZ3jhh88EZqB/N4B1kOu4lWGZNz
yXM5v6laZmhMciflGytN48pKXTsAOKMvrIDSUI2vV1bYX4dmz/FQs1sAau2IKm7bcxJaZGypTc4T
ia0QiKy45OCZjuNlgh6duC5wCzyGckV8Zdhpk25iiFaMzaA26WgGEcdSaZf1q52nXUtjLKgGZCUx
XjrK6EKuEbvXb2Y2Rq9uaWCusMZFjTjRXu8haCi6SSFMGgwbqPhSP4U94xJ9bdNsrNNUu+wnHelk
GmXgnDvW+V8BXKlx5aABq654cmCyarJCuUujiY2XMoRFNaYaSRrocJAgc5oNzu4ImdlD78yqXfR/
llWJddrZZksLSEzFLm4ZJ6tUa0Njm+nwukFHl/oLB3bq8m4cGHcpg3WkUN/Z+YVuU2vdNB02N3/B
HOkbE+zCV09hYkI6lnp3Jb+Ru+EcLTDa8XFX/IJxd1NrZdpuQhv/InxRmnQ4IEP9JUScApQeXHPN
WSqxvw8wXshv6xSlogx33otpAIlfORrd1UsY287Pquyo+SZeKX8jPq0etL5G/Ki0ybF3WqwBHNen
oLhucM3nPuUX5EF2E6NUc5Ezr8DyeT90zXDfOs8LXnKrmL+WeaaW9zoun53htV8J8dS5b3y/S4sW
utfKikNWmNZxtR/SCtludQagvxUAOwOCNgryLcug1V3ohtRvuxDst2/PvBpssBkitaqvKSJUvfkI
9Ru9stO4La50DngRemI1PFUTywvMa0m71pwSzBVIGBoGyNznN3FMm4wR20XViucW14ao53vMxdmT
EEMxraoM3yIEl8aijANuuwQ9giNhrRCSIC60KqSgXdGTRTra8q4qEwN1tZOHF3JeRn7RJuEfMH9h
Rk9lFFcxI8Lb5FkjzVsJ6jJDxpV7au0EvaZt3c5mo9VmJqfQtJ0ftEEv/gJ4TJ75F8y3FiEnIIex
LsgMbegHA0aJkbgGsaBraSDm20yuiXEarRzaukgAZo9p8zwi94yM67EXGBkN3Si+uHpFX7GsAbIu
DQD7cQzq6TuEt95Zulvjc0/vrrqaWgbLhdlizfIt7L/9Gpi5JFKumrLsYpSzTT0G06tacY6Y35g5
5Z1HIBcVpNal36f6RZ09J0ZHWkIlYNIMo8OGqqlBWK1EiWEPn1eZIsa3wirVcUqaariJIru9zyIQ
iuj4SprvC14CHVkzEkVSFVX+s5hnB/V7hv7PITp61pJNLxtz2sV1mBu3EoTMAt0sEwswhulovqGj
flxPkeXCcsKkGmxLofpubVYyYt6QEaxVk3DhTU6z/yEtLbXFKGB/x02mPc4l2tfLOcuBPY8tK2Gk
R6TPJoZSakccjZ8NpXaD1LKKL8wgrWm6NY8xptsC8kZIt7xub3OvaP/mSAOeZT3cNz1nLfY0V1hx
UAKe2dh9PjbZ2EIMIZGVSjROy076w7EBMQflxSYjWUVPwbUVi9BgDbGbUDAc7Onv2EqUvdaTZP6S
6IRngl1bNgZVNOkEF2rwDRedx6QRDT6oZD07kfrZVFnV0u3UzGJj0eQtIDpMqAio1GTnWnFHzh8c
wJdbX+QuuGYOzuD1KCtEDaB7AbShI3ANyH5TjitEVbL7I5z6yYwtgDaRTJtLikoC97c5fo2NkWpx
Lwh8OPdKF03awXaUKoRJcYBWpb7snfffaRdxVChS9Iqex6x81QtUjRfjUBqvtkuTcu1VsQf2QIcZ
4ggXUl3VpDXx3EOMrkAYcDsGV/YPXlGyqRpCQb2UD9l2V9Rk3pN0ZPTXwvSQb7ysQ7voRW4zccLT
+2m55MR2V9OiP0OH+cEnXYiYHl3pfA+hUWW/6gZj49WM+BrIKiruCyX4vVa91BBK9v0UPOHUAd8x
lFP4NWC4v7YiGA0gs8p4o0orfmRzaMarFFkD0fCoYkHlgBal2z6bXbQ2A9dL8fwx4i7wgmOxsMPc
/pbFI4SXKDCaHxHdoyeSOZDP50Vf006GAr2Dv6Kzv+s6MDUmxXXt2igTnClWqLA823aK9Gic0re4
TWrcHTF7gdXAfoKIUsOEoNLCxIUVydLk9s38iic3wUQOAKRcOa0nCBI3u5CyL3s7hBOGk0zMMw3b
N/Y+JeJsgPOYGsrAz0JVPyuvoRWuLKcy1nlHTXZNyz/7GYIVYyNolRk4DquXO9dp0zcg5YGJA7g3
tx2bRqYiePIE73Dtah0nKYg9/K/dF29e2EOUhbIbljDgMjUCe9rVKUCXFcfY6pb9qSXxdGipthq8
qPTOVEk+H4xtWtY2EEte/6JP2x+aTQgAULRBD8jMLbfynaaUGKwFxdK+Lxr7zPU+n8yoRVA9xZhG
s9B+b/V8mF6gSQhraFymZb2wrj2Yb8/whvOtBB55Llj381Rm0UTjGlQrdedTqVaVGvivoOzWqUSu
zZMSQpHM7MArR7umpl34egeqIk0ScWcXnX6mCPf51WIAoJNKwYH+qGkss8KHR5Wk8sCb1Np1A9bi
bo6Cagf+2wQvqeB62KQonJ66Pxd8LIMiB3O3sxgFnYNZphpnd0hbthfIocMXtwIaVkg1osxpqm9o
pgd2hkH2cPqix97xEo9tCV14likPlgvaQk2PhYCUKy+ubjKPJJ+kFf3VHAuQctj7L7VIBeje8VHA
vDonAznyzAtFR8eHpNseU+z+O9agNFJ6wIfQlkB6WphyvjcM/UVvYih3IvR2YoIOe/qZjSMPzRjW
34tJLsrhgyUmNXsHNH6PyCdr+z8FQ8DE3tGwxgwxSTXbToNdAfwSh9GusEeCKAIvml6jjpAI6jJd
DM2z0psCyM8cbmsw2JAzMqVuPR2kxFp3Gk4lJnzwbptWUvshjJZ9sQ5ucp4qrL1RYkIKSCc/LT3j
1rNIQYDJAp0E4F9T2mur7UucfIU7Viv86hm5I3oRblxa1uO6rafA3oR0DtsdPvqWNpzQxtUgYnLC
MDIFxplP/khFyjHwhdJ9dAXf4UGVOMkB7nOcGNaqKYJn1n3ESllWEPx0+mc5UnNzKLaSeEZDRFD3
PBgLXLkjREpBCpdwCdjNco6QOEvB5z8E5sDUyzYefareDOee8fO3brOTwEtLC8BFT3gwIuaQ4FN7
xLtm6xESUWsc/NBM3HXlLXS2xBv+dT3TNtFdmJS2TR3V3cE7FT2CLrPJO4L3vPmOZbzG0F6MwRcE
b2MMOGaKtTOv9/PPSAMQRbxt0Poiw3X5KD5MZ44iIcqpOprwNmqfqHORIjCenfrMdT5/XJRtnGXD
JBedxyK+/3gdqcq2bUxmbWdq43u++YSQGQ58oWy0F5VT4bDYiF9Sl+x9I9eS+9Oj6MgCZZnUbalf
s/niXLh/eYH1aRY96ot+7NytUvCWpKrGdS5E+XL6UkcGjUVNmgYKqxQ124O5U0C1zZiWeVJnnp4i
FeoBsigH+KnHmYd8lvb7v78gsNnlx6NLhTpn/9myThNaUy75ECA4tnhd8gsysPKvtWMDlrCH5Mz1
9GXJ2a/DgoFDowe9CTMFP+v+BctiQuMuGDNNzqFqndaFwSEhB59SozXcyVZ68y4d1PS1gqsIdKb2
zO8agUOgLp0awqedJlG1Daxe3bXYAMGXJqHZrF1rVI9Jp1lY1SoCM1ZT6VViM4StPNfPODIcsT8w
9JkpHM89HPa5ilo5GRSWQirAV40aU5KIYuoAtSWalWOF4dU4aAbO6sSAswwD48z38HmJY1IzUb9Y
S0OB7sr+OwwppamC6IG10wbEebi5sRvFVL11QWpTPghHAlWQY5weKUc+dmZSXVgGWhr8ygfzS+XB
sG8bQhFHKD2rmc7VlREl8+2/v8riL0E1SYgZ9dqDRyudToJB6dY2jNiHhh0S0Cqnuj59FXnk+OV4
huPQpETC6OoHnzTflUNRBVQp5YuflJKba6zgFME5a1zGVQfnBLjiPfVfCuZdDbw2jvS7vsjBoAob
6k6IPFmc+VU/tYqlQNRh8/VzokPXdGhH6efGq+N0hGgVasEX4nWrC3dKyu+drCaC2QV2GLfCFoOb
Ik5+MAgKTioIo8+8G/3zF0ofh3YdazN6Gufghy660IgAmHM0VRjMQdub+rc2zXFOkn3s0K9qtR9O
SpoKFZdx/Os2vUdOWBzJ3+ydMSKXqeuG/umbOjLiXVrKcmkg6ryi5Z4/rDRt37q5Y7RIQLTgtTDD
6dJobeNK9OPsezEnQ+TH4syLWJ7zYKZCa0KriPodrbP3CPsP13Qzzc3GMIKGU8zJZRiE2UaaAMKp
DaPZZi3wZwBINxGQ/N//+mkxkrGsGmzduYODSTkcmZMTD07uUKbiPqK7+kXTMbaH2K8vJqvpfuGC
Ll9PX1T//I5dDG6SJ3WXde7w08MAES41Mj49u0TcrVlK7+7Y14BfbFlfAVWmncINVHs0bAL2hors
BTBSN3Bcu2foUElPywJD2HqCSkGgYogsGv2WykCspcWQUM6s5B2yM/grqWv+jTqL6cuQAUWZ0Bqt
LeaInDBidrz2LhpinQSZsJ1u8zloz6yzn5d0BA4s6gIhDJ/6YflFy0hpK11qh5qC/dSY5AqwsUJy
H8Tl5en3+ulS78dNh72Z56B4XZSyH4duGiTkFZQujlu9+zrX2rgjtQhtfhRZ/3bAsopTSlo617RN
sM7tXyl2c5KeBspcVPTjzSDr4BL0SbEWmoQz38oA3mnVPhp60W5PP+Nn2QeD1ZWLGswyLJN72L90
kBiGFcCTAB+RiSfCHzGAT9TDG5AjF/M02/dZgQJQm2nl0Ugx7vBDlA8ywvmqutCBv1u3d225TB+n
7+zTqmVzZ9TO+YYX4bF9sJ4ILzdIk5LzGoZhcBu5yr62wtS4On0VMDqHkwU7fOTQix7Zof5vHmxr
rFTpeV3q0N9LNH/bWHpahDujggzg0J59wb9cvojRWlRZFkaPTVAkA61SoyTNFzALFPmBNmVGBgil
mRVoy+anN6YutilcL35UDIV7q3NaL/whFeJJ0+r+S+62XQ16SmDhY4dUg2jRgcJRNlzgCRLzSnRp
DrVOyksZdkTfIGOm40TlKfLHNq+breyVe0ugYkBKt0OVeyXSiILiZMZCreAecjhN55ZiIWznH62U
yD71vEHNZDq5alb0FOe/qlbkaZRRFonrJiJu7irEJ5qvhka1/ZIXJNrLIbXJy7MxK02XlacFtOyY
6zUM9IZqLxRtUecxdycSU/ETdOGbUQ/WN68e+z+WW87FRZTnCfw4x6jQGTbNFAFDHitjy8GVhlmD
JhlEWN+Tb0vQxE86SXg+ei3M2Vqqkbo8mLf6vsvBQ4OgzwPEzo4W/rWckMzLVoB6oDVbm7/j2tRL
iBy1+pGWgflGw1m/nkcdtajWpNgibdIzCyDzWXFLA0gmV3OSYm230V6h4DHC7onGH+xewSmPkvj0
nnuAvkWthD1hPxRFy+nIiW1b24yDAUm2NavmqbCAtRLTAVt4g10LGevQFfP3oirEt7IzXeIfAAaA
t2MwuCu6OjB8UZnWwUa1Q/UlNMfhNyC9Ufiw7qef3RwslO66yr9pqibsNEpxX6wjOzWI/OBIlxPr
pYsAEdwAgntA4Uti2yxTMhP0sLgQCJCaC4oHZG2kdUX8ipkIED+Oxoab9LRocdunE8AVtCv6G2jU
pl0HHOUVRySmODI0NBdkrJAN0QtAD1beoJe3iPIIDIDISsMzz9MhhIVQLO2CvNSqy7qrSLNDwDbg
+EiUMuENYcKDgxI6xo7Y2PFXRbfXuCEqxtsKErRNX+GaTQgTtMkixCvavDTMcvelHbklWba1ukVw
VDwnEdkLiu586bcZ9JwN7k8qxYPeeI8eCYVfEw9P5ppA9+CXoJ34q537AaYhOuOXnL2avZpwsSKc
R1yKXieGi0cyc20t4VcE9K3IJ9M2jaTsi9JU078B2qqgSs71bw4A6jJPDQMeRw7pdRPBNvxNRZVc
i7Ynbqsw54LOv2XyYvoWSyf8RcettxHdYH7iSSuzdUE5Ed6RixyapCI+yVWU194fq7Trl2ym3E2o
rmGiZNFldS2nzvs7DX3IXGBHPR90a0cpWG6AqKsemw7tZXw32sZAEUWOg2v1YksijwXliM3nHdv/
gJRfrUSYR2041M+sUZ/n46XZoSNQtRHjYMDaXyjiDhpfPFDsBcfRL3gdDBNaNZ9bjz7t3Si7YEHB
o4RKmT8OpuMuQEZF15ImsYL/REdc2T/hyhCPG2juFWOpvdexvV1XZjXtsqisf6A1YMyQ3gpMcxGF
zXp9MU4IZiCJJTs6yT+ATmvfSn6G5swadWz1dBxdYmeBO4CM9mC/11J36+nuijX4XKfYhnrhfMM+
R8Mioc12TeMvwcNqj+MjE0/wWNNeviSoIX4YijBV14vuyaZFIZtn2iCJOnN7RzYwHHJxeXF30mOd
3//J2INmi0mdVOY8MX51C2msNIv2R1lGZ7agn09A/GxseNEtoyxemo77l0JFUYLLaoEb0+7d6AGi
fXadbvKXqoj9RY1evSvV5K7pFoW3+JjL654O75nD4eelHEAeNbv3rYyk7bl/E/BdDBZN2p15rmu7
YSK5yK3HH4bVmXc9HcMzR5ujl6P9QTNCMmIPnxm/JtAVh1poH/XGXSjy/NdozikMzMXa5MXBmW/j
U/WCd0yvBVMO2zV8Pwc9gZRVRiNJAC+TBmDMTfOqWWl5Md0WS6p64AXOBWl07mNLJ8pvSGpKz4yn
T+eM5Qaob6FE1T3e78FesXSJMptHzFSidMpNrHKHxL3ZebWS5G+f5MMLuVnW8+kN2ucxzDXZllGv
MXXUNQcPLbQsyvW2HNf4YhM6aHF1OSILQYoaOmdmOOvIDyqxfrqoLTnA6QtF5OOGP/AmLTJpuq5p
asXxOka8Mq5UY5IwM3iOArfctz+oO2ThzkwsqrS2iOObOQhY2vmyzUcAdeo51hL9CTcrqiAcJ7MC
E1vJb7YmgxrMunW3RF4+CDrtRAJYOf4lo2woCGhzJX7NhWFCuEFjuMsotX0rKi96JQ8tRJ3FOfl6
6Avvdo57N9rqZm8hqOqS/J6E2Klf2WB5nE0l63k3Wl4Wb5KM9D+/bpLidXIg8Pm5ZlS/LMzNAPrH
weTAZqKQ6TQosauYJCR9PZCFZe0cI+zfqD1DidBbaKTrbvCa8BaI61g/9HmEDZgqlePR+MJrvaox
E54rGxz7KRhlNsdanR/j8FhC66GzLaPmRDRmJBnZ+s2Y83RaPyDFQuFRnBnaR67H8YfCJgc9mlDv
XaKPJQMD8zbaJDYwnuywopmBhjDLAQNMZHu2YWCLc1PmkZENEMmkhuXSUnQX8+b+aIstDUjHiOp2
nu9GFrRVWBnlHUqZ9rXsonQbASnb4BuetpTEGlTGiM0hErxUnpgu0K25fp8IgyCZPGnOzG1Hb46F
HhApp20oOfs3p9UDCdMmp6JajvGzEdH0T7oeR3ll2/OZc/aRaQXVLd82Mg96q4fOg07lQ6QZOJCB
MJP5XNf1TaVmcY3KlAh7gkx2AfrqMw+oH/vFOWkb9PzYZziHoBpVJlGsWTxhD/yjX9eTbQfXRWpH
5rYydTKtVAuqb+sMmf4c1Rr2SQKzxEpCBwT8CxyTuM4CIwZYbApaqyYk/a5yAyOjEZjUz0i0uidS
UmFRNIQhjts5r90v/Jum41OXU35vJSkojCop35AG0yNUWt+5Z6a0zwIaDva6Ll1sX6Zt8FPu/449
H+5IwLVcu7ZqvsOKsbYUcHMCO8A6gqaEFEKzXSM4GuValIELQ6bYmVhr7Pamqb3m4vR0fmQXyf24
YGo5c2NAP9jeNbIKPMTT6DaLKo3ZxdKfWdE6Cs+c6zEkH9QAOcvDMsDQzOTBnwdfV4P/1KvaYViL
cIovlBQlGbAIZR8mpwBSZheIOOl+JdErbD1S9aQ9DpAhVQ4+dkTAAHLFiC6JJoBCaJZ2/ijYWzhX
tcn2m0N5K0k/cabxgcrR+BxnmiB5Nh6AnJqwOGMEVxG4b7giznUaprNJ5Kdd/uHkK/+m+uhwGBdW
8YiFN7lxJi+6TzOkxCtbI3pu6wqBRjsZgvpZzhW6rdRBx7ZGRmS/wcXN5u0EYZNPQ0+sc43B9/r5
Xu0UVR+tSNZ4OlkmTvH9ARN2Dii/uCLBEL5HubHh1iwYXGNAEjP3KA8d+UxxTn+ENe0h+gOCl1+h
J86/JoFjP6a9WYQPbD1ac0uSV6lutGDMX4sJJ/SmItYUKTF3r3ynhXfy5DhJ7fisqHHzj/fwX9Gn
/3di0pZv5j9jAbZxkb0Wfz5iAZa/8A8WwJD/BYHM4WDFqkHFa5nW/8ECwEJjZwf2WUjOxeww+XD/
GwvggEmjpoBXkIMOf3tp4v5fLID3Xw5NQY/GNbv/Ran3P8cCLIOGShxAAA87Eyobc5mxP6zBhkGv
Bupn5JO7RYnKytzhqiNn5JtXGt2ZNefwmMkGAj8qu1jTMnkP722mD9dKrDBLYX3GPhIE85dSeWuv
stw2N0MuwVlaGro3pKUE+VlFlp5plR29OOVNeiKIbGiO7z8ofgYylEOIojUo7OtCS6sdDSRjY/ZB
uaG7CgWbxPsrerjnZBWf1oP350Zfg4ltaRV9MnS1vYZKnCoiToZpnZBBDr9s0nZJWcFLGipn2Uea
BflpdbSbaJiiP3b0S/LkicwFAnxOILAw9vZ6Ne835DE/U1pw2YDp++9Ck41IZehGflIE/U1mlhGV
OUTeDMl5G8x1+ZYTjsf+WihCbmKchrqVeg80wOQ5t/Lh2sStwOazdIQti8jrUP40B7LJ5xKbW0du
8m1SFLa3jmmaXNoiUqQZalF+rw0te2/NrMsfQF3nt86IkR2qhpyilQOJ9QZXt/BQzoPuObNF/XTG
Xu4PhAQ1elAxfHEHR6HRIylvAp3g1+4QP5q00HySHKa1DZTLb5YCUYYk5trI8Bi1tRZv6rBs/4H6
/2fL9JHfi02ylEwHJIMwWez/Xi7ngyggIxx+cDN+qWOoS8bcZHexarVLJ6MVi10CpyyZlelNGqUK
HzGGhFfHBrP9YWK7/2dR+s9Qw2W+QHBhsErRJ2DkmMxLH+cLTuQKLXWY+mjr9T9NZqbbERbtrgub
YHf6UoebxYNLHZ5CKxC6YY2t0ddFTWl8cjR1hWc8+Gnl03SP+cjZnr7gkbG4vF2mapuuBNKZ/Wej
C5Fo6KwTn603jQejLq5NszDOzILLbuvjYs9jLcYqtmGAOJjaD65SWNRJRCcYUQMhZ11qVEx61kQY
kQOUxLVendR0zvxq8vBo8c9Fl43+MgVRRth/NKBCGjD4EcN5nuVbBQLuPiFs188zrftpEmu0taqx
2PIBeGtCxSsE00iGVjRP6OuTorWTOGPCla4869sM1aE88519vr9F2bYsgxbnQDr7+/fHPEU9VaEB
bstO3xV15eL3iIedQWDHmUt9HlaUDSUTH6ZSGn+HPS5cCd0AhWH5lbFUaFWM+pgb+xqCWtvMROWc
gXMee7TlJIB/niqrc2j7z8dybjEXJ4S7ddG2oMGwC5RAf1UJ78z56tilLE50PBsLLRuH/beo0oZZ
tAwz3+09xzdxDYCnjrLtiPHj3CHn8zDGmu0uJ2mAMhL3+v61UpAF2GnIv9VTjyiU3NSmq7KHwr3y
ssBdJwMqjBXlX+NOls10o1Kzug21Dt5bG3hvdS4p2ijTu6/hKb9kGCf9kjgV2zdhx5w5lxy7VXyh
RHgwfRHccbDcOQMuPBEsPt5KlvSKbGJnVJhtmd4IE7c7se0KfTjzgo5flBdEgXbRyB9MlHOaBxL5
VupDsCd1y8hT98HiowLcOBdv1eREd3Q6tF+np7BjI8AW/++qhwfs2tVnKYRK/cjrzOvY7R+yKLMv
tJlq2ekrfZ4smcV0ihV0sokuOSwguAQDyoD/+IungEXQM2/xFrhnqstHJq79yxy8xsGq4ka6i4uQ
Q9gVNYEaz0UYX4BDlD7WFMAutVOq9YSN7rmyAowNYENztXKgbl/h96oftLEAzTeo6sYaJuf+9Gs4
NptAo2VNhOqF2OvgyNs7sTuR9pP6PZvbC0ONoV/B8HtSkVc+DwMJbaev96n7ATtFUCNCqc5X7rrG
wWAuRUV+dSFTf7Zq51eHkvfv1DvkICOxIdtswCH10vVRcV8MlvvgdqYaLyMZLykjXjqTlacH4hVA
PpQROzat9sxKc+x9ACKm2rBMDexX9qcF2CkMtajPfUt1wxMYVU0j37bWvjPZptdwls4JRo58Z2xj
kZsytXJIP9zXA/AxnAEnNWR+CbMll6wf8RLu1jn8X0ezsoHHVXgPp3+HZdztr+IuXWpDXzQqRAcd
1urSSMphyrvcxwkarFxtCvx61MutwAXyxQIMu5p1ma2lgbwQSeo52f6R75zLc5Z4n9Zwau2/Zr2e
6hwEQO7rbhFtKMs0mxzS7TozAM6eftJjl6Kow4iD/MyAW37xD6c2YrBdN+sGlmanhItV9u110qFs
y6sBa+zpax37MSlIspyAqXPxfexfy1GBXSobeZEXNCMwXOlu08wk45WTw0bGwbhTCjXQ6YseeUCE
ayzReDBQiR5etIcrH/RVHPoRkMbHNnCCTTzM07VKRbM9fanlZzkYNbYEKEMLelG5vxfQPrzL1MXV
PJBH6gMsMy4peQ3EuegKrBY55BmnnE1MmsnlHKVv//7CtDXf9z1olw97pgzXIWAqx7Jlh+MLFJf2
pcBHuTPYBK1apXQ/cd3027L7PXeEOjIjsFOgKGgwc1EVPPhNYT0jRo8RK2imF33J6vBtbmN7qyZc
sklJjev0kx67HFejqMFswFb+YELmmM0ZJZDaJgRVfRvKyXlO57n6XkNEf5S4/8+82aPXW2K7oO6x
DByeUmrSIg1AEIhzxq69KVisVq3J7jLs58gXeXfmLPh5BCGr5/NAW4yH4JNdiEALEM84e32SHEhG
EFN31aWYs+aMPGktau5RJD0VEZG6p1/rYUYZO6f/w9mZ7MhtNO36ighwHrZVrKm7pZZtyba8ISR9
Mud55tWfJ/UvTpOVKKK9MQw34KhM5hAZ8Q4EhqkjWGcQ535RNN8s3TjHuKenO3ACxyOI7Gj8vaZT
ZU8XJ5m830oD80ncdtjVB+z+4vKYtsqcPlc04vEYJQUEyaVGz7o6hcA2IrX5X1biJOajf+X96SSG
99qHSwUhHn4+vaCwm7EZqUFzAI+x1E/z6NEDNRFnUXzMq9R/KGpDD6lRCDhplReaOyeRJPGgsY5r
HEcs3DdjS+NtzN7S6SnHp7pTM9pFU3XCqweS6YRuWoqvzRGOw3AqVLQdhjkx+G/4gSqlmZ31rNbw
j8nn50jRbGq4SrNzZEkqOPw21jitaYSZ0KpZH5R6PCYxbMYYX0mMvDtr0X8vNdByqa5ZV/ztEaDG
9vXQZehX6OPYX+Z+wuUwtb2dstr94YncKdJpMFpox9MsXv+Q3NBm9Epwqra10TmGNAyPOCyHt3yo
zOvjJSj7JPBJxJOZhFPgJtexWq/LOmybwhOKJXAdYBU0TwhDO36cxhY2KXqXfLHaSaU7WofDDxi7
kCVGvOR8+mfYtNYg1TNcrM8DokvnRJC/d1bN/f1FgVfIq6Lsg/i8Y6x/ISJpWVR1YXTKEj5LWeup
P+A1/lJZ6CboChLbad7s5QLSoGJWyMaFl+AmaNi6g2qOQXjqgW4mlMyq6JqqXoyU5lKkf48um3FB
S2/ny98/AEQx+/+H3ZzrtqKOwLlSDrlkTG6ZawAWbIr5/PijywYHkYncjhYxRJhN/h+CMMSInGMn
Lg37hjUYPbt0HE4uChVHuuyWcDirdj6jpOoHcsejqwRCl7rfdvPjerxkWmlGJ63IwDmBGzoaYZ/5
cGyW370h5u0oUvsU7yUExqcSvKLr7C138d3WyYL4EZTnhfYerdrNHsfpiYeL+BFgzY1X05zCqwOy
56Oddd1vfFq8FpoxerI4aW5dHOa3MrPKlzEtlCe6kvoHy5qLdmdm7tNemDwIwwl+F9jl7e2qIcij
N+AaTiTimCFOTfGseM54jifEX6uk6l7ARuSXDtDaqacs6z9eDZJSOvHh5nLmcQlSu15vsB77AVRQ
id/adXseeGCfUSawXrwmGvFF0Kfnch7xCgu1LPneIinxoVhazAuEqA0FhsrYuY5lxx/0G/IMxALv
O564aNTQ7RtEpcJ4voIPHs+4qP/phtbe0SKdeRbEr8ok4uWb1cALLzdmdWIjpKl1hQZtfh2opF0q
b26hZSOgelT70bhqwMk/BsOkf3089ZLEgy6R54LVYcC0t9czryFwYkcZiUdmUv2b6+CnURT956kZ
+6tTRclNh5ANiKcJvz0OLDtnLCDYPClRY+TJsw6cL9HkjAtTnKnViI2xlz0jSGTurCwxfdvNRi/O
5eymSweJZR3FLmlXuVobnXpQxCckXUDVtVaDhYUTfjaaIt8pbMjONdjeJMQ2K4e7fB1PWXDKHHLi
LbE+P1lLoxoH9JdUNANqT/lCbpMhaJxke+hJWVyYeLaBCKDgrWxmc0qTBR83JQbYMseXQXe+RwjO
v9pj/K+hxNq1to1/H38/2cLhljBdXo8MdiujGAGjR7uzjU+NCc/CW+qOHHV2en+gG/SXZscDTa7M
+9Tmze6mkW1PWyTM1EQN1Eo3V2Ps4KfieGmMxUiBQmpeGjiqNtEVbKm5cxLIFtDbUJvrsCgytJ77
PD4pLkgP18Y8ezCwmMTqvjuj4mfvLFjph+QpA1yXjAO83noBUWRRYk8DDxdk5MH42LgfqkA3jsDF
ED5PVRzv5my8PP6WsvkU0EAH9C102y360mzbdsR7F+82SGXHpAF0EULrPvNGH3duGtm251jlTAU0
AsB1M58pit4eaRONQUpsZz2kMzkjE3h6PKBfPZ3tvkfnhtqwkF+lDrCeRmTRakxLs+TkINrzNOtN
cKZzTQNNievqioLKC8LQzVckMqrfHbPUzl5ddf92NRBDva3rK0ng6Bu45iFKqNGf0oPYN3FuPTm6
Ve0cwbJPTh+QTj3wZ+rYm9XsLIjldVmdYIqJIa5So+aH3IpxalAHQJOtXC5mbht/7MyQyOA3MwQ0
AHEI6JaIAm0fuPOELl/aNCAZda940fX+L6OLlz/nQMFjGSnKo9bX2bXRovToItQ02Pq40ySWjJtW
NaABZGdUg0bo+hspbZeFXUH/XI+L/mSq0+KbUxNfcZQxIRk68UVdymlnsmVPLIo0YO9p/aKz8osA
+ObB2xqlFUZI1pwqxOovUUUbzB+cyDlSfu3oTmFJvWhm/kHruuEjKocAN5c6Ts5Yde0qQEj2Hb8F
+zWqqpxl25dPb+oYUIYAPgs7VM8mZ/crZqCGb0Ab22lXiQW//dyoVFNiFmhjgLnryQ7DDOfUOYVb
0qX4QeZBF301cjvXTjU9lksRRulPxDrbSxR6Xo7IeNPcHq842eemBMiHI8XDDWZ7splVCLWjjE60
nsznoi+N22j38S0LtX9rxTIOQL/78+OYktObqhjDJuEGAbuFaGgTz+MkSunWaHF6MXB5vSlx794c
1c6ufZVGfz6OJ7kUcfRQYcuKmxEg5nqWnckMqsIqiAd+4RSWcXG2kYo/Rn77o6/M6SVd4Js8jilZ
RNwVbCDKYiTRdy52FgYgCMHTOWiBodTmaF0yQ43PBgZmvz0OdTedPFhgZQvHGwvo4TYUJKhy4RWf
4mZj9uKF1l7w7ayvhakovhIgWfk43v1mZalyMaF2Qf0WGPkmfdPwrsjrLFX8yOzbG7UI6xQouB9j
oJTWf8SpNt869OhPoY0HcNoX5eco8fJTnefZzv6RDJ1GtiD+C5NCoF3rL9uOVj2oHVUqpMaQcFbb
4oThxUizCuGs8+Nh392RYtTQrbGbEaUgd7NTkppTCzEzxc/VYAAma+czJoFVZezxQqWDAr/0KxBS
QeLvb87CEB4Sj7JO8ROoahTnghpsJUj4QIMzFc12enw8sPtrmRcOS5VF6oHIuJObRmS062d6tr7Z
N9XFElbIDb52H0DGRT/rlg5uoifm86RO01dwY92rGU3m11ytrHPYDvoZzCN2umEcXuvaLb7iyNi8
pKVS/hyGpt9Z7Hd7WfxWEiLa4XSC9O155YVTBko5VvwgnoonJDij78ug9l+1NITiW1lN87Wci+rk
NrmyM093W1qExrIACrqn8UjaLHsrr6EkujQs4C3MtyGp9c8tqp7nxkv27kPJWgNtSEZGHRg2uLtZ
Atjbpzb0BdFJncOnPktgh2jo7T3+8LIodLN+9fJg81ub22cJRshSRqL4bqCXNx4L/XNfoT777ig0
mWjA6JABWF3iDnyznBMtgEjczYE/5Saem4LJqw/WXgFHMhZYDVSteLUjprStVcQeCBr8VgLfCzv3
WtQKijFD0ey8OyRLgKcV72Po1DShf9Xt34xF6ZWeGlYnelZxfgujzjgjCJ6hl9trOyn5XSjK4eAX
RZcDRiKv8fW02aiu59SEUPWcp+Y0mUb8VxotgKSTPPzx+Avd7SkUW6j5cYzy1KBltgk1mpWKM+RI
qCbRnhrNDE5NakUk5JqNZngbvc4BBnpjp/uPA0vGiDoDDxye+2zqLRWy6fq0S4BFCh/A+BX+YOib
Ve+ekkV3d/IcSShbdFV4/bOzyOvX01kByXfR2/F8S50AzHRDCZ2Zl/Fz7yVIkz0el2RC6e/R+BMA
c4tTYx1ssO06xLzH892pgNteY7n53ARgeA5K2zrfcJSr/oLqnxx7M0Mu93Fw2UgpG8H9hRJJArIZ
aRpgbp9rKSLrnftPHFC0RE1mZo+DT3kcSTZMIclBgZMU8i53RKwXmTIYx8h76tDI4QjPPkW66Hez
R1EdG/fIfII9XPwVBlXy9XFs2ShxeQEEQjGQx4r4+5udGFsDOmWD7fkZlpqHvHEgnQyd5RtatIfn
uztahCUGawfdGRIN8DfrUJDHI6PIMD5uR0+7TeoyPMHSbncGdHfrixYTsFOoMbw7cA9bR3EnLRxz
wB4+iX7xZGdzeJxmo/gIWku/hlNrv3+Z4EPF0ITclZD0WsezQBSgLqq7fo6Y8sGJQGLSLVeuXllZ
O/eMbGgg7kHJ0SW+R8qlyKVEEJddX6HW/IRJaX5NaNYiXYpUCNrfYzfE18fL405FCTsbXu+ieUqd
yOXf18PrC4pjAiToI9rk2IdhLrEoy+ZMO6ELO/yO0t5oHZJsXrBlMtzmgPSl+6R4C7JfRmqePLs0
Tnarxl8e/y7JsuVneUCXeBTQ7NxszkFpDLQfc5eLPSr+UbniBz8Mh/kyu9Oyg5aSxAIDIOadWrJO
zPUUWKUZzBMe1nTsSnAHJaYPeZEHh8jI98RDJScBQCmSR14gfLKtDF0TOQGCFoHrN+2Qn6NE6w+c
4Vp5dNUiPUZGM/yJifRvrZeXP989oUTm1oL59eusXQ+yL/WkcmcGuSSdhgZ1UF8x2dMP0HbqvTV1
V5yhBoc7B0gA4pEHbF4baeLCJQxttmgOyLI2W+3WmPmIJJyp3Wy3zs+zMQSX2gSMqSPQew49s3j/
PQaZUlC/cJQVUrHr8SYL7g9VhzD5PAN7GpbRfMoKTfPx4TP/fjy1so8KfIY6He88BLc2ww1Hb+ww
rHRRHnaU1yGG3N7TfT4HZhL6aoKj64IsLu5IafpuhDIzjUsL9B1NbJMtUabBO5yqceP6QV79zBFA
v6D5bp1ptCw75S7ZJiGXp8oKUAjoqDj839wjtYkzJbIueA1UKPEvNo3GIS2/2/Chd77c/SkICgDT
M3Ideh/21qhzBJg30Shz/SQHQFji6uVbY2Nig1faL908ZDvx7kdGPBNVPI4aEp4taq23y3SuhClz
N7Y/m8DNrkMfv061Ob23Ti3qdXQbMLYRPdSt5mDJe8/qKsv2NZAwV9iIi1+A1PBrZ+8ikQ2J45OO
GJtdpdOw/ljF7BnTmGk2gBhNx6THsq5hncNyLBrlPwyKO4snP2qw0Gc3iz/RqmTWUHbwoyHjsQeI
H3jjkKPWioXB430mGxUJqbgQuI8p4qxHBSlL1EUraPJBEvnwCqPjpCgtYAZ9z25JEgpSAa8xnWSY
dpjY8m9We6XUlJ2XzPYtHLkRve8D7VrpRfmKBcj4/fGwJOtdFN3o6IthAUlbx+rVwEIfo7D9anD+
Bjo7vQ4h/uYLJso0tA1r53S+z9JAh4L1Y1yidflL+uDN0FA4DusCiTHfQ3kS9bfBOyVOFr+34MTB
z6f6P2QWO2szKI8n7EwJ2qb8QNMybwOBOWnaW5B05RUaBL2Mx7N4V5/dBNwseSgxLd+RdailKEtp
JpR4ihzY6naL+TEejfjUeogxPg4qkqNVWZqgQCDwz+T7saM3mcMyIfjQeMxlX+T2Bw+Z7FNnztnV
nTAbzSimHutlcm6wkMwb8hzjn4/Dy1YORE3qHqQSaOVszmSegX2NZJLtK9MSHEecZ1B1QXU956te
wfxqO+Aa2a4wYMrT76AaAtB+vVLHcmDnGTMbUG2sr0nQKfYBfQDryc3dcq+6Jw0mhCJtuBGwujYr
qOaBmhotg5uKjJ7OGE63zCnnKzDK5L1tbz4jewK+MxhfQXBdj6tw+jGPltr2UcvuYB8ZukgYWl/N
3OZ3LvDkU1aX/+GaE/QbcfFw71AuXQdFHxRBzIQdUuNCfaVX1PnehKwD0HA48V2yJ4Upm0/gX+AH
aVtSjt6sVdPlbNZjBll1OfY2toONmmUqN08to5337n3hW0yoIE5RAKY6sz1jCgPpnSZmodim4qGr
oPWZeWyGJXgygTR/dJxa+YIkk3VSgW1cJ63pTk1sm5eZF8bOpSE77lg8/BzAb6gNbJ6LvFfTYBgM
hl3NCR1ba/SxTjZ2siPZ6YPK6i/cI8+WrWyjUrcRaInB8jMndH1eVHg8RQZ6BsU8nG2EjrGmLpyd
q/c+7xQYR7rDtGpIPrcYBrN2G2D+Nm/5asrRodFBqI+TfV4SejbdXI1+mA7DzYvwfHr/wSNeEmjv
gkWjzr9eu0hULllTG/i2uVH+miYFGpDDHFO3ocs8dAebKuOe5JDsQ/JEpenLWw09zs1hVyKklrfG
bPkgjsLzrJfK0UEqYYeVJdslb6NsTp0AZHbcxAslvgL/zllph0M3eMsxxjvMfzyJslCU5wESkGgI
hZv1JI5GrboLXlOUyQ2wYGqALiu9gVNRWfHpcah76CDzBaOZVyfnGwY6Yv2+ufSXKctCt1Mtv7Gj
XvWnKcWDBRdJ9+/UiIvklqSRfsl7zcvw8KYaHNgjyI3RRW3o8S+RfUUaYfDthVAAKcL6h8SF0Zea
RgnVMqBMDF3nfIhyd/nrcRTZvSxSRJqnwKRJTddRmhwdU08Nbb/sKt08ZAOCLtDsxugwdiOinmYd
9d+nos6KY4Iw7dPkVeR2j3+DiLHNDcgLBKkfij0KmevfwL2YVemS2n7mKQU+DtNytp1hbHyAV9Wl
1bX4X9x1URV8HFaWE4AT+j9JAyFktA5rJFbZhdil8o0XlTO3wVsr8jA+cwZsyCp8EveUBGQRgaaB
K0bcmVNhcxgUKKbGdtzbPj5G9qdWVdTDWHKOh2YfnLoY6ufOEGVrSMCKYZFZHD6/FvubxawoAy6L
cWf7PHOT42yG5UdMC4N/Hk+kbHuiVI1KO1IEXB/iV7yJUmeh6cwG9yWgRuOYmQhoDVmeH90y9T4/
DiWbQSqWSNvieQJic/OGMvQyN4aRg9yOAhi5lqLDw1WSg1uB4G+mfN65E+8BqxwHbwNuEjl8L7UZ
9pnld3U6PGtu7flGb+ZHu3dxQ6xrD/GrMT2rWut+qKv0H3ds7JPtoWNjd318eTx62a/hfqYQD5KG
aqS92a12ozQFmsPYKdVF/Q/Wfxkyt02l4FulWPnPcjSW7IQSZArlKtVyhVUc5y/IVigUIgqlmq7z
0rV73h+S74+GvZB/EDkoiszr71+2Ro+1ELn9DLURJSdqoV1jv6CY6uyczpL1vIq02UD4M+qB3RBJ
U7S/8AgrLrjX2TtPFflwSFFEO5gBbW4bbUY22MBAzQ8aK7uazUy6mQWj34bxXsolDQW+EfFO+BA8
F9Yzt1hFOWCGxPcskg7nsCp/qtL682JM1U7aJdk4HPC0VpDr4ETYvr9G7BlhzlMRcBqzO2ej7pxV
YG9X1y3MEwpWyU48yZkOHIcWB+ccrfWtnHyfKG5l4Ebkjw6km7h1DHwCC/UaJa4w0CzT9Av+3CDv
H+8Q6TBhjqGNzNMYgud6QrXR65wJ0w3fKhf3BXjL/InyBI/LdAk+mo217OxIyfVJu5HWvajo4I2x
+YBJPTfo8y88vTQkQxFVXU5W0yPEw44ojm7R55cmnN0PY2y2RzTT+p340ml+E18ssDdHbzL0XYV8
L9NsmstVT5UU0V/dfeoaQP0GWPKjhdTaziRLsmnaurAqyE5oO2xzBlcNp8KcMsdPyra6RoipHdNS
BU9Qe9G1DdrshpVddSz7Qt/Z/7LhkhORx3PUcAGIv78Z7pxUmAJzrPiQw6MLN1FwwBzQOMZz2Xxc
Uuw2+7x+N+6K/jXpCQUz+p987M3xBoAj5ZJmkyYuhUEeC7nf4UjwwkG6p2AiOw8okUAYYQkj5Lj5
nPncZMYwU/dc7BAG8mB1xxn9nvNAF2FnKmU75W2ozSk3D7Y2WJlD4rcwlS4O19dMePPOlWkcLBKh
8+Odec/+EjAAJuvXdUoVdJPlOWGktNTueF4GgfKzHm3zyUsb7+TUAdWYYIlyvMqaFpcChDmH59JQ
4H2lcxz6A9rxJyU2m7/S0LKORp8sfxij4vz9+BdKLheWlWpQCxZeXVvEsmvMdYb8guOHedC/kBn/
GMO6vj0OIvnCXCtc4b+qUNTs1yvYVOu+csbe8QN09LBNVJLLlFZIC8bOHln5XmqAQunbWJu6STx3
k9cHqAvZc+OURw/ZWQ2v6WL+gU5d+zOup057hTTgCPP3OP1qj62JkSl69sLd2QYp5tBecE751CPD
Xin2nrDh/WQIHSKaQdSpuQC3B4mDNG8fgIrx7UTpnkYFc7asidH/H2t357V6/3F5XXAjQXmiqkPO
v553Bbc41U0yyx/Qr/w4JghyVt7SvftkpMpM1iBe+yJR2aSnit0ZEXa6PFRJ0s64z5U3sjHqOilG
ndAeq+JzO46Gr9NxeC+OiOcTLzjSL1qztBI326vp4KnQybP8oOMmaDW9QpsICc25y1L/vWuYUDTL
OP55tfG4WM9lUAeZkWTYjDpekX1IowRb06DPj7xg/vwPkXhRCMoSirbb6onAY0/or/DVPKUDPN0L
waWWtHbSjJ1M//5q4f9PfkTOQMZyRyRQyxIYeRaYvoNXxTVs46+cZ93ZmZKEjD8dseZK99gL92fw
Kqa5+Wb1rKDpgbqpP1rK4P8yvgV+Xx+RvIzOcTrmO2OUbYI3Y9wuz2XyupFeDvHQszstjl6fw8jw
dvJn6ai4pUWlnXfnVp1uaZzFKAILaP8wpmh6Y+SbVQOS7ekyXRXbDS+PF4k0HrUauG3ktTDs1stx
HDN7QJbJ9CM1QSJgbt2zq6NjVOdUMEOr3asb3Kc/fDXaktRkyDFBY6/j9R2a/tRJWSmpm59Vq0WA
KpqnVzjm0VHXe8yEFDu76I2R7FwespEK+iY5Fx2wu5eJ3bTJ2CaeiYJoF16bZOIdqnTFtZnU5qbN
ytfHEyuphcFdpWXOlc2JwmNoPdK6GfQaiLnlo5sc3IDblE+B1S2HJBlRprKy/hSgeXjg7la+u0bx
t5aqe6U/2ZABrQrCjC3UzzbnNjfp3GgOzvRd5aSn2kqc8BAjo3prEaC4zUq6B/O5v5MYswYAzKGj
zgNhM+a+8saIjrbl9y07f3HhfHd2NZ+aYM+CSjo0glENEvJD2ydSncV2X1fUMhAWq04qdhWHwUHo
q7en7LnU9HBn9Uh6DUTjnY4yNUc3ehfrz2noDZbbyKhwbgtoVogXBirhCbXUXj/oHirxmRLaR20e
zVcEz9pL7kXqEVdpb+cCEYHWBT9+CPUvUTDCH2P7atIBh+IQS+k4AfvMEzTkH52q+UMtAD41rO4r
7B2l2wkrX8+iuCs0y0lGN4spS/ssDfWeb9t0HoXkptV/Hy0ju3WUSX4YvaL8z5rRWcic2PykO0F/
wdlw2CvKSVcY6AZBjUNxYcvEtePWmJawou7opf01L9PoK963f4TZop0fb2BpJFFeAEiFTeqWAgVD
lWpAQDqSd67xezD33ktvKu1tocCxM7eyUCT1YodSbqRbvl5btWqHs6ISSp/N+RojJ3B0+qQ5z3G2
d1NLQ4nTF5AoifqWVx9WitmOMadSwivsGMGs/ntJ0wQHmCH+8XgCZRemAKCQewB8Qep3Paos69xm
sTTThyvVfNP7mPvFjPaooJKDAFkd4UKOTQVF2s3cNYvWaT09eT8Zo+aE5rjz1Z2a4UWx9d+7Ppx3
BiWZP+SgBJIXQhoV2004HT8YrO1N08/mCkJYajs+29D9pmD7vtf+ksaCBAKgl5B3glAQTkczL2KW
BTwQOMu689RZ5nfDW9Ivjz+V5FbmPub5xgNdIBM3n6or6B86DrlU1leGee4tI/zN1pARPyA52xho
FLsxsEVPeYLbO+6sftnJYgLPFlVZPiPN3PVCaa1Ur9qZnGBUneQ8JmbzASNy01dcpfucpRmSCk7S
JoeQc+mpSIbqBDE9/evxFMgmW2wKVhG6SYisrH/EVAaz20xky51iduqx1uPqKXEhmYBCqPZM8GSL
Vmit/l91jzrpOhiNaX3E3Z2nToq5c5jQWziMFobdTT9g/WRhjDXvvK6k43sTcvN2nqJ5cLu5tXzP
HLpbq+XTqdMi9zXQ4j15TOlqguGHVK5DsrfFZRr42kVZzXNxKgvEVHlu1ZcJntLJSl0HD5DOTr8E
k9P8qdijtpN2yWILiwXRIBIX9maYdDjGsubA8Ms81l48D7WUUNfyo2c3xona5njqw/xbHFbZ+68L
wRPmaqLPSnXNW3/SaemWgfqs6ReNo16cGFvDITPMSznNy+n9SxViOdSwX5TkrY9HYaJ6stiUo+2y
+1/hpNan3M7aC8QXa2dQsnWKPYkKZBu2PcnzelAKtW0U8ErbxzCj8Yd2MD8NUwOLcVaF4o7z/fHA
ZEkWCBka/fC8hS3O5utNQIeTTCBk3DqIvmUce7eoTqznKdCL7x7F2s8zLD1fKSGcxcpo/ZbPtI7T
Mm53uqqS8g/sW45DUfIXg98cB7E36L3dkF+6vBZw9FPmF9yQHNIe7WtVLRWleTt+rs0mvBUBoE5P
zVUWmV1R40xRCAszGqKWsYdNlCR/HJGwESAhAa7bEtGC0rL6YOT6ThXUVrC8wIhYDY1DG5IzDBPk
NCQo9yS4JRf5KujmtKoyZA8DaryCq4Nvq6O3F5wXrJ1rQLbWBIrH0IC3gB8Sv+JNeTrHTioex9j2
40r/s3di67J04AQsNXnB9rX47fFSE9txk0WLEpOohBOQ8s462qzoIxQ5zfbVoNRwiAz1Q5Pb48dY
G/JrqFbTKUxG9WBE1P7GII8/PQ4vO40tiwUAZgiuxxYMbOE744CfAZWFzx6qwHF76Bs9PFpxVFz+
SyhgEEDGyVu274UFpa/WFCDdqoymK2LqxYkXf/2aaOZeci79hLBKqDhhTkalcD2pVpBWeG/S/GvG
mIZOEeqvdT9qPkJ9yEdV5R5WRzqLb+JtFibyjRiuoFDve5WSnRfYJ0eecNg8K/jzPp5F6dDonAvZ
JTqO29eP687x1FLQ80NEQJ6pU+BUnNRVFh5wvBs+WGb8bulRtA4opsHE4xiCMiMG/2Y/2DkFu6ij
5A+32znmfYxNZ2AvBy8J3k2l3oTafLe69eKeIYF0WEb7EGt977d1MexUkWVbjgIT3XeqyFRFNhu8
bQetSdhQvqF4rZCZd/tDGmjeU6aH6sXCmNLPKi94LuOl+qbjHL3sfEPpDxBgSFHnRYl0c5u1QTC3
iNvbeEni9HFIUgAXxjB4P/PSVLCDYL/bxqCcFUX4d7vxnjCAbLliwUEzjKsUTZ7NnVKa6CKT4IkT
ri/mg1dV+XhwI9f4Y1riJDg+XrHS0QqmEbONmsV2M0IdzQorIJreatPBCcb+dUFa0486RKvsOM6R
alTCF6fS7A+LNe31amSJGJ0CSt30rSgIbdYU7UCt6C2Oc82L8uSgjsXXXk2UPzQr6M76yMdNh6o7
Nnnb7hx40vcEDU7SFuwaABBvjoXJaXu1mUAKeVq//BjMqTtTiC+vbjl41xoVtRdHKZuDKHWATYXy
QTWl2utmyC5NYXLAl+ab21tikIFBsxfMNJepYb3WWYA+Zhjs25nIziVanmi+ClEL6KXrUyJL0ApJ
VPDoltr+a2atdo5w+DpMmYnn/KLuce6lo/p1kQCPpFezXcJF5sZBBzqyNZvkuEx0nuxl3iu9yJau
yACotUHsJhlcD0oJWy+deh6+NT6ExlHpmvlDk6FzecYOssEPt9XD6sRGR2+VJ7IW+r2TTf8Bzcj1
DN6dJg2pPZIe65+BKDC2JxqVtkBbwr9VbprDMI7Fk1I6mV+Gk4PRSF+dVbc0DmaelVej6oMdLLzs
+779DdtDU02w2m1Bb8YznWZliZoXrc31a9pr6UEFEH99fGrIPjAnlAOlDZ7SHVvZ7ifTdkJKxmZZ
jtfS6vSrh0nBH4+jyE5CSg1o+UKzIc5mh44RVUvhbuuPuG38CLrazA942A7xwRuCYQ/XIjuK8KOj
Fg/LBlWjzRxqvdPNxUL+qhhJA8sUQ+unKh6z6IhHNDZMnRZDKyjsDm/0DgHpvYqtdLTkDciTchig
YbheR2YzDpnSNpQWrNE9V3k7XxcwS9AZpnHn3SImbpvWsiwFnYj8C0TZOlQ6znjB0rvxF0vNw4OW
dt7RUWbcm8FynmKUWf10zvc4FNKovzrDOv2Vu0VTF4gW5aJzm9pZeSvt9HMJ6+yiIsrwrIzIBxYh
O/X9S4giHIXgXwCTbfu7NHmM/iqOReXUf2hCdfmiDXF3hXG66xkl2xQioaXsbmjU4bYfUIfmFjoo
jmVNUp5LZHU+jHhj7mw92TIVLzawUEJcdjuiIWvMHkFhy49K3fjXwn519BvE5y9zXJg+vML4qUN7
DbhQNu4wU2QrVFhfkx1zkVCEXi8bsw/1yIL45k99NNzaKNMPAbPxFDb4Yv+H78atDP4U6jknzTqU
p9Xg9kLKwGjJ5afZ6b61UzCcEEbo3h+J9yS2UWj3cxNvD5lmnPCUSsF7On1sHtGKCZ6G0bWyg2n3
xuXdo0J3ne43TGCKh9sjpg21YcILxPa7OcRk0tQURFrd+UOU8rp8HEpyIxAKjBNLhD7blotrmxCi
jIQaSVj2ys8Et4eDoevRP31TO4Bq8z2AquQypt0lzk80b0mrxLJ98w5xtDGNVZsjRSvdQnkdc0X9
jKdmhqfG2FbjUxJXmXue3MaEtbg4uN5j4/v34zFLNuAvayQq4aBDeIGtf4ObhQbJMpWf3rSTL4PX
L6cWmubPx1Eku8CisA+9k8IKLYXNfd8svF7RQCS50QJc8rox/lH3SnkISEN23kKyUPCEqDvwVuYM
20xqVnot5oOT6bte1FwNt7Y/FSGZja3uqrtJQ3EjuHQN6WJtK1mzSnV5giDmO0O1nEIviG5pD5W7
d8J4J1mRfCbRp/CQjGcjgJ5afybbbnropPgKDUY8naM4cy6xQ1Xj8WeSbACSMY5+OlhC9WfzjDN7
F0iJuG14IncnTe+rv9xhzH94Svvd1ePu++NwkvkTmhyc+2jhM6jNp2pcJwtKSqsom7TVK15J6PB6
/XjStXEvUZHNH5IjopWFZ5a2hSFx+XSWttBcihtdu7r10J/qMDV35k8eBTd3ELegmbdRgjrtKlq4
JplAWVxJSfQXF+bc9T9MG10/IB5QDngGrtdC6nW4rdX0U0Jc1s5KPCy87gf1w+Ak394fCeILhzzX
M+L4m/VQqE3ZoTpD5b01zY9qMevXaY7iY2rT4XwcSnIW2gj6oUuAMjqPrk2ovCjo5bRkkoWWaQcj
rIyDFijRVYmcvw2M480Dfirqtekn5IWtlnz2cXzZWkRdEHkdzmLRml5PKjkWxKuC7BwesHqBwvml
NEtKl5GxzH8+DiVbJcTAghWiENXDTYFUDYo0z5EM8M26aYXY/Iy0RO3p2c6QZFP6No6+HlJa6WMN
EY7dPLf9Vwd7y9syuzUMxyQ7187SXYa8sk6RUgaHaWz3rD2kMyreOiCUqTtvD5MuqewRC2QS5rHI
XnR8LP5w1GU+WIH2+fGEyiJhoSnSSLgnd3J107LQNYl1GnB9ml6xwvV+j1pe6Yjm2jtzKsnHGQ8y
IeSSAvonvu2bK3vyJrfMWnp9KE5k//N6U32yOjX9FgJoeELdLP9oTcbwHzY8TQn6tx4NCi7SddAW
mESWIKfpz0lqHKKOpshQBN3VA2ngP55KceRuXjnifhGVFYQfWaLrUJOhVc1iwJSsu4nHTBr03SUu
y+w5Mpzg3HRW9QnFeOVfT033yjqyy4fbjcYQoCqox5vQja5XgxJF9DZTHSpjScOncJYU824Eilq1
aHYSS9lQSfOoZQgSGuzi9VCV2O5mm+Qc0L5u3QaUfQ76FDR+YYSt6C3qh7IrmlMcdf3p8STLDgDI
jXRBhE4b+rvryAN8hHph6/nEq4/eNEX5QfWKeuf0loUhlxW1Ogpud2pedW4mcV6Jvnuam99K/BUu
VabNO5mJbEeQMghNVroTjGg9mCaCSBIG6JEtZv2pzFPrUrW5cnEqpQCtbVXHJFDKnQ0hHRnXEesU
sZ47a62uMlrdjBkZXcHMH3XY58Pi/e/xV5INjMsIvTc03qnHbb9SqUQenSRUZXSVlks5dgdEOtsj
+Xl7iLO8OvRl3O+cL5KRictPoH0h3t8J+CJ8rZbqrEB/sPp+ODiJWj03UzztoLLlYQScmJQfROFm
bHEUYh2dUa/Hm0D5Wc1W9kWrnL1uujQKXWNw3xwnYBbWSyPKDZoSKcx9p7KVqx0qc3Ko+97cWYHi
x27OLHS8hVsfVTXgZJvBmPlQqklPG85yEvNjoSnfA7R8ka03njIQWa9dM/yjTvg76IO7V5+RXD1o
OtJLErL1SBFuhqhVgCLyIBTia6H3XLQ1irJmak+HRptMZ2dxSIMhxyt4XdxB285qjVp1Y8aizZPP
3ic16JyTbuW0i9W+KqfT4+UvDfb/ODuvHbmNbgs/EQHmcMvQPUkjjax8Q1iWzZwzn/58NcB/MM0m
mpAEQ74w4N1VrNq1w1prs5t8PZi6RICXH2/somgBY2n5VVP/i3Ns/mL2KMMO1uSIXbR3TGCzsh4C
WoBCG0t6J5VII4T0M4qmPaFJMq3uwsyuo57mjlIeEFqKTIKoi+PYki3ySaZ21/Cx5BbFynpR46ex
LrsgWazxLq/g7/n5tGp+YybMWJzHSP0wItB/SqjNR1475Q1kSBMVb//2Vu8eYLDEFFIYnk5J4XKr
FRT/pXWA4aPytP7I2nh4IEWuB7eZh/DEftgO0jRo0bmNJmeJZ2ZF3RzE33ufmxIjKBtRyYXufvkb
qrSB7p61wC1IBN5B7R+e0tacT+2kHsbaO54VHD66KeAyqYttY20lMcJBo6BB1Ta276u+ks6LMbSe
yZH7ilrg7KlR0v3BeSZHFyA0IvkrrQ05NTtLKgAVZp25fFEnJtc6Sj78KEho/uCeUo+mAmczuw2o
1OVetoCcc9SjcQoq6txuqIbWf5maF+V5aFpZP90+PXvXB4FeCK1igA5ghEtrIyMz0iji9MSAs7MP
uV2jVq031vIHNA0STrQYABBxQLYeYUD+RSKDgiO21u+tVrH/aZD3+e/2asSv3TpztA8Ev/m1/rxZ
TdSbThuG+DiZWvAjUvbKhxA6oBcn6sDg8Dk5ypL2Dr5OXVHUH6jVbHWumN8cOYAGET9wWvOkFcDo
0qwfTkMZHsmP75qihENgTQOU+sDll6I1PSpM0oDBLTF0rOu17K4dmzGo7PgIzbTnUmhQ/7+pzXXW
Wt2q2sZB1E2Dn9Cb9CnMuf/eM00TRefZcadVWYNYb3u3SK36oFeydyQB66GFBh4Qh7tJpqs+NVSD
dpevd7rxksE4ORVT0R9EgXvbSS5GqETpkk8o3MzbXCwnh55SsBXZErV3S7gwdh2I4hNy4tPp9qnc
fTogFQsS3WtKu/l0aVSBmW8iUEWNEhr3bU4W66ny2DquhCgnsqtNhH+eI8rHz+YaMTmF0RpV45qL
qXwH0T+f1bKZfk29LlUHP25vt+G0AwaA10QGtfnWHSSmXNFE3V8v6s9LBcYDkO8fgGYYMk8JDaiT
yA+1y92O4jq0MwXm/NAqYWDp3d+V3Eh3kbL+ifsUlEgCRxBIlMcvLRGRz8akAo1Ef5hRFmbRInCQ
ywqDSTNqSAeKALuniFKdoiCsRVYm/vubU6SO5VwrmZCdM5r4h0OZ8C7NZfVTFubmQWl6790TcidU
DhAgQFr10pQMryLuC4GSgUkaqGS8fmlP1KfVJXIna5ofJDOWPt8+uuJ/unWoQuYJ4Uox7G9bk1SW
MtYh0nAX2z5+mo3acnGtdek2Tif7dTceoeJ2DRKNkDi9QkQ2GxoyYMEuqhlNO4apIwCiOD8bC2LP
2Gnx17jSjhpEu7v6qnzMyRB2L3cVgRzJWWQ6bBEDDJ9zrTc+K1IxnMZVy9E8aRLZ6xG9O4omd2/d
G7Mbj2DAbO2Z2YSHnWTVa5O8phFWH5H69jeTtwm4C02Nbd2/0ExJjYWQQ0miQcZpKMyvNdCY9qC2
MOKM3BD989snZu9GCLVs5TVnw6NcbmjWZt0IyoeWZaybz91SaEE06da7zLaTg6hzbxPBgkILIFCi
N7sxFckMGJlpP/nGkGSxW8jguFy0Eg7ztL1DQl2LoUvEr5CBNoYWuk2lUsBv78aKKR+V2a+nUJma
OpjVkkHruWMHztD0325v5d4zbIGBtQAnMHJky3QawPREGbmVH0NlOad23/+9tilYjDjRHg1NMk8m
uAkPTfkW3qvuHDicPdQ3XWd8G7xM6iVXGXiVK9MKAocOY4OsHQSb6oMRM6rPZcq60vrtOk5PvV4z
FV0fJoCXE9D4ya0HW0cmxG6qox713ncAhI47EkEeY+YuzxZK2XzcXERbVa49geeOTqTMme/0cpm6
q9UoPqpA1cE+7FoFu8EfPCAg00ursOzHaegJKlNNFhXFSvs3zeb0EQHH9blKKL9BrzySFt3dfN4V
IXUnC2LjxjHRiWKqFJp6fgzi64RKW+d1ZRt/QP3F8mKww98dMHpPJY8dcyBkk1ghTL7aHfJbt0/h
3i0T9CNOApArfRsgqFZsjkzZYdPHODyTKyBRJ2tHGeS+Faj3aAhTTt0ynaQ5B7o7kMab05rea+qU
P5mpIR04J+FWt8+ZELThDNEwB9Nx+SnnVNK0VuQHzpR3VF1M85zO2XyeUnW97wercqsQ6XszreXz
7V3cUbkSLXJIVOQmQPS2aas1KCjR1pmN1Wz4oNqS7IV5sXxBD34aAgm293DOMk2t3dGwpycmm2Zo
uIkPXszGB71R0iPY7e5m0PFA5ExGGnMrQFiFDbIOnWURu4TLT22W1QSwl82EFrVG2vZBVyI0cFpN
f0KS9EhjaO9pIg+kNEoVm97+5iozKVjRolXMOgiLIX2W6i7341KV3kd61ozf5TjSj9a7d49FVqHK
VHDEuMjLj09slRjdxHqnMHSMd2pvWS8q8wrlF3Vu1A/Z0rdBZzTaQTqzs1IA/jgsQLeCoCtO/psQ
Efe4pHDKUE63lPR9rnJ9lbUofnWt9HU1xvLA3M6jwTQD0lHmYyhCGfjS3JJVWUMBinM2aOaHfGkZ
KASx9IcZltriLaOjP6JYo3xySjEjfpWO9KX3lktp5pVowDHf6nQueRtJaq7bohUb1q40IlvgZhRQ
f6zt4IiQyl5/HdwtkRFurjXZNxIXQt7MuLpbbbEguNL2lj93dfyla0b1bE1Z9AH2jfkryYbCXcy+
rtzEkH5qi9b7SPOrB25y5zbxGwDjIOYLunvb7e7MlOkK80LF0yrXc2vWaAvAR7sLV6twTRPqHWx0
qzhlbZEeeLWdkIv0jZ4+vBmSrK0CxlAYJkBpTC9Fsnxs+tr+AnPVvldWx/7vYKvFab3aarDTdDRE
v2YLkCk0Sh4x4ib+6NTpM2GA86/F7NXZc2KVEbNhqqgV0UDWPltTJNXuIpeyekoifp9bymlXBQlN
JQQVuyLG1bVqffQh9n8hJ4HSAQ/ntnNsSkNcDFmCDG9oLTkjb/riieqxdnd7J/bMUC4TiBD+YVbB
5T1rjKqQq4Qzp4RxXPlLUoGWa/I1/+u2nb37xG6D8AJdQJq5iT6MoUp7R0OXDLhXFnnKkDaf5E4N
3Z5kBV2X6ONte7vrgtqCggNjrfGXl+tStKxcbJugOrGX8htoA/mXZQ5HWJfdVQngE2Bj1rRVv+7q
UpcXCxWnYl2nZ71K6Xkgwe03ktW/IFdxdEV2fD/aBDr3kjIHsImN769sen5pOlt+PQ1S7slobpQn
zYj7yIvXoYjOlQJ4PWAYdPz19n7uWqZOTT5rib82D51Z28bidOQOtpSlnxY9jD7xVnAw1drk3S8U
KoaVtPi3re69AvR5hHQMfcCrYuHYEIRLKUF7PTraADBq7d7VmRq9h8AH61ZJNak5JYkW/xu3iRN7
tF6XP6jEIEsN7EDI8IJv2+y5uSolQt/UzPVOaWg2yWX03SkzZ3H1uTli1ewdKMpYQIBAyjJEYXNN
OscYCOIIr/o8zk7M28zc0FyapzIKf64k9Af7u/dVUfei0EzoRPdp88ra2jSpNHVtOK7a0xpq7V05
yO+NpWzOzgJovR2aI7znvklyXeQAyAe2xJUwl8yCAiGzg5AXA980NbDhe3tBpXF1flRmWjwyIck4
QCDvWRWqQEAq2Fbu6qU7UHObsW+xTHdJozxRSLEUSEbU30dr6vw0mWbiMRfqUNRl72u+sboNlk0k
hREzoyshLZ38wUEB7DQX8vJjKfVa9gh9JtUdBpU6hpmYz5I66KcG3UZf6afVRJgJlKMZy9pntrH7
K0qr5ZkhAv2H23dsz1OirSUmHTEOkDf/cms0aYm6ChC8H8/Req6cMnzuhrk+37ay97ij2y0us81T
s02M2iWUM4MekM8EBBDMRal7cmbKPjFcf/p9U7AxqDDSXqMuLr7Km0hVkZnS5PREqoozMkxaSnU3
pQJ2RnwqObg/e3sHREEgHRE0vZqcUZgEaWVmA+lN8+zEOCrplKvWeHB49/ZOELBegZsgCMSveLOg
Oc0YiK2JKlux/AsgL7pT2/UHteAjSMmeIdJJoipVjBjeTtmrZWWo8wa0mtTSOAszbfL0Ej2nLCLa
/+2PxJAi2Ai07Eibtn20cs3SfBRQxwpS6COK+Fmggjv3oCq2ByHtzqqI8Qhv2EIyl62ega5mOhx2
wPNrkoTo0g/ZqaK0/nNFP/4PTJGRg4mjCUGbYPOlohHVgAkiL1GOVZ8p7MeBlaBq0KXKUcV3rxtD
/id4OAK7ghDO5akgD4qVLK0tP0/l6qyojeQljJcMljEa3JIaszdnVhN09ri44RJBpyuU5hyvc+nG
8rDcd6WRHyBqdvwdDS+mmAoJcJq/m+dkscu8VUuWLw9J4/fmCAOrUoiPVTPxjGk4kpzdtYcGCBwd
E3L0NnjlyWZAWgM8I54kCfyoYqzB0s7al0ULtbswbtWDKHbvKDnUGHSmmcPS3g7IGDoN2cORKEia
6unfNK2i+4lIIJgKpzkA9Lx2eDYpCkUkXRSFFZEJbzYzm/IQ0B5PlqRUo+lVPVv7LClthwoXvfUX
xkWb/yVq1w6+hDsN3ZXIGrUXNKsa+ILpPLqLQcLoMy8F6vHUWfVHYmHFCuK1LWS3M5z1Qz2BcfTq
VR0/p7AgSneNchju8HXi1s2J5WOv0KXyOc2F4ogsD73qRhFjQn5VyiwbLhPtB/MUE9RHEG6bkZpe
07Qv+VoP/6pzm0tuX5vImC1LKTee3PbV4mlxk71MazXUZ6T0NDlI606VfLMt2r/SVDX+WZvK/BgX
kfOxjcN29Tvkxo56CteRpejhKeSq4CH4WwQMb3yqPiA+Yigj8ARbrb91zcLEnMToz41hlGfHQpez
dohu+zRUeA7lT7e93/XBFdZ5nQiBhNDK5okaGHkU1pm4u10YvWNuQ9+5pKPGO9MYO92bYtX+9QcW
QRYxBAz1Yl7gy/VmC+dGsSAt2zjkZxMUiLeYWvVBseI66OrePvCE1wEXdVYSFdRjWSlFjUt7lWPE
6jLS5uuZ74aGSdyfNNXuvYrZAGTQynJK4U0dbOv19cQoHSIUxqH3AtO4NOpkaVRoeD3f7Mz8S78m
KrXI0XgOQQ4fvMnCk1/eTkyh/0PhkWIyyM9LU1E6SNMSkl/GXEavSKTwfZTKxkHNfu+cvLUifsWb
U5os2pyUJtXzepWsh7wphycr03IvHmUjdTX0j/7ks9GDAs4H0YZn89JgaCu5NOHhyWD7PqjUNfcA
ls/nPG3Be8JyvU+ZRPnbsQB7KUCYAvwmekSXRmFvagaUHvpSfdx9NPUkdIdwLD5MzSE5Ze+EIAUG
xwJJUqoRm2Suaoa+kwyu/aCXqJXoY+OhJWm6qMMcqRrv3QAmJQthFJSUeKovV0VmIYQvAHhFPTOT
y9FwPJpy4Wck2ut35joZrmkXR9T2vQPzyiqnakp3YBtWJWujtavKViaAB6fzrCTty5jbaoBWQNN7
jVaiR3Dbs+yuU6iI8CqiyGVvPKmMnkff2QAKmyZR75kAO/pwFZunYoH0ozGA44wuQXX+E6Ok5IKg
S610c/303k7QQAL20uVyBXm//zE4xN2xJPWetGSTl5XK0UK3ewvrWRBjCO1geuO2N2cHkRkYilm2
BlRiS7/LIsaXh2Xs1UU9+2rhrAelue0T9WqPoBUqAP6T2PXyAIVZ58jLmKzBlPXti+g5ndNsGn5k
4dI8gB20z3UayS9OU4WeqjRo/Nze4731smReR6G4c+VNrXqgk2HOrNeKf1hpO78k0MpdU5/uCy2e
/r1tbW+1FHmYh4n/Bky82d2a1HSNaS4FUagy62hp4oe0LuXyVHdL85cs1XDxlKX9Hg5z/tTPtvrj
tv3d1dIjhl8LNY4I/nK3Gf0njW03rgEFChvpCSPz9bjP35mDorjSMhxRNK9kRMTnRRAQPTIKebTl
xQ9649snxiyOoQ5nMutL5W6dVuuXSMrO3dArgb4Uky/VkhoMSyM/6koW/xWDWTuICrbukN/A3bEA
BCBzCwx182DOdDU6PvIa6Lmz+BMwCi810txL4SgFt/d31xQnifwAhBZ1+8vlrlNUqBVNkwBtlOFZ
j3P51Jdy/XmcyyOe444prguXlPySjvMWzbj2iWF3HeM+gDWaH02tIDWYsvSxyKSD/dv6PvaPigmK
VLwl4Iq2Y2PHKJWAb0RyoOZm7Evyiv7fvEg/I8L65xSpSc0t9aI7iAr21meSpBOa8odn83IrNSqg
asm4scDqZMsLUaFxQ7qg9016OHdw75SCKOJegJ6Ak7hdYdizREOR1mB0BNtjtuaFwkBq3hU0Pr4v
Wpb/s9qLhRivoZ6UtbZlxHBQZDzwRTsbLfRQBS0XjMwVV4PJH4Pd9pIc9Nn0RYp06cGghoYoa7mc
4nWkQdPD2TowurPPxK+iiIQQInwU8d/f3NC1MHJVziMlID1RzkoUSafYmJOPM5nvwXu24/1Ipugj
ABmg9rul1BUllXfFzJQgVBo7sPnrbCuITieFugSNVg9Pjo1EIoM4Sr8a5uwgcb9eqRDWgDXIRHPh
BzaXU5OqWZaMUglaZpv4cxHF3yInb/0lWtf7237g2s8KtjNJl5gqQd1i4/aSok1bZogoQQEcybOK
fHgYZHV9qGundrW26z/ftne9s4rMgAIw4fgDwVG5/Ii23cImRCg9mOGBua08jXed1f+jDXX2wVCq
+lHqHOVB5ku7a13m/m3rOxsr5C2JNuHiU+7evGpqmIdRpY9TgDJ8+Sgl8X+F0UQfrC6TT7ct7ayT
6AQ1KqocimghXK5zMYfFXmxc0dyqc1A5avYR8f3lPjJKCt5L3z1WEZMtJTWtfD2dnINyxSs/421C
RAMMX4s4CycVzOoWkzI0dOa7clwCM1Nj7ayZYSa7ZHwqouVmFL/rKEY4HmO61H/sWummk2gJpl4i
9+lLTupUvG+Zxpm6sRo5tdcbCfN8BNtkeeyJ1evHwSx6aliIVSX3eZeGrds0NpWuzBrCc15MZX3w
6a5dDs0JOsS0sVgb3YrLDaU73ihRX3H7Q7s66609B0oti82jbpJHdYI3DCvz39ufcd8qN1AVcopX
A42KNkfTWsZqUgzqGZbddO6XYX52lrL/r51J24uxjP++bXTnlII1toXmJ0raFCYul2pOUuksTFMI
jDzsXQZqaPeWUc7B3NnmwTHdNWXRSrORHZSpXF6aAt+ntWZvyUHS1fq5BgHt4YMlDx3J4uADCqe1
PZFEz+Qk2AGbszGF0HJRVnEmB4VpZ56WpMvZDO3ElSXbfO+EjhSYSftI/b4Nfn87ieeI7sDZgS7Y
RFUTU9SWGtxfIM/QCU2Vr6nEFkPdFCM6uHY77zO3jQdaPFH0b7YzGGo8OuCZlAgEUs098Lrvy+q0
p6Kk15HJc3PXt337MGug4t2yTRsPvGV/sN4dl86NJ3sHE09etHWxiRWZ0Chbjo/MjOt0KIaHZEzj
f1ogYU9Vg7jLwcO8Y1CoqAghXwBCgOQvD5FmR5GqNc0SDPpcfYqqlAp3FJX3CZPgAokU9MDe9aUU
zEYaSkQu9Eq3szYyk3ocnXc5sM0kepRKewDOpoXIMcRmd6ryefy0dJb66fYxuj6/BDtiWJ5F3EPn
Unj8N+GHPvSaHVds6wDgyBOFLSbQS+WXuGzLR0glP8tKAM8M6aAheH1F8QV0mdhcPifp56VdLSOo
W1peTNXonJesz2jQZkn+kGR5fHBFdzb2wtTmikbzoKdZhTdw7LQA0IZKZR4Z9nu51abTGta1p2hr
fxCB7K4PmJEMW1sIim2gIXLFPNS45msqlZ5+A3ld/LIM3pMpLpyDm3FtinwSJyd04eAyb6PnqTYj
o++WNhiI+7yFQtG7VY0/6rUl/bZfBR/BcQHZzTVE2fDyoyGgkZhduwL9C9vcK1DmPFWdrbtWIkkf
b5/L60hDQDHwNdx5IWuxeS3qBElEeGuYstThvp7G3pWstjgpc0oxhPPoLiXD8dDMgfy+/P6gVbSG
ZB3NWio/wGBg410udRqKtWKkdRfIa9Lc9+VsfolHS3MpFinPldqXHkFSd1fm9fDCI7qeeoiU/gjc
IPeimY7HgXfY+8hg2xUR1wpY98Yb2Qg7tyEK6UFRrxOCLYX8meYIXS/FPhrKdn1fbIV3k5QWp0DJ
dHN0TSZAF9oalkFkaKWHkOWvyaydh3Tsu6AatfVjvPRHaPVrNyRsElmK+FXEl5fbLedW2OQEd0Em
hZEYA626pjQu75YsH/xETAJslkU9OV18NFH22s2jg4HMPl8bahsN3EvLKxjHqCjVKqjy2CByVZT7
OrXnszQwC3ElUHq5fbD3dpf0El9PyCBwrpf28rQMq17Rq8AoJjtIZCvzkAJLAnvt9Lu0zb5SzTxq
ue+tkaIi5HIhiYnjvbSZEbQT8slVEFaz6qVWE4MzirlM8px6UWWbv+38uDlv7G38xGRYnVMlShXM
ep24alNb76qlL8+yXZsHscnu0ihyMaOBh5Pc4HJplZR1ddhNVaA3+ugi+kkRoayl9xliGagTO79f
wWNppD+I8hKIQBe6tLdUXR6To7CVcxbd2Vn175hVTCFukaZsB8M52Mm9e/GKKmAUBHHz1uN2qtlq
mT2UAUJnxpeIjr/nWEniV8z+8rtGsd4ZXZt5WaoVB6+KWMhlYEuTDo1+FoPAG62Fy4Xq8JzzHMpO
EIdx9x5u+vJkFmN2UGW6AhjgZ9+YARFyaSaqa21RFqMMaOsnqDn3ka/pbfdkh9FLyGjih9gq4iAG
JO21EbysOGW39WmYnpgj1xPWz/oBTXHvRNEfIvSj94a0/uYLt3ZNrt1bKMyvyxQ0ad8Ea8cwc7lZ
p5Md90c1y117DiECxGhRKt2c4G4wGWUKKSdoVTv7Vcij9a1W1Un2xqUrMjdOqvGf2y5o3yJJCy+4
KCxuXJCZdj1pOp92bjrdbantBUMSNidFXyKg6PYRnX3n7UJkyBBlNWRDSHMvv3G/6OB/Tb0MlMJW
fYYg2569OuV9XTf9wXna866iTMpjQrMIvtWlKXuoZoRIbD6eHTvv9GmZ/KasrL/CrpiekP/C5y0D
4LfbG7pjFd0t2lIoqwoxp82GjhQjrXnUqgCV3O6+mkfprhiBy1YE/N5QmYqX0q06MCou4OaCCh0L
dApfO1RbpccUdG66OnkT9Io1UtHQw3dZqf8yRm3wGaMyPcSGGr0OqnnsJiU/uCU7S0bIiYITrwkZ
/VbNskONaJ00pMyUKRy8soE3MDkRgujqmH2yzFbxEl09GvR4RfTilUaFiCKQJjRsrza6LKmsmVpt
+wCFazOgk7IiC9yMxk9iY/0+6rVwCQpGx70vZnDDj0vah9+cKkpqfzYl6eDt2e6B+DXCOyIvBQSQ
QW6Xh23RaXcWmWqLGZPLfdoNQ7C2TRoYfdvRT0PFNKyKI1rW1i9jlNibiahUboAEbOVDUIOVjDjL
Q9+K4/ILu11+XdpDZvj2cL1aAYAEYpcS6hVITwkdamBjESKAU2hPqiTp3wvH6fxQi4b7uR3zU6fV
htsnSfVYjvaBg9o6DGGdiqaoEetCd0Bs/JukVBsGg9HwuuNHQ70+xaX2oEXy+FBPFKtv39w9S0RE
1G0AIghCzKWlua20CVEKsN9kPZNrlJSkXOiYzXe5XMsDOMeuMbA4gjz9SnLaGGscY1pXFXi7sWad
p4dm6010RlNPU9fl0+2V7Z0TQb/9n7HN+90567BIA4jytq9rIM92e7aAyZz/wIrIBmmOEBZtWwql
uWhKOArELcyak5p0xl1s99bH21Z2Nw5ACB1q3gnO/+XGWVPNfFVw8z4yh8VLOEWfwcMNp4WJvAfr
uSp1iaMnxDHB9pCAXrWiULqw1LTWILCCUqUgquU/Gr10PB6R4bFuY8VrQlSzkaHtzlo72h8IlH4X
vf76G17xHGCbqJluIoKpborE7sDnoxeZPMxqpriy0pj3CFsvvhJJ64PU69PBy7kNCjBK9AXhAwA7
Ln1LoO7NVI/lJMWZmfXgF3LbTV5a4knDUG3PEintwUfdM0gILZqLFE5Rabj8qNBawiRD9YkOdAjf
qYFaynarvr2a0oOSHs4c3TlEWANGhRAoodZWnmGM8joddAfR4F6p7qy6GB9ifTFPFlH7wV7umuKF
ovqDa2Hy5uXSynDMnXKybT9Up9JXtFp2G8rRp0aH5ffbV4N6qBDsFjwzoJqXprrZJAvIR1aVNtN9
XEc/a8gAL0pHInTb0s6TALEZpRvUpBiFsg1y+lQaFWa/oCDQ5ubLMqrtV/rBCWQ2o/xEGms+luEa
eXI0hdS8p+jA/N6eMuKZ9whII2jujQ8I26UBtg1StaCydlK6tjlPdtb57TL/vL3QHc9JMY0SLHUn
NOy3IJGY2UTWPOPTnAJ+c6NLznc1c+qDx2Dv+ANF485B6RXoossPV5ulabRIsvh9OxV/9W0R3ydR
Onp6N9h3Cq077/aq9j4fKFDRpYBXjXrHpb2BAaPWatB4zbtxOC91JP0qFjN/kZVST5ngE3dnc7TL
d6E5NF9Lq4uOxq5cpXrCwwh9TMF35QJelZqTyTEp9Do+FHw5Ok1GG3phM+Q/gZbLn9u4Lk+pEk2d
39emPjPQpusDhh06f9HOLZj+4yTWl8SJxj84WBapNYMDRD50JZQQ0uDry9VB83XVTvBnFtfWUB5q
6AgeXNadgFGIesGsE7rfV2AnPZLtFFUKx18btAfwdLXzssSDrbhGZAzPddppwdAYRwd6d+eBO4Fz
Fq1/EB2X3x4/q9kdpGs/r+Lkc9qo8R2iVfX7Jo7MM5lRNbnarIpZ6bUcuZFslJ+TnmntoP7HlfKu
PFQ/ZaMIjzA0O/vBRaOoCT6I12db3cgjPR+GsHF8u1Uqt2ff7tYOg/FCobNW+ipxW6a6nm7fhB1P
gm9mwogocIoqzuVuGHWTRRndfB9W5Uq2oPXBZBgjg4Tn1b9taufSUTwB3WEyJ4bzL37Km0B2MkCr
KwVv3JRIbcCYbXAPZldDrs56rydNuDfz8rPeFHlQrGhZ3ra+48g4ZtAo8WMkptsOVhV1fWo6seMD
WNTuWma4kytO8YFj2dtOhngi9iHUZcgLLteoj+aqhRnvKtT5v0ujjD5HnMFHxqQeEaF2XCaAKwET
FBq4BGqXlpqkieayYA9HkGte1aBgU6Gu6llrJ2Z5N+nd7f3bswdRngecVBM66uZtlZOmaGWtc8Cq
9AVc9exTx7T7s9RUpVfn+VEr+bXD9zaj54Aw7lV0AJHpp/C0WV83RhkfqXX8oYzLUxInI5LMVuc1
qlo/LJ203sWNPbot4yRdMebXTRDNfZdrHFtn6sy7wTB/IbCnerNJEZ3Ze9PBhux9atyHxd3hC9CX
ufwA6gA21XFyB1plonGcI/OlLfTcBbgYBrf3/sjUZi9yXs2uKDE15XJxnypWQdNOSz4YSFEcXNKd
a0KsT8gLbZB+79YLxVE8pBPKH36jZ9FZX0tavqtUHVyTncNEjoRyJPIDqHVtFTUiIL99zYBQVF4l
vmu52pFrRZ0S1PoEb6m3zf9u7+C2dCzcDfiH14KbDBRikwDSeV1D00SzKmTS7mfFph5lhfk7qU6W
bwvlv2fEFnq3XJP8YKU7n44ojTLfK0IHWtHmlFRmoTqTwUrFBAMbrQPXoZn+rEdNcVCF2l2j0FvC
oBgQKDb9jX+Nl4XSqRqF/ojozr8QMFBbiyW5bFCRbtJvixGpz1Yrhfdt07en2/u7u0wGCgtqHCiT
LdlFDLfRLDRCCPJT9UuzgDNabCPMXacaj4hEe7bwewJ8gfYxWN7LdVappS3mbOIZ7EJ1mYRqP6RZ
9mCv0Jt+f1UUXkQmSE+ZUO3SEoMZZnLNOkQGLWmkgHIP0MRhLKrBi7MxWQ6eqL18G9CDmBOC4o9Q
cLq0JxsJg4jtOPSnsaJc6RRG/91U04GJX7bsSmsGpSc0v6x9kzOMpdC9suzqgwO74wD4DQJyAUVd
FOIvf0McRjpEsJI1MzPnK8rPzeeG/OJgqTvBDtV92sMU7165fZdWeDilyqwsCndjIaeBXcQVzDoY
Ns2g+DriQsZJUjrld+ei4gYomnBGKWkQcW5VF2W1yrJEl0N/VVrjuyFP5qd0ij799qm5MLL5ik4a
l2utYGTWuhDKCZdNreLoVDTT9N9tU3vBLLYExxbldoQPN+4l64ows7QhRIR8KR6yaHZad7D6/LOq
ZuvfimQmD4s0Z+dm0tIvkZrOHhC7On7o7LYq3F4GDD+OS3V0iMQSN483gQLVEwrBYMK3TQ5pirVB
X5XQH2IlPVPCnU8MyRODl8LGzZsjSZW90yQUxshRRad+m7XYizIajBjAnBrFYea2UI4GlzLZOt7T
MbM/zCPVqmcgFN1RnLLjjADwEbhzX6jcXHWTS312YGpIvh3qAJOQvv8rafKGoVnZov9+xPHaJ0dC
XOBOtpU/SbLyadJ6prXnSuV1WSNTDk6aYFKK5P72wdr7gKIl/z9TGy+gQK63q26SkNYqND+fneGE
POl4cqSh90qStAN7e9tooHAGzgRxDPCHl/5AcZpwaoxFQg6noVMeKvovNZm/Fspgfrm9st0rI0rp
iOry7F9hzEcrjnpF5YstTrX8vWrog7qa3P49NEgTz6qp/iXSdjR989hFOMO6R/NEdxsZdGxHJYk6
pN74t3/T3m4LwCu1OA2a6nZ4uBb2Um5JsuR3lgOFC+bh+L5hOptbou9wD213+N3Z7MIRWgLTQ7ZJ
vr8Feix53UjyUkkUxLOeSNrqfurDWAdMw3peHaP4A5dItQMVIoq4VJM2nzcZQhoKSsqe22VxlxYD
82Rs+C+JmH99ey/3TpIFy4c7CYr4qulJSJ5lU4pHhDQefs7T6hsAFuekWNGfnFkwmJAj6MIRb218
r+Kka5GYs+Svs2p9W8b4pdXbyU8S9Yi8LP5PW3cKugIwPaggsKdizW8iu8WKs3pxOB/ZrHZ+nemd
G0rz0c7tnUJKwVCT2Dj7Sj+eFHOlysMd1M2lPdvdNH0FHhi6Ut5npyiDMH37S+2uipowFAxAw9Y2
I5dka1gmIdU4ZJXsz1bavAxLCiD9tpnrA0EiA5oASBNkrqu6iryiVlgiaRQYsVl9zVsAxF5dLtVL
Fq91dxA97RgjaoIIxWPEv7ZnYu7VmbGbVRSsSrF6Wu84Z9kILW+01Okg3BfB5+WhQKKM6QuAM4Te
+hYsUiM3AAND505NmvUT9lp0LutJ7lzmRg73MTjeO6UxBsNdDd2Z3VBbpoNbff0B+QWCPAOH5ZXV
dnksGXmixlPjSL4yT/nj3BfKQ1oimn/7+10fS2FFUGwFt/2K166N/dKlbR6BvYkQoJKS4juyonka
xE0tfZKUMlH92xZ3PyJxKfLHAhOyLVSFS81YpqyPKEO1zn26JiFaEI0exPQ4fvtJZ3FvTInFv7nZ
wxJNlaO3UdBWWe73Rtk/1SFpkxqZ4cfbq9r9WiaS9RwalThiU0RgxIBqp/Hwf5xdV5OcPNr9RVQR
RLqFpsNEj8f5hvLYYwmQEEKB8Ou/w/vdeHqmpstbW7V7Ya/VCPHoCSfQSs8ZjKcDrR99mov/4YEw
Wdpi/dYUOec1WUXyPmGQepXNmB9YPPyigrp9k8IQ+v3neestoYGMMeuW+74CXYx1tEbRXFPwNRt6
SoLa/9gPjZCF36CF++9rAem/UXJxa+IOe/magqxp/dl43k4lvt0xgOqOetFzlQDZ98/jMiirbEUn
3hHkAM7lIImIBrZ4hm2tEHFcaUSPY6BgNxXPl0Azb50IXMgA9f7XoDg3gPGTiQbShqwCJdVURs/B
pman9v++d5u8wdbnB2D6nIZKaJ+SulGsmsYuBe0/MUUCT4NTpOil6PtGqNhgpGgxo8e8MUVfviY3
52zChL+pMO6nNwauOvvIm9JKCcEPQCUlH95/tDc2EEQQdLIwBAQX4xyoCwB6FyQqZgC5kOkeNjr0
Dl7O0YUA+Lq62bhJsLQAlW4Dcp01GonnURWNeVPJoI5KO0auTAAaBuG+9T6ELW2qBunzhdvlja18
sehZtKCdUNSxtKmSUUqAC3r3oZu78ToV6/SUDbO5wId8YyuhrwzeBa4zjKPPvTvsFOowpIjqQuuo
xJvMTxB3vGR59EaHZVPd26w7oEqHY392Qlq5yU5Ag7ta/dWr6jzT5ZyOdSURTcqk9cKT63t6MGCH
XuGFwzU77Kbq/VPzRuAC+Ru1Rwrd1c3f9OUpzf/fHo921RIPbMdX6Q6Z8WpMHPv8278vheoasRj3
M+AMZ2+Ra4zfwA9oq9oX42mYvaZYg2Et9ZhlF05phl99lo5sll3odYJlisnh9ud/3WQg9YVCMg7j
DJctVzgm4wOMSLqDwW16r/yt9eAkb5DnCagnvP+YbxxWrA1wEP4D46Pztwrx3DSgsegqj3pJFa2z
LCArH5SRwiUeDtMlUdC33uDf621f7F/PqmgtlphgPRCGdZm1kywzSsbr0Eb8QmH8xseP7s4GQwG0
Eelc+HKpbBLG51HeVuHK/J+zwJB/Jrx9UA1J+4KjE/gD1Z04vL+hbz4gCkSMBRF0XpFoLb75uIX0
RqViYCfx9/gRgJHgKleWXXjAt5ZC+Nw0izBxRhn18gF9vRUjKse7m5ppV9O2+RJ6wDOMkF++sNRb
e4ncB6xrNMeB09pi0F+vTY6CjxrTxgpGDz2YskruqQ9LFLY4cr9OnTwkICtcSLveOpt/L7o9/1+L
piaOPDiC4LtI/eEqMTQoh4bLK2ltc5U5868iOPjSNzzPVk+BQA/q/sv1CIOkT1czXoGodyvEhDvd
sgPSr+RQg6Ncyjy7lEe8ta+4njBO364MVHMvl3Th4icqn5pqAdoYdhqoxmDkGtc78LBjVkiEoEMz
Zv8+a4VQMzhAAFJsnj3nX33S+dTLw6WpTK9t5UaYOnh5am6MjX//++cAEObGDdw0m89dor1WApdY
+00F2nx8bCFkXTZzZMtBevp/+PKgbg8gGKAhrzGYoa1HlyrdVHxs6H1Me34Clnw5Li66NPp/feWi
fgSsFDnZhmFKzl6bbTPMxNe0rQBI6z8A+ipviFGXrH1fn3/sWoSuHsB0ZMNbvDwc0Jdwtd0IVBE8
byEGYPdJZkFLl/6TWppo9/6b2hLxl7cQBsZQUkcJgtYzdLxfrqaDtc+bAUjstGfioFae7QHuuY9t
p4qUuemoc8OhoWfqQ0TmSwOc1x8CEGFowkMlcCNZnnfjmZ2EDWYww7q6jiHm55YreFHIR5JbA1Vh
pYGczMeH9x/5dQCFJmWIlhfwyVC+Oh+UZ12bkj7LdYUSyJVdp/UBNsleCTe5f7WAx7wNZBAUQVgP
+P5zga25zpnzcicqkCJhE9taCjlxqvtcFmGSthcQ5a8zCqz2HxdkUwRAvD57lzkCWTJ20NesI3U1
AXa2W6HtUIYpQEMi6z+KOopOAKoc39/Qt9YF+HlzBQAJDv5cL9ftR3A5TQgUStSK9Nb5vL2fEngh
0cl7ZCI0h76FVH244Ci/v/AbbxLIq437ApEtDHPOFm58+OJgY3lFx3E6Ba5bT2FqLQBpGfcvubO8
+ZQZGisgUkKv/VwCzkSzSqyeeaXBm8C0wga6SLXw951d7js1qU99Lpayc8kl7Ntbj4lJyf87qeCi
OnuvZHYh2u9eVw2xj3xQuOig6nU+9aMvLhyhN5cCMQPEEMQvfCIvXyUMARFFG73taBZhEgbuWOyN
9J6oob/wGb61nwAXgQgMmCRwBueRR7U5bz3Jqy4DVxI0Qn0YPCfBDg6DLy4awsMSxnYHSsgln/at
2sRzvAx7uPQ3Qiw6ZcilzvWKtZs07eoZ1gXwFnJRgdojgLfbADe5QrNAQKyt9mtW1tG8IAjhNKid
pUqSnTe34Y7CC2suIrPOSaFaTz0GmEfU0HCOlCymaSInAfS8KnvwUociBZPnz+jh/q36hdCnJQXH
qEzzOReFlrlSoKzCo6QYSGpgQwpHy6lcmgU3SyhYg3UaNk9HkBn6AfmliX443ilxml2dTbvQ2MiU
dsDfxEIdNGaZAFK5mMahO/pxJ3QpBhp+ayDbPe6MYcsdNCVoe7DUej/iJc6PfUI7XQRz02QHiqeu
QtuAMWfkbMMS3SimK7LFll0Ox83d4LUa5Eg9BoAMYQtPvpZUFFA6gSjilEMzpdBQDbvVDSN/Wqiu
jqVpYd0A8p0bFA5tGLAiU57XFrzx12vXMC+Cyk7b+icPWBrgPRwqvmKRaF0e6iXjj44GUEFsKE0P
HTHw+9TZkP8moad/AWTVbc1Aw69sa1JyPaisYcUUJm4qa+K5UzdEKrjLlsS/6RJ/iq7ZvNIvqAbC
B7c2089eNPw7JKvHn4DSDK7wdObnmLZE3U0uMdOqah0DslXHXvIzSFFUlGOaTXTvj6gvdOAv97hm
xuGAy7l58DUYyGVXO3Uk0KGCOLVpEl660Am1cwpK1YUPSQRWrGL0fimvb23BzFCHwPhN60kNER+L
HNIGQ+lZP/xgImCLjuta86k03EZpNUdpjwkADDVhZ0BmwP40tIOyAko65kvAdH0XLJ1pduNAzLeW
efOGfe1SWmaz47cKdcpz2CILLJoBLIGjA7zzybcT60ol5yi6DS1tYb1FOYQ746zr7S5opPgKB81a
lku+uqtRUzPsoEkgTy7qE1J4fg2i7rDa/jN3FMJaWtWzKWuj8CYoV3AqA3CCPKOzxYEZApd4LBJL
569Jrbr6SmCxX+DRRKKEPwSARqiVkQ0AebM8TZB3uu56lfyGvBZusS6v16ESAiqDVQfVpK6KUis/
6Dzy0kL7+egXNDFsr9HmTou2ju2fEF3P38zPp6sprjt+8L01/GRSAcslT/aJxp7UPjJTWKntcYih
LtMS2ixlOvCcQvvea/SeMjePu0mIoNkvvuslJIfDTpSQOJPLw9q0a1LxiSYCcl8yuRn5ZLMCfSj/
J538HvN1wGtPUxR2uAaHrvvlFDw6i0UI75pFjj5B6WV5jE2Ingpp5yUoOVr7N1oDAlCCwduQX37a
5OmHpYP634AevNuRVBlQ+ckwq3Kt16jtd3MnB7ZfWigj422g5C576gCBsTaBVzSAMvl3MngBeajD
OYINiDZACRYmnSZ+cmEwQL/P04qZAmyV+KewsG3aD2nC5R9AhgDtHSF04VcDcvt7G7TW70vCWU1K
/IhaXlEIP3dFkxo23dEuWF0BVMx0k46dRyCxLAExnLxxbL/FHgHAYg76fsKn5KUn6OqMrrCBr3WZ
8rrWn9xMouUgR2q7YvLW+Bl+n/QWinwJiyDuHCwfaIcUqFST9miRDdNMka5y0f3MQSobC+hJ2/be
wAgjGwupUhZ87DK0Aso1aZvPgw28vEhJ4zo4/AUOyAcoC0HPaPAmACT1bOSOUR5FRbawpTnkkbNf
45jWSZF2NAuP8+ohg8Odn7K9WJo52K8r1DX2C/Tuw5sFOj7i2a0BrR+jkfX6o6wleVwBT4exQ06M
vIvbMGxuTQatzN/cq4P+GgIHObtL/ZmH3yBoF2a3mRu6YIcOm/dxGNjAERAoSQDs1FDXjZI5jEqy
dG1z0H7SPec8tTfx1E3mqAKEm306QEP2mKdSIa1vLFOQqlJyLfukTfASG0/D2SKZzCFi9dTu426A
AoWoU/vMgsaPbqdEiD9zI+MVFJvEKAS13oa3rVj558GbTX2VUHCdd0PSZB9T6weiwixNjPuFWPkn
sWmfAIDFls+esY6XFslgc8NMMyf7HL8n2q02h/8cWYKBXvlJ7bJi5sprjtwjkNu3GRR7ILmk9XVE
mpj+XIyT7W7s43XdEc6HofCN7sKPWjU9+4ADqLoyMRH3VCl8HLe7FJkYROebFFQTvvAwPyRDl6ii
HUlkwFumafoRuAbPV2Wiraj30jTevHNQgoUIme7GRe85HkbdDpoCEes3tjOihI7FFBXNaJNrtEud
OOZuTfN944sFYdObLbpoNRz2SJVR1ZjfTbTS7yaKW13SXmVpJW0cfeapP403LQ2zBpA/GDg9AuKd
tLueJLCKgYyxjcBfyEJm1xlyRblekZ1kDLfprUsH4YFqAM/tnEKMj835nyDizL/nPPDd16D2KKta
voKTPWPcGEf7pBdrth91MvENnJqMFaRZIZKhDQW4Yj+JYFHffAqBT69ggCJ1e097DpJePYHd/MG0
bTcUBHj79hlJI7RPcT+jq61gqKcOGEZP5lPi+eNS6kExREVIhga7Ke0lUPJs7XDnRYvN8ckHMtq3
mU0VoHrjOBQSeKypSNd08H/kTdbKYtOriqAuPg85+oSgmZeIXv1U0Cyah3KGHwIa0PCbSks/7BAB
jA9Prq2FYpYb0GAg0bO4mt1bl4ilYrZe2G04D/J69Dhvd82o+E2Qd544Cmh7+2UwcfrkWrxDyLxl
HQe2HoCosm1UiDYJNzYvAACNlx2zIp+vDEGQK9aQTms581l/WyBpcu/6JQdiekznurR9Y/2iBo/p
NFM6EYjwNgbBzYXmq3Ust7ATSWhUtLNZ7ntnYg/Fpx/SckFI/ZJPI/yZ4KvD76F6jpArgI9iuwCh
oCtiS8LmQ+MblDYB6YQoOmqafAeKhI0VYpgJSTmScBV7o33Z7Yw39eF+qTmK6Q4aYnwXRctyr+d+
jMoA7bSmkCyZCcTODXcles5JiMO4OnpHQZVhv7VozcxL6eoOmHV05foy5hkS4qCFtmaBDyJr91zO
8XIzZLEmJ01YFB55PzfzMdaBGQ7Uqw1+O6AlYoF1xijy5JMalkR1SIGsrnOA1FVKC9LGfX6riOTm
dmgZsfhtA+itRZiuC8mKhaSe+oZ0VQ1fUzXI+r4WOUUM9JHHT7Tw4s4O124KV7Syw9mYY1An4o4C
ukF3qeqYOZE603Tc4b+85nlkVMTofPfa7RwkJfsq8eDAWLRthuwMwUGQgo4BBugQBdFNseQCSn6z
s5k8ojEzeDto70fTR1gok88B/rX1sAKbQYvZC8exEvgOhn3oL9lPmaxDXcCRW6ZHpSk8ClBKNrqK
8rp21xPJ9ad0RZuzIumUgkXTUzgftLE24/1guOcXc5L+h9Y38KJJESBY0fJYIxJ5UO2+nZE+Q5IQ
V4vbBWPd/IrnNFvwvbTxj3CqY1VOaU4fNHKScAcUBjl6iQ81soXnGLyhvGEGriNBHcLmjOgbnL/a
O0QtWKxFjgHFvY5yOR96jT/rM0a6XQfM9B94o8DDcsCs9GNDpvm7mUR7p3iENnHTgTt/0w2cIP9Q
NY3Rz5ysOjJfU5BJJJipYc1qt0uCLmIVVMkIr/LBBZ/jjqVjYcgCRBtI4v09rDrAI/U4GfMSBIbw
g5rBcCjAtMrNASWY+r2uRlznNsuG4yz49A0qgfltu+Qw1LEOGHZkDwH+H4nLF31sunSvu8i770lv
EYJZlJ0s/Eh/d3B07R+yyYb3OJjRiMKBeo/AO6QMKR7vrgB5qD8T4QlddKgmPtZdTf0daUb5CY9F
2HXKeoplmsy/n70lD8reC8xtnsx+iIRXr/V1ImfyVfvIYvEo9WKO7ZLIaKejGGIdqN7Wr3DMwBcf
5XYhBz3CTvKkMsXTYhZ4P7tM1uN9u6gxLTrbUqgmSIfd9nHXXftT6P/qCe1wz0KP8QmeXOFvT1KI
Qi4mb29no3CzZdb5TcEdwk+FT4F8a7kyfaVAjs9KYeKYlw0qnrhYmhYcP5KZtQhoE5yyMdy6SFNG
IXgWcV3ms+/CMiLGplUXueBGNjijkN2Oa1G0mq+iRFO27o/5REgPrQEoZ1dx2HpXqCc8uk/kmPxi
1gPOZ3WjaFBPr7zDDTPgDlmjPtd3yMRsX9Bex8Fe4wYAxx5DiGezyBlOgw5CSIcu7uons9oWtYJt
o7gCXj9JChkCqhShzqVg+rBwK6e8ZHmMdBYg34TYxvUQavzbQL35HNrHfZ+U3brww2rraS76RkTt
R+sC/xdMGRNbUpV2/V7EM77/EaV0i+8XQma4F5LgV5fmnO5kHCDJ7+qkD1DQx0BTSPQt59IkPOS7
Fo7aXRGAPDcVbO4dKbkEzhjNI4cmazJNAKh7PQENR+nkp2N2nCtc21TjYuYqKILcV+Qg2zjsqn5W
ratsnEL/pJEmL73e1QteMNosR9Ymsi2CcbRZmRDKxru55sOdgD6WKaCVk2e3NYrdo+Mi+gpQVm0L
OWmp4aiSR48tA7oZ3Z5m3TG+3Q2RDeFj6vsj0vqwRV+snG1qPyZEh6ywCSPtVa8wYCxA/iaf4Mqo
l6Me2vwriLbRTTvS4Ievec9v1gbqY7hTVzWUU8+jh7CHX/qHtk+Gny3xeL9fkdU+zysu45LjJ/6R
INQgkixrejsJTJwKZImmOS6htNjPyGtkAVBzaKDeIZu80NkmVRA2BBlLvyY/hn529IrrHjaOyZQR
V4JnF2NYRmKRQtdp1jimMP3GFZZont/ZflpStHPQbrmHfGtnC1AN9ENIRb3uJ3+Wz6KbF1dm8Zwj
m5rrGD2hgLCnrSLB5YaIPe1R7rrfuAiCBoKHfQOJOW6xIUk2N/tYzXAURz9g3QkqvfyaGBbeA/wc
PPZD7rPSd4s9YaLJUDWlafvQk3hxxRBCxqxIoBtNiizm+nNQk+YpjEbybGaTYzZdD/IwG2iQlSjZ
UIoTVL8xPsFcXXXZ6nRh+gyKmo0ceI14HizPiP2ZhNmwnX5E0vc49t5SDH1Nl92LTVsSUComfkky
melARK7VDnsKR5SEJuHHepVhUMzzGonCk9B9P0QcuUCBPR5/Dn7b26J1iZ0LwDLkpzST5iYGYUAW
PU7C/Shb/rWBFNtzw+L6iEzWm6BQK1rkHjo5ddOqvk0ORJFiUDmaBH2kBPrlcELF5DY1nkDC2AVX
puFNc4hESNFbG9HiLmDuOENGK6cIc+00Ts0pgXv5UGIuBByNND4qAV/I8M6IdIHhD7NuxIOT4IjN
6CnseyIyVPg33CPc7DCCa0Wkuh1dJolTn7NxRhpghic0XFIfuQidP7ZI3nvYCkGdqGinxP8dY7RN
Cza0PANjiesnAUZYUgzjiJp1HufsbhxHCS1Z0QaPkecHP3LOpqCczRj+MjyXDy0O/FrGKnRX2UKH
tPQMMpBTYqFIjN5kLK/gUZdnpdcasmcL6lqYvvrpVHRBNidVOtSThwRtEguC09B8g4IP/6ryoPum
Wx+tB+0vNN6bepietGPyY95K9C91nuhwFw9x8r1mM8emodm0YrAc+U8N6aKbCTC4qfSZB5usNXX0
dzZJ5IMWtRPiQBj735OIDWhpUUeROk1K3ySQb/NQqHfrDVyYV1a6fAUuK8xl8inQLTmFneu+9TFE
uSqm4+QZ6daCr9FTyaNOoUy4Y/7SfUULt30KeLxYsMGk+xmA5RqirbAiB0rgR89AyLBAecHJXD4t
ARDahTH5/AUATmFKaLMkOKXwEQorOsgA2VMtULsNenYHUcNLF6p9MTmqtKF+wTu5oCeSWY/tunrc
Ija8dO8VD2aKXlmc/ZqZ0s8OzDBd9FkG35fIoFleplAq+ggSa8rLRSv1y9eIuhWOVfy8ICx/AUxc
fmliHaL70MTIIGpPIoByroaxTJvOm6o1CuAeJdMWv7obtZ+hCYFpHfQEc+ft5jxR21WYDafBTQgF
k42a+9yj0LJMUjPtOgflyNKRBpfQhILoOTBIosDq7OOTsAK+vyhzyBfTArhzF3coDEtc2CbF52EE
FNQN4zPEW6FQefKbZg4/9CTFGVodDCdLNk3xPcae0KKKLGuy44huL6o7mRB2FaHJyCvDWn41RLNz
e+F7Ji8C4cdzaRM3BGUGXwxMLmaSuCLUSfoT4IsRr2WpbYiWTQ8ZvAAt5kPeBlNUUsw1IKTTse6a
wyDNu41aVPk7F+XeUGQmQt8mpzEB2qGLAmTlLpPoietWPU7O75qdlWQ2hRG5Zffo3dMfJoRaNxg0
nflgRBwASrf2yb3oB05PHLf8RymZA1uBIfmvQG2XttBgsWmw2Wekq30gyVjCPiA4GG1bXqnFicfR
pChV7Zwima+RdYxA6iT5rYQCNvREjZnuQOhDnygH33gtQpvgXot5nCokz9HaFUJPaigCdBsfw37y
2DHXbfsd+RDqQK8eUgiK52jKgOEpNAISZtIPtI/k9yYj9We7zFOydZEhDG8wl8jKqUVFU65ax1dp
3w2uFFRhKJZDMVsWMxI0cZhFnM0niU7dd/gkkQfqpV1TKtz2eUHx7fOdPwWBhZ90bW9pNKdQv0Lz
JSigOYIOW5/F3vcZ5cU9W2PzSbml+yC7AclVn8nsEz4rvKQhq7trOdWo7sGQysKPfu55zQleuBHw
uWbot7oicfg7nrvWFPOWJeCQatCGoCYkKCJahyxuiVFV7urMAbEHl+ChLTEnig+EuhAmT31HJK7I
RD4gevQfZM/nFrcCCFS7sY6DKopVH6GP5YJbpG8OnxIIVXF2Mw7okd6MqNmgCQhJr2M8ze4hnoLl
h+2taa5yoxEGqdXhUYuEpeW0WZ+Uso6zZ0/FwT1FqMEnPFDTVTyd888Q2gnQh2369PtSK4AMp9xk
OGC1TR87PfYtXCgSMPR6MQ5p0eTQqymybkjZoZlCG+z9DP0A3G6KAnDZc1GjnxfTrojG1Ootjc0O
XKJ9t5tbFXyyhPDPMbXkDna0C5y1Rh+dX0nn5QBcAsEcKurbAWqgXg5lrZyxb6OxtT4CD0vhipPz
X0sDUkSh1hQFEbgEvthnY839Kunz+L43Fh8Hm1sMcRJKZjQ2kWv6O5ew4SHFWOwPCZVroUCMRAiR
HX3WIqMCwAS+0viJE9M+wchOUVgUtPZI4eHY3cjeotIMcQWgdEnS+QqtNyhtjzTVzUMfbQS3uB/l
BZDpawBFDqjiRotC0osx+BlAqvbVqCDpjXG0JUi9cubvB18HMJdk8aeW6vnz+1PoNzCSWJDAwCHb
ZDahPfZyaKq5gegAbDhgpNkvd1Gt57LTCJ1Uw1WrDjq001BUnATX0455Lt9b0V4SV35D3A4/AtjI
DbC+Ca+dgVNw2A34/UwA3V2P1yvOyKPNTfe7WYfUVNBVRybJKFSyC7cy3D/geym6iyHAdwVFFXRo
39+U11gZDFgBqIKPGTqC4Oe+3BMTBlIwBa9P8Kv7G5Tw8pOKRHMBdPt6jIuxEGDz2cYhga70+c4v
RGMusorKp5CSw9RyQgBI4mvar+zwrw8E5A9Y/gTgHGTB56eKYTiqOM37KucuLywbpmtMOfwL8/c3
ADEbKxX6BADjwHpxO9t/gd+kMGuUzQIPpEfEAJHyZ7mq8VNcJ2CirvC1Gz01P77/aG/tIgYccQCQ
7+ZFsP35X4uiHz0BN5WJamVqKmU2R0eSy3qvmewvIArf/FYAt9uI6EBuvCIheDBEW4Gg7yvC6JfB
AsobOadLTPL6Gxhx1McQgol7iF7qLzJax5LzUF5SFH19NnEo//oNZ2eThh6NJpPjeWeIByGd4v0N
83j47wCHzYsdas0AGkBE5SwO+SkskRf0QiqshbaE9tsn9IlhOrs68oRhDNKBtnPsOzA1lySU3wqB
2OBNwQ/GzxCifflGQYpcEY/avuo5sTdNqoChXNgIVAHU/IyHAfL7J+jN9SDDkwA3DXmVcMN6/HWC
mgHcfI+PUKH1+VKhUz+VsdclexdjGGc3Wd7313uDk4pXCE2azRs1RejdXvFfC4KhSf0l5n1VCz6w
U7dgpVKGcX2zTEl7N86R+ag1xnM9vG3g2zxhahx13poUIXFZRaWIr4Ttwq/v/643TxbUzSDrCTHy
5FwGz/Zx1NTQmaxgsNz98Cwo5R6knov3V3lzt2GyDfQ2gDOoyV8+PLOzQQUYAlW2ogfQ5J6874IJ
k2lUebcjsooLsfyNoASnFwRaiDyhQXwOimeJUrFDSVDBFDU/hdaaPcaaMbpmwHz5tYkf1nSU7l+f
cvM9gLof9HqgoxyeS5WuqgsIsta+0v1QP6dx230BKWq5G4J5PS0EhNwLj/k6Nv23IjjVcEMCMPCc
NcoExACahckqjU0LId6YfCI8R+ssW9OyAca77DmO97IYtO2CFBAKATzM++/2FSpq+w1QTE2AngUu
8hxybUZH2nbxcLD9NIGU1ZpddWRjujn023tOw33mD1nZKm7/VVIOK4OhgS2HzgN+wNmpwhgtMnWr
oU0O1+2jNYpWAKLoYlgmeEM5ckki/NUp3tYDYQu29IhTr7Im3KALXVYh4X0Ttj8zlgx8l6KMelqh
t6rKcB0vuWq8OsdYcaMebxYpwHOdiyzMIscQEChv0Fgc/OjSRN87BnBKAxuea0Ab0jvgJ9ILIeHV
5botChh8Cl0m4GzP/bgb6/oMYnCyskPWF3m+ghuJySVwgvxSivLW823XN1bZ8AqvRde9kGBK0ldN
6nNVxJ5Q4gjZsCArotU3BxQO3Y8em3t4/8z+92G8QNPhGSEpDAg9PlTIBp0dHekAJAEcaKg8UMY+
GpSx6InlcATn7RRBJA16tV/Q62srNdDsK/DIPaZNrqY3DFgsjCQA7KoY8ByPjAV1VvAQA8//IZqA
KrXliBhDvCL/IveMHEtqWWWD7I8emmkVcMfDIcvR+2Hr4u7f35O3Tjf6qcDaI53bruGXMZrmygiC
Kr8aJrWU8cLZfvYYuYZmXQftq/YSL/a/w3v+DnAbboQ3EBrwPy8XHBKBSagwQ1VPBG1nv14/ILmg
83UNA6v7dElWU40Li74bL0zvWr8XH5LQjXUhxpU8DBqg93/fcihtInzjpsohXLMd17/uaGcG5XRf
DxVccEWVazkc0XdhFYS5gn0KtMOF+P3GlxZAfgMmFTAEAqvpLN9CtyLqqT9hy9uoOdrRPMVLQqsM
ijn791/uq2se6Rx48SizIOwGKsDZSiupGaEhpiUtkmVdJH4TPUMp75LA4eu7YDs/UOHCK93gzWfV
DZ3g2wLvL1V1/eDvgfCBuHQUeVfZyiG5GAOfoeo0OqFiuKRO9bqa3GgiAOcikoAeBtnPl+8ODui5
TKdIVREmkSifO2Ay0pTtDPSsXDVYkpyMnGwVMuQ5xOTDPVNWf0OFdMl09/VbhTliBEB7EAf4ks41
trsJZaQPPAYEArL66M3T/CcHY+fDZGJlL5zYN9dCXokiHg1/KDy+fGrMHDPgn7FWpnxT8DmC6G7Q
rsW8LF31/hF6aymQKnOYiQeAIJ/rq/U2HuSaxaryF012OGL8FNbicxeo9kJ0fn1Yt68Q1EtoCUOw
8jwSYVQSAeea41XO3aoLdIUBCWWaDvTC7r2ikuDMQFM+wPbBDQz3wcvdA1tMTcS2cJIaly/aJJ88
sB92q2t1FSfwn14jtJ/SDXugPNVd+CTf2s//4+zMmuLW0nT9Vzr2vao1Dx1ddSEpExJIwJjB9o3C
YKx5XpKW9OvPI6r6HGdCkKf6ZkfsAKOUcmkN3/e+z8stUvpYGTwsuIcX72vVmJOFu5yUwtt2dGh2
iJHS87xbmhOXer/MvqUCklzO+89e4ug+cR1oDeqYbuNkltgWjWrfzuycNqoTNehqOCNZtNq87kSt
48N30qFv9j/XPbIB6HabqDkRqyjImBOmdox3ZelqW71q+m1FGmUI6LDblZnnscKI7utidu7Piszq
UzP7Bw+bgx4VIvaEFEOOHTSLGQMczquOCJDBDlCkqxdOiTW37bxTVrkPRi9DluELt9nmqz162CXh
CAnn824z01QNqTaJy5ry9o9/+21c6QurcZQLUXc5HD0wSDXWx7bbkNlVnTXjnGxIrtN9WWnyxCr1
fmOAuZgTDac3HGRMsYeXqiHnxW6r85a0RbdxCzI6496oXiUvle9KCDknXssPL0gEtMo96BiOj5bh
xJUaehCno8sEznHCTR0WufULNQHuAysvTrwdH40NJk+oYuBjkDUfrY2kMSdkwNQ9jITYCNLKUn2w
hmow81BPvBEfjQ2LGFechqwOMIAPHyVyaUcWHmkZHU/7izaRABZ6doap6/PR8dF12FVzboDaYsMS
O7wO+XBNkucxCF7huhsvEtcYQU7lpn303N5SMnmtHAyGRxcZONAqcTR1mynxwMXSLNjGzrCEVsV7
/vn9fDCBEeW1ZlawteDGjiaSXrPE2MmGNDjTWGN/Qe1FaY/GZUzlHva8HQzp+G+jIRn2+IqoL64V
WOc4uYyoraQZs6nfaCUnd6+bunNsKrfN3GsnFrwPniTzgOquUcrsn45xARquwmryqn7jZsR+TDkR
dxm24WByabp9/iQ/GBk8RshAzsomwFB4ODL61fLN/qnfFIS53NKFcnxTWOOJcf7BG8yyprExoWrq
WcfZnnYF9EsuJuO8yOdNltTJeUXvjawF2n6Ukv8X2yAMoZSDocoyGR47UPWoN7RiHsSmTnB8D0TE
+m3FNjArE/nPosN/vsj/il/r238eUPp//Df//1I3M/3wRBz97z/26UtX9/Vv8d/rP/u/v3b4j/5x
07xWX0X3+ir2P5vj3zz4h/z9f10//Cl+HvzPphKpmL8Mr91899pTeHy7CJ90/c3/3x/+x+vbX7mf
m9e///VSD5VY/xoNhuqvf/1o9+vvf3ns5v/zzz//r59d/yz5Z2fcyMvr8e+//uzF3//Svb9xRGWz
y26XegVloL/+Y3pdf6J5f+NYs1JhgFM4/ApDv6o7kfz9L1P7G9b1FQjAYcGDRMi829fD+iPD/Bsz
MROlx5wMyJOj4/98roMv6P99Yf9RDeVtnVai55rrmP7joLnW31dMEYdpXmPe5XUb+MexbirGtFJs
IjQjNBkXkbSXGwRqCVtzTwBd6IZrhKzjlyY2lDOByPg8HWvr/I+H9a8P9eeHOHrF3z6Dw5zPy0DT
gsLz4WeQJEQYZdeuqmk0PPWitteOpnSXzWy64eeXOnrF3y7Fc+VuoS9TGjxaPmWp9NZIJ9uPh7oM
7byaaHq3fX6KuvY2Vxw8V2gVdBFtCrrrHvE4MzQXuPlclXuq0Zch06/lOZ2BNj0rxGhfTxjkTFbS
NjN4GVNXBOpc2squhQn3Yllztu/mybqP8BjMoWF3zLFEoXj3+axJ7XwaK4vsmUkYix/XuMR8EY29
7dvOmOcbVWlpUEBFQ/TX5nbzXaa6takbp0o3stCMfhPjNfqFo8PZ9HKKK3/M8r4OEiDtBKjP6L83
iztEI3JRu7nsKmEu204picrFWOYkm05dGvPCwXNyqjT97tvBak+hy6Kat3pJj0/i0tBhnCtqHFDp
eLFbyUo2KidjBo+HG+8hbyPZIQZbfpgi66f4Y8i3LbSdVEFMuCK3z5XYnC7nSJrBzOh58Eaj22iK
NQvfVers3Is17WZyyzhIO3DLuSYIxAGGFAhC5f1pZDCdWIWO1gfM5dTfOExSuCWh4x11udNzgSGG
j7f0xIk1PUZTv1GAj7Yt0cwJLtv7z98J/XgO4IpsudY+BzA2jgFH654spZUSlqb4ej2mD1qJYiNI
1KU8j+uifcGb1Swoa8fyydGTBlOHOw7PlCztdKNlKWEJzmQlFzoil3I75qVtBUVnKlmQFc38043I
Hz5r9Bw/DY4wJBJq07Tuv//MVvwt5nz2jbR0j17rYakykS8VA0ctH5auEGcprj/Sfcx9o3u/Pn9e
78cPHE/8/1Q2V8rBMdNcSTtMj4aj+Mjpon1kLuYZRTD8H0pknNgrvG3e/pxG+GpouLNPYOmmh3xc
b06qKFdspER+NaZkttIe89LtyAu+sXJNmc9bF4EKVDFkeP5smfHrYnXerYxJfg4oz2mYdQo8nFsS
7zJ3pyVJ/tB70rm1MyexAitvDR3n1ZhboWqi9w9VfBDXCGDdIRBW6hFB45SpDKZ0HG9ra1WujoaE
rjLqulCCOUKEGEzl2Cp+HVf6LdqfyLvhh/aXaZmtZ0n4YM0mSmku6opeN2q/nokK98RC2GyaqNc9
gyQ5H5M2mU5sHN+yO46fHZwrjOGkxsENO3rPc9dr9cXGiW0mNSI5TW/Kznd1iZ8S96z1UNVF9w3f
iEe2LwWOs2XENIlqzPFuOm/OfsmiJwAOc1v33NVe9I0MAvvWbjP71rFH8mCQwuY6vTPhPXbs8IXf
4gP9+flY09aRe3wTjIA1ZgHoO6SCw8lKFB2tBQvFGRr0rNxaczVeGkpUh7HXs12sEqfwV+nMGQU0
EfamhuEIjz+HqDZCjl9lhQ/JzL7AuT88GHZjhJPCshOWIse4/fmHXR/ou88KvA+KA/OXdYwXj0hu
MfHdxEGWG1OoZVERWD2Alc+vclRHZX6kGcvpg00621lA8YdPpMFzGEdtHQdag+OgUh15pWFNNvyy
qaniUGL0GyNG3165dnf7+bXfbZfeLg47maYebyXtmcOLUz4dx6Ro4kCUyfzc2kYaWrS+rk0riR/q
mNoGrmcDM/BUoOdSDEWmIcfQ4cTneL9G8Ak4ujJj05+mxHn4MZwW//pgso1RkmXYJigmr6ya85A5
Vzkukkr7Nymkbw99hbpSCaAQwK708IJyqcbRwPIT6KvDCHysfS7sFjeu7BGQC+cUMfn9UKLAyaxH
94kkgHd9NsGwSYYZ9/hUtGPYaGMVoL0/tdR+eJW1BgCFFGbbcU8DrreHkYq7ImjFPO8ntQvpxDkn
trcfXoXCMPmobAwQExw+u8mtsHB53Ivnrc0jJW9DBR9G+PnQ/OgqNIw4i6srtexYMVZGTNGIhsEV
tAqe2naJNpZAsfW/uAoYKGZwssORaR3eixWXEC5XY4fTDMXoUywszicxyLvPL/P+HTc44zgseSuK
2Xqb2v/Yoqm6TC275IvBAj1ta0Ma24ZfPcuz3N7xWs+PeMKGQMsr48QNHnfeGOkEBhPhysJO/Ztu
9uEdNpI+SRcxiUHsMDaqWOp7/FbDtkjmalMv3hzUuViCRQzVdjBfMJzcswkivSxKT8XErHP74XzK
kR3hAoW+tSZx3CyxpL5SN4Z0fdjNT3glOARwNpx75vyvk/vBwf3PI9jbUD+8FocVTqI8a40NlH20
B7QBe0jVxJ9Roy595G330MVnw+gEnBxMM7CrdHK26aSqF1aXp47vFll0RbxuhPE8HpLHRkxOdFPy
V+6kOZDRRvHNUrblgP01HLphYVJcUizXntFnlW+O84hwVcuj3u+R4sY4ndQR9IlZ8xyLzCOMTO2Q
rrkjftDPR9f757riqegqIotlW3DMLZVdk0xzpKPWHdlWV7GhBUoshvPFAPnw+aXeT9RsH6DtUR2m
h/K+egWESpqagCJeNurrVM/iShExZl7d+123lTix53l/ZzDhTOrCnB1ojrvrz/94byDXl8YycbkZ
qYmfKY2sfAGvBQwKXZATj/G4hcGrwk1xXmcNRhNK7s3h1UpMgWbeZxEt/m7xG9WpLoTbNxcL9qRt
tFTqdioM57EsUI8PvdftVCNXw1yz8hMl0PfTBewfnaPjW7X/HV/fGN10JDgt8p1xbp7wc/dnqezc
2kc7bAz+YETLrihUC2BlaZ3Yor9/5Ou8vjaoObS+P7Pms6mVwDUioBiYSLKFc32PMT2A1XLqgR9P
8TBT4Zu9Ad5QnxDdePi8h4g2Ta+QhwMS6IWoRiWMnJO52m9L+Z8zAQcNNASrqIIbo017NIay3Kpx
CqtN0CzlmOC48aIzEGSUiMZZYuewjdwycB3OarpTMPOz4zEqZQ7lKDUrjDPXS+HkJPbq7M9VKIFd
1V61ZD020Ajk6HxhMoAEhSzJUgNRKenTmpCK0pwQ8fo2Htq8wYVewqD5/FU8/qK4L4644AupI68I
3KMtDMkpjdYOkIcyZ8mv4yUbt7NMlCtcCvWJ1/D9F0WyBiF/HN5pd5MpcPhFYaBs4nJRoP70pTiX
ikL+1agVJ27o3QGH7e+a/Y0awwI5S+3/8DJzQg1nKDoR0FVov8siyTK4AZOScdyzppsxs0qXivI4
fBV9hTG0GhWmgqRI+m9lLwZ8rTCvKPnYRDbgwq2VLlCSVBRBa04lSR9VWU1hA5LR8CfDqITvVLFI
gmHJolP7y3cba+6FwgNFAzq+dH+OpdLgM8XSZhl0qSK71+BJ/OynwWZDmzoXZm+y9EpLv5NNmd5H
ydhe2XpjnBD5vP/WVigxUxnV/xUfqh8+zqEsnLGIYDVNZPZu0witi5Yup8SuH1yFbeCbkhd9Hhrt
w6vEI/yNqa5EoLWcWRoq97sxGtXN54P9rYh1+BabbAXRb6A/JJ7DOhrtCXmZ6QCgKSjhWHSIHicw
X8LJu6/miDnHmfrxpkPuctc4KT7bLJcPjbSN6axrvAaHMCIHLCEKGyFIsSrgyNFtmrOR/vjvdly6
fQTEyt7m0J/ibZeN5Q/AnZMMkkInF8xTLCsPNA7nD9SvRxHOTdRcq7Faef7YtdE+TTTxVGMXS/0p
IuATc4WU+yXvAJWlEp1P0E9j8T3rUyl2llRlGURVOz6XjbG8gKhIa19DtZL43eiBqYpzkpXjEtP6
50/x3Qq30vXpSK5iOP4Lee7wy8qXkYOPJruArdj01Dql93tIneI8bSP3ntzDPOz0vpYbL/WS5wjT
XVixRMBDGZbhVHfqWCWNCGrdQzhrk4/TH5u1ww8Dxw7EToUVz9Dv8sgPMPSPOKzZqZ667XXhPhw8
VNIokNM/h/nPGDq8UjMjsooVICKOV1vD1WJaS+nbNH/5Xjo0QhBdxrgC92SSj9jgiMtCeyBg4VYd
Yv3+xHewjtSDD8M8Sh4spwGCDpB6Hn0Y2SdRNK/oGPgXMKYii44F42XyPKxN6fC7d6xenrFAFU2Y
qql+SftCo+IFo9BlCVLTR/ofpsH6rAwn1v7344PPZqwlOvZB6PK9o3N4qbUTPtW8DmJpymGrzWm0
kSBxflsNJPxd2nqFjp9Nrb3tMs+YpdzRFcPGhOpzCQ8FbMDnD+ufO7yDp4UKiVXOWIctaNtjruVQ
DpqI4xLYkp7BHNKjxaJ46BWLtpXFZAEpRir1xaiirMMN6E7fM1EJaAe5o3wv01l9EEOtP5lwpb6W
+YwmxKuKh2LQlyIk/Gp6Ausl76lTRfcoEcs8NLpZ2+tFYpBuxvNJfVhfyr0ZQfK6rXscE/5UKnbN
kmJk7gU2PWsPiMP4kaea8rs0uqINRt1a/Y1uFD2uQAgmn6Zydr0mvBd2z27D0mRKIkbdBXJMXNaG
Ebhe4hANzH6JrgcW7Ge2NO5FRHMEFIpOUABeVEt5TfV2gtQlzGhjAkTCdt1adQOBUYpvkzfFy7YC
9fGjtZhtqEtryeQPakG1W7c7Z9xq7Wy9tDAhmMBcNx0Iq7Y7G3HODAckr73CDAWSQTXoLdhJVxJW
arpzYaP/sPDZrnW5pHo06WAwT8U23WsvBvXoj/o0pRjrsW6f6WPiZucZ/vjKl2MOGaXUqReEEWaJ
h74ijugshd5yNxh19xDBrAS0Q3+ugyqE3dKvoyG/zmUqHg0WkSYcgQC+NvokfrjJnF0BcUimAKuj
m4R2uVQvqrSrjV7O5bxD9ZOSsTjUNrnpWdtdepA6cCXVtfLaCmxJQZdWy6OSYaXxodqRDdATuArC
syrGyNf7wk23ULyATLFdcJ5Bi8kv8xR5XyxnQGOOyVYfqRAPw0+hMX78Gu1dHBiiK36WVoV4LMuW
ZV+BtFzOxkEV1xSUqm8Jho8niEA5qI6507qgGejZbQkl0Tnv20qdwBGgrHxJNzsLhGNE5R6tmidD
KXV7oIAdjVhRh7K89sq2dzdLZbB7UIt66K6HwShn9DIFFEssy0D2LEdIIGJu24qgi3puVbUXT9vo
JAqrYW14rCxlPzj4tiyFanitT6QNQ18iUcgebBu2DMX3GyI5HVp0RlU6ZwSnwy2Rs4I5z2o7wp1n
ugNhm2cgZgXOFg3ZnDBNPy8w8271QtN3q1dhfXjVAt5AE2qYWeri+OqcTnloVmDTFHJy2q1S5o7c
yjIS9zDfRjo2ZZZ8I74b+/e0LOOPMiLhKbAd2SZbKBrRfgISrF9FS5Y8AK1KusdhVGe4AgaxABsv
Nwcihcs8hlSTuNWAFbbJJnLXOH+T8alR7RiJGu0uqXU3D2lKmnsAj87gnVz05gvQHY7v7NHmVzm6
5Dw3vV6cOdU03udl1fWB0rDV5+OU1XcxaknsC+n0VzGAH7YHY6nstNRyvhek7n6TDUwwf92DgWSw
MsGLrQmrBCfm5feDOtvmZT7bQvcb4VZX49R4yVmRsxcNUjgOAxgHc6Zp0atEhGlykN9ri0hY30H+
dZtKU4Uw53SDedE0ha5e4KcqxaUax2S7O9lgbGvpGpkPx6C6S3U3qncTWDw75A32jEu81w4ZB6qL
ZTaCyaWFbS+8M6EAcPRLKAvTtrdlQSwqxuEupI1Q7+eCxJxATpk3c/oeMNmnMNTP0ItpzjbJmmkO
XICEv2AdLvGmcqN+q9itc4F/V7nSDQqGwYx7/JmzlcNV0RXcFvHYkI9uM3cHABD1lzgxTScwGkVx
w4ocZsfX6M7sgYe6G+CS0giYJjJvQ6ZOJel0Vlm0HVwnaXZqIsD0Cncsm3NVLdMHIXQzQZ5U0uJx
IgOFMFP4hH3ZI2PBHz2J2WoGNwPJNUHREJoCjufW9Dp7nfhbg95yM/S/Uk9d4UL6ZHQ+xmuhnss2
V9tNa1jVnbO082tROWmxdYQwvpliBmQ4xAaLx9SnHiwlqWPky21iHoq6W8awLOcaZtbogCIRC4jH
EPWbudxCgkyeB6dwpyvLY9E7F67aj4gXJ3o8qcfRFejHGoMH2LIOc5hI2KGHdPm91Pb0VeoojyGj
WLEHj4sOlTYvYay4Z2M2tF8XNbO2SavtqUSBTwLr5XQ9tYRSvS5liisiflYa57kE9lYRJrrJIhmW
vO6+YktiixS/zIf7KnVupaju3ZExQ3/SX6qbtMWvb+Y7To2bKc9f1TQDKmburFENiCqEIGNfR2DB
BuEVIRyFsGQsuxYQA1t6Z05if83a8qlncTeb/nLWouxrnaXX0zxeWnbxnDmab3X1ftG+18N9HuMo
M16AR/il5uxM/kI/p9uCaCXsy1tWVmcLuTgPU7PTeKo2YASjs/yE9GQJnyIyfsQJK1fVULluIvVm
UEjfxn+fDHcRMWeJT4lCntNruKSSyu8aMDtxpYJn6NXyNo4cGapte5Y6/T2ZwVsVWJs2lPU+mgqm
XfAgxOF8MWWxEyAiucMSvVD3xH7jvldISnIhj/5QK6c7V2fnrJ6XH3Zibdre28e6dcn3f2fo5YOl
1OdWOs5+LvQ7t4m/YEzfWfmDG+8NCxrGgI8HT0QaXzLKBPaN33kbXzjs3gHOrUxT8aA1K4tUb4D4
TcuZsSS7Xhou3cnpa4mabRoVbWU57zrVeIj67KfWVUErdCssUNVVk74lixC8HdwjJGzfAMbdagm1
t4TujFqrX/VUhJ4XQdxzLerXSuhwmytMUz8TdfLVSEAGZ64RKiMsKsBhm1YpYj7GrV1a30ZtegKU
ZwCWiZXsJRPFrz6iwSX7aq9n8gq478abEvZD5U1UyCEoFG2XxZrxw0354uVcBSRAyQstqcI4mi8n
+JPJkoWTrv6qGUCbtlhgWv6Y6NFP1nwzxdZTwfvkD3YaAgk5jwervZsgxY8UtOw65l2fNqpb/zK1
/HyW4zUlgTMLR6FvxBnFAtF9h+Ncr4rH2yLtzmuLUZHFaqAuwzMv/k0NTm5XzxUOKocpDkrx3YB7
lnw+8ZIPOfTWVIFLDXQE7o8vnRXGUe0n0ahXnRo5RAm37lPC0DF36mTtkVGcgzA8VyNszm7TXeUj
TWbHvWotyBICCKhfGMq1neVYxGyDNiosw4h9zFnS57849iaABLrXTC/vJ1f77nQJMaf9zxHse+P3
TeOouymWnLYsQW4ylLY6usqhhz3alaH80FGH/Cr1Ip4DUh7nwVfZg4B57DPUAYUWe188t9Ez3+Ko
yB6SDZYXin5u74AQtd4O44Neg+SaZydIel3DOI20LkXOX6RGkOti+UbGphYFK7e2Cseo8fqgS8b8
2nFbW9vMAFafCmNdW3qYbnw8x7RfvSmyIaFn9TQizKxVgJ+xScOiUYiW7rX0JvKs1Ayg9MJzTtDb
OMHgrhIkkJ35s6Sn/ayqdQvl1+gXuKflOFOor8kghOGowVSbq0RTgkk32pGTRdlezBCe5426dELz
KfuShKK4eW343LX2s1TN6gsoFnln2tOYbXPoy2ABq6ybAq0gKQJZyDK5qM1d91cyZMkPYY5gm6VR
t1+ckZcrbEnjxSoPX5fpSyhWMDUQT/2RutCFgGsBhAf0YxE2c8a2ETgkIZqps0Q1++O8boO+KCiB
mF3bwn9kcblb0aQL6yCkLoXkiCVPJ81H+6k04dDaI9KfacCBrJmSbYglte6l6U3Jr5SufefBJCE7
GoEx3FmWE4mnkvRCas+NNoOQaibTL/Gj/p4j+Bi8at1o+XFbwKVpCGgZQmOCH8syMrG7JdYBNk9C
0Wu8bJ0FORhhzsadAUu9vm6ZYPNAZY8GKHwy4ksv62AHGuoE8WxUBut3VrV8fXU7xE8mbhfDt5wi
edY84E4bOxfdoyK08aqeYXyjThhm2o/R0HLbS68KH4hRtnfckqXdzoTSQSBd6U7kji11MFlT3AaN
0xLkuXhNfws2B0MGeOSFWFkEUSG6i+iRsJbqGfCMrgPtrLSfwCBhyEE7b25MyuL7fDa0cleOS8m2
jCAgK0jbtbGXVIOXbdlsgnaDikIYrjvE8FTNvkWXQAFXvaIWItxzSh55F8S2l97lJD1fKm1RPzlw
ca7hOnDzhAXylFdU8FpNniYXZh+BTQg9lFUkt9CaAvjO7nzII/0Hk7fuBZG2sLJDUGT7ZlqD54G+
dqGStVET7zKE099iWRljqGSpAyeutJHSSd0YnlUzrm/VLjN4sZF4+3hdy8cpLwD1ZcXa3UVrY6HA
IKeDrggUhm+Zh1DHX2a3rAIg7NNuVeOuOyS1vEyFDbTWoJClhVYWpV+UuB+8kIoYfdvUhnkd2ZO3
+AtwSePcWrrxujNKF3ZwV03PnDOw47tQvMW2GfN6rzlt0vpGqSTPDf/gm42YuWQNdvU2bGm1U4ov
a5c9RK/UvsPTFrdaVFQ/ocnQ7BsHRYduGtV7ZEiDFsCqop6msPF+Udg4f0lJdOVk4JSae1b2ZlZw
XnKpjLHtbIYwAlPOE504im3FMmiO35kEd22VGsGrD2de6zfNMlrWedwgX7w1zKZrQmdahheKM6oI
3ZLocDueqlv+7PidhG+O8jlypK8J7hwO2hwkc9/tW/Fba6vorq2z/rvobKI23/JR/YyiAYegxkyg
AnAMHffZJJLzrquSgpwrCGzkCpjsaO0IJyXW3ZSyxzz3cwOs31SkDzpUZBtcJemTBtf1KfKQv/pw
//nZ3OQdfSy7vFnJwxNvf8GGUmnipvUrSgWO35D4NvuGKKertFOSfDPOGEnhS3NkD4xY8r6MbAN2
bsyhhqNEU6GLahf11+SoqROOhA481Y1ZC2pu4KQD2x6SiwVKtxlIZRJuiD2JjwMST2qkaJT2WelY
l1lfUj/pRthhcAqUS5VTKv0Ny90X6pAOvLja8JJKQv38SgMJ6jME+8teJRPPLwYQ5Ax5GOBBZ0Bx
4k4y+eJWM3O/W00kR1AVHh7Z0Sro/M2IXVa8WJJVJbGS23mu4vtYtfuHusdnjWSznMwNFQvGREt2
QwdXlHoH2OLZEdsESwumQ016O8ZcLokWlw3soCmfAaNYVqKdWbWrXmgCZWgIbwG6Z2Ynbh9Oixff
Js5c94GOlZ4ulMhnIJFE3uN48WpI44upiEtkD4a5gbvEaG+S0dmrZqbEG01rne9thereRwmt/pyZ
z/Tt2HTq98Hulld9HpvnKCa9frfI1tmLCVqUb0xx9GVOUk8/K+ZOfFXYSbRB0acMsahbve2Z6cTt
GYfotcJlqNmrVgwagyFp0zmceqpPPs7e4blg4sp85qw5DU3ZemnYx0OPi0YMwNqLsVODqV8G7A32
sMwbyqgNoSGKTcJGHVXZF8oBpnoxs3R1vMrx0p8BMF3CvDfjG0HNGwu0GrG5SeLRUPCSVYXFuGL9
CmtAkLdWB+tub/fURP3cS400yOYFK9SgLKCVk04rvpVrYJimssiwPg0YEQaDCFFFoYwt9SVdzszF
rn9kuVcaG0eOZTAXytKeDxDSX6g/2nuciOKaQADGVM6e2KbQ2E0/3Slv92PsUWRCTvimBzABdX9e
73zXTMH3wjRPXiatPfoQR402PVu0OsrSPPD6KruU5ST3HI5PoBQ+ugiheS7mE2zPaKAOq+Ha6NFF
rjidcvRMcW3woHKyHk/0sI9t98gU6TZguKfRgCeAUNXDy+iKkXSUepqgy+JmP2swUKeoN58qSSVK
TwrtEhqrcWNUlLWptVcbpSjvdeghwczu+ILkYSuc+56jnsmm6vPn/K53+vbZwDKhzybr/biqLGG/
VyXb4WBey1d61SVbq47uoJHKE40r7biXvz4GyEzYJVx8E96bWPkPCQMKiUwH5w/7TE5klc195/z2
aujTVlkDjzPGOrTWDV6d2WJrO4YXiCGPv+MnJiwExbTlj45Qr7CrzZtB5tWFK1TqXRlFh7rTo4fP
H8ybHOig3s7H5ViLkhwm2NqEPfzWJL3wQivGOlDMpDxPs5YuqeP1W9n1+m5Ik26bFEoaZkw4FzYf
Hj5GOlykavQEgpwEFLYvd5SoYg42hrp3eyDooNRNMKeNCztBaqe4KB+MZlTljB6ykuiFHwtK2RUC
s57R4ZiK1772VeE9J40mgs+fywdX0W0D//rKtUHAfDSYVaMrm4zkqUCIKL2isCtCLAqnIvzed8Bp
41NuW40rdMVwlB4+fQ4eGNux8gRurld+4+oeDt65+2WVuk4HJPH2lazAUndA8oDr2vtWrrX3Ui9N
ANWaVMD/jnGYSw22tiocl/AVZbmk6JdcFIXTn/XStb6a9jxtwB7a4ecP6f1bxad/M4+S7kaK3VFn
K6313q3UtmLtZu/A96VQrkQd2Fv9vyuQX98qDn/Y/1VET6p51A5uiIOFAIzLo1lqZ1sTvhTEXs37
rNt4ooh2/PzOPmiM4d1GY7XaRpFvHvsDB5VEtVyTdWBb0XidsThvatPE51xa3Q5pjrVth0W9mxyw
vpTK6tBwxu6MHnV5+/knORZgcePII3CUOITyodc/ej9VbS6lQ606sLRBvBJ2FWFumaqtTY2Nsntl
n5B+vP9OTbSkNCop9tA8PVYnywjecDdzfvKGrrqxzb76VtqjczWZeXZiXfroUqwW69S8frXHKhNX
SagrTBSmKWPXpo+IA95sRB0c6rnnbT9/ju9faA60PMY1YtEGf3M0gDglESfFwoQNBrMUKAszTEqW
gc+v8tF0irONEcoSgKn1uOFe51PmwvtAOUMmjRXAsoyeXGRm0UYfqwUjVW5oQ8BaKvtbbRmIU9Ms
hCEgYRVkhk4uFfaAzdhe6wu1cr/DjnIDetO+H/usV9j7l8tAwlAePy6jak8nZr0PvhFsX/qa7ocl
9p2RDUpzSvEiaZA+LFaoS6lcp5VWXUXaYD9+/qTej2v+vIvebUX0sFiu39cfy2Q7Rp02u6D5mykf
z5OOsEQFL+6uNehH5kZzKvP5o+txoEfhhpsCXvrRhJ5FddQMnAEDQliss4m4OZ+WQLdRvdK9SRdM
Qye2HKvO9nBhtVg26K6z6UIYZK7P+o8bHIU2OVrPOlWgzeYUoEdfyVFq906nkRvX55TVhlh8nTV3
oW5a5cWp3v57IZyNUAddHxZnBiMGxcNPYHICF4hhS4KIqvJXkmneZVZXELvjVrFMcOL5pCCDlR3R
O1Wu/uq8mFiNsnFjQv54DZPAigG6bkqlcZ9sLavIbou6nqJn6dAScdU6IiWwnDWq6plJiyDqiuTF
Ab5kISEkdmdDillv72h3Ar615jb/brCZwJSc5rPc52lEmZpuvUmJNW2AmjuRcNd8uEx1wiFvsBPn
kOr3iXBaczPmk/NVGxYEXKjgQGkbc6Wrl3zl6wEVxRKcWV2lRojYIX4cBo9YkCmioE58yxPg9XQk
yzDrf/fVAgydiwznyEKkDGH4uqQ0daX9inNTy3x86rINTQ7B3tPYiRpVpC4sJ/DU2tJDWQ0RNCt7
Sr8LvWq/U/0QtzGHQjVklRePySAoys511iAVpuSnb+secdjVYszs+vTYxLfEhktLQshmRCbAACu+
kZaNDLXuLCejtsWR+3yiuqxg10sGJUiXUcAPcQkZhGx3F89IwDaNVv0fzs5jx20tW8NPRIA5TBmk
UmVXsqsmhO0qM+fMp++PvpMjShDh2w24B254i+QOa68/ze9jDN/fFto5x8CX+OaQgBri7tBF9sRY
+Nwm7ckE+rYnJJiELKjDq6wWvQAQHIM5Vr0uVa4BlaG3B5gyhKqNAr5gqdDgwY3gUrpX0xxOyJTP
Y+BCGU9jp+/C/BmzPfhYIU3KW54u/hOVPX3Adsp6wWswuv0jdFl1gFhf0ysNxhCnW2WW7ITUjpuo
TwkuKQknIPdKBXBprUrFmDE30l9SY5B9hGj95fJ2c7r9EwTFASqx/vH5XFPRSWqJrCwKEfRoY+MB
7cuePqAduzzK3+39eNFTKy7GIDLOdTrhUMdLLrD6DDYHmG5GNIrbELL5c+L9EAEHsHjgOk6M05yW
3ogPI3E0Ue32EH9hWJa4+SW1cRObzXjXUmo5JUBqZEtNIN4igYMaUVuli0F6e81FvXQroajcrKdd
cvkRzuyT3OLYsih8TNzpVttW6eelyirLnAyzjHsFM283l6v6OlBEIBiFqXN5vBO9AqIc9FaMyExl
2LXFIGkMYmiqlHKSKzzNV9qPdJft/av5T3o9tEC2G5/ozAnNeEwA1Dkm+87amayI876Tu7x03I/D
09fT4bC3PedqsN1vg71R4JxOuuOhVjUH6Fkm1j1Djc33sQAXsbaUAH/NFo4n3PEQq2N0CthFxeVp
bnYvOx5lv9//eb75tvEgZ+b1MgzcVsT8+LiqK1FJMYgBhFuGqbzmdbytnOmxv9Ju0h1O/U7hNO64
h21yAOgP3PlR2Fnvl2fJaWHC2OjLuYvxE040c7RmasTdJcRsGpFkdPTmgbVU7up2Njee9fSj/d8Q
ChOE29la+F76nSLUVRuhn5GD7w1kbIp+Ap7+/YEoSLnOE2+8WA8fbxRylYHRYlBBnRilL1WQa0+T
GoNnJpj4Xx7qlJqMdsPEewQbRjxxUZIejzXrw4iVexU5EFO76xG2jFP3wBkVFBQSAxQx+EgzYXBj
lCC7OCflz43kUt/wkj73CZHG46CK0RAX+PWvKAUwAz4kDXep9QAbh4Ma528WubUb7/bcFwQOYJbQ
VMOnaDVZEY3FhR5xksZCRA53Fc6HcpyVrY1ruXkdLz24nCaCQjxNsEhYl/oQfUy5N5pkMZ7tu70x
B+pCLrFauDyK0HkE60gvRZsEpE4kmfgelaL5nGFM9RwGqnwL3jPTXtCMBqZSuhBTNHC11iY2xdoF
RdX+e0sDzwj0ewbbHk3otW1AEwOfwUNa2oANfeVF32kU5Zb75rm3AjPVkJDT8LXXFgidaDXSBKwE
TN9nt2RQGd/IlG08XCbi15r5qUB1GJuNyXXmkyNP5HNwe+HmspYompUhkB9Hi1MLO+1gVUbpTsSr
bEyscytpadZYKElRr2DAdLySIikFoFOCxIlzNSaMekzi0QnUKuZOlumNRTuiDGXPJwEJVVkxwzE2
47S/scpJbDaW9Zn1JCMihquEcdKisTv+LUKUNAT9wWXmshy7pkwTGYrqtDflOnQv7yBnhqI5uBjj
mhBSmUPHQymQTEeJHFZHbsjgzWsYhzCjbkD7/p25jeoEmwocj3GdQryzKqCQ6PYa9T57FUGlJQJw
iFnIpMsHgZ7Pt7hXg4M8h/U3jPT0AzxzcEZC9u4vP+/fy+dqaS+NPy7B7FX0Q1a/otRHGDcm94+x
TfSG6KxyvtMKgpacxm9KVzDDP/UYKh6RQuJekIfoG0tL/RzNMVlYJxJ/VJbbFIQgsqWoh3pG+0mo
4VDt/V7hBIMTMpLtbQAtx2kaeb248PuyKn4bJynfmClnliRmchDhwc0424zV0/hShSaYGG6KfgUr
RESjz2CWva3Q/vYkcbBeMUAIN97hmTmDKlkyYWNzwJ0oYNOihXI8cOhgvAFvgzjR26arINKZobhx
0+VSfboVA6IAPZh4j3CqLj/mP3dtoOckzMJYsMcKfo2tST1JXmHIfaaPU+hmYl+AqDeqCLkN0nfy
EiWz5YmBUn3Lw8aCIKC4E1kltzWBqRTvUSb6hO3M8ctM3JUB2JXC6uwWVq9XxUPa7JH9Sqoj+oWi
XQeSZfwkTFv6WWLd96tApZN5QjvJ9z0sdxKTck1HauyDOCImawgY7KRChKk2jtnrFGUZZU1ZKMQ5
K7Lw2IbSEDtSZ6X36Fn1H0KSGzek22gwp31xvE+qGb5+b5IiDz08aF21J/nKMdqq/Or0riBjJ5ML
CNaT0SzRkUKZ2mUX6y9dq0nf+2AsfyjQxQlrKY1yehIMM/d3JFvJnWtklXDdDiWQJIhBfG1ZIUF0
KoDvE1mQOnlulqD4MHgGArLpfwraQ4EdOOtAbeXE7rUAognKnWvQOWiYVTBVdyE9pcqFiVP67jSZ
DavJHAYL4b/Ir14aLyZSGPLSd5mfwe2zMphTDscu1D3dyoFsyA2LRVuE9e1jCWJED2agaYHdTA0J
bFYzTPedPiXKbhKWAMOUUOXIJgYxfqv9LJhcQOn6p078ByR2tu7YM1JEYrae5vyrVj7Osossvb6F
MGUKbjrXIvm9ft6WTke0aLQjLISbLbOrROirlv1IdH07t/u5XsLhIbfPhSuBFlwPVuZPblma/Sv+
K5CtBHCyyh3GuDykmm9kt9nYY1GVgQvbCZ3VT3oEJKxVjRilbtLq4V3fRXrhwebv7tLKmuR9AzUL
CtwoQoqGkmp+hXRa+LY82i0pxXLp4eBsMVcJItYgLvY9pMmxIklyHIQCKoNK1JU3YdT5SadoTK5r
eapl0p+g4WhdOQkuXPJR80xhmN9LMiVJiRT7IXIjYCHIAzklox3mERRaeYSvCcnApIsxaFbwILYT
1qKh6is5wsh6gmwjg2J6hainv9lR6LBVJLMJ9jwsr5oQjb7dC1HQZp6UkIK8m5FTVhiRE1N25SMp
I6Me/I9Y3sqq5l2mD2pJU6Do9asZVRbtmkbC0bTHc3REoaVkgGthodzMvaC2Lmbi00ddS35/rcll
2zkEPqSGh6872FBO8CRpcYQXI2SuclKejDq1NKcKyYTbT/1Y6whCpaK8N7sczqQFrzq+SjKfMFTY
yYbsJnVEyOVc9tB7A5Yvxne1OTwHhDepV5xSKpFKdTTcFnDqv/ccWD9DZDW1l3BIQsTKLMKLIISW
kicEeqc8WF2ClxbpZgHiiSj4jFoxfyHIjjLcaCStuFWbgY2yFkm2tGOdNo9n9moHibv2/V8qpv9v
ZDrIeHQOg/FVUXegduubZPByuKm3gxQV4ntvAr3akgi0h6LAt94hMvowevr4ES9q5VVQRvkpzAZu
3OJALjZsUhLDBDOdIVporXQddxk5ZImoB58TYvpXeBHF2+Wz9kzlRqmOPAq9Ln1zfXUt0FDaatnM
zQ6WvumQniHfZ4KYfF4eRTkdhn8bRRHtQG5DyM+OTwjdDFCUtwyD3Y83u61bOumdcsAKxFXcfFfd
WffSXnhKrsarcIcx0M7aF7vUk7xip3kITOz8broyPTgMG+fkGdj8+Jctv/w/Z1ddGh3ZpPyyxDbs
1P3CEs37gstiPye7yEXQs1ENnIG2jgdcHZYFgMMQLQNm9q8n+/DueN++XX7bp2f/8QirgiOaAjiD
IyMIRmvL1S0h0lBqdpcHOfdFgXIUfTH+4zxYPYbUkg8xqZzWJRCkZ1Q9GwppxRu1xZlH4a5EnU2H
igQkdfUocQNNLsQTyEkIlDlorSbu9HjMHpuy2PIWPgUMDKqXBdEWNVwQ1tfWRMvh1ePnAnG2gFoU
1PS1y14vfg3+rF9n/YiYBHOE5qUS6mC40ojZ25oay53huO5FA4hGk+sNJvny31X0n7kIzxCcrBlS
p+/rmCxtMcpKp+kkqYBvpvlIfoQAr3OIJu8CKcrXQo8Ef2+pQeWRgc7W3QVztLVAznxo0EEDs3D8
LhY15/ECKUKzq0cs5eBTNerrBMcEmhXvkAzrnIC3JlPV34QmlQqMsJ4yTQ+k1LLlaIDI1YlK9lML
xemHqkfEB09TmP+8PA/PwCx4Xy4NRW6gS9dhtYOhT54MqYdULyVanN+CecDNbBoJ9Vg+wZOGQRtp
sLdN36jtamraT230zdTLS0FrIWs3yc8qM6NHgqfmhfstTzklY1uiE5fmeZ/KiZIhmdUQrRkVXuV7
jMyTg276ZkW+a4WkpOqqsnEvP9aJcRcoKfwVkECNPikpJasuSj7PQYdWEtlqkgDnJ22i3OV+Q6jw
VA+PlNUlIZ+ZbHVcO6fyd96wu+IsWKrPQjjqLQwvZfSUwTKFgyYl3VOo01G2zQo/QOLIE0P1Nn7w
wjZYTV5+JYAirj6L4ftqQ6BzVnWjBcKXLqwZ7PzmZ1PJOqcihfK56bsJSq0o/Z6TOfoIuSrvUBjJ
W1kMZ1oEuM2LtAdkTDM5cFZ35a7EfifAP4YWwWAJNxTv0J0GLO/fUoXay0msdPoY2yLRiXElXdQj
qKT62cx58mvjfSzzbvU+4CChoeXCycG39lIhsR71O4Cfo9UtfpxlW9gy/qg3gayO17FSGgfJrETS
HKLpsY3D8ZUJgTJHSoQHI/fx5qYD4gHfTlfcpJKdJfk64c6+eteC1G/MtmUbXf9W/AjhZrHRLskA
x2tcxAyMnhlrCEZAsOsqP8NyR1B2WAAEjk/uz8bLObOnWFiu0CjCZB00ZfWV+m6IjcwfU0cHFrqH
sFteVe00Xm18gjNT0jKWlhsuJJAz1yD3XAWZFQcRSfZRCuDjjw3WBFKgkWFajcIcwHRs9Nw2dMIS
nVTs88nWgODfA0KHNrbR0zdMzBDTAY4hFhGgLcdveDbScSLQAslpZ3U/CEQ2PZIipzdt1pRrSJrR
6+VnP0NtYsOGVCbRe0AEtjbltLocKFEBCstrs/F3XG1BJ9tEEP/E5jCTu1Jb+m9dKQnf6SHEPWpI
Fv7oSVaj6NI7UGJDKdQ7DB8Gcol9BfuPGaYoO2uxiK8g7lQ/g7QOvqnzZPyqB10cvQ6V72b3/LQC
4DmwQVkM1ojPWS/oyq8Lpc5p8xq9JXylDT4KHNPStyqmR1CFqXpH0VmhclB7t421+OCbxuAqKfpW
YoWF7HHGvfoKkyZaQ7NvbDQ+z+w3HD10zPisTGTcto6/6xTXFgnpAJtNUkBPVfxQ6O8mglhbThxD
+RNNQvPUdEPwVtOOhABfC/IdSVrFuFE8nHlPMs3XhZUns1Osv3cji008TjIt7dHSrlrUVoiwWvWG
zvsWm/PM2QQzD9YsPsiQs07YWbISTYhPsGds5ljfiaPZXueznj5rxAg/S5jKdDbLP9hzGnR2YkrN
Q6powU0j6eWVkdf9AT5ufp9YhEMnUVUcBCGeryTuXckGSHC6B9MAoycN/CJSJKzx4DaEndBif+lM
yiC+K2PToiMUCY2IMdIyGsK9o7gvDzBW1evL6+/sO1IX1odJbQD6sypLOtFX6lkhrbI06p4URAtn
nF0C3xMN3JgWIMhmND60RJXe+PHcgr8blfWrj/vh1RL7RvR62NQmara8uc2jMM/duSHp2E77CfKF
HtSSsnEInG7K0NsM2q4AQZpB2M/xVDaafp4JNk0dJTHTW7oYgatL9fT/+CSmDmuR7jCmCmvkzaq4
onc9uiQzKPrnJDPQ3nIwfY5ULY9tU41chv2mtXPK8Q2DnlMHFMhn1FLgXMwFNon1LRTCeyoMZuL4
oERXGkZAN40e906LDusP1MLYG0k6HXfIkaeH1IIMZ8e+Ur0iYdD3Udb436pkrrf6w+d+Fri7ojJd
SMnFhvL4xQekw4DOFalDryRW3Qz5z3NBmqJtJJYCdVuOf6m1hugnk9nE6lx66RIxGT3smYyDX2Ul
aryg2eLGn9lQ6P9jB4mvH8Tkdd0vjHArE7LcnTnu5ueM/otHn1A7JCY42+XFcmYoLpGgGzjlYK6+
Bq30SVKwZvEbp7AwoaixbHDlKEruikHf4jsYy4Z8XOosFDuSif5uCFCMj1926HeNX4Vq64xlqk4P
yARJIwNKjA+hFJT3qME7PDDDEuGWUBBl5dYEidwNjaV8T+Ka/kyRzeFLBYFQsiOxCx8VswigVxn8
pasawqL+i+fq2jDi6fssKxhek3EPF9GwMtG4N/tW0Xct1JQP+KzSd1xWmu8p8sw3SZB+y1YpviG5
Ez9qvbkG4Ut3c18lvTdbfYR5ST5jFuIn1WALQ1MH+yI2GpG4jlb51liNqEHnEuEStRXz326VCOkR
+iNsVoQUtrYjlD3IXC9kYW+PpeV/ScSaC/sktUZpF8LR6WxM9vG6KfLMSu1gWOKuopqgY2cyEu3L
gv76Fvm1XKFrCsZfg87bs+NhbEc4o/38XZtGXBCkDImWXYiRQLnQ6gRzoT4c/6Qy28lehdIyISzV
0xcl0PWtW/wp2AJKhu/QYmO67C+rhgFqd+RZKs1QXqd/4O6sumptDbsy0eQrfEsCJI0Et1+ev2do
IJyDIgDP4tq2QJPHkyoZxm5uasoQa0JNp0H/uiWBSXmcY1GnLzsautsg5ISEJ/RXA9iWC5bZ7VMl
k7/VojXvII2phwCNFtc5sbJuc+xTNyrQv1Tl1cxfkhoAhhcOAKXh6keWgyhH4cK10+JCcun19blr
MtW/uqEsuRtXqtZ64SgqTxNSmJfJLCIZgqYlYE0ijlpt474z4ujHKrDswqqQGqsWAfK22ohDbnek
FFCIIdW7U6Q+NmDM14LgShpWFvhJm9SUKPOj0VOrLrKuEKcFT0ac5J9oQImyNiNLIZ+cu5o9J0n8
UE+6/7tp867bBZY+PeDgUl1zEoYq9yhF+Gpb9Cxbp/ay+lfvaGlRLk5/S9mwLucUzc+EDqjBMbAr
8AzRSlzatbGXQ+z4iAKjv4ctbELJBJhRKN0fCmrM27TXx/2cyaGTEHReb8yuM1MadA36+eIRBTN4
VWJCaAxMX68aR52Fzq0w3fukDSS5dRb4dgzYBqoVbvF1T7ZkA+oG5Ao6P7C21fXu7zcRWhR8SJw6
FbKDb8TNNTo9qpnS2KpcT0slxjJlPPtEWAu0OlYTkxMWWEWTAOtzfKQ8fxSqT4AL6SXyw/hDUDvq
SS3AGB6MdXiGNUvOBO1q7S6UZ+mzlqU/et3hQDgp84tWGdMX5pHtt7g25+8b6/ykRIJXARFKU9gF
MXz8+yT/adBxCWgNguRKRxGIEdjPQUtEejeQtbFTpWqK7qQlKdEtpTLH0aCe/QHDg3EA5jS7kFYp
Vo6zU9Dhn+wujrriIetLZeNK8tfq8GgO8yNB78HvCb9coimP13nOwuDrKYieJzX5OdKu+jNpGfxc
K5P974Y2Y8pLMuv0Oyjj+K2fRQyPkHJT7OSw51UnkJDtOamRVlBipSELDmJfooAYOowTD/hQUslb
f6+QLWqQPc+Hd0mglrCGcZhJehcfJLP0ZDUFQDIF2It7SylmdaNcPW2kG6Ti0KtdLObQ+K5FZarR
5saQQKNp+kw99LEE7qJU6s4MjZ5+S2q6GAL2XkejyAk7epcWMlr0d4DNG9PipKZYfsnipkn0CLXl
WsRFeK2gpOheGSZ7NwFDbVlr9qEsXAdRIO3lftzBVTkYE36Y1ZwBq6VbO9ff3Xv11fkNOuwiTVX5
35UYyGf7LBpj+Q1yM9wPAYxBjJFl/V0PVNO3myCTHOgjFBHEAe/QjqXuIEokpMB6eFzoJW4T5vNh
yH3jqglC8c5SwSH9Tgxv60HrdlHuV5jqjOM+rRTCTnxaewBqIjL+JPV0ItB2rO7Ay6oaUX3TVjsz
xw+hEFvsygtTvjHrun27/OJPNykZSiTWRVx6ofiLq8I5jjGobCyNwqax/JdZHHuvLTpjh7ds9fTv
Q/FiF10hpEQYMseLCiebpG4j1HSdOgA4p/q4K1t04FDYi4221V+21PGn5AIG/ZElTBACX/N4rNYQ
pqCqYs7SfMYXtxomajYkLCQhm66UhLjBFlZOvx27JbvnnuMi4B4J56GtM0iLYZgwTrZokJTKwa1/
iGXaHeYiRUI+FNV3WYHrH5l8TjOQ1McszIQHmt/SY2AZZK/EUXmlEie5G5OsS7FiyMWDok/VISdN
5LaainID4/mrU1s9L672YAsgHmTzrcV+0lROBk7+mZMQTPwlhnmau7gvCY+JD59kx1ndC/t0bDoU
xzTRoisuyNhWBuDDWEiNQfBJYVKpDu9UuhrbLghtKde00h0HVbwqJROVQTUYYYYBSaq9yW2p/L48
O06OaKAj8oA4w1h+dERWRzQlYT2Hc4KxT9xH91Lnjw9lZwwHa5YTuJYWTZI52tp2zg5K75QFsOhL
1obE5HC0kUqwErzSoX3kGpdjJ4iJGN5/+o85GecXtTXLDXruKV+cR6XOhfKGxgob0dXpEhX4HtLn
Q3SoJMUV8QfSVVlT09swVqxrP1ELZ+YPLhgCPoTT4mcziCEGF51UI16Iha2W/+mZLLP7UrSx76Kc
Wx8DiooB5ZDi76lFjFUB9e8X0ujGojxTpMgYvi+PzUlz6tOtBVGZWyouHCPG/s9YimaxLfqxqZOz
ym4+hQOUhWxspn4XFnOID20fLgGAXTW+UlA0uYffTRd6QkcQrT0H5uTbtBMhEHIbhVERhiUNl8vT
8tzHWpQE5LAvZZX8Nx7oP/UKvYYkAbmEIz7V5m0TZcHrJFepg5gzPLRWo7l+kqn3BcZqj5MKaRIf
mfFWr/tmh9XU9H7555zZrmn70PanSfk3/uh4X+vmaBgwcsscKeridz3OMAYPdP9DJB+93CiaTxuz
dLA4DflS4GegAEul/59Hn7ASYG2wqQSWP3phpF+jrdvRrR7wrGhyesPRO9MSaycTB4ks3V9+1rOv
Xocqr7KtLTl86y0hTaCHYj7jVFOcPcdaFXoqLjRQvzkVyzkevk+A2w8kwHSe1JTqfo7yGpOsTH5p
Bm3aKArPLBLuDjAw+INlsu6wCHVfSbkS5lxQYOUQFaldabirby2S5aWudnLq3sX7F8iYPK1VJW+o
cyiHvQVWzJWXwCOzeZInuf4hWQHgoyS0mbETWwF7F1oHBu6GYhPajZKk/N9UDrMkF4OYhnKWVt7l
73HmBXBuE7pjghFTw68+R9iZIjxaPkeg0VxsMV+90ZNKO1we5cwMZwzeLwYEsIPXamH0OZOhRoT4
TCbOT3MfEYWXxpCxMUXYWNvnHgjSDjczldwA2MHH89ssLBBii22PnATrhhs4tFYTcd3z5Sc6N4yJ
EoO0UabyCVJH/gSubS16pGKGJ2s2qnWDM81W1taZ90bzk0Y5k2ahyi5H3X8WaxEWstlGtDhjKchx
gBMbTxHUrIKiO0sbS+GU8QOfkBs+ZwUDQfRYVcq1huFPCH4O22ngeiDgtprVUv6QZ9iYpoWEM+Cs
zK6ZF8adrJClmBS54PiBaj2AKApuJ/aUw7XVfhshfm11IM68Chju/EBQbKC79XEmlXAW0GnleIHW
fmeDWYlf8hzovxaGhnk3+dSMhxjp8n0ZK2rhtWneP/EvgW8aTDgfAycxa2zTGHFOUWROLLuGgLzF
VTkzLxAqL4x0uBeLqfjqiwURPUNohw49i/rQyWjxZ2XraD/tjAMwmVzvMKOmZc8/dTwKWS4WFNGu
Jqarxtq/HzHGLefOlUkIhFUbRa6Bldd9XDThfYFXburicR6+Y5X7fZYExdXpYW/tccvCWu1xhEsq
izGBTiGxDvjJ+6KGzarim1QYw7dSbRcLuir5g4fzvFOHqbuCROQJcfZFOELvqaNV7gfaQhsb2qmQ
Du0Bt99llsAdPbnmi60vwAkVaS8OKDsBk/5YQ1XssatKPeCt+LGmO/yUB3OLKy/epHE/TXDih8/E
lL/JAx49Zt2rf2qxwmMEboynV8V8GNsQq5TSMDbOw+VLHb81ZN8wiGjz81+W+PGXxOrW0sqcjygI
0GDbpjDv8FO1blJlJAcJbdleSAdzA/A5MyjG+6x0ZBNkrKwjwecy7xutw3mp8Wc2fWyw7nDjaffV
WExO5Qu5W4AQOpd3zNNmMKG8TBDibVi+SF5XFXIf6omsdk3ljHXWvIdMoucCktwPsxzUe9wesUXD
Ac76qeshBrN0W2TJyTWMr1An++mbHrbhrwaHl3tYBPLCOTOm907O9e8bv/PM21nYKbBu4OtQJC1/
/59Nt4IGUcVaWTlqD/eZjZ5Yv1RS5x+mXAcZZ5ac/SrVeHqUhGD8PmFEt0jP1cx0/bLVvAiqvnxV
FFkWezXV63Xtx8kXjowZ/kbxiLHz5d+7vLbVDGK2w+ihdKS/tf65RjFV5ZDzc6NUqd1YRBCdIufa
CWGmvA55o3wYbYSbdAgT7fLIp1syfhy6JMHkoUoQjdWLSpGQLaLIBVMQB0rIILwPWrocHazajVP9
3FBYuSxAGBdhxHrH3wR3b/qCCl2cHpm7h5GiZZdm3NsT/rYbT3Xm83PIYLFClbowRVaYRUjQYSCI
YBZGgT0o5PXC/DUrcnAtWOKEEzBO2HDBlVrcSsU484wsi0UBR+FCD3X1OrH0SjE8FDFukerKC5re
cnM1T2xL3cy2PyUHGpDAIKNAo4PYSal0/D7NPIbhg3k3FPQkN50SRvZXXiPUWzJPcbhNRoULtIw+
0dqNhq8NnsHeNF+VqY6jviBghGlT0RE7i6JIwN82A6XUMzMMHFzxavkQEG2I3XbQVZ4VyJXvCvin
fpR6nNd2D7XeIiWB6ntjjznz7YCKF932krXGfDl+rLKyYFFkfukkoxa+UZF2N4sA9VYjjPAJdono
ZnMcf7u8DE6PfMoluL5c+rnTwJU9HtQM6OyR14KFS1X4Xkk30lbiQfz38oxhQASgFCMCw3LoeJhR
6gakdRaq7WiSkTBM+jd9nFGnI1YBjQSkPWCuicpQLavrUtQqJmxMlPDSBMZREosiSit7ihp/Lw0y
LejLb2FZFsfbkAqlikYVtJfFz2C1Qs1U5fpSikh7yDf40NMQQQLWRO6k4+tqt6ke7i8PeKZeRUYr
Lg5y3In44qsup0ACx0TKQe3IoSn2OEPrlkumg2Zh2SPNlhOHAwKDkHRZ0VYDxdh1UlfNeOlVaYrD
qG8Edt6kxkcoZslD5DcdhpVdutGKPVOqMc0WIjg2D4uPwOq9sO0HfSsQq5oVleLhMqfvZBFuRYzj
yAfVchgjra1NIp/V6lpLx2FXN0QwYjIfPEF01W+AprdIcKdmcOBlfCm+EpUe19/VVpMJuYT/sIxx
D+E+JfpJ0/idlGH8Hmrl/FUkAMI7ixaN7yUlIhSvL7rumcZVVux83yRBIQVKwT0C38rvQt0qn1De
G9U1m1kSnXGGSywBQPze+OCnFSZ1JX0D5hl5bVAVjlfAUEFyE2tRwDClJ22kb1JApkkbD3I1JR50
XxVZYzjupFof7ivLaDW3F0vlE0tkfXf5t5zu1cu+CZ/sb4UAQHf8U0oseanBMaNsgvInIl/pxuqU
38NYtRt9xdPNhYEWywuap2Br5vL3/ylGhNCIMmJDGagefEeSkhjUF9zi8uOcGwWGE7MUZ54FAz8e
pZH9OKxaLkNJEzIp+tz0xgL/58ujnL40lOmABegOmXuc5MejyH2BJ4QuJU4UFrWzECZ3OGEG142s
fV4e6fR5wAd0hc1hiS2nKjoeqeLevFjPEw2b5PmNpWr09ElC8C6PcmYHglCt0kdcqiDK2tXO3xJH
pUiVjx53SKy7qByHrwCiiFs32DYNTM3vQdrGNppcUpO7uXdSqetd3FcrJ8hrEE/cdW7SIMIXPumM
f+65QOqSqGTxMMHxZQ0CgStIvp+miE/V6tNPUhkDzEZ5is2k/dh4D6cLEw+Mxf0OoA/u8nphKrj/
sIUkgo01Ycvym6XEjiW5uYb8GXtDPJJOL3CmObBhZdfXw+alg6bzRuks/7PLAkgf4nNIJxI+efDG
jj99nHMxHACKOO4icu7EeTzocpBs3XaXT3t83FEdWlzDofYvecqruRwI3QTfCCPGXK6TV4siwI5M
8BmslyGxqGJMhwLL/KTtu0+F26WLDUb/6/J7P11PMKMR34CEgWvj8HP8qMiY0TtyZKF30KNdOHFZ
pLnR4dFfbb3VM8cYz8iNiJMM2QWDHo9Fgh97bkaGoRkWxAFpRbp066O0lW76Qssx6w017U9azEZk
L0XM3TRxPDu+qEKeUkmmJa9L7IFD5saMjY2y79yv4zUsVfNfpv76o+eT4g9Sk2V0XTrKrx5Hxr2M
9velhW35gq17fR2LvRg5gYJ6yUyjYI9P95OZm0hIJi4Sh0DBtGDjZ53uQnCA4dgDMFASsTKO3xnB
E2kotElG/EqXwm1Ts4OOHfe/HkVwrKE1w2Tnz2VCHI8ijXErAm/lDriU8KtMo+IGKH0G7tfEjSbc
yQMx1KKJXDZxWubrB8L/Si1zE0KKNRDJ18dKsOfW/s8dXMAJeLD6YiOB4+Pa6in3BaIKB8zcUSiU
VzCu8O6uTcO9vHiWxXG0gKnXF2cXJg0r+KTxHaXGPPp43zqpmY+vVRIprwqeZG+G0ogHeNC6Hehi
fTViz47H5Vz8+1dTFR0eHnvH39vm8VeL/N4qcp07FmSVpdlq5fvS7AiIKQhyuvykJ5ciyCDcZPls
JNgtSbfHQ9ExyEKhwYdDlguMqzI7lyUiqq5DKmWl3XJEhZh0+ma5fCFM5D+USGsykDmwyZsVmSDc
zcmNGDpM9xy6aSIUlFweLEdLRjIkxkwJHvQuI8Rugt39M63pkNlmoaifUQApcB9qwfBzbpXpBgy5
21fYocpOJuky3Pks54gJSm1C/A/+PUPRsWYE1XIKqXMOpO4J6oPeoiCpRO2ZSIlOtREfQNSiL0r6
VihN9Uvoy63mqMGA6YTfDjjdGfUwZdeqIcPTzNnwHNTYuLGJgUAQczv0EjrmVk0iN9QL+b4RLD/G
C6Rvbjr8krDAz0PzKwun/kovx1Qg7CieMcOHV4pYutfr+8XXKcbVcCBw0ao7JXRA8oWfsRENN1ZI
Ig5C+EhhPgQBkdndYAgfBS6J3wPDlwGx6+lHZzTKZxAXwkcpRlqOpY8WFnYnJ4bFvtsJ9yTkCuSr
q0OJYyAVSXXbL243btm3OHxSz2DJl4gzNj5wXWLhMIthtB9VDHj2WaCHs13JJR6QZlEi9idDTnSF
RrY+MvIGeEDEYj9KQm9VW+xEwqyECRXXQxuqbAoSPomQ8bKRWKQunXTd67SKrKk0nvFxxrmWzzSS
lB7vQFPL9z4rMhnT82bGpquNx5c2rWTVNTAVeCWHIcvdzmoJLIF9Wxt2ARe9chG9ADlo0oR5UYNs
u7SHqezeZuINX3BDB12Oy6rNdymzJIAIWI6FZ5GhWFzPJdZFuPTmGXhAh78sGQU0190e5+3eZpbp
mouvMuhUXeukXI15ibEcl0d5dPVFruYmxpx+xnMzsojwtZftYDSld0WCcmIHlkbKEBSq7q2zslnE
W7CnqqP1m5gEmQ3FJ/SIbny2xK56S1RNhdMHDYoZwq3vlga9KDmt1MCqjihYQhhRSv8otlguOnlo
1ItY3sSII5vCcok8TzCRYD2FduAPxisOH3HhKKFl3pdz3d8qvE3+OSNYQuWUXp29GY0jmbj/o+68
muNG0jX9Vyb6Hn3gEmbjzLkAytJbkeobBEVJ8N4kgF+/D9i9s6oig7W63IkTM6dbIlGVSPPl+72m
niVU8mwJKWAi2gvXLiXQrCyJ1gCXZcv7fON5v8VyMGnaUoUv0N3xyWRCApj7jGJXqxHE+PRxo40L
TfCijmPzdh7F9CizCqMS0ga9HGTlRAX85tF3tMezuVqQkyh2l+vN4c7XYvXkVgNwXY6jBXI2t1ix
bvN9bUkHHsZsrfQ0GbaY/Rq+4ZAahngZ8MaBmqVBUfGo4+M1W9Rw9/nAfHCOAoEa6B//9gs/Kgwg
Ms106U1s19XKuS6LbLxvW9U9MfzvqyLOau4AwEaLsARi5uHXB4jRczVKcl+RtD7kvAlMl1Bk9UGE
YmMX4gtcoovEmXGFJPR1MqFl1KF63eTDCezqXaEKtxrpOFRwmOcaRfPhB9H0yumkjoopMKbgm0so
xKoo5/a8tsg3+t2hZSnQXyBVgAIdXOjwUdKsZUb9uSQXVPa2MrLgZ9Xavx1dQHtvaS6BoSJQYXYd
PsV0J2G3dJRIzuzSjTRD8yGO2/DE3f+DYYNas3i42UBcdBOPnmKN3HEr8JkmGFKyOpp5Q7zZ4npq
n7jBvZ+QkLSWzh1Mng/4MI1Bh9wmmNsXDosije1pE1RQcj9/N++5H7wRYjFpDuIuuNDtD79QL9qo
TWLy2108SEhLKsBt/FlNZ2fdB0VQeWU99jXGLOQSeEoyyafasGTpj0Imi9F83e97o8+GEwvlg2/P
KoEPCKLDPnXcQWmjOjObQWIx0hTWGlGis041nH9OfPv3dRGnDlUR6Cgg6btJo9M8jPVyCX+SMZEG
Y5Te4yuD1L6r6g2NXHEFWOjeaqNBDHchkMjpSheRPVGJG1vLkkfGhvQ08Hr3wchcywNol78/FBi7
0xd0Fz8Syv3DNxTMY9IkKc0kNyTqRFU7qnAXtcznQ/HBgPPb36Bb6lIuSYdPSfW6JZwT5NbONCLl
3F5eqVmmnZhuHywfKEakKvGfBXw9WqSiT61BJlq1BN40uOPAtRN5XO+ywCxOvdt3CMii0V9eLsQJ
iI7vcgCCsuQ8r7lN2IN6E5Ec8yWZ3emxj0W008l0v+l7Lb0NgzAmwkK3nswhFQ/1wG3586F9u+oe
nnl8ElAveAFLesvxG4wqXL+DGD6ehbdYfDYFs/ocpX33jbtIDOsLzXzryVoWzjmuYMYXTdZJdDZY
8ZT5udOZ9wGdmkctLQkALNJe9TK97PdTZ4/ROsOt8xVDVjilOiDveeZOVbuZZ6l+TztJLCp1K6h6
UuX5TyeQjb4qwxJAMTZn6/Hz7/n+5dJogdxIp0FbZNxHU6hLrLHSIBv6WM0mK452E9/iRH/WUIyc
eNT7+xO6dLxQuTzBXsKB5HC2CiBkJC0djzKMWD9rVH12vCopzSvHoHG2s/kfuOFS1KcyRT54MkoT
GqugPOAHxwRgq6kn7IEIFxp12X0pEsyvCddoN4ZdG3/pUTpuzKBOv3w+su+3KeAzEh14j+xX6lvr
8BfEGTvslhmEIaoztxBHAynEE45e4rIN4plSIj0lRn5vk7dYzeL/CYBB15PXejjAKXceNTNRUqSp
Vt/nzkxIsobO09jUodMb+yk0woacNkO5i3QXyaCTVtm97RY9kWRdFt3EMuC2U1YKrl4aPNL7FFvv
lUGYaAvZACfZPZ2f+rVsi+Yu4nShDSii+CuJTS62n6Rx3bTIn8l5LGgkEYel9J7RK0m2rsIyTS/G
ILUUjzjIGu1WXzVIwhwl11aWCZlmxTXM/KnYU1vsEvKgTY9qFw/ZuiGoNJ7T6blRGjtaqI1BvxtD
ygSv4LLe/+5uB6eCZb8AJ0s61HGx1whCSQkwJJtsbtsLgP4euQIByiZKhdXnM+Qd4wDIwlnYqrw0
/AfcZXv/ZYaESK0cNR56MG07u0x1hGGLR1ezI5uk3nHjDpFQ2PpVUKa4A37+7HdHB89mN6d6AO+j
b300V9B7KSGKSuxTUISdwUBAg6e7xt83h/96Hf9X+KO8+Xu/bP/nv/nn15LgmjiMuqN//J/r6kdx
3zU/fnSXL9V/Lz/6n796+IP/cxm/kh9a/uyO/9bBD/H7/3n+6qV7OfgHQIO4m277H81096Pts+7t
AXzS5W/+v/7hv368/ZaHqfrx7z8Ilym65beFpPT88c8f7b//+48lZeu/fv31//zZ1UvOj/ll2738
6y5+fTn+mR8vbffvPxRH/xO1gA7oQ/lLFbNoNOSPv//I/pNIGpYw2A9EFDbkAkwg+vcfmvYnPwAr
i9ORDjZT9I9/tWW//JH4E9h7YfPpSwCWjRnA//loB+/o/76zfxV9flPGRdfye/k9v0B62HqyT4Kz
0h2HaErr46heVsggUbPJpSDH1A8oSR26tSyz5gx+Lf1vl8zrxRlDv2ro5ZDEZkUId7DeNPKk/JY2
bfX1l7H75wMefKDDqmBJx2FDI2zLhCHKIXXcJICHapnp4NjrCajgIWodY49+2V1FWiVvwJfiLeeu
e1HqODHUE9lVBRzaW+In54fPPwlEjeOxWXoU+IZTdy7UweNukFXWGXVup687V8CedHKFANah3BdA
KecICb5HDacLsQhj6DsIz7fjWLbnDoF/2JcE6sVMx/NGBIQqcSAZz3qgiG3djPlmjoFSCGDY9FHX
ZStsQ91LsIdx01qTSpCreleL7jXQ8XYus6G/IK/HuQyaHGJiO6lnAOhUwIaB3WbZxM1N24/KnR2V
xZW+BDG6fYVhCORPchWRp/40uBJtQRVpm4m0uITEQ0xrn52Xsmu3UiUfKFbyfisN8zXvMOIYyvQv
PoixU0it/z4QSIHpPRcbcmcNn1rlzsyyc/IUzS9AP/UmNvLxJdXMaDNGVxlZlH6tGq+2ksLKV69k
VD3KobM3NfccXy9iGLBR9uwkVQNnVoso77oIYTkDjNu0wCUxNDwV/eMaUXp7OddiJqQWH4U0Eu0j
ICCtCLdo93TJEIRnmrF3p3n04hHTIUDaxZMnxZKR29Cr0w3xWlSjhYl38prXzljRt1DU66BX5C16
dIXxw2Rl9nR1+lHMMHYld3+ihYdU96EQczAQdN6YLxnmt9kZU/dC0aI42DWu5qdyvkByvmsHRfWV
4Usl1GfL5vVVIUSdPGrJ1bbyb8rUnBlt9BMS8V9lHXXrNDNI/Ew68qy7TIXXUzbnCZyF3dQ7mIXh
t0mrOlnR2a49t5T7akJ/5WCrc1mYRrclC7jyBvzlPSHkuZq40aNOVrKfmp2ySuasWw2z5uOl+S1x
g00LqXMf6SJfxZ1Se6RkZA+2G1seBlsXURZVO6WavieAmGv4yybaeqXZ6gpWmY0V/dCSakc89nMK
RcHTk6DbVVUqvTZNul2QivtwJA7ezOqdrWCBO5Pe62fSvjbmUkfrRcm7B47DlWqs7oK+0aUHIc43
yka9qbJpGje9E2CPDuJPQns47ZbS4pHmLK+0VpyLuVKV2KupoM6CWCWR3qLmILu6ILJ0sqtzrWmt
G+RdwwWanWaZyQ2hnxXeAlgX6JWSraBjzwuoIaPzkt0EJ3xHroqiCnFA7aeXWFXTW6W2topY5iBK
I8W+bMPS0NbSTq3g3MJBIrrGtBQT3zi3FCv2WjyO8H+TkzvSI4bZu9i2jdotcTLjvGtAm8uNLQjc
w5ugyhAqOem1DDajCNPnYi73Iskf1LgSq24IY58gWQK1uyzw0gVmnMWs8lehPxqmFHcTVi4+8cfF
RgfwznE7bSp8n/WXjD7CCxteetOIKCs9WJLqfsCFO/LDdBJ/5dDEkL7Z/S1Bu+oDae7FpYEjb+8F
gV1/V8qANrqe1huFbhIGtNPgNWoVXXaapEwbR31nS7LJElKB9kEQRys760ijlxkyTUT78c5xk/lp
yllYclRbfI8td+u4w07XWrnDQtv+mXYcHytVk+3Xshjq+whPOWKzabqey6YihXSuNHnlJkO0Heho
0fo2qwGnWlyzCrUstmNtDL6YmGiN3kjVc6wxvSuYYexpTNebfBTE86QtHlHzEMXQfoWS7GEMB+mX
2ZWW85Dg3OxsR80hV8Kjr9dUP2anHgOvmBItuIpNM9m4bjvxaC5Ga3gRasb+RM0Ov9b187zorC92
qWoPgQ0rjwDta/I5ihtHSIrZJkywuE1N7XnS5zUkNlP6TdH0r4TbYbsAkWCfGCh0ZYJ/r6l1w7as
XBxvEfAQzgA2s076ljABNTb33ITibVr0Sc5sH8tNjcjorF9ixAny6bWHLCjJ/qkHXJLRMIQCOWYz
jjehCP8yxsAt/IbwLfaJRVGZ2tmj4wzQK4jc1Q1C4pPkdbLFPawpywYlcsabQjTjDVNmvLG7CHuI
sooqry4ipVm3baU9IHrRHpSYv+Q6mdjjpUKK7sCGgZ6mgxWW9veR0+BaSd7WfTjl2b1uKTesd7mP
GP/L3uynYjG4bi5DYYfruFU0oARF+hKD9F2c9zkvsQhfRNnTRmkGJjiZ3HeWNQwrA0FwQYC17Vy4
ibGvpKHGnpEO1QO9DOPrhEdZ7+d4A3b3scKduqOvQcTCkKReX3f4EUalA/ZvNGZ1aUem9VSxDxHx
C5KBJfOC64b4SZMdLdqHuoNnhuNiHNzx/9Vb2UQ5iHvqXsiySm+NgtQmu1D1nt5tY90WVqT1XkY4
uYY5OXSfsK7m68LihhMNprHVLJTbRJ0b2Z1ShGudaLdHECkR7gSh7NdyGLuHfLIvRnPA4TphZ55i
p2TpY/TsZlrAekFTi1WM7PsHAqbSmzBp5ltEAgap1Ya6za1svsi1SvmCe0LmK/BAlMDsWMGBONPk
TDCkmdZfs7l2VhN25l/1rpS+2ifujngv+DNpVDy0TVJ/DWvVuoxytbqZnIxMRKVxN2i7+y3bMiGm
GusuhMKzmTg2YnKojEGnSTXZ3qT1OEcmBrtWnDw3lpve9RE1YalK4KK5Cc7n1OnuVT0lXcrqVfot
VaYY+6jslwzUpKeHFxFr5YHEVF9dIi0vEN4+qEVSvcRmzzwcacqxGJyXdCIVBkSzjG4GMJVsBQRe
b0YMtneTjMJHSyuw90ghB94aTd1Lb86m/CmZkZL4VpaLMxHhGDIEuJzjUlBy9lud06ysdmY1OUPU
nAmarN3KaI32e4fyd/HtXtd2k25MJQlumtl0NrLiOgw8Wdy6alZdwvXQv5MlpqirtzWozxmTJSqs
1GvNpbPYRTM32lg95+JKkkM4qTsd7qRv1Nq4mqIhOxtjt/r6tkGEcdxfJARxf52RK6yyzg2uKq3O
DSo4lZUGyzjeT5oSmT4zq1zjGK9a9ERNNTybpdGbl2qZ6Q9NB4u+HWL9Ietbk3R4RnZ0V27iGN19
UGfd93gY2AosYs62vJzxZh5pLz9G1UQegptEtrkbFIu1RtRFtMqdhgmPOeS4bfOAqs6inXfzdizX
eku0yQAR+WcRhe6FWzrt94ImDGJqIzS1hzRRGVsNsGDwXAy8lyhNDa9TjNMCxGVtluDIFYbTTdOS
Il45mnxeIgXxeQmDmyi3chefOYp7YXTVV2we2kuY1UPnm7U53rz9SyoNJmQiDP7bCgCZWC2y+hq5
ohlImRYORsUJbUMfNJz9za2pFqKxsl5xpk5/WkZq7ses4MdMC4qvk4djuJajNt6oilV9ddKpem6l
wvx07QSesNZZ/JFF53WawSgxdQy31Vjz8DjD/Kbra1fz2oRz6D4fcnnelMPcrnHdwfli6vm3jtmH
N27SQPRehp9QMfcaZt3fV5V/rr4H17r/3KePr94PZc7/Hd+mD27g/z/duelI/XJdW+70h5fupnzp
4oMb99tP/H3l1tw/IdvoAJignVyUF7rF3zduzfgT8HxB6iHxg4YsxI5/rtym9adAwcKlG98Nmm6L
S+4/V25T/3ORa1NWAbotV3L9d+7ch9dK5JxoTjBHx44B+Tuqt6Mrt0ocALTgOPKjqmBetFOyCvV2
WP0yHh9cpN80F7+A2m+PgWRrMAQkn9DNPEScMqkT8RyQc0ImYH9n6a36pbZURQVZrpu7gNr9UYdD
ct6LslK9oiuG0RtUV2m8xBmnJanQVp+iFqzYm4rBoZ8+NVYJCTxTzkVh5Q9ROmX5eSqwLyNnURVX
rhxgZkNsY32U/ZiUa0MfHOkRoqF8zQNNu5dZjEtMmo6cNNJGIxTlnXsfl5a90M2FugqIcjivU4xr
fbNNnWugTFyJPx+ZI7B2GRiau6ioAfrpRR47ucJBLATSTFgo1MENiTP27NybxWMomG//wYE+eAUL
yH30Bg4edPQG5ghsVrY8iPyEp6kqr+rM8SyDpAtprOmMeJhJnHW4hH/+2GMEnGm9dMvQvjqQ59/J
KZdjZTAKFZ+WiZbGgMnCGlZdSbvQDjbmgGWMLjr7BMb4zkFneSqcvcXHcyEyHcfKUVCYgSupr2ej
dxfzvZirro21w5TrNzWag8JrbQucKdXnFahKuR0ns1plLJYTLWDzmGeKFzBiVOyMacnhr3Ascmjz
QiCuGRWvs0qcO3BKEJdQknRgAoOLhUeeAlylqTXdKycM5bgyOdcu6zgR8S4cMjdHV96rFwBVHRLY
oJme4lIGd2ad9rdKX7rTWdVomvSHNCwDz8S1a9qaST9Vm7qxUAgm82Rctvz7S0GWw7kdBdbNqBiD
9HKDpHjAblt8W3YbdaPmmkZ6T2Na0xqN5XRXhQO0IBzbcnzDsMDbwDRpoSkNmTquXdEmf9H/VesT
m8UyE3+ZqRiOGAs1nxRfcoUMmPOHewWIEPfMqVc8EmMpwhyr/jIFyvStGvVTnp1voPrxs/C35RJB
j1FgKnX4rBxHKSuko81Rr2FT6XaO5Ttt310YZBbfAIxgp2jj1dgCgF4pqVKtUfA3t/jMccEmbInC
Vyo9NUJUnk1qQ0iJkSSrEQAkOTGnjzaKt1GBFwEfhGmk04I//KQOEc7pVLahPxWK3OaJmw641Cox
OTRqdYcjlSzXny/djwYHzg/uQwsHB+LhEVTfR2S7dtNAxgJr7E5wDfoR6Hkx/DVVTVh4kE8I7KoB
qXY4lLkqkS1k9voGQSfP3eKL6w9KMO3rOU5zD6yMIBAp8uExhuOLCjweWn37+Sc+OsyWMQKOFhgq
L0Ap9p6HYzRPQ5cEJm+TxXFXGzjCe4YoWOyfP+bdnrboo6DkA1Vj3QxB6vAxE5gklx80HLOJ0SZZ
tN2aTJ37Wpm7mwyc1KuqsTuxfb+z/eC7sSYgb5NxuDhAHr1/AcdK0XtQXxURIxYMwTQnW+HWi7dA
2VPFV9M8e7K1gSxtc8yGLehsx5liGcnD59//g2EWdFPVpQQBpVePPoo5geoBx4C7c9f1xx6tahTP
8ebzpxwh3pQjfONF3IRDg24QsrKcaL90qXKRoX8UFZoWyt19ZqXlOk3xavMjI7BTLw5N869Bjtk+
0FHzYseMHcyQ5tErjJv4qswc8thB9aDk2oS/fP7hPhwCKjeaIfDjYFQffrapJG89MriS11nUrUSv
KntKnPD3n7KwbOB+YSO1HGaHT6nChjBet1G8MNG6G7uUuQe303j6/LscdwMZ50X9wqqh5wKj+WiZ
2zh6aPPIOGtGlG8Uq023SInyXVAb89VopeHOMHvdn3M72H/+5KOaZHnD1J10jSEuAU8aR+tVj8dB
kPxDdlrS4usal1Eae8w35TYxJ3eFoWl5iTGp8mxPUsaerMJT0s93CqDlI9DcEQjpuOXzOQ6HuAV8
6E1nOWxkbNB7KLJVk6A6jFMruVN6me2qpgu3bW9g7m1XzTkWDP0u1axxNWd2d6ZlkpM1JEKsQzx3
iti0rKSj44kVxmek90ZT7jjrnTwoggpiJyTwptGuU8vqb0NkVwuteR4unEyrmhOr7qPJwDm4bGwU
Ue+OmbEYY6MwNIRXDrEwNfzhc5PEr28FvnoL9tCuYpLhL7H4mZ4/nwwf7Kp4zFJpwAtZGCFHk8EN
ezUXJaxzo68pxRqDCUkfYEVvp4nRtVlIc3GTPbGXffBUJiBECUga7Kr20eQnJ6sZshFn5FrNY0+V
dfhVDnmtrRtDwuYXODrB3gAR3H7+bd9xJnipMPkhaFiUqcsN8HDiNXgoyN6qSXqbwHZWCaTebmdZ
RX0WFmUgsDJSK2UNDVk7I2XPGM6MvFd+Tt2kKHSG0Orv6kFVf8Yo/8Id0buOBqSW67nfw2SGhkwn
6htOvbO+c3v6FviMIv+Br2XWGWrQYJYbLXOcByc088ED+mr7nWb2Ytq3eg4pf8zntqCvZzXleZtO
rdhMJaQ3dnx3WtXkQT7qzgj6qSs63s9R1rvkUJbwzvsiAYrv7B70fHTp6tBPS93Gm8ZekKSQy1MR
re9sKZaRtKE9ooWn5oeYeDiShqtkvVBnlrCrd+dBKMGztWwwqGTLCJlQ0ftJnqor4uHlhSLM8tyd
RvXKdRNzN6W49DtTX+0TDDOu6k7VrwdDcsE88brfL2S2bxtZBZRh9MRHO/mki7AtBsT1ulpY3yFG
SrwM6+EEC/SD/RSpJCfF4l+HtPWoMDHdZpx4+xReUcVVAzU/fuPSQtrmdGq8coJyusD1xrBWTudg
lZja6onr3gfnomPTqaYjSDgHKcaH76KTaR9PE2QbK1G0Z02fWj8hR+KEIOajypSrFCwB5KHsVcc2
AVzgcpV7M3BCJayNmckSgn2PEWxg5ptJ9PhXTnnl7ktT1bdCb+INuHt8o7ezu6/ilEzJfGqKL/jZ
ITtX8R53tcgM6cye5DC+309Z5ARyw+fR2V7UowGZXDWNu5TDlYRJzgisyshnUpOnqpTh1Ty5GuSo
5GnsVOvE2XpEpljKJ7whtKVw58nQfY52NviorltGreJhFSF2mR6K6wLN0l6dQrFzZ6Ji7HiwfloK
hpvgoC0Cu0ReNWVfrkQR1adcOd7PDD4OzFROsaU8f/u4v1RzkzYFOkG0FI2KaFZ5SYsxn1ACfb7O
3gnjl2+Nt/+yucKjYns9nIBRq1fSlhLRbKR3ayOVxJE3E+beWj3o21wr5hvJhf8rOnfY0k0iSZav
cvyDYrU0NxleamsctF0kf4nIpT8m0Tfdnu1tUccmDDLTObFk3192+bxvV0+YrgiQj049mcZ52XXA
A1KW30z8niovU5XOj8WYdicG5/1ZB6UKQiBzQkdbfcxGDHOzVLSJsZmxd7zu5yaLcTEwHmGuWI9x
uRiHEd/47cQbWUb8sIaBYL9sBigHyHF5V2HlwG7NiOi/gB5gw3fcQE5kd9ZTtfCzKcXbFX2V5itc
qZbMczpuRktLBAuQGCcIYVUnRJAfDTk3aMBO4AVWx9HJWxjliDCL8gKCjLoJ6xEQSqlkU3oyHoMT
9dRHExK6FWoG7HXxbbSOlqERwaLBp1/x9EIx7no5YkljJGNNteGqkZvuSl0hwmcxAZa7MA4wSKPd
SzpFBHul8WF6jhkp3Ga8ta05Gp9JoMXFHTeOLrmmo+DGG0zsSPqdBB3B3efv7oPNi8wdIBjAEUh7
x1aPuRJi49nz2e1Bk7fYxSe70pmwyMeCcls2Znap01nCeVA3T1kNvD/K2CuAOd4gcwbu6ChLtLkB
lYCB2TvoOX2dEuxLl+Rdgg5tiJXbzs3aiyYJhfihGnJ+GActaVaff/0PbqB8CETx0Ia5H3HWHG4m
k0iDsRpwVejNIn6AZy1AW0Lba0bx6MAI2g2zw1VBNbo1ocXDc4WmuvVSbUoea9mOfiJI6doFFabT
n3+yD0ZHkPULRIZjK8qoo0kVT5WaWWFIbHiozV97CWlg05a6dhkPSjtvZeU24XqM62EfuJMR7ysu
F9Xj55/hgw2d97og1xDP35tBTEpAMocdhyDXZu0xQSAMTeGp+8gHi9XSF942VDwKi+M9q3BIpHXI
/vCk7YaVJ+C6QxchZM1TSms8Ub18+DAOThAHDIGs41DOIrfcDhIgtN9yKMkHSZwXGD7PUh+1L789
eACcjBpWd5zR7tELTMmTElq4rCzcx/cRVELScLP4BPj8zkqP05CAG31JiKK5wMXscALbWQw7i3Ab
KnH4Qk01yy9RP7TGPo7L9i+LYAd9T9qvu5oyLVtkt0nlhUr4Xafrj81Tl704vQaehsfazzwOSWtW
rRgGApmXS9a8HuO/i+v6/e8PDniHwXXQRvVxrDYDVRTOZAyKl8G6XMedO3lYI5gnNrflWnB0LoES
gheiS0SctfBqf4WXsrwG9gh5igIN3W8Xf6NYb7VHo4zsC+rY9sRJ8M4NfHkZgGYL7xamLJL1wwfW
Uaq0FMOKxz2g8JbO7ZOuE+NpzG2/DeFtejHRgRf0A1M/zIgb6LC6TrwYotyqSuN530u6+iJ18p3V
OiEkxkb3XK7H+1IxLky3I1Ar6drmRLH9wTq3kGcgP2SuIsk9mkP6XI5aZQeKV3JZ4lraxDtlUn9X
9vc2OKB9rHWapHjRHQ5O1DVKLzLutjTaxVkzC3iYWtOtP59ZHy3whd8sOPvfaNCHT5nDNDbhb2LG
UwbuqhktLPUq11jsAXMt9n//YQ41KPOLDp913NobZ6HmTTYpXhXl0UUs42YPezvcmmXonij2P3pH
LHGc5tlQOBiO3hFGw+iB4OV5s3BIGIONuM+63Lz9/At9UD+iKUH/idvCW3PmcPTSaLIbbK2YwDGc
X0r9ZlPOXeQX7d3Y4mw/xL9rbowTDXxnsloQK0DAPiaEw4lpKvSCWOJzofVSc6yuRaeMJ2b4+1mB
NAczVuStb5fW5bT95WqiaXgRTC0n2QCzZ6MqdhB5+azZa82OwlO4D7/rcNdZMphpqmio5zhhjjaB
PsE8W0HO4C/y4hUylNoLEVef2Ns+qDpB8AiHB19lsqPJP/xK6YTzYRksGadDq7w2pDp4GGFA1bFq
uesTE/JokjV3ahomVzKP6nOR4O8K3IwdQ0j4cZpYSKihEKaycO9HNAqXpj4nX1q1CE7JnD8YfmSV
NOWxfFoaHEelXgalLM5dplVLuKNXk6mBj0MnXdqxgf71d6cwaAH+6dh4U5E7x3uwKQIwEQ2EpFVt
HMgKOn0TzGi/MBoI2bhEhPexIztx4ub1QSV5+Nyj74gPQj+WBFXA+APHFI3xklQVaSXkkK0gkoqH
jJ7oNiEIaW9PnXXtDulLnrozVgXYLmyGDj+qKZXly+fDwTn3fj7iw7bYEZp0qWnbHE6U3JpoKbvE
4lhqVFe37TQryqNazVl2hleqSO7nYiB7Uw9D7afTsh79Jg4sBHtk/1a3ohoKnN8bRb0qLCIoNkkE
Cwkie+jc0+azzB0vPrO3cRjqXxLRQMVEh9jQrR5CS6EydsXaRYk3+aU6o/igLIkMz6mCRPEdErwo
oVu3Sc8GPMHFinYWAW2o9XBwEPOsJatuTGFxA3GpP1pRirve5V7lz1LCNnadRPeKsCleh1KL2/Ou
FxV8NFGZKUGVxih8PuUk/FoyvS8yG8STs3Zp3HalTqApjJDpybCwAFq7jWZjPRTMuJ5ZSOnOwQ7r
yUengdNuOqfyddQJ0MZzox8bftAVF5BbOou01m6iZkK+fwtLRf5o1AxeSTt29USOmtq367BJA5iM
Q5D0a7XvKatUZBVPgmLhLtB6WLejbdRbIzK7kE2pNCu/aw19QqA1uOgGsNhZR3VZGn47UPNrjiTq
xIFwPntqN5AIVBa68dWuC/M7fNpMX41iMM/CYCixBBfDsC2qQlnBzK9sD4ywofRo7RSZXNvNr7XR
V08Wlhpx0hg+XPBAx2di5CqoU7F6jTRa19dyw843okiIIdGTpjMhFjSm62la4NxhKgWWin9aJbex
E5kQSgk6M7ZRE2d3OcZizy1Ejedxym+Nuk/2TWw12toJ8uZH3eraazrU5VPgKvMNdvNlitFMJ747
ckSqSqJWUl9VdBTyVaFjDuWbylC2Z3CVG8fPdSunQR6G3YM29Da8VLvVvhQE+3LuFzZzx04qd/RJ
1as0kqdleh5Yg4DpQ6BE5jUaFja7NJfTraUFyovaoEHBo9NRnrp4cl5RjJh41jhhdG8US9d7Glv8
4NRAmpZvptL+ayocu8E0tZxvbKvYBiSrpb7srLlYq3GcP9d1RnBKGiTF4NtO2EHd49KGJlxYwT3u
SbpOImqoXUh0HZmXjGp3NUxx9i1NcnmVmXaH4Gkqk72NdmRf473jzcVoMT81rb2HaB1pXt3EsfDA
Yyc2dGPUznEKaey1sHokEZUB1XpjadA415GrEgUHd5hmMgndyMUnt48Kz+xitIeyroIXc5wVQoGI
F52QAQS0aZh/OeacVbQdcb62ICnO4l4MStjh3G83oKm2JJnHHJ0m2yZ9Mnwv2gTGSN1qOPxUKubn
pVYAgwB0VV+yPCnKVVa3eK4pNCq/9Xaq4AGHlqr3K5KeZr/NsQzcjnSCcq+SGMWuR0TP+Xms1mRR
Qn6c850yiHRZhxOhlk1bxl6uTcb5FNBZX8hiw89Us4sHree+ieeOkIhqulaeoUG37dWsRxKfH5nH
P0pXk8SUqkrwbBVheVHgMSahSgXuXygChmcTbTZbxAzg7YFuYbwBtoYzGTIOTfiQUPNrJctL01eA
IR9U9MfP/QJT9Fj0thAlipLkyU7PolXUzd0XtZZGwb1AtNezJpBABLPQv9pDFNzE7NoEUrVxfwcg
MN+6U5jhbQRNZPLiejamLRQFTmycOczhrHZMeMrx1Gi1F2mFe120ZfbatVo0QP+HlC2qBNOcMEZ0
NDex+FYPWXutStwcvMoc1G+y7jN78fpNVZDxJWip5aTynSZOf/aNUJ+mRNUjSrE2vIXNFScsaNFa
BM9KwRBXjjp7ZTlb5kqnL3MnST+qfG0cxsTHW9A+w+W+a1ZwaDEn6rvAWglzqOV5oPSLRCOJs4fQ
kLWzBeUyHzS9Y9ez6jS5U506+saVDRA9CEznBS5T+hRPfXdv6gNqF5UQBsyEbKDNxaeueyJtKXjb
fnJ2dTaKxrb62CP/a2Z+GErwsxzF9ITQzUjvLWNGBVb2rnOhYmtPFnFVla//m70zWZIbyaLrv2gt
lAGOeYsAIiLniWSSuYFxKMIxj47Bv14H7JasmKSYVitttGsjm4UAAuH+/L17z528tJRnXxlI9udl
I9pu8jA0VASdHVN+puu9l+UuoVQo3MSdNTfNeDTEAjmwN21CK6CrgZwvVqYgEWqS+tqe0uG6512+
XrLVgBif9RjRB8sBr6WbPY7KqAsyNpBowfbJWyU+0w9uepQ2S3aVDuVYX6pCkH+Xku0QF2Fu3U4V
qKVocu3ROguCJVkq7LS8GxVSsRglEZowkonR5Ut6kwXiIZbOGKiBf6OIrPQizL4r01VjAy1GjB6p
JdiDiqe679NH5qCpzU3DFD3KYLLaxB9s+X4J9CBOKeqdoQCGXnGbl9nCb20zBuaZLGnENKgg7wRj
c0DTccvbt6Hh18bt6IUSY5BqvC+99OuJvxP9ndXx8RNLSXl2J0lLLeCNIcR+tfop0nLQy8mEb/pY
Qr3NjywDORWE34Alrnt7rqK58tOvGQvsB83B/RvWKRJgWsBxjB29RdxPnmiLg+OoViRsS72Hrydw
80MTVojqxsk1kLFgeApO9eIEH4W/343hsXHgMdj8+9XC55CsZlrxx00vQSGmvnk9QKcyYpxh7V22
OWF+yDECmSexDUt2VtYcfpxFoPKLAp/lTcArMEQgZ9rwtmqsOq7FVIdkIu+CodFtnDsoU5vLELND
m4dg2yAXuTM19rhSK9D0lhvUcKqmPj32joFryZc0PcGMB5W6TnM//OYO/vKJLqZTMclK/acw0MWM
IaOoYCL1ff2ZOrASKB2wOkQz0v05stzF/rytFXulpM4zyB7D1BB5eCCtCE8iS22qQtHFXliIW29U
4Z1RTNNjl0p565Eaciel5W+XDUE/78Rmw5GsbWt9xH4UZtE6Fw4WyRkd46HYxu2Fgi/oog5qaBGn
uDSodqy8nCNsaxvcYXceH7KtEp/K3ixZpfRWOnGpPP8W7yvQQkctTLOlGYMICL8Xo2d8VoKZpqk3
6aJ9JN76YLFpklvRZBh5coqko21v1tkFIUwErDAQt0ArEEef2XT/6I3mWsTuJObskd+HhM09ZWl7
aF1WoqjMjODTspWyuiRQsqmuKseZZxIp1FZc+bUc0KlUZjUQMFgV5UUJ4/FGgVi2Dp3fK/dgUET0
kUBdMNy4sJiJGezrsk56tyL+uld9M+FvxGp58vGidpdrUJSCPmAxZEcjNd3iFM6Dg+hJbVMUGmp9
Xw1G8UR4bUjuLPOECri94biRD4z2vdmSe0SUqjuT32yVmNP6KczKZHWLcovVHJbPKKLAnqVha35w
az9757ZrLS4FZJDLdvUtHbtlVx+nMkQFPvGq3A9+KQdUp0FxJnR8KS6DWS03DW0yxlRgaasIxYZq
4oWAlimaV79SyeiN/i5B60MUM7lez00ZUKLZ4cp7vbmGf12uplUnfkXs+3XV2iFroKMV9Yo0wuyw
LGP4aNX+Ehxb6uJv8zxl/lGvVVaR2eqK5iyUi465aQP5ffaLlM9GdXJDTqV566ZC7xdHyBDLJRBf
2S7XD/yY3JX09616aO3FpTfS1ff4fWV60Yl0+GR2YXOHNrtMk9pc+lO7zCW6BWLJVYQJbV4PGdV8
MqiMKTrzAPAMjprwBHbmVl8PWhlZos3UGpJuWruz77XFGDsLVUBkbq7Qx2rc/PE4eHUJUQVNmssv
TJUsSfAPFJGAG9V/lzbrYaAL57lRqSqWfWeR+gNa+f7WRblun6XewAeRblbWD+Uiyy4JzCqdSdqY
+x6TdV+TWS1tZzu79sa//594oEoI/qh5WpdqKqIqxHg1zdivmLiM4o0O529GzrQ0oDXvjgJkLa/Z
XWUFT2YWC3vA5naokKdvSjqc7TaJUCqwUp5D4NJwXswv46CGS2nO42XVrenfnrfKf9/VIRgBoylD
x10Sug+3/tHV2VB2NUM9ZAw1hTx1Rjn+7ZdNiqfOIUfxjXP0707RAYw0BiGA4V7LO1wb9w/xxdw4
RzEMeOEYL2Mxfm8M4WLorsUb5/bfyNZcuDJowhBK7RLdV+1SILii7BzaSI7HmJiTXsNGaeiQjPZq
/ZZKUq49t2EJtOr+fWkE3V2/hU6iXDGTEqexHso07PqoMsg9LWH+Om88kV97hXxAdOy0c5GjwED9
+ekj0TRbbwTgvZEUi4BKciAN16LD/hYY9+TrmgfVtNsbb+CvA0sUowS/4Pb8D5r156v6Gbsjvyiu
arfqylgtMIHlVBArQKrYcfTB4eSBrfShb9e3iNK/XpuXf9epgq6wgRm/6sEK4vjKoOHagy62y7Zc
Auz45OSMovlMGZzerzXNgdEw/rXFwvV3rQ/uNTqYzHpetS/X3CCFeHEpZDBrXnLeqS9tM+0TTdNT
4jCuPjIML9540vv393MfE+krChxGswhTQa/9/KSxnYaV1j80wIV9iYmFk4Gm+GndXF7zF2/GDv7a
JWRhIRaZcTRKCbosry5o5mrtO6SQo9G2x3YC7pM5ACLwDzI1SEMvtWJ/ddgpA87fDgeSnjMNUk75
GJp9c9SIdC+tVaFNcvJQHhbhUBX/22UASTRdV1rxtKvhxP38GZdiDjopAHBYc+dFS0mD3GyvZWEf
zd769udr7d/qqy+Al2x/0Xcdofl6urAYZlWvjY8Eam5b3I/+YJwLxwhxj0uY2YcpdLJnpVcjo3kE
xjSCuohN+M8f4lejDe0b/B8MMEkO5jjxaoiGts71sl1SItJtqi9bob3gMMjceaqtYXk0+t56WdNZ
V3HDtkOYiC0orPBWBN8MwwzfSuD5TZ81AEzEqCCw4XYjrvz5G8jtwOh+WBbmYhBJX2kHCxAFRocT
+KGWLU3tWnanrO2DqOgJIa6U3R97lc7noSjmTzP9v0R1Yxr/+UH9+nPZPxcjJ0RQOFpea6wHsYb2
hq8XvU1dxatG0uDnG16oLDDOeKTf0hv+uhghaWXOsJM0d7XVq+9lMmaz50VkVt4swfPGeCrKp2ks
qR72I0G2UV0XJe1FeDOwMP58s/t//OdXkztkIWLSwZLIoO3nL8FTRWF36Ya0ddmG09B3Cwl3pHP+
+Sq/eaS8efzgMMVglfxFWed5mGJ3qaF0tPOuREJ9PwhtHYmKHC+CyoM48+cL/roC7WM8IJuMwOji
vJ4dlPQlDMNlS1P9kN254Irjpmj8gzMhMvvXlwLMZePw3D1sYPJ+foJzLQZrIjUKEZDSsZ7GIllR
y0S6xwn950v9RiPAFXhZqG9/YNRfLVqZj9dsliab9CrrK0813TNGnqpjltiQZTdn6xKlxjJe1zjN
z4sW38WctzGiSvPQTTSMlQ+e2RkQVfbK0AktmvToKQegGy3a5RIoylvJQb/5JnbnKoxYNlrMEa9K
uzlc0X7ilj7QrCr+ZmI0X1ntYh1hL+uLNx7PLy8zw2i+axLCWep8KslXXwX+uBLCvDwwnDbruwH6
YgDJu1+/FXJoyKP05upT46E+uixWB0I5vGs5f+6h+03JoIceQkyNCiy2GVmIh06GWXj+82f8IYj4
6QeHTAI4FDQvClDsWq8+oz2ZY1qZWh4048DtOctX8NoL9o3wUNGuXuPMmLfqBKRALqdpFXAtERCN
SIRLP41XUrFXUHDewKiCJf7Yd32Lyw9a60I52SIeZ/Jj3BKFIobjXPYTScNOmotIYEjqohX063JZ
u/Zwo+p8LEnuzNZkzEy5XhgqNZk5GOW63Y6rUOKNH8qPbe7VrWMO2mfePAESDV6tNSkkmZImF1UX
Zd1pMXpjjSszKF/oPdhtrANFih8NQ7+My82puiN76p5zj53xBmPPusGybo05ahfPfxqVX9gvFfOF
Jzsvtq8+vvs+KkIHLJU38dVHVF/qpahbQYthdjaozGsuR6aJuXz685f6m/cO2gD3RRSuSVjDq3Ky
JzGxpN6UB8PkoBcOrn/ohm15Qwv560FiT6cnCALsYEAVufvM/3lK4kkFuUXe+qFQaXdd1CoEtdBs
I2S12hlOuQ4M/X4bUlBXed7U5yEoIFHlqmtjaFEtMsXGDY04Wyec2HQ6UpHMwVroN5RMvz4NTG8I
ZJlTAvB0X4t1PHrb1soY78DkZj1lamS8xQHvjS3ld1cJWQYDXF37L+nVy0RPxC34sdJEkn5GExzB
wGHWRd698dbuD/XnlxZVyM5U32PF9gPLzw/d4M/FSOTLYek6GRPvbkWgOddkq6emPRXZSmjYYBHx
Pa7OeDm4eeke//x2/VIfYBPgeWLJRvwEbO/V27WYzWz3mk/giNY4jg5ZiD5Os2ums9lMC29aE+Lg
wpNgLnj/50v/sm9z6XAnT3JVfM6vLQJE3A3KzA3mqUuvDwvOk5s9d++RRcd6gNRZH/58vd98qfsp
FC4pYF+O568edsqvHDktzZapK02AG863DY/9G9/oDyXdz1/pbtrmJLR7M/eK/OevNOUkPFXbDJvL
q93nMhhwl8tw7+wPVA0yKcYyK+PRkLhtGPw2c6Kxjm4dSrCF3hICjNae79p8VF8Nx6pAGzFAvPKV
06ozk4XqGTXJ+iU1pGIdaIEYxaNY9CP6NXFb+T5Mux11paJVt/YY0Xf2X+DrhkaiynJ2Ys1vyuPH
Y5BB1ptjTbfN9Vt1124djAVCMn7wpgzjKUcDmP4dVHY/n3HNeNmxXlY7TJjDprh4UQlXcWkgCogn
h1zghMZz7cRhmWXOkY1+Je6BnepZpPiq46HrxANnkqV919L+2a5WUWpU5us89Qmy65VjyrhWVtR0
E3HO5ZyNHzVyLCuWWeeucSElBtMcXpI4TaUOqSi03d4ZRuqDltvI/otHfiwPGUIrO8K23X0Nsb+k
ZymwwnzqGDVfuH435YSnSj38Z7X4V6CT/yvF5CfWyR9JpPv1/glS+e/1/18yRn8c5/8PXOIX3sl9
W31uvv0TMPrjH/wHdyKcv/ZjqR3gIPSRHwl+b//FnfA3gr2Mih2EBv1BFp3/4k5c56/d/QCNllYG
/o29SP3fuJPwL5Naj7J7dxDs3Np/gzt5baM22dhhQKPH36VyXvBaeGv62oLqiFjA0J3Wia0Lczru
4eyw2DLD96PaH6mDutIL73UvOU2XjM5PVC7DW2vGqyp2/yiUliauGArMvXT7ecmYnX7pR2qbg4J6
l2TMsBI1DI9kGIl/d3L55UqvuoVjmxldkwmTgZc1nnpzBqsiaIwUg/9WgOurre3HpdDKk/HINrrT
ZH++KaIbNsaUhEiCTg1Peh7x0FigNcKcCItGzipeZ4I6qbPDKyMAN/Xnxf53z/Sfl3/1TLWjxoK+
qXmQvszvbLtnwpap+dFnR3vjob7ax/5zpw6gCrzZP9Ikfr7TFsFH6ra8SaFRBtetbzP38YLSEIT+
hngG/JEB0fHPt/eqq/rjmj6dDX4ISLVE8Or2XAMupCu5vaIs6W5R7S4JKTSSLEYKdKM0me5gxT//
+aqvj4g/Los1GveaIG4Li+7Pt0orfYMkn1uoaub2ObCUugZDr4tknBcvPbaQ/+zD4BNLFbvBEMZO
yHHkYkBJAytCm7V3djM4CgxXvKFHkdTQlnHbBsRoPUvMEd1QYvw2Nlb7e7+ourdy3H73VnC+RRnm
7J7b183Kqmzaea+GDr5TMoxvy7Q8U3ovKzE6qn3jFaQryeP4Ry2wP64d5YOti6dFqOKrbwk/b7g2
dGYOrUGGYDTSKwTC6uf5Q8tBMohshZIqnp2KVvCSCf/ad3v68lNHcwHiONN/lIhtuhy6dZQwZOXU
XVsGKbDxwkbfR8pt7Ok8I55v4h7BlQTyMq3vNjlYVsQzb98ziVvr9zon4JkgCE5lWFGmJmBQyADz
TE5I/110DZYAnAPNfSPrco1dEHaNG/scfGjT0UfjBEhzCEkNoU1xUPRzF5uKcPT7ofWd5dz1wYL2
d+gBpxhNqV+adt0ljYwY3ZshUOSD+FNmPA0Izr4oeO3dMbUbZHxjmebewe6XJcaDxyAbM2Lw1crM
BsVRb4E7GIM+eLTWYD4NPhFUEclKso92/LGKPUNOKhFiMcp4JZLh42T24b2ya5KmQkCL7108aP7N
Ms/tA1ogtz4Ba2hZ1yvtvw+nLlsPbl6JO38Y+088JjeLgkWob3uDfTsqJ8txJ5L3QDsdvOXfiyND
shEBx5WHuarGr56z+c9gI72PtG9WC2h94V12Lmq5UcDaiSqrtT+CNta3mAuzv61NIJdDdvWjeVO+
lHbQBijQNMqPMdumB0T+AtBd27kftjEkVm1uve2pGJoW3ZNuzScEmVmGJK6dn8DmB4/apx5EGya2
JVoLAh+iUVQEe5Po2ETEpylAqCYI/mgLRsLhmoHCPjJCP8PfNs/+V69Z0+KkSyP/PhWOlcd0jctr
fHn1FC1VGc6x3kx/vsOxLC77Il9gw/P6P7JT+hAlGZ5TZrb0CfSHNc3M+eQZq+NdSjLFnMs8mCn9
Il0vc3Gic128b9JB+Ads5qPCibow7G/pVb8fBeyzyC9DpzvvJiz3wtmT5I7+PHoycgI5wBwEgqQA
KYMqDvdW/piL26WpNcoQa8yAHQ0As5Oh7lcqQLMRBxJ9kI91LGT2wUptGA1gw6uvNliJNdFDQYDI
IM0CujOkmBdSXBTYWcNgFjXNNATO26hRhRSOX4SAWP3pvc0Gth1o3cKG0NM8tSRm6tJPKHDGz9U+
a7ruHdeBTFE2pFbqYoFYjcXjFnhh6p5xdyxNNHiZt9xQ+A4eQsVOLCdnpjF/DOoOiWhvp7wKU7DR
5KDVQCjClbuQsfa+7SmiIjq5yokbpBbhaSvXYLtJgWEYN2JQ2/a8BnY4YygmMPTYNdO6/p2Oslgv
sgUlG/o0f/HUYWPAX30R/Mgc2KHVeNs6Ta0+AFSQ850gZFPemcNChBgVWXvlZJsE8pCCY3joesN+
ds0pDSLtbe1wMgjSO6x13tAPa3lZ/cNE3IzE1R4O0y2vQPhsdlvnXTjYw0Laht1QHISVhvpilHLv
FSI1ftReiqfRhoj61FhCOhFHl73R0YXmzSxGBtWyZGQT0boaUXORT6/OXoY3NZktkxWERbN1rWfX
sOW932XLF8tVev6Y1h2+BCCcadqTuucNEIvbRZWNeSPFDC8yEtbg1ldAOHv/3Hq5N/sIkSevaaNu
6EVnIRvB/HBXl4TDunFojmgOkiHLOdxdpEZtAgXOcg+0JQ5zppnaZwdsXJLY6e+J5Uaosq5PC/Bg
1mjhGm0Mm0EFh8UCttrTw5bnurDoENKgAiSp+I/ZkQMe4XmDXwCrcuuC9mBMyvOOs62yU5uuZX3j
jF0pzuM2je0TuoaabKGi8T6gi5nfkfQcwgEf5A2teM3xr7SQE2vXya7aQa1HWcJD9dC4HWAj81z1
3L0f4Yw/OYiHWqwHs4t4w/JAya518zmVFXzopYcIvzTb4yi78b1UW3s9h9sUE7o2f4DEpfg5Z2mc
+kgixAii31hvKtmvt0VRfW4ZylXMmL0haZZOxyO5f9E0VnkyynA+OgKtpJFmAuGj4SN0Gurq3QgU
1IxcZZlXWzYmfRmUicl0Wi/Fp6zgIOnYFTJiAPXuua1VfgQRG34sFfZQ7WcPwzwBSwNkTYs6TG/o
pKQJFJOji9EK/bTpXRlDgBoJtz/Et7m89BQNQ73pp3Tz46Dx1/HQMI1BAokYtgjrMrGdOZn98bSF
PjGAzuzybgSguh05j8e8rORxMrszAOvnXsudu9atweexHoOj31b1mWwHdVEOafUpXMV6BgA/nzgt
8xlWNziFGXoQDuN6Szpn/dqE7XNZphXEbplsds8WADr+UAbp3O387uKmIMwwygk2vSrHDtsIzOgX
Z3GsEzZ6OrUq8NMvlDMXDbrGMxDar8GCxupAxMlLX2rjMG2IQn3QoCdV76mDbbGAhk9RVq+L95yO
untns+odqC+DB4N8gKRGSR3ZvvpeyM5LjFBejWP/dfURFc49KprGvQiztjgZonim1XO/hLTlKowk
HOJ5VihBpiQrHRHrYYPAB355iCwmARepHMwjmUqXY269E5VN6k9rkSfW9P1xKUafGSb84K1EY9rk
/U7kQQiI7qZBSkOr9GMKdH0gRjLbThbK9tsiaBzEv8Cw4kEg/osGZGwRTeoXB6HeUyNmVJ+BOfWE
eqdrIBI/6+4ZDnnHqZ/TC6rYd1CorNsld9lxRN/cYXa9HPLwXHcE2gRj+0Uu4hZ+/aUYYIxMhcV0
aWr1ZZv5d7kD0zhU47Xcs8pTPyTbstmXFZjAaKgofa9xSMjvVIrBF19rI65DnR6kh/LcNBx9VWgP
8WyoINuZM8mitAvRdDRGHW0kIkT84MQ1caRptFVOmjiDBF+h9ROqvTtV+H+bin8zNZs4A+ODrmh+
XxrvSJE23XUG7Lq5CU7gdsdDZ9RfUXGhvIU7Hg22cyeXbP64uqNx4Wj5UHLWZX5TqIymfk4mTme0
D9oUeWQNK6GLujraI+NsKBaxCrDo+2OfKG91SVnVh3UZ8W4YU0I1mF7k7oLKqQrmJG+2h9ZBzYbU
8yUb5wCxvHVZBgwEDVOdagnGK0xJk3ArfCHdZyecOcAY45MxFxfYPtHvy4+Tnb7bFBaRuR+uupZx
Qiezz3XB/kYXwkLBmt7WlZF4edcnzdjLK5RdLDFUPWqyvhJUhuRlaYOD31vmSZaUy3ZaQfwtiBEK
c8cAyi/4P8/ICU4Zo8v92efeR5ytU2xu23d8ueTFNjAiFFHC+fClq21UPalo4pEOaouRhx/n9uKY
UiXSU4k2QgCCAap7ubU3DgXxErHYB1Gls+V9sOa5l8DxGU7NYM+onj1oMEvbezPlymA0vO7hRJUa
0vICzd8OH6GrYwyRjty+CNVrRi7TxrLXg3EgSglDJmgg/ZB7afa05WvzLBePAYXv5phU5jqDZCxs
GZTRvAjzbzjrlo4KT+XkevLO9Ycq9ww8MZruc8RWyqNvqsWNqU+85sICqRFEruFq9THsfZ2fyEvq
w4tO+9NtMYOiP1qp096X5tDRW0xD+1ybo7wU7MAM31MPzezA/PvCLKvwbKy+JDFQq4I3Z2wwmjjE
u37JLK+qDjQhxzwpbHv4zmOkuSenBreM3MJvwxaAphxS5SxR2fsZ0eUZ8rjjuEz+S6hWZI1MLdwZ
PV9o3RIGBVNTGWb6rjDrOYsr6YvHAPsEMauGVdya0zaW8cBs5DO+dYuNgA6U4KXGcXiAKlLKiLss
IE4NAn45cMNpYZaUUvkKVxODS3ysNcZz2JkfOPY+dXWXBYeQ1s0PhlRVQnuQDNrNrON/z84Mmbmb
Dfm9Sy3mpKCxszXuRrQKuxTB7EHCG/mFBSP3JUOvmqDmER+mEGHqsVDG+LzgtRyw1zc8JV8MNKuW
kDjbA3oY7zqvGABiXpgH/lg2mF98ti6fs52qP6Akzz/k2T5ssETjv7OClW0smBj7IAlHmBvrNB1e
xm4seFbb7oFCi0/E4eY393LrEY1lKiVZndCIlYv7U/WC7ybYwwut7myJalMXk3B60JB+/lIvzfyA
GG95CVqnv6hUt9m8201vo/cM3edp2GdNiBv1qRytdqLY1v5KoCKNMtxDoQf5BCnoF2IUwmcYrqxH
FXp01l30i4SvQP19P3aGRyHPi4mSwa6WR8fv22/lDDaDA26PJgil0HatWg4F6GEHVNytwiOREBG+
zEfTBjLMMXlzXgCEu+9sr+7GqGUsRPbM7JLPWwbhQIuKkABWrnWrSNUMm+Ubo3F7QKhPBiai+Nl6
dADAERlDJuHlyFUeq4XqAHl1aswnx51K9svFqw6THBmkIk3RX1IIZw+bAXHm0LtZ9QFiVv8Vmqq+
K6FQ4GpDX4A2VGX9u7oQEydfT7pLjJA3RKaMjUzE++yroJbxKFomrYlJI1DNefGaNNi4cZF/NfA2
Ysgw09qJuCGIMqmc8u9NvtoPijhSdpnJH1Eodq7+GOi2J04wQE2PEH7emtMouur9OqaWH2HPab4Z
ShF0O2ZD/wgpjQOqqUlpiAKW2iypqsb81qedow/pZi7+YRSZ5yRLjgckWTdSVCLSBTcsQe62XeeY
+peYzr7xqZoDkgssbXQtqt401RFjw7E8rqWBu69m5M5DnjZOVW46GGUiF6x1h6kK7CNHX/YLuRSZ
fyBDxn20a10EkUGJ/77amD5F1hhAgddTJy0gK3Y9naVHVmliiKG7mNVMSsM2ZdbCIc+zLmqXCCUi
fYppPWpvKqZTOTMiv3ExqJCO44nig9GGtR/5qMkefOpWKzJceDGJS1BKF/cY8Us8j3WT7aB5jkbG
UOq/4ZYoeWI2DV+JrovxGEhzDSJz9CvJ7oG0+uh2w/LeMyBZH/yQ26TCbvoHS+dgrtHOlOMZ6YZf
n4ghqh6GaSUjUa+jmSZDKWcSW6SgcTwTb4IZYBlZz1P2cM5r81HXIfKIpfOC5zSnS3nwW7aoY1al
Qh1HKy3fEqTuA8Ofel74d3ce5s55/tH75e//obb1WsfrUhtkf9Ws5qPGZnSxjQIBgmaHOBm2Iq9h
gpJMuRKYqKM5QLe3Heq0o+V1xjsxlv3NmGlpvdEx3Xttrz/XjnhwQ9p+sB5ftS7z0B3LssxkLOzt
05wXigIdc0ersjyhIDP/3XATHYK9TxkZrAo4bNaPcfs/HkOZ9YOnsKXFIYj/GFGcFc90H87AZL8j
oLPfEO+8GuP+uJxHjw5oosPo8bUI0BF09XPTzeNJy3T8zIxuCD7UAAQTBl7G9uIvhlV+7mdS1LU7
eW90On/TVqUzQ3lMmwWFwmtpTGPWLW1Gxgobi3gUsI+QOeGRA9IQNvPnFvQvXyPyG1MIPO0oTpFY
v5pgzF6BCWa/1Dps+kgsRRnbhbL3TITl3DdVlvz5er+5tf2mQGXZTKQAiv38OvtqrEy3o7kvfOCT
ZirXK373rMSG8ZYA65dL/WBc24BOQriAoDd/vpRtL/4gZcWlMuDTvklVg6QCuwJOwP+oKP7/xPJ/
oHr6xxf8y8SSA3f2edh+Glnu/+K/I0vxFzJJcmUZWLFUiH8kNHh/wTTlz9FS8qumrfd/RpZO8Bf6
ZyQ6AHNJn/lpZOn+xZCGMRS6A5rd/r8cWUIeerWIoXAih3Cn6O9XCl6HNLTYSVQThv1hDIwXFIBW
Xz3JVE9nzJ3umT2QUL+pNo/ByGlCpLezK82zX+s+Lnxps+LhSWUGAmW0rN+n2ASP/qJxA/gFGKWF
XkDatPYR1c6SYBaxbzpbTDSUvc92kBdMZPzu0tMURlPbchSovE/b4n6b/VOt0s8D3eek7QJ1BX9e
36Pd7nEJMQ+iTJVXnCWNpMtHC+tlsIaXiPqy+zVreb0nV5yIVL2YOuh8wnLvXSN8KbaGLkynwaWs
9LXWMjLEZJykB3k9VZZxnA3DvlmJoElMox8wuRJkFqdU5seqSuuTNMfycfUyBG2K0Jl3GZLfxET4
mvToNT+sc5CebZe2d2zTdFrozdLci2Eame86Q9SAS1vjXRcApGClISvREdn8XI57zy5P0b2xn9hn
ZhsBt+NTSK+9Mom74uD/TvH/2B9nNy14rqSdKHNyzaRZdYpPEezMVW5IK+4RqsuDZSJK8DNaW9uW
L3Wcja6zRgYd1I+hxJTvt0YiEWe86HLFDEau1IgJ3zHGiO5C+eRks5NCwNIQBFSAh2sziyxMDG6U
NLM0N65tJxyjdK5qGk06z5N04qtzcg9bL97svUa2NCezLrCIRVa+eJ4BtAJB3eqLvuy3M6Ocr/Zm
/91WGne89hKCNrfvGHwwJ8n9gIDFvL9ZtL6yugcrOwOoruHekzpMUCVmwpKzZKpUkWFTVNvHjWr9
akWG99lQ5hWBAmSurQTK5aN90j3IAMrxpy1rm4txdr/2fXeiL894Rl8Ielttmd2Vgz5RWpxrq34c
Qp8bqCa+VZTM94oz39+j5Lg5tHrY9VL1wcukE4PVXFEwWrHI0NB5/XwliqA6KasO71GvxAG+6dUd
ki09h4hnrrPOrk+BZfQxsWRf0CmcdWObn9fQcBgLyCHDwyIg7uWz2VwwAQyxQGKojSr6Nx+AWfKf
s83SOIaiqa5hrgyJWfYPY88Jgo5c8G7rx/ph3cBNNTNuaWtejPNEwOhtOAA0o7Cw8TT4DNU8uV2V
++l4zU4c/cQF3tAsKdjrk4oQ6ff4bImKc6f8WnUIq4feTC88utUXgs7Gx9lobQZgLYb9QnXzwZy6
90UzfPIV/qB1Tzygbc/8RM2MFBtw24e+3E9ixcduobtsM9I7kXcWxLUD9oIjy/sZHestnsrsQgls
jOXuxWtRg0ar7ebXfj9/3Sow+NE28LnSYpMHtZksFSNNLdKP4OkgPaWfPzhRWJnykLeWGYuq9W4w
TWWPeuzWa1pR5pnWenNdytD7BPLwCfM8J4q2eMplc2nQ+Ywy1OAHO2wC1o9ZPi47TgO0XXOBvOmu
bcITaeW406eNwCqBPPlG2zKP7dX3rgK19Df1TtkKn9qhDhOM8ONhSDGYO+V3VxfoWQ0gdhT/5tEN
svYu7c1rZS7eicJrvbC17z/mNiPWfZm+7Fj7eQed/8XcmXRHimxb+q/Uqjl30YMN6g3cwVu5eoWk
mLCiUdIaYHQG/Pr6/N6qVxmR+SLWu6OaZkqBcAezY+fs/e009koZXBQt7k3us84yIWFaHmtNbv0U
HvzGvggr36uw3ldANvEVT8ewdi4JLeKi199g7JEAJQAsY1PfyBG6Aki9KaqD7MZrHzLDvaaRdvE6
ijJOcxls57D0b5LO4zhsfTCFNTbczmlaOkkfVadUnFX70tWp4rDhP8pW5g+CscmuskqcrEm47mbf
ab57c0rgIiGa95xgi4M51e2zZ3Z07eYI/Hm+zYB+4Mv/tLj1Sl+Vtq7nneqpitfael8sk6UiDM4I
P92t2eTdBgqkOM6eReKd5+fPmZyZota1ORwZw+JuBV5WF2Fsa7PdmoxpBsAX7hLZU/Ay1zX/fJgb
MbBBvoOyAM0x9hmff32xe52D+6iSg+utTI6X7+TYYAkfW4kwR82H3Flfp2m02R08oqsXNb56QkaT
00weTS80KNIT033RYYFORw5/zdDGxTTk8cA0qZv0fMoSDsABiWKLaOVmWO3bBdvw4KTGvYVz+T5R
ebltrfpOks8TJtm5tBr+MLOMgj6/N5L2XTtzjv8zW5iRqvzNS8F2uLnkJll9tgEYBDuACmCPPDwO
R+073+ix5S+KnizJBnzYt/hZHLKInPUimBN9mlI1HKpqPYaa1r2XFZirR3OMaDaPJ0w9sUVmazne
MOgliq1WRbfJwtbaJ4uwN5nqGWuxBadFc7g6gjaFbN8YZ9obY2ifZN+FpxolJJgI9k3wc8lRd3m/
b0aZsIZ3OiIW8YEeXcy5ajilTs20oa8OU9ubpwGNw/Ng3U42CZLM3sA4VCv+arcw4wYq9E1fvK8h
YBkykdFUFc3w6AyGd0jgD0TdYBDlVDKXQjJzCJTJ+L6EikrEdntkj3APFUvItkltsTNrRHxbbsHf
0yVNFEdrs6NNkhb8NlZsJ5RoG8cL0TX13dgFL06R7x1/iJXbh8A/lNw02Z1I5Xem0JHq6Z+NWfKN
2M6WscnwDmaCny1mkgnZaHb+midvypj0Yxqy8SWF6W198C77VWTzDSMfvJaTrz5nTUdPXhIxGBOo
s9K0ZLmhQUgnlo7MNtMtsBAGQazf445l/VWrgZaDtV9y47y2xc1cvqWSDbN4E0N163sV/kyy2uZm
7xUFL1vmPKLWh7/+OjfLU114D2n5VdDQcUS1S4X4LOkWWOVFJHlEvGfZjG/2yOY60ZQcmjt3dA5K
TmADQ82TMIexuRSsi87wCP7OPKka/4+FHTEPuqNfpK8uVNUoN/1HsjXplmicWWHn3Dc0EYh8jI3J
MeNhmvo4b/eOFrvGr05u/rYobzcy+91rhof0B+/M3o6q1n5C8/nWmtnJc8fbfnDvukbdDzwwq86h
VXSiiXqwhzH80C5OdKPBd3tHIp6RqFlLHiUT02PPstLbKksPK5MYpLN8R+GEelTWn8MSiFOWh5+N
UtsEhfK4hAPbw9QQI6F41+ZNSeNkx07GNK0kPxZijQeIwbcPuqwJODXfV9WCFPAsOldzcq8CIz+4
fm0R1EszSs3uE9w5KEPmMsaBk6vHlgjBja/a9FtudJ+zbCpQoVTs2F3pnb2RnFgxorcI6mXrZ12y
yxnKysX4yERw6TxydyFtR47qvi+ZuCw2qX5zFokh25UDJRhJo7GTE83nXP+sQHVvFGz8GwjpWhXl
1zAGY86Wt8qiJ1UWk3zjQSO61Ghfq1LfjqH/rR7NJ8kx5hZr4AfVWXtqwDq+OZ3zIGl4k0Np0x/O
Nr7x5ErrIZx6HiV7Su6sXj+qzHrEx7HvWAz6Zrl+iM5u9OZ6v3Chg2mmzReigIon+MPzMS8+RuA2
tgx3+P7qy1pR9UCZ244ulAfTzeQlJLd6gwBY3MmqhLe+SvXIO3Ufyuo7yKK4cdHINQzVjxO6hhgr
NzgDZlVu1GH/vHGSnqGJ63qxMpll9325bqAePQ0GbTQgmMvyAmEk+ArQLyRmVZc3CWjY6OoKYhrI
XMlX4RBlE3NDzDpjZKFiRvLsVHCKunojypzJje/fmQtT2KQE+5al2RGkaXvTNCUDv1KO8dCU72OS
POKbyN+TLrsJ2OmHdhJx1lKF+1mlztLq2x07coeZn78R9Q/SCD26X+Ar2QepMagFiW0cmxDGyobO
EcvhlToaFFqdU84Nhu2y7/uWK8+2qKZz3pQF5MFGcoLyxlOj2+5pztb+jiBdnyFoIJ+NBYSSH1wV
OwhNyMsLIEqyW6qzCXZjl6OFR0xgiNip0nyMRSk+h22e7obUbhDJ9PV+1XS7J1n0W9bJaZPqponw
0YyntsKfqVz7C9kb4vvC+zHBwSge6wq3RaGKYjsHg4nCKHtnouQQF5Nax9AL65NsxtUia2fsjl2X
Wi+z5a8R4OSGh1R03+xkUruyX85EXiOwrUtLvHQotuNJGCCzzCE4OQCYoiaUSxyGKKkCOdHR5q/6
BOMCMpVWXnA3ZyxJtraCQxn07mH0NSGgLYiuA6rfBMDW8qqX2YrSoAWD4lvVeFeIFvpMOb9nq6xQ
zAGGg5GpFnWBdp7coT20464Klv3CShkPrbFeyrEXkbW2ao8kyPmMgN3ejf6gT9YVY7INXVbiStGO
AtmFcLEE1TL5mi5cPe1GGuOnXgjjJCZOxWQOvARWab7qyba2HqOATyvl9idYyXi0VjC7rO5yjw5P
HuB4EBaagUYzYaGsmyvD4JyosY+sugb5EST9pSIyEOFbYd0pYQMXDYruj8kZ9FaJ0r50pLLnVv04
i9eKEGV7M8hPAR3PL1Ymk7gMlMFOntgH20AsttbqG/H17l4vqWBKsCR600La3BPH7NwUi5cQCGm5
91DE3hHheC/NZHWAcoC8DLxnr4vdcrDx/PomARuzT7K226S+4V0IdH8u0P1BiEPYhUtU8rTK90Hy
fCUd2bNd0Z/8aiT6vKeUXzozPNvXN5KkkE+lRdzx6JgzpunSilo3v3dSUAqQWSJNkx2prTdfOJ3P
92qyRDyM9RtTjmQ/wXVg3F4OqKz0ynKU6nOACe2m0EkxxbL0Ehq/awEpZVlvK0BW7LPU+ozh9J4d
ZM3oujFwd2+11SVvjBDUgah7P86nxNuJhi2HCUdwQPUeMAhjtqB9sfEhrp4Mi3tJJn84TfRLj8lU
+g9OKpaDCia5bxaq3YiZl/fGoJmRuFUwjWwt76sTIpuaUVWOFIGOvlOs6axEmfvdqEG5OXI6pg5j
bYXP7UESHKtAxLf3irl2CiBTqqOtHjPGaKF/IIz+68KefpIrGVmiaeVBMKXfCfR/lJ26MG6E8oyH
ym68TYor5BOkkDwyVFp/44kkmyXEQi6h9dwYYx65RrE+FtJJ3/jgi/PsBOWHm7jzlsG1tw9LUT2j
yGJhLSBHKXN9tgm3AOKfzJ8yaYm3Wg+cW7SNyHLK6+OSOMXnzoV1s4rEYtmZSMAh1kg2h2W0orIJ
AEqPqvreiIIHYUA037MsWWu5Rek2mrGRIRvcJKGzZu/X5MKN66fDecic1I790DCt/dD10Ibc2TUe
Z4paznUQEd9cNzVK6v9qfE+h7tcbpjDNY43o677kHvdVQ9nIdHMpbxbH1eDxamXdQaA0j7kjIdws
oZIoEpFdX+y5dV79vJC3c2XPVA8W5pZNVblZt611op/GudZMKblkFjPQvzVzq/pktJZ7lJaxPsq+
52RqBVV77NCBimjOCDTKtEPpolUT3Ltr6X0kY4aHkZKYTSyEW6X70sfS4xXBmSZ8vm9s0h23SmVh
xEHU/upViEvNOTF2pUo5QqNkiz2Ue9FirczQGcRvnYIEHh00w8lsxwDkngBWd/YBiiLnczzxNRXr
vUwYoDUlZwtZq/5sdwktG45WG7Y5EZB4zWhvm4V+F6Er4FRtVWu/t5Pwi5c1TNVEszXHxmS1J+YY
0Ud5ykZz2jpV017SFlEiornTXHBgKoxznTnPXWdtXYUemxCu3cBxZEz75IFgUBSh1F5bVTf9duw7
Tu4r+FpGaxHZ8vvOvbQSRHZesUMm9gN3cbS94c1FNp0vLln2YRaNvjqGXU003vUxeFN62hYBeimh
t2NCxGOO5FLfppSu+C2CPvKAvnsFotkc3VTJtt4op7gKhdlidF7bETg5GXf4u8z5U1n5D6TtRbbU
O2CQz64p41wlE2a2g64+CGD2txNCBRSGj97aN8+cDKc9w78/oNShcTY53E6hh3J3dHJaI5Naz37m
+ycxlv42L4pdaKbfdJp9OBZTUzcvD97i6S2C4wY1J3jA3K0+0b0oNy2NxQ2Zh8wpw2XvzXm990Jx
Bm/GWTHzzqHjfQv7a0035RnGhFBQwZt4mTl6uuwJD2W2OtuiNj8Wm+KbKaF8ZAeOg3aZtxaQ00MA
QoWpNP0OxEBINkFnOdWdvC54HtQrOBvoxcPacje+T51neuEXpy2jvLB3dPdiKfAphGu5mTtkgYy7
tzPad4SSbG7eo4ePrKCFIlGSJ3n/3Z6DuzW0LoJj/NgKxMMrgEHGro+Id/0dD+gXYieczfV5bABd
crnltkkXziYI/Fxz4amo8eA5H/34YNjLziUzjvoFzZsfznFFcDnihCfXa+KQdGC7986zSD8H4UGB
tV8VgoJAPK/GtTcWni0NPA/LMrFamy5oz2s4MYXPwpek9R6VYaUIW/BwDsadYzv7sZm/mFl5SQvu
eLAZ9aKPJPj7s4+CkLphN1cBm7u8LZIbBj7IbfPkpKvukUr1tnRpEjeVX8TM8d8VEipU2Nc1PX2c
6hFiYS4glSf2cVka9HthEuUa9KDtrjDFjH1dYPorO0swrqaR0nTKPbLrfyrIuEnoPEbTDBuenNB5
jdLKPlqc+zkjRo2JFIIDnsBkR83ozSstbtfhaZRxOgUnWjUAobuA5adr7htk/ochHU6+aNjPiHGh
WroqavBWetN2CZuDDmrQt/KwOPd0Hin79bxrG3aTBHUlmlLIlXw09MCGE66MLawwgFZwebaVrudD
t7Qboi3oYOFJ39L8u9dhtevLgXcN//MwCdTj9NlolB2Ra6V02x9Xx9z7Cgey/0XrkINel7CZi+/o
MPdOARypKj/aDgVz6q7DBZW4+dD1yxQFWcvSqiaUsUWYfoJ96EaNa+eHNgGLgXapRQ+9fKnskdcG
jbLfGBdfsuBVc7EJpymCtpustNjG+pQpFYFXeu+6T1YIRlyIO0jjW5WLXaDcdjuN5Q4EyhXK6bhP
SX4j8jBqJiaL2k0iAm6EtiKtXlvrAzf2F4pzvekt1cVGH96XtZMcU28+N5XihVfjep5xdAaJeS8H
dSkQ5mxY5L/W5nzHCeQotX7t5+7GXF6F3T/WCvYHHaYgRqsgD6DiX4u82GccU/z2KnnFvl4l3Skf
Bzbc2Xgx7EtutMw0oJGZ45lQvk0ogVAQSWObZF3Km6Wsj0YeHupuTc8dP6fHI9A/snvuZbrsmmlv
dDcufSqKIPcUCui31Qt9h02ZvCh9O/msKMH6ZNkjnf5hl4v9RF+0HaAOLz5nRprUZrBNZHhhpLLJ
xnOhXlmKNtQcYAsZa8CkC7rHnIp0dnW0+KCYV+fe917CsUfm9O4tX8v+hXELhz2Og+wHPetus87n
btjWQbvrw7feRBfbWli9h4N5LRaG+nYw6Lnh8i9r1jTOk6+z0VvbsKnOqzkGmzYX83PvLgA006aM
baY128oOnyeMvrt6thEijctF4QuDLgRFcB0+3Dk4SYJLXXu8qzji7QSI5ZPbMmugfomMLLTOOH2e
27a/VYVx7FR+faprvrJMSA6NQ4+VrVnxZ3TR6qD2KcbgkJkcQ68+C3MJH4rV9WPfWPBp+APnu8VP
z7Y1fq49B/KW0Y3BBQXMs6nd9BAO3nJDO8utHkBTf7AF0f0IqGTcbLwBfgLztbyu5MMS3iXoYfaw
+EB2lTQ+WH6ZaLwlaTphCFn7B22+BEZ9Szz6ptIO73Lm+Hf5KvxjS7Ya2MYnt6Q77HOsUYqtY14t
tGbp2zC4y02gvR21NfM6UnPaZcNMNCDBprmx7fu1Y6e192VeLodez2KHc0vH1hw8A8CLsHSezcK8
a9tPukNh18vn0gg2/TRENvIgyJ7WSRfuTksmbPX6z6apvaSnXAN09qow2dEKLw5gNkkUGNf24pqz
fyyH9oKQgmZuG2Vm9tjSyKXNghde1OJBAp/mLOPN/C6lmEHH3XTg/CHnOhYC3l3DEWljlsw5eijO
9JCL6pIm58L2xkOF3IhzSKJAVzbdgyWCtwLl/xFBdQFiP4fRCzHllAflNuNT2HpBG1zgmB9l3kDX
3ClHMi21wq8Nv7bx7AqBxVQm2wV76bzhM7YONb3VPQJwHzqp6K7WBgogHsIgRwWFyWjj+Ma7R21Y
CiM7UDwMsREsCLwXvFuzmOadCimOIGSaFBbhONymFM3Pi39V+5YFdWggH+dCfAGPurfsCSh1mO9J
6npdKuOWVsJL6ZUHGIsHqw0f1iJ1o8Ec6VhhJrIn77Rm4YNDWTf2zGohLm2ywcljqYYXqeR9g1kd
tcPg0vzNh60ky+Ji9YMde66eYnua/8gooTdovLrD2pRfsyWhQvTYr6aSugqYwBeCeoJVPaB4LWk5
8DqZy4V84JeQk6JB+32fO1RNKa69HWd5cNnKO0o4KNuiRQ7cteopIeQUukS4Vqd+KOVe9Nm3KmSU
l13zNNgJU5xYYXasV8bwjaQSNheetqKpNwh6afE0kZmWN0YA5omzADMEadTZyZ+KEy22ZKebadlP
2CIigquqbeo6+2ZdUYJ3/MwCXsQf9TFvlLFdq9V8SWVobRDn304mUSuD34rt9YQCEBpOeI1CbmLW
us3D68hNPbDTouZsieMRo/L3qtYfLVl1m9EvGjRhjrVb+7TYdqVFgMvidbdl5dzlhR6O/GnZphtC
eRy6Vp5ShVY8a+cxSsZu3Di9Exx8a/icZGu7o2FhR7pLssjo5W42rCdevvsup1VDHyujurKtWK0D
s92VTlhilvObX1E+dnrRnNQ6ddaVWXz3O5fMTZV1p7VJKewxONHBW+xdTtQQCFLTi9GA5uAyM31U
SNSPho/MXdSy3DYlhqLcKSzEosWIiVsMkTNf/RsNagcTwTm2GpR+XWp+Jz/u1ZDUdJC99taE5sB2
8Gf5HaHpQ9i+pYyM7m2OG1FIM+oxnN06pm2EYUlVRqQJBb44q8u8ApNvJItraowonpaxe16C5L0a
TWPndqu4oTTEATQw+s5BgaImv7JSTP/ScADOw647G6nRIe718XStU3jTj6137FCXbqFW0GFezHv7
Okte2+qu8e16n4uh+T4AMT3Mdmfe2CoVXxfdG69NWc9vORYoMmTGhb5nSvdfqs+WUfscddbb1s/u
lsx+NAD005TlDwibtXmalaNpfjKxKBzqvVmBhrbE97J1Ijw5dYykWG1pQ1P85KVAokDJIKnFQXkX
bnV0K8w3ga39xzTH0iGD9sUX1DOFjeQ0cJMp7udwPaS1WJ6HGTl6SEDnC6zdC0bw/DNDlO4wg6i9
egku0uczbJxiP+V5ewwIvNtiIYObi5IlIZFy44CgpQlFLoTEhzLU8pgNyOg6R+fHJit2cCjKa9fr
0iRVd0fUw5fE66sY6QMrWr/aPeYLygYgbn0k2u4kzJslNb8MdA8yw9oZoG0Gp772pnh7YIfNZBqM
DhpN4T31Zj/um6pqDvDFnX9DffVLEsSfQRD/8V+SJf5/5EVcMQv/NS/i+O3jL8CI62/8S31lWM4/
+GzBsJg2L4GN1un/EiNoff/Dc0CcCjznoCFItv1P/ZUf/MMCqEx6t8lvBdBs/hMZ4Tv/IM2c7EB+
BzWX59v/HWTEj557D7U/STEQBdGGkQ+ECONHfd7SYc5LxmaKAyaJXYMOYynUzDx/5vla1mpbmejH
//T53P9Ln/o/6pG9DStO/7/+54+Cr+s1EYSCZArgm8G8tH6SO46+l7Ewtz0t3z7/wny63lnaesBU
Pt1P2vxdPM2PEsR/XQ4gBuMPtG8EhP4ErxlweDalo/q4xta7713WM1B6FTz+1v+NkPNvLwVDwGJT
d2xEdz9+mslYkfxglQSfWAbinEBkgLvHhXEf+atl/OuPEUXfn8S//+e+BICNazaWRdTnjxfrZddY
0mr6uHG68jYDPLTHu+d8Vkx3mCRpP+oq8mI3tj92F/St7m+u/3df41W4ZxJS7wju98frs3cn/lwZ
HalpoTy3V2oVgyIoS/hfOO8Zzr/x2HhX6LFrY/fkpfnxeoKjvm2TvhLj6WDatip18WdnOps6DM+i
Mv6ty9HkZDaOttq5qpP/JHZWwMI0YAeo14ERRMQ9qIh+ADZsHrWDFmF1+PXX+XcfJ2FFpiNIU+bN
v/7/P12vX1roAyAl4yWc8e+lvnVv6kpcpJ2qO2077W/u7+dnFayy6Qk4y9cVCFjMT19f5dF4dEtU
XDVnrHtSEIodYkck7qSSvP/61n4CqcKL+OlaPwG5BLtrUTMdjkdiJI4lXhMyAHvyX8u83gAAGCnJ
7fvZauaHEIPObatn9yZpE5Qev/5L/u6meWCxzl2TRQny/vFD1sWCaLDiD1mErKMlMMjWFll+pjmv
v/76Utfn4/9p8/95zzboWjJebZKq/Z8Rd6Fntam3Zir2smuYSc7JyVut+WlYmkps+0F/S/lFGWeY
ena/vvTPKwNAR48t5yreJdsFTMePd9lapWAAmMpYfspj49a1t+ObsR+XaH36b16IlY7NjXvxHHio
rvvjhVJ3QE/AzDoudRluGt6j7YBtGDZGgIZVijQ4knPlxEY19W/tUI37X1//L58xHgSX5eCKzgNA
a/+0JEy57+RGQ6/Krab87OCDOaCXmW/CDFGSSq3vmmSpY0piz2/Wvr98wnBWXOA4Hs9SyGZ8fc7+
9LKijKstRTBCPFV1d+Ai9GyYvJ4W0qbRM/Q1dlV8UmpCiuKknI5/fd9/vTyoKSwfNlsam+jPyBqG
oQKQWZ/FIB3WnZ0yxsD2726dFstPbFc+fR1nofvpD0N4aCgvfsci/usn7waQd6FAu/Amwp9h+H1V
E540qDae+/aq3C6+4xZ2tsrP6r3VTQ2D6FrstGX+LjL37y8cmiZWp5Bs2Z8++TYfsVM2LYLXwqLh
JBoRl4x79yvh5rdpMbov8zJd3Uj5b/b267P0w/tsuVf0vwNOFkA3+/uPX7m5JJbFPISYmCLsI2Ne
2p0Zyn4L/x7mMTEQmxbF8m/Wq7+529ByeYcDj9YJHPQfL4q+ohgmkrDiWs3pjc4QUgLcwQgqBUrJ
3rYeddiHT7Xw8t884X+9MvVnSHUoAhtipHd9BP/0hDtaAw4wtYwdHGRRUhrNe2qWn9rFvUrEXee4
WozrU9O7/fWj/fM26FpUuxbfq+eYAeygn15pRqpG1VyZMJ5iclloMnLN1XPOZOaixBbG8deXs/7m
ei5Hd75a1Dc+0/of7xM8qi1U0Rs4bqz1C8c2QOs2TKJNQL7KIZwJNUqMqyW3nYrsJl1FfglQ6X8d
GCjHKv+nAXZxj61u+2fD7aYD+SX6N9/FXx493nHcOmwj2GiwCP20niMf7LIiYWrit+QLGdOVGUGn
5+C7VYHpOJu2rEXD/jefDO4c7v2HR97GjSQIu6DmosoUPz0DQZioIa0sHxjGzNjT9KZu/WyRBVH9
4XKgVrckMNXzjZxzwzynQ144SAUx/e+xaDjVvl21Xexn8uyqpz5HvO5dfc2mG5ljYuefx2Q0zVss
Z671lGSjFMxV+5ZuoGo8oPtznfUHwrdr7zM0oKY+0IFaywiFSmcMtKbM1IxlUCXrKcwcWR1GxzI1
A8S2H3ZGUVXy1tE4oHHISygQQ5+lFzLAujZKGog3KJlzspUKYxi+0iJd7JORpdOnFVsf4GejI3Ot
5lHPUU4qQJTOPNLAnB2eA2mXpRvPTnUNmyFp9145GfNcGEfIaEDQLebzGGr3o2wb0mG8GntAOqN3
COkbe9txEukLBySTdpwcrnOSVsOUJwSwvl8zh1mDkSlhRm0lfToPa2vcKBYBXBKD7L8Id3LaXeZ1
mmEvZcVRpXhgaARDnduvAQo6GmOMgBTY6023esnnRTMFOqWdMaMkmrvgdg6xJUaasxBDSrJa2n0p
kpYsvzkLWjoGDmAX4t9qhu4TP0vOun0NFVpgBEEo6r9cU0es2A2MgVYq9phtR8AL0oihQzlX9MX8
BSn0dAuUytc7bQzJdDdN8zU8bmyzcUc4oIWE3GoxDXNuMEiryb0bayUKK+PfI7olLIJbOtvNH7Dm
h3pvd6HwjosPOGbLfec07AmOIXc+zEn3Trq1vgksMyMDKAOqcspS04hNwkWNfed5AwbM1YCVXtu5
dLfesBDdhijev8WvzX/wu0HlUUuqYBGLcOomYnXsoN6qLAvtnfbnoDzlboGWCb9hv2PTd5K4oKgj
dkDKWUcWVDdoLj0tQPDYYxYbqkgH3AqS4MPRUkTRVpS141FY9K139tImH4inNGFTJgSLQpSdjkPH
SMUWx/v07LTdkmxyoAtQszSEJdT+RiIj0hsbpJBM8GK3G6wa4YPj1juXgdezU6c5X0M3gH1Z+mTY
OWs+NI/2WBgVFkI7LR5Msixj2ytneUYSmMu9tIshvAP0EU4Mt5r+Fvmxk54V5dYT8nkD7nxD6gLC
WjMJn9qh7m7alUZbLJjXcAWannDCi2lkxCQXMK91ljvQ8BcL5Xo9Fs1+9Nzk3q26Xh6oIAp0cm2B
q9dUvaIQli3xXDXbHlEtczGwwdA7fbFAhH1iP8NXs2YmQbmOSJBPzwndNX/wfZxGFVGyjPbskWFO
ujRf/bRnj6JCNdxNoMWS72qzUNM9EpnCfLAzgtBjmhzVw1XfYeydxmx3NjgtGVd51wx8HOYo7oE6
gVnj4EP7u+1zp70ghZqf0Dha5UlIc7zJceR3sc1w8NvM7Abm/zxOSeSFTXLEe47OdqZkK7ak1gEd
JwLMRvFTmRZQVw9wPLF+5LpGtZDjEkt8bcg/kW0YjKf99Hsx2OYap2toX4zKRTnDoCk7TAsdG8T6
oXk30BdOCqT4YKau2JjEy6CseRyeMlwsw9asMFVugYFb3Wtq5DDGhrZHrUfQE5OeUEHFuBtbC6cU
MKU2OxH92Q7HptG85iiPRLBbmJP329SutN55S4uBpZLCux0FC9oLVCGIQTWLDfzmAUvpo+spb4rc
yhxI3Vu88AN8VEJD2OeIHOf+NVnP72YThFs/ye3gtOsTjAMgHQzw8aEjIqkZAASYGtDi46UhRMuq
6f3Dj9m0DK/NIx3w4q5e2rqK8GWlEGFMd/wUmF1gHlJz1ETgptkzWAD/TdaSE9ZU972J0hoPXGkx
2EYZA1B4k81lK8iDHt0cwKDjqtgPZk3e8My0K5okNjxipPN2Zd/RGmvVktcvJdyDJc6Turj3u6IW
YLqyhXazpM8agwaUT3MTLiygi289BXWdfuvFhFyQApG+mc+k/6NcqCePpAQ1y7HkPU93NZK5cr+O
w9QfXVGGTE2ygD2d8Eu2ozBPP2RaKnJDQzNP96jgghcBf53Jn7ZKHIfhkoA9keSNIPhaAeG11bKf
+6G+Ep/wsJhNMjwR2lcQf50Z+rz2LqGRZOVVKCxJ51j3SwJBj2FCYLx1/br+UUtnRo1b2L51GNck
3Pb9aDN4qTN0JXLpGArQQJIQqXKSlDcpGdmXVXQa1hgYiA8r84YHDDhLewTigyzLCVClFlZrYvcq
CgTlmWHaJ7R/LvJ7dOpg0UhbU7ukSHgxdO+QW0YrhJ3ompZ0VRiRSR6F+iquzHwHEIgrJ2PcpDlF
B+/HYn/VWdXfmFkvvnoZAEQIFjUBKFgB1W5pO+Lu5kYibihFvsJdmYwWgg2jGgQUGisls1T/TtkA
lTAw+JMXB2bJ/Dz1l3bg5KoxJ8msP2VN8z2F0ufETtAEt44T9LT+ZfllTCvYTl4GuGXVjXtVcXn1
V2+qQF4YKDQv7IL9hMlqCb5CCIEbJBRDw+082kyrB1ERq7uUElrrvIaleZNDburjYun6C6zC9TkN
ZvVeLYwXgZn1Yfe0BISy7luMs2obpFYKrwIf9d4YQyt7kd1a3jEBqaA0ufbK6JZUO4AsRlV+WzA0
HmHzjX6c+KALECGk4nnhsXaxvpiehzDl2nxZQa1GnT+V35KkwE/SklNJYmOI7uzUTPO1znUofQKX
nNKNpoQ7L8E4Vkfp/m/2zmRJclvbsv/yxoVr7JtBTbxvos2MJiMntOxEgj0IEGy+vpZLz6okXTNd
qxrXRCbLzAh3J+nAwTl7rz0jsJ/WtLo4xp0/ph5MUw9vH8xfgK4O7A6k3F2/tK0AbJfkr/kc24MX
sLjsJwZ9vzLjTPhgsOtMO5pr6RPkoLA4AYB0aUIBkUNDJNACbPs2XuodFVNy6VphnO0K4/gZATR3
SydMXW6wscG9j9xI6wNQFqxY6+CnOQ6GhDFaULttfnRBa8a7OfD9/ipc3UoWWYvgKkQPt23mmdWr
joY2OCnPZVSW8oWG2bLapTh4Y94vF5XX6dsEGwSm03eqycC/993wNoMuaFP5BkmiXHH/hXP/Ds5f
vrWBhImWDx1odNMDKNtYE8yvsKFQTFiZvLRreZtVqYzgg4L6++dEIUpDKCq8lxYy2AuSIt1R4NfN
+9p3U/8TfTzmxcCs/oGUy7m5b0krRzbClJ5gcFSbFdVtrsydRhpwh+Yl7B9tOKhLmWEuOfRx27OK
4TWcziu2q5hQ1KU5raKJUK9hjCUyzfo3p2Noo/YyrF2Hjibu6SyISWkC4GZZD4ciM6J5GKxji0PC
xAnOfaTteOonhZUYGxLBskteTj4G4iBoznWfrA3Zm1PtEpRpJ3xJIRy/uYDmc6XkNfJUDikgKzDu
JCGvXmK+pUvDRI/pGxYHibju6nFe1McKoh6VTZLlp240PqnGul9wJM2FfxKT37GtIygdN5Xr6u9w
OdwfvclJmllydJErFDR/N41Mube2CJp8S1fJfSGXVy6bCBKp2NaGmdlmRdmK0CnI6xlDwNjAqUPZ
I5CkM7YeAHzt4lRNeHiClbdXeEXKL3RWzepTUeVuPQBEFkBMloy0U/vyuVSGNdFTLvGOmo3xhCu8
t7i/U14TwFny08ggXng8l/mHKAKEPtw1Vj5QtAY8V7+U8y0nt6PiLKSS6NQ64hCVFTcFWx1PZjfB
j8g2wy3iw29l+c1WNIOOetESkdiYtveyzlJCpftY+pvO+vV7SYel3Zlq4BsqExKp6VRN3nnofdA8
VUCpSznpBlh54mgM8DU1MYqMRKmUMWMytVuvrIqGKm5WLYVwO5TnZHXjo8MgOUUKVoXmEUlrQhAk
kPobCFULqpBposomFSLfMdbol/2yCKQpCjfKu2XvmneAfmPMMTNyUOH2NSZmRNNEVVbUmZe5Jplk
71Hqoeanet1Yv1JPRTPGLzkQyEvMiBap8JRx0IuceTp0QSgcYG5ktjIJkaNDcSZMsEPP0e79dKhP
rdCe3YyQgN4qeiKQcOJ+9BBP4GU9di7a6K3HZeXBjG/yRKQ+QAN7vEU/y4nu4yUQrXaupQR3/jNJ
zHICiNWN+7KW7fcEMUZwGLO5+QHSbeabEowje0Ub+/2umhj9EezKTrcjHqKtNjqISbPFyLYe49Qg
EkFkmyOALHKM7HM7l4fWGxnf95PpzmKJIOPauBE/uKYYKsK4xSQ59Jx9N21t08vSzcsnTrEjGziA
240bRHzLXOHN5aNYSTAdvCaFiqby9apCCGIUpb6YgCLHwBLqcu4+VZYUJPzdIYzacOR+bAjBmQYG
88H62A0kZbP6OtOrLakT+HHEQbwlpAcuhcebiOpwgEJKF3XTuR765wDL5LYll7tHBkGGz67NAdXn
xZw1dyPNA8zCzNZeq8aRPCZ5wPJHf3fccI6RHgDgmtPZzNd2OKWAwWDxToaSruhb8kTwrVOxuJgc
ZsrzKDlow5YzcKSDd1V7tdxini8+hw0mGTSn0nmtkwY5psq7ZD8u2qI8yDTkiEUJDcIRivs5IYP9
hGbYIVoUAfJ8ALs0HEaSkFBJzcYL965Psu0mlD4tZyZxE7QioCcK0Vm1EjIRacX3CpEBYoTW/Q4/
p5gOhCzHnxNt2zsZmKV5dpoiAZwI3JYKr1vSGWREYjwospJdz6ctkj8yj4pegnFdwAsOYCwC8nwC
FjbPgALMkyZGJkfj4iqaeukQ2JFNtJG1KKZ9txi0ZL01/QN2vXE5E1wB/OvW9FF7qdFB4evzEoR1
qohRCHSAVLdYcrrg2JRRgQcA3P2eK5plnxPydm8HVJIQt2PZBBrME+zfxzESWv6qZZmH5AiNrNW7
kU/FnMfzOWyNzQLylslolZ5VGefLZsBtRZTrahAZmzJw1L4Gk7HeiHFJQ98NoEA0YLp6AWRJMk6X
jMtb4mCIPIRuNp2zrsXsJ2YKOgCNcv66er04zaTeNpsoL9mTHNmPv4JKr3e5GFeWEdwF051co8JF
zefdKNNVp92dpOyY7zqyRNFIt/GITMzVDL67hGWYBI4uE+c+8ciw9SurnjNnJiKoY/fQj61gB9+E
PkJ31JVxgZiPjUxs+tKL8xNpmYxEVSVSdaipje0u6gCu7lYxEAedkXNLaRbk/sHC41U74c/Nb1DT
4/s+9VbvgPWDW+IMAZCEwKpoF3HEQk+f06He+jlNyg2Pgf6IaYcl+wRjEfpwPVngH6mZgGag3/2a
rDEV2hwUInqd12YMOXp77mUeV4h+JTPq53gh4RwLXjAs23AEFLGD/GSwsCXYY+/SaPZ+dM0Aj4Ol
uByQ6oGo3czuzT3Kzwz4hkNZutu5YzPHEUOs0IHdCiu4NTeAo4ZJ/upQgQnAn3ZApW802WlhlRiG
cOuUFEcnjGDOySYBqpHD/IdC1zgCQegCmW9foUjWHC0GL8fcWiX53qX0PFc+P7ory2m8p5cALJAV
ZJKImUOSVUAmgDslOrfxcG3AtN4w6ZPfZk+PDwVFLV/Uzo9ukdsW8iTdDTDtRTMQ4uriB31zG8lZ
PXPn+Q6bFaYFvL7x3RoIU21LQGC/SVbe742JktdB6DnYkiQv+QSAdKkGk374zEuGywUxXffmd8UA
iT8qsp/FAsHj1KeL8E4FJ0l2FB0CK2l7FT9SIa7LKbKymZ800mNk5BSbPQYC6CHEzrcDa8+aDDHr
stEPJfBQjP9oLr/HrryBLKjMfomljr87RuGRXjU5BnJOcA7oNgJfUtd0Xa4djZuCEM0wvCtzZswn
E3mrPMMkcd4Gtpz3wGJXgHQ1Va/4l8Hfxe7sPfSqpUUGt9D4OyfgB89rPYFw7lUeHXDQlEgWc4+x
Nb0yBJlr8IOR4bFnu/G2NvdhcmDZlcdR+5xhu4HCfoPEbn2KELOel3Kpfvp4dFN2BuF+Z/kYwfG5
cxGdNBDjBIUmBcSOPkPF885xrNjjqKYaoTW00FlkEPUz1yKbt5yaEd7TIXP2ofbp2Oh45UYHayS+
ao6GHJhTLJjHeEGmd5Urvs9N4FjMAulEEYXUsNc7NnJitidS4YLT4kAi6EfZlzvHr2faif6wHGCw
0Gug94hnvG88ckamagV6HYPo/gK+S9it8NmND9a1zvcxDdghaGEyFgtRonwuYXIkV7yCyAe9wGAs
dMsaIG6QcpC8RkT1HXI14tYmYgC7tpPHBkW+f/vO4k+zFzampjrwLDDb6/p6hnDkV4+1v87UMZ0Z
Onpj2suOXiJa/1CU6Sg4lUWcoizt4q8sdTj2eB7yh6pK81+xyAsUqI4u0aWJtuSWqXicjgjoU2cD
YVXCGwpWuCdCLaJjfg9Rg+6WTcc9E3XwDtzGbTciRzy5yuc8hcotq/fKGsig1TC6NUdshVaxqeMB
N7jtPoSEjXmIMjt9am9WWMQ5a0SAcJ4ABoiLeT67pgH5mauoaU6Vpo/HK2jWIcgx/VuOFd89A9Tt
BVDYdkj3zRpElD20MYODXccQ+EkOC3YfpF3VHSq3WCRCfc3JnZXCJfY9gNRPUAyOj22UjYqDC95d
n4mAtfWRh848Oh0HYpc4e46G0r15DdcVzFDWwyFY1kLTuQUwibtE5HiVafA2D0U/FrSiinB9o5fD
8CxxAGUUa0Zfw8EU/UUHik6DFxXvYzracBuWkS22hnOI2uR4TVpYyDcDx0DXmGRCu1g6kpB7fpYs
WDSV4mA5YhtC6BiHiTpO1aBeuTpApn1RAwdmVJVuYruaa9xRAm3IZw6PLAicZOy0zqQuNHVC4EW3
YkjnxNejbO3Rt5JaGw0Z8xYv7k5UFg6lxapG9zC7PZ33lvKZE01SJjO6zBVFgbs2brxlAmrHO1PJ
5VHILEsPS+2G+sBCb7s7sClNckzWKE1Ps3UaqprcJPh7QzmYg+f26oN+bsUJaI1C2J+2Vacl5nEB
7djV9iiUV78YeDvNKQxzjAHIf1ykmmPyUdHNJQVZOPo58oewu5a1k99z7Q25WkhIHgmv8YnMYFPI
tn1VQD7H59nSf9ZZcCcXEO2bKATfhckI9smeLlcByJ0kStxIDN3TjfIa4L+1c3O8yzyvPoHZKDiF
kJ/4rYB0E25km8Xi5g6wb7MkSHC3rrih55Vp0K43yfBF5B3H7YW+Qwb5yI3bXRKHrd6VwNjLTQ8X
YzwZno+vwzK4HIesbtt7U0Ik2BDo7f3wbF/cLHFt8iOqlPcSYD/Ag0avd9xk3oypucy96pAvhf/r
luuESQk31XuE+/KI7YpWYpoJ5MB93CwlG2SUAXcqsGOChKJqRck0fUHbYL/P00SfJJPIvIWeVH1s
CA9mOoJPNMDuy++H5FJz/h/Tuo72XdsV5GAKJlxHGAfyUkUxeu00X1VyavQSfko5GZWso2Okn0iJ
SF3aQTp/psG9fgpTXRZ7lOmdPC4B6pl7qj9OLPCSbHYNoNpknyTzCQ1ss3Cm35TAGTNwK6H+vjJu
ScNdvTCKPHbQKvyrWOayePYaiA4P4zzb5TEpyz791HlDFd8FkH7M17BKfXwvbkl3mSmlfnLDqkET
G7h99J9kVf82T2ZCiyaC3CTwPkR2/k1WFTT9EnFonHd+JqfzbLCNOGjx9yxy/gEjz3+ncv9/6uF/
ubfk23/Q3Zpv9fIX5uHt3/+hunUTRLdxGiBN9LkXN43sf8e0Rf9CtBMx0UAjRYmA1O5/a26D+F/o
pjxUtcTbh2Fwo6lqukjF//wvP/wXWirGLRGKEx/LcPD/rrmNiSP2ycqmlcD7Q7MU/E3U0XEAXQ1Y
VxgvZrqWsfMtwiJH78nzTysPPk4Zt7j/07V5+nfNLUqB26/9P9P82EFLEaMaReNLliMI15vi40+K
Di9oqoHS/paNYFiomDuX7bkRSY+6MaNG2OE+K6O7Llv6nrCLpMOtOmUuSLyAtIFr2YpwuIBXoAPo
WzAm+0xTG94aX3I9Y4FkMsK1/enmoCpgMcLB2HZDkXaHEvyE80HWruNT/Q6gWxwtG2ohv+yR5wNw
BYlVZf61R1kvN2Xv9e9oApefgPJ9RZGMlievnFRtsljbL7YqC6Iu6K56Wy8tpuGpXJz+c1RyMt1Z
Ujmiiwtqu9kgnM/8c72mwZeQI2B+FAnoOd7aPI04Lmg/+Xud3rx9bSldj6MahpYtKgyiVwjRqShq
ZrQXC6yMQcbXwtpoqHcmrgEie8MQTGeTNXPzSacyIxMgt+kR5/D4XBau++gRfl5sHQTeH03jPAo1
EzwjQOTfA4xsDwU992gT0Sm4ja/0LTFMw5nPsLE3wB67WXzWsNL9vZn8sb4jQIX0syQqZ8wehVt9
TG4bvc+OyPatN7AVhkDaP5I+GR6dNpm+UylxIgk5ZpFkIlc+aDdJzG5uvHjNd6fTzbQPVMiHrn3a
DvSEaThsaet67gnGH38++EW6o6SD2C2VA6xvXXK8YKDkP5MWFYcHv619/LdwCvZ5HxgIblPtK3Ah
qRqf5LJY+1k3Ca+ZRY36wIpLK1ktS7v1Nb1BzJjxeikZVD9Ut0L7knSNfIkDUnAPFK9Tu2eUXf5w
MIEmm1kq9E3IvLzoOPvUy1u1roHDcKtpq+HIIaO+xUMnqw/whAJu+pn4FFD+BapoyWQsyFenhyI5
Nt3B0DdptiOx4Pqpcbr+w7El/1uJgHtPaiEdDUOCFmY0i8Gse+SlF1UehoyQYHxlgKzRyrp+hexj
NBU0smYGaQQvoSiPxvg8X25IRMAzNhRI6JsO5co47SbP86cnh6K+fCV6o6jvQh57nsKouv3rTYc1
w4f888cf0kaV9jTDk67w66X85mydYxq0Q5VEmtkKPP6Vw+qUwVHZybTNx3NYZXH0FTZDTsAZRHxN
tz8qxPtAryk6roXlafbl2oOJtuRKCTU1WPmmkU/d+pq/zHvcbS0z8GIzWq30xxLiGUJ5QBw635SO
KJ2E7irdsTxt4WYF/LwYB+Mcu3h2q1dbD3xVnH6m1gjGri7fmDoP1dMUBX3zYiiZEPw3knXDaNR1
JNGkJE+UUalfZKAICFALHaGdIp0t/kEFVsa7aB61Ay5Utb+MJtGrxgP+CRdoH34UbULMw9i5hn4Q
qRuVOxxg6CdvfhlUCA9DHbzkSsYP3eg692qpT0VOw9yBDsFCuS3UUGLeWwLGlfFR6vhcWs98HTkX
MikaD2sevvpLZU9w7O8Il8O4oxD5GDvGT0TD1E8qxGE7Nol0mBzI+eoTTfRmCeQe9pUnZPyM1emF
puRvUKs52XVyDo9ObdwzPDnmya0EjYOmhgNDZuotQQTT59ZlIayl1/2k9OTcNDvRc91x+JnlcCCt
7d2WKabPFvQnLKI30pR+Ndzn+1gZtSsCl0HRRKaP6rNz3I7fW9M84kaBSGgmDh+Z+CzK9DZ1Zc6Q
3m5MyrgH4JS6DAuuKDG/TtIce+OQO1GApUvkFN9b9CQ8DvgQOYuJRboMxqDdkln7wNibhRWcLzgy
eOMPaVm8ES+9lwHOvzr3DJYSJBwVAdNf3NzFClYxEluuiedjL3Tzy7hSpjqFuhigG0NU0Qi4dcqG
7I4JEOcsEtE2xJ5D3mXSyMS73IwZeFJHwc1Vvrn6pmYRG0tgM4zRh46vbB40F69nGS1X2F3Iq9/p
2b/4NQchInidU6G9htJ5Hc6B459zU9O1wX6cZfZrvwpY/S2BeUoFZOVEUUe/Em1WCppjk48gEGS0
WVPyMrpxR1fzJ46as3CZH0gPeoFulo+sGgyoh4K7VEy0vGlIH3pX3Hll/uKnmLtCEiiGFD3SOg83
imfSqGC3yJLUkGlFHeVYP3lWDjQiBorqPsijS1616cOYhc9Ob6dtgY11Q3AEQMj42SkLQdqGvDNp
eLJEFgD+yh88mbFwzykTt6A8MrksaVx6C2yF+ikkoXnnauYK6NXzC9meIf1LzUYlqlaeRZ9+L62e
p01AmUzbxEYO7QfWR0T6K5KLZAa9xdqzD6f62SUxqNzlhoCPwWhjt+S3td8mYhtWTpOMJXb9DE5T
IkNDFaCs2vcYJo/WbfFPtPgF0RYBBx7nHHWyi7SLIOMo/4LrKOerQf9qA3iItk9B8tiFeKP+pTWx
+w3zcP41FX0fMZocoIa6C9Hu5bI80iZvieYJky8xyA50B1X7DXD84B6aAqAJ8pjK7ImEpm005DC0
cPXmUQXWeCj9vtyPCre77kdBM7CcCpBRtPz2GlogcGYl79GUk20AwTTfObPVH3Nh3BOBU/HXHibm
nrh4+cxBw2ebqKw9RPMSPY5u+s0JVb1PcnEje8iuro6Q/7roO4cS495hhgRUnIx5TqeFYgErYmJ7
OmfkekwGlm6+iuJRufn8W6qkt0vht9EJWYR8DxNEK5WXldFWDUCEdyNHb5CZmbqpxAgItCT4ZHTJ
PadmaMBtTN6dsjYPjcwnjvQgURLUUpXzTPsCLZtw0H38ruzY5QhiH5q1iCi5+iE+jpaYB82p/hG9
jD5mxJx9Tx1bnVZnci5JVcVbWAT+ftDG7OocW/o2moEzM2hiIgx0TbH0ciRFAhE+E7ypaXOMq4/2
RZCMgMeA1JTCxoohNLy5cKjUZ4VI44QfxUKtyjr37MiZbCRXV+z6uPR/IPlajr4u3S+qd/2aJRGW
6LYNgA4x/BqLEwFewRdOoHYP7I6omdyKlPwSJZ03podHlYYlTWcYpFkwNGencWZc8AwxYHDg2gzz
KbgHERNfcq/pPiczsZj1QF6Ptm6NNFKfmPS2DzJIiFdso6NmXTzSAgWUORDC8zLozNuzxaIlzFo0
i2qejilF+zPQHQmKcexORnnlWfpdfYAiGrIc4rLv2Q6vsbqlJ41+SrFTW7zLIDt8mLXPDNLW53FA
Ogn+NrqaMPxtdub6DCWZRVgBJqdTNRLdUTYxyWlpl7v3ZTU6l0iP60PhARXaCYapzj7PmuaHSrRu
yG637TnBKPuwQiOgoZwdY2bCyF3XUd/StEwVfzJioMLKozI7gnqCLd2V4jstgeKLM+DjKcK0r88x
6uXsFIMt2wHYZhrAKAqxRtRdddwQbkA/8Rd7qoYxbMx0jCdwXgti1ksSRXCPpwlSNiSgZ5YeYs3Y
hEIICuhKNuRljqfVpS9nxUrkIBK9Ycf0H3GdlvMlu/EZS281r8b3ab1WpVhOpXbKKz0fc2i8yf9I
Oeh0v4Iui4giMFE6Xm20msdKp9Nb77hBcOibiAZkHQgG81igzefEquTeH2I4TmNtP3GiBLSzEut3
dDLLIS2ZCR3V9chiTUQEVvna0fPL5LgWdCuYpt+ixuGRRh7rfc1v1hiNHqfCWQ8RWQVDPx1GUTPa
wvKIxKfNEyRr9OuZR2IFV75dvveT15eHlDgUbPyRNz9Gk0iQRueJHE6RCesJgV3exVdsIM81KRkh
EYkpSZaDHeJL4frNC6R0/Od1oy9j5c+XtoH1oLuk3Ndx+aOnXa52q3HtXdjdpAi8lHoWM3qUMkR9
lQ5+vfckc5nKgfzMHHDCbB9o0mJ9y6LeiRuB1JM08AFPwazZW8qd/LHg9pNNSD7Ldik5psN1KCo6
rqqRR2+MvZtIxT35cfhN2275hGqwrg70oHS4oxQzW1ri9f2UteLMND+/GwuQb6OVb1mEVYtV3b3C
bAkfLKJM4NBRcEwTBR55DLP7gFX8MUTevPcSKagBcvkaTrDuY6IMmYR6xT1YX+Z6pR/8wAHXv4eR
o+/gN9lngan/SJDAa0kP++wsfnUXhk37OsxKHyC6y71xcn0UUB9PmeeR/MYaxBifphs8KodWEnNC
slCNx0aNeLPbQ86g0MfuvxnjicVJzZ9WO0fHsHUoNCSqwmFHKKUeryEHyj24ZLvzA9clD5Et/zh7
yp6dFgAikjcIaLduxyVhmlOBxIvESTVThxa3BQPv8/K8qKRC7FOYRFuin8O3SJOKmrWcu8ucb+0Y
Go9NfNW3UyVkE0S31bEybv6UzaRyglf17mvVxm95tqy/lanAVW4c8psaZ3jkAKnTreLd7gF5AsW2
tQs9k/bcdjZiTK+o+syNfdQ51ySBU+WUScDd6hm7gw74hIY13JmWyv5YT6J6iuLOEt0b5BX/1PQs
YHmIzpPpuVtcxnqCaDCgtdh7qjTbKavlT9VBM23GAFhDIYPhMDWiMIdWwUrediFweI5RtIKneKIv
23O0vBOmjUnqabKNimiPYtAxjwF+yO/RMoafl2lZL7XWt6bqqLONlWOw7J2l9LxNzgED6sQAMHCP
14Cmtefn78z41UdY51AzAHV9cplT7clXys5oFuSl7R2fB5JZxcs4aaZZhBEHkBerLv0NKXr54jgx
Gs+ZXfc2EwMBpa2/5c4TOwAuy3tf8gRqklf2/o/BMfHON2xwlAE1588ZnfTWmqq/FqtXnfUgLUGh
BRMK0qTyvQIku2WoAoA416YD2AP6o5Jus/PQhUO5YsQlwlG/s7k1ZxQcdEvX2ZwGoeDhOjwzHnP0
tv6clnl1T/CYfGmipXpAkKQ2aEBWrn5yjbktl6wcKrgty+wyv4YlygFooFAYnKr8Cf2D7n89Sv/H
MvrVt7oRtP1z5JDSLDNJ0n1/LNu2OztDKpFfpgOwCzKMEGDJJp+eSVCLaQUXcTOfR+uGn9d48uyp
B7/4biw3nSFQ5d9NlSPkhtO05BBIMXWtFuXUUKgM1okRffYRKYOS5IZU8rn0OBNBwfWir7Wb1+OW
ng1RTt7agw1BH2vqU+xVq3uoYXV9hyc2qbsqnFZynZd19s+FLtpvdbuob45o1leAljfgWwf2la8R
dSlXrxDD/RS0C6KxqmqCa1Ut06Epk+K9iHqKH/ZQZz0NVJy/UZzB+OpioFYbIYW8YdbzcYfZYXic
/cb9oDvl5BsTTnB1pJ+9qyZ+Yf+GCehMuvs5MZsp0ERCu+TJWvS3Kki9C8l4HMez3/tbYW35/8bp
2x/sC7Y4T0LEz2CGiDhntRxeZTVCvfEKn2xjRcvlhKFhJX5M9vYi8FXvCxQ9LxJFw142IbIpJ3WZ
V/VJfSlrLOfYVcL8280MzUomMux4CHAFvYZ56v36PPpJ+24jrwkPxerSXRMmpjNQLcXM8D7WmrmM
8TE4MDXhv1gGJW2KIqCLZRpXfp2Dmg1mGDs6ETfNDPt/UyDpARjs9pdMpwZR71QMP/hpin7Ut4RN
VHX/YQqRXVvdZxNHh7Lqqz1nN35JH7JF7USuHHuo+xh5cLbA1Ah0E7wmaD227Ez8M76TPg9vasHE
5X5TNrcdiz/HRnH7oLfeiScb/8xI/ZLnLRqWtIy8+owa32kYpk0Du/UmyprR6bEDEUFyqjWSTMQr
UKW6xyYvuRgeUwhnYSQYrc21Tu0E3rJfJtpOMITEeoAZWoGOntGXPEVotNDXp3P/gbCBa9VjFANI
lqBNgF/YeM2VnrXTvfpeq70bBM6vXwd34fYPpk/MyQCphG9e1gtvkORjv7rXYeqp7ySd0oJpyPKj
/fN7K4f+FRfJMyWtIHJ0ZX1XlEKGgF2h/+zTxp8IUZhQjGwjQjTn5zlT/YcIfX6BF5Zcpj96Oz7C
uOYqRMEUcNIO9yDqcz5cBCWSpmo3qWqvQyycxyVE/wUZdEi5UCN4P0Rb2uf3G+4Tnde+b7tH4Trc
fxptbnNVg2r0Rw0KgeW5z9bu1UEMNz+zXOblUUO3qO5x4HGvCo7rFXjyOSjD7YIGuHpwWXqaOztW
4zuFvzZvbYS1D8eJA/tn6mJ4347NMwNwicDFLSJPflujCY8+DlMX1g9E4/CuMMmN0Zk2oFDbtgE7
zpau24cSm0uxs7yH+ZrMzKjoa/m07ZLIz4LtJPp2xBXR8RHnmmSVjeeN00yBNORH+Xteow6aOxHB
skJRE7wh2/A4pSaAvEKy+xiNNy9IYSFg/Q8HLhvttiDcdCYLY4Bg6HzY7ErdPwaEfcIe6nT48c/D
g7/OtGIg4ySwJehlwIREfA//ZvMuJ8IKHOnz1Hq+emxnXxJM29ho3sAoGeTBJ4vTbP/5Nb1/e1F+
NvUAnDBJYyoT/W1cQTHNbIbiCfGH6D/o3pFXlvE0/Bo43u28cQ0vwaIV81oryCasx1aIw0KrBfYp
uTT11JQkL1t4S6XXjnCBnOZA/nT4VYHGmSBd3mjxxM2y2S8gc1oOLiZ5DVBpfI6VWxxSV7kXApNc
JNpROTT/V85erinfzAS+S5LcnKfMgv46jVmF17tsHwiP6WzybHfDOS8qtbuZIp6GKZju/RiNLYhX
9fLPV/bfL6zLjBegBe0E/zaK+usrK75qMIuxQFjUD3cE10ZnusbFryLsOUAweAaD/s+v6N680X8a
PfFhKVpJIcMuj2ncCf5m2h5aqccbj51Fos4e1oBJ/yYUKcDcNUR4kaXJHWC0+FGEtr+0yYB8eJiZ
NztjogXWx25yN0Xhe+N/eGO31/3r+0pc2snM/JgWJl78t0vRqsGrFBv6huTI+SnB0vdEEBLl4kDi
VPkf7vjtjv79xQInpr+ZMHzj+/TX654uWdQhOByR6zccroix8eFpzXlw/uer/fcP5Xoxc7bYpUnq
kA2VMMb885xvsSveG4wrfDk13XaHXlG9J33djkQaoOX7Dx/r9j3888fi5bAmR57PhJQ5wN8N1O3i
Svi4KN/63zceOUtmD8tCE+iYZBWLPnqWWxOKjYHO8kqNtfvnz/s7J+mvb4FniqGuF4SMVKM//v5P
k005eXJGNM20ZTVqJH6lXgUBSIGJmECK/JGaA/+a0HnPtIBwlo9sxWNOj0eNNPTiwaE5SAQEZjuG
ig8o65DeZG2c9HvjVRGxVwlQ0W1m0AxB4M4whlSG9QPCxCQ5Y6zeepr9coo5EJOJTQO4jSFrO53n
nNDuiGIXjnhk0OrSrj+E1rDRMki41aDIHbpHj940oHyq23LbiFl/TfIlkNeWQtZ7YBIR9RhkomU5
DTUwo6d6mrmJ+D/c7pWzBRsqkxumgwS9sOkahDZ4qFqHK6/xhcGyc+Rt650y/tuRnlXtqy4Lryr2
42csafypIgQz3AyTH4+bgBXPPU5OeNuJ0ayzvduGN98NRh6Nb7iVrGv5t7wHdXxA+plcGvR85S4w
8XhXJlX6m+MTH7LlGktqgIwxw2U0aIff2xSm2QY6cPG2DmZ9jsVi2Ey9gLcQ1hlTKcRKzFvk0LOh
17GlCDGJmNdTES7L+CusA6roLi1G8Xku/cycl86y3esxRHTL16l0dzhaZXPo/ITf40s6SXtvVe2C
tI6SChZ/QRVVQfDRB/o08ijmkmuZMc1ZT5nOhTmbZmaDxvwGRvaPeiRUuMkuqKHFfJC+oZUKo5Cs
NuNOTnOd46mJUJUo2tdjuoCzt7//hlEGvMjIHS93HaIa/C45EJgTs73fL0LMhwZ/xat3ouPNrtT4
IHsbW+gnsnD7/8XdmSy30WRZ+lXSatW9iN9icI/BrKoWQAQAguAkcZI2YZRIxjx7jE9fX0DKSkmZ
qeq/e9NVZmmWlimJAIhw9+v3nvOdTwQho+s16ymk00woDXJ058m0kNCaqc6cY8aScx0qEHJBWKPJ
rgGxvITZdNWlJbMFG8rrtWELLpB5l87a8VuVNo3pUPHFDmKjNUPhCzqb7waZIHdzlBliDf4T0g+L
ElQk1ybsLb9frD+jDJBW2GwVlFAe2660bcP8eXNCwASXz8B2muAmn7YRM8U7PiP7lCuQc22NJr5O
3Z6v4Pev++vmC2xQcMw6vL5JOfFrNWGO3A9Dd2TejfEbWaG2oo7wyE23v3+ddXP9aTfEs7wedp7E
saqjuPj589FXFYNKq3aDkd55jD2jeEt1q20OqDAlFqASIfIGBiaZEOFiVM+KRfH++7fwd79izxOA
zhxGOB6H2vkw/mE3XLzZBFJvM7gZ3em2minjaTU5d4aJpHJjyfkVjjG/g9+/6q9VBZ8YdQxefAQT
tvN3QBhmcNjgaJtuwLCnl5bB/YZdax13Q8j5NEBbMP6Lff/vzjk+J/oJD3yVRNDyd2wU1i6eTMbA
C3HqN7itxtqPJuvNI0bdCn7/6X59fExdcsYAnEGtAw3g15qpRLTiqQmxf+RxFcGcWmfaXaXqpfzy
+xf6R18esBUbpBL6E+NXykzcR6VoBWzKaYXBSkI9GrwcOf+HN+A9dFp3ev0m6Pj967Lyf3lyIeMJ
5FBEvlrUpsL69cmNq9ImF53UUF0RdaV33XEWOlribM7LOjBFZb+C8Z3e8Twar1JTA8hsUDgvoJET
kLvu3LyaVdqa8Nl0eZkxQZx9EF75nYP07QEXZ3HyJrqbq1A+fcQjlr4UiQl0uwpdl2s23T2O2mGm
kQk8c/QJJx1e8sRdJTuwqY+Sh6/yzdGbXyw5dKSlpdAWTuzOjJgau/oyqlBr9othThdoM0oXoJjD
cQU9JUqeK3TfSuFZaGAskxKFXnDvnO/XPYWBtq0ZpBUMdrAdXqCX5bjxTMU21JEoWB/HahEO47Ry
0A4Ibti1SYMDQNr2Gg5QfDTs5h6MWY7xc3NJs7hXAAhlDn0rhpmfEOXw3a51VYUfMpy8jHGxLunF
EZQxqYGdq2rUQ31RcOc1O3IqRRlXJgcn0RURenRkJa5ArLKQGIdxZRiumqEloCpZBBtZSf7JTYc+
ACPH2giKo5ZAKWa2oAXKtcOWePpNJwvFB0GmQ895pkggQnba438VCLZLdD1GOZCBakkA8RlhWFtz
dvVu20E400+dBMWObUMgkm/rXhyqupzpcGoyfCK/soQggEHpMCFefe7qZHxc7WTUIZpNugKJnfKy
bCMM03OcukmAZ7vbA65lZ1Ko8Q6Mq0mHTqqQI3BOhRJbdxqH9pJcLMRp9Sgvv50J2Eb5dDrm8+z0
rSmUiqTsPtXxuH5VnktNUEPDwHh1PkOYBK0emkQ6Ll7rlug+h5bl84Q42Hdce6oPZP15NpGfnfZJ
Yz5zL5DZ0D0Serh8RhaTXZaGBr59qDUAkooydy+JjdqNszeqXY6+GCwOXvzwKi1pQO/aQnVNgAqk
KK6SESH3Np9s8nglAh8cMJbkYf4mf1lgZZioOVRU7+3CXZXEM0cn7e+azKuWNQIa4/zlpi0xJVvk
2ZV3Wc3T94TuPyUgva8K/vOvP8FX//1f//sSW00uoP9cOXp8a7u3+Sfp6PoPvgNbzT/0cxI7N1Wb
6xMyzb9qRzXzD1zGLjguJOAQ7yyKl5K6F4Go8P4AkmB4HjQ8A4DVCoT7rh3ljyg64Gs6jsO/YwTw
Z7Sj6xv7ocBAWSw8l5fwVmiV7nLx+rnASENuBZhXIPxyxTeZR1YdRY1W1cEsRqAqeVVmn4AC9Afu
oES+kMsICbgx6Ivo4zi9dtlIaFHLNRc6Q3ZPr5QVVfdp+dTqVU6/Ifc+oaBybl0gTc+dMdrvY6O9
CETsX8+/9D/14P1TDvBPz95vucI/PbTdv58f4uitWlPSf/ofQUnE5nzXv7Xzh7eO/OTzA/79b/6f
/uFf3s4/5R6Ax7/9y9eqL9X606KkKn98nCzD0fle/vkT+PEFMu5frl64M5V/+V+79qX8+va//8FP
+P5I2uYf8FUdunA8ji7/jbR3fOvUv/0L3mBAwRaYR+4s7JHWqur9/kwigjbMVQa9kgLtFSz6n88k
f6QDO6P3xFPJVc5x/8wz+XMhJuUKCCOKiU4dGEY8+r88ktmUdWqCuYkpxjAPmGaYOFuLHuBDn/6L
KvOMOvtbff3ttTxeCasyMzUhf9FOW3KhA556JEV0y3hwuoDLZ+abWSy2FhPDaHRmmDocXq3tldgw
MC5MOVYp3gkcQ7FX74keyYPKFs93BfUw92RftECkILPvfvhOb7+9qx85x+ce3i9v1jVQimEIWFXl
7vqL+6ESh2OAXpkvz+8qZqrQy8DBu/mJaueqwr8+1XQSmtp9wCWt+U5z0PW53OMBjjdFB5Rcagw2
6z4zkLu5X7KkuafZCg9DadvCwbg2YZTzQVw0frpohIwRWEgUk9pHMUR/QXcWLUOOVKt0/fTaVEAp
y6gOmDE2qM34QbKokp1hpkcXqURrpz4X5leMyB+sxiPwTmr3bhMeZVjJb9X0n1r5v13TP6/+4a1V
ffvGeqm7v5Aw+PqCWrT89bT6/3AfgB38wxOz7kjf94/rl4L94/TCyPLlx2V//gffFr3p/mGCArZZ
vzCyhb0SwL+teVNnNzAkAFI0/TS71sfu+5KXrGvgiQZteuboXFk4ob4fQ1L+wRWYfjPbvsdVT/f+
zJLn+f3pHHJoWFt02xDJAw92eKVfFmI2OTMdMkS6WCnK98JT3qeyoH2GDr7f5xDN3rJywPONVd5d
+21ZH7hzP12tADCxM0DhPNrwa2pEflpLNk6KazuYAUXt06XGatiy+icyyjKHJGjc2WikRU7AZYip
9hMzRwlhwaXDcPSmHolO2w9o8AonwwpLFCKwJjLaq51BLoCJUhSH4jYb4+ye35rKNlh9p6+ToDm4
L6RQ1OK1i3QuIrgdd/04zjn8VOLGNoAqGtJcm4QxTCx0cgamEHRfiIzm2cpdQpqEveY2dXPT1oFl
xRbKzUGzuLdMzcRlwBZYgivR6gdzzLQjvqsZweW43A5eWL6DadGOGdJon/zQ6YOTL+1dKLkf+Dqo
/2lXWGb+QsKO2z/NRg8gwiKPmHCcYr6W5kyEHvbZ+XGeJxkHE+SRC4/o12KXtC4R5qUcSFmEeejt
GqLGnts4qml+eWX9wo7d0rTKNChlmaWTJUsxRJx5PGjA/dxUOa/tqIEsWuChcKepE3nl9DbCzKYh
FN7Hcdm/xzJKHiPByxCOATBoW3aQskF2RnGOFmrUrgxwA4j85zZ6mGvRWuBmRrLME0LzNmUfS4TD
brcUfhIZvcL/0kWPivi4aNsWldegYnLRljqpjQC3tqtRHRP8w8iDFvbboMzjNWctM5i2hgs6j3Eu
cSpGQ2q89r1nHa1aK9zNaBDWB4IiI6o5r2Nz35h8HL5ei5a1ILdJ7upl6I9zYfY1k+0etUSGdUsQ
tVRAeKNfTVwbfvK6PQwMdYm0dhtvMzmtRTaqOfh9pc1OANCw0NGBNcz+dLPrTz1gktJnH+M9oGwk
nqe3nfmLpcnymUZvxTODw/6LqPUcJIdAYBf0QhA8qECfhFvVhzxKLTpYyF9Qs08tXo/Yj5OuuROa
Q8yVsejlFrVr9roqpbjZJo79UKzAhiBzU8wRDby2LBjGUm2gqHrPihyVDC9EbmMUdNavvoIsRLiH
17dNMOHffRIzHpgD+o3oXXezcd6XlIe2P1pdkt1MSEVRR3pm2fjlVM97nH1AOw101sg9zTZ+DJfI
67apSMOWzPUaykaqrOWx5qZHC2o2UWSoucOrqrUtmXgxzul4p2XI67YFvBmU5ukIuwgvdAqfc2y1
DVg+9XnqG+spJGsk9OkroWupiTzrriw3G9INVgyn2HO2psWxKpxSXERRRUovQ5gConmeCndL2odU
e3zzSXozj1qvk+RmLGAguoXv3NBiYjVEG6JPbXNvYWScOBGK8kasqC03h1hSex45Ug1xt9MRyER4
DwqGlawvCBH8pE6GO7d1K+OYaIKkj4kh7vhxAjxmfE5KS5A4CNR2Hf4aU+037dI9IxKVAvbeOAD2
aS0ue+accjCDAJ7BJqADzVo8omiJ6pski2V4B5uHbEtkYADGTELGx1OPgYBgo4EEt+vM8pJ3ZcOC
3cSZh7CqnEh/X2WjVrdH6qg/WjYDSdKS6/Rr1k2O2o3ENJg+zg4r+iKgl32GThC9Dr2yXtu40PMg
LnsBMaMfVl6SreuPpNsRI1ezjwStbZDK5JoieyIU2lYbSc/f27SuHT05hdk1J3wXiROUtVRPJW7w
2e9pbCHzmSYSwyCiwvuTknnBVlTwkgKMZXZ0Z8K/osrFFlYAbv3iDYY2rYMJxKeTPfa9X7tygbZV
Jtb9AjyDCE3d6Cs/1x2tIc9laJH+5HrI4NZAsszLdk+NyLsv1pipkClY0zkb8iA0NCCGqMj1Uhr6
p1b2CC9JSu8NIu9tyqIelJff9rmRXmi65rzXXTOt6ZUhCq90YBe/QIzoWVRXBvtVEkJR5HHKKOhc
0TgBelrYsW5dF2hJ4glVnoztEbkV3dHnhAPA2Gtc8L60OpHBbB6prfutScD9Ea+4YuCRZK1HYHet
vnYtNuzNpJrlXjPC8L6jFu8Ohet+0hzmVIQ1p8ueIHn7uITt+IWs9uiytz08CSnzH6BaJiTSaqru
W+GqqxHJ7/uK6XH3hH7OB4WEjv2Tl/hap7J+n7RJ7zY5XHsOkzEH30DQNSfZmKcIufDATJ/Zvh17
4/CIPhOxZoz3GkOgD4trqye3MTqSt5Opv3WEAG2aLeH4lEFJYh4kVg0TX5DcOyBqOtyPc34B5INU
KCgLc7VrG5uudemkE/7mbDZN38CPCTZGDXvR5vJjhdwj8ouB+VUQS7zZePZBDCFQ0r1PQ12ACxFe
GL9kyJ3B0depngO486pu54auIbZDTf9xw3a0vPN56C8xMvG8/ZwOdIaQSVJJzzg3kDdD27iJ23gG
Q50ZE+yfCIHzRm9LlLiVEUIDwsSXkXitxXECf4xov+25FPxTNfL/zNsx/JjfVsUJqqSX8tfCmH/z
vTC2/3ApPZnYI14wuV9xq/pbYSzRjHh0YhCMADH8W2Fs/0GhurLFDWFyW/2xMLb+cBna0Dxe78Hr
j/trY+D7FY+eAvcRGgX/4Mp3DpP525UPb69HVUzjyODWx1tYLck/XvlEKHP2XVn7jhPWnl8zGq82
eknkPJ1IlfkVrIsn6pDhvp2mz4hcQvqHtNV3mGhzI5iN2Ol8yGnFJWbcog6WrgDLbFWaqwXmEKky
6JNm8G7LiKz2y2kytNlvO3t6/OFX/g8+h+X8Mg6gvucjkApkW1DYJVqCnz8IFF7LgVQEtAhnkndY
oibuYTmAxzs2qEejjZPlyWuCePUScX/zlnDc41ZpRmQbHIhRDosuWVcbMi+kUYz/HxSysls7FIW1
pT+VX07MrlIfMqn6oEdgoCmDPDu5mOTsrgLTwsSW5Lp5dADyNDWHzlQ41vBVadGGIjOisw/X4jns
saAwN0U56+JjjJGOpKOJS28sHokAn4AcdnqOR2FBQEaJr/KvtRsXQzBGznRuhYeECeoV0Nw2UQOC
/cl0LUjldiqDcnRRziXzkMWM5lc6xIDAxdmKTKO3y2Chvo0tRe6aV2fM8DtncMnfjMIRgh5f8olz
1r2z3Xz1pjkWgX+pkXjjdqg6RKCqsI3uYHuRhhUA6ukJIfnsHrlPhfUelxYHnU2a9qubOM2xWTy6
4K1bYG9Iy/Yip7r/lJIUJjZAtyx+SVrTtFgljBIzjuUth6bto0+SKcPtECsYcPlkwlTj4BiuwUJx
phDuSvViaotmB0buoDoF2zJh3pqjnshQGK03RYIjDcFKubyGCsQ0scuj9Y6EiDpvADx6b+T9ADbR
is23CKU2RV3WopOftfSa7NHUvKmm0jw1o72aO/KKFTDyjgleb8GsOylURKmPy31G+Of4wcFMvDAZ
Bii+mxrZ3egFaXH4XEGbbyprMC3fIj345HY0iLZxWK0kE4YmUL5bIR9Lsha/Jue9GNgn+3J63qMp
wdmvjfPeHZ/3cfu8pwPVZ3/31q1+Oe/62vkEWM6ngXY+GabzKYFXlAPjfHbA/uQc0c9nCk8i50t+
PmvEMMYv4/kEstbDaAZXzZ9hhVwTiNfzKjLqEe56CmDb5DyjBc3Jpp1POQf+BnGEYc7pR9nBSYio
j1MRLGV+wfPHWTmux6Z2PkHz82kK/HR84nLOGcsYqL/1zievNkBwCtfjGL7HMt5bZpc+p+fzOmGi
8lkA3pvo+2qo7WFkQTmUZWnHF/P51PfgTb1raynQn6uCZS0Qirpy3T3O2vy9lLO64opd3dvUFByy
VBfDudLIWcSX+lp+FGshIs81Cba+EIyY+0mdK5YlnsP7eS1jsljj6RvX4oa8rNq78IDvLazvtf5B
Q0sthHKUushxIObNPfXWXusa99nr+0Ed4nM9RcIptZV3rrM6zOQBPFuqr/RciRkyxKtONg0i1+xc
rc1tTeVG74EqLjIo6OgQU9sNa5nnfqv4NEcZaFPXSlBvW6pC7VwhxroZrmnJa+W4eIS4B+1aUJoy
655kGVFlWmvBudJrsj2OH+rQ3hKq8oc8oj5d5ar3sFJYzPO5gi2XiGoW9SGVLT46wnxDsyqDcMqx
RJsiuqssXG6Bwetl9CLWOjlBtVEFw7l+TjUeGh8QmHrK2FrhxpswBLkX9FxQNBkTy62SYSRG1imK
AHuUd2T2TtZ3bIfZU8L1Z8aaCOZ1M00NFJuaMPoPsYciZIvbklrW6NyyRFeMlIX2BxC3jWi8EN80
fB8J4dDqgQPYU0fouG0kxm1EIR3t4iKh2aMbBhZ7mzsGYMd+EM5uVe4mO5ou0TUmENx2Giw5fkPO
yEiuoFuRMzfNxxfsNPG9a6GD3ZZ5Zr+avSemAI/JMJxAcI/Fq50A9SOU2LRJXA8V+QSGRf8lb01v
OYK5wZsJvqIQfm2W8yW3JbfwR1efXjLYeFfJpGqaA+EImQybC/dYUJ0bktnYsioUazriHWV+9PAi
XULAmR/i2cpzHvKuvKswTN04MRoZM5y6dy56cKiHcmp3WWZJSGFjnymAfh2qr87LTI8VRjuFewbO
5gD+BLweDKXRDbY8jopqlCUpxDxduGfCyDi5tepeuOlnXJd6r6tw83CzI7i1RmCcKEc9AIflcjUh
50+23eDI+QDYZ9H5UUnf7Nx5UJ+bWE+BDdFZIPk9zpIpCEeZfQX0BhCvHFxYAw3OxtQHSSruk3Dm
b+eFGtyj6kEAbgXr49a2CqDtMtKwxDSQ4uatZgKARm6NjwAT9FT6zjh29Gr6BLbhIIXMTiaDydux
Vep+KsgEgvA3hrcEt67se6IxuEE0sAH/L1rI/1PLY8rWfz46OiVvX2P1VnbqLflp6ITG8q8lsvcH
lfE3vS3gMHpvNG+/lcjeHwywafYIOF4oZxBt/meJDP7GdCiskdNw70cJ8rfe8UrGYfTCoOdbXS2c
P1Mjr2V4/VONDIkbgRPNY15HCLmOOH8Yi/T6iKKAy96mNovW720K2UWJm4osZn8MVb+LZA4ZQbY9
gsxmCjjKaDOXc+brem/fO0g9/aYU/dUCM4XWz7CF4vZFE8kzONcWOwIDqMKWN4jNRj9j804V4cIL
jDNu1U+ZDbm5zV3zIqsprd20Rnafs8UENeAfZJRJ2JAVX1Q0OPPaFxW0twnZMpi3fnnQiqpMNpnp
XNQp0CobkRtmXLfcUaiKm7lBbucOBYwvPb7VNLp8rj6yDowRgoSVoqCE34C0vIz3JLA7H0TTC//P
Xxz/X+b5P81e9m/VOqvo/jsMWyQP7D9fN1dV/loNP09b1n/x7VJp6euQ3gHwJBiHEij31wVjrsAo
/k/PIqf0+8XxrzN/F8iUQUASIWiIC40fMloFvChWHtNVRqwG19U/NWxhtvPrbQxa5sq15I0gt3ZM
+FM/LZkJ2DEgFyIsdHu4HEZtxfd0s7pL8V8Om3EwGrJN6ugWMa0LsMExAkxew9YZbTzOQi/SA4ec
3u3aPnErwiZiZR7kHE4fSns+clalO80dXi36YBul0mandxh2sfS7ftRN8lE3Jpx3bX1p1rP2DMmd
pgnMKMyspfDpuV5JW8PWmUUdaCd8zG2hvZuEOF4Z9vzR7urX0BTgzxIdDzjAcDWOGwNHgIHytlnE
MU4Q28fC7B8WwsevhQw73+FCoN+iNaOLbkQD0eepHpruzm1GTX2tBuLn7jHt5fEOoLt9AGWYbSUI
3fulGD+DiCE+QJmlYvrCMKw4U/adnTF4+oF+IVCCctbQw0eyopWzoGTCpj5jDW4e4TFjvzfNOfxQ
V120BMMkw34ba45Aoz0lF4bWg6G0U7ujOdRwqnfqwcSh9uRGvThNdteWG5B3/GGEoC2ySi/n02JB
BmtKVtPa1x0RtmWzTDZtpQ+AJ0rnBtMeumBnCu0gy6bwpouL+oubteOmEIXJrNgWB4Xb7oaKMx6O
beTJB1mwk3M7bgotQJ8x3XuaIe86kcPvVSREftVlmfo25FGPWXDTHUMlLFiOmYn/W/cGMOs9CdOS
GK1T3GnyCPJeaFCIMP3lnkiDxq0HSog2uwC1422Sti0/Z6H0Ni5i4WojW+jLBRqwS4yp8jJOW+0G
h6rdX4xeOFyijJaQwi3xAOf4AMzC3qqoY1fv5owQc7w/H2bvtooqrHR1OXg+qvr0s9l28XadAORd
Zl5lwzRLmo1NwlzAS+BItkB42cPBUwq+cW1KfIHaFeFyxOSC5Ug3MJdU+si4QnRvO4WTZAOQaN51
RX9JbstThEcZhmBEuaRXdK7LcadRSMGdEH7UzFd2NlubBJFtUDkk2SI/23taGHKUQMpWLvxyCj3m
5TsxM6h0O+zejWbfhaF5Z0+Rc+Lx8uEVW+j0nJQWKG6pikysjQbFy5fl8imaFpPREE9DvMzzvmbU
6jdi2EHKHLeoLOzdEDIWW5hzQVLQEzRt6Ql149HL7kbwjxdcD1EuELS7sTqJRw8Z+NFtRBTYVq8d
FaPGTZJ5H1GbtXsIFXB++tz0kaupg5zyRxqqeOxNFMKekQdVLUQw4iXGgqsBL1VdHfmTbdAOyKOB
Po+DLcGeLwEo3HRzcjNP4SlEs4mZQI07XejM3NqtrATAh/zB08vkYQRqcjGKlCQU48GZM/s0NFx3
YUqzIFpo+7kjmVhZyfuSEg3RQixbasfe5UP7YLbo4kgwu5ud+DnyhvyqIoVu3hQLKWX0P+oNmMe7
uF7i2xKe2EVUZL4LEXKX2Lb9RQ10w3FvetFGw3a0qTV1aDQX5kdhsQLLUj4wHC0GSloH+SoTKdzH
aFrp/hJ5Yxt0OPphMg9FpBO2YGdQcEYMtbu6Y0iLheJ6WVjqWxZvmIGJwWXNWHvIH5B4Er1i9l0t
KQAydVO6lg+M+JTDszzZ88hduSskHNAcqgeAB65Rdws4izvaL+42GaO3HurpMY8l/H0jsfe5bmtM
FE27xkTioOVPuCZZTL4vm6o55CSEEUtQA643q75CbLhgpix54B8l2GXi60mB+YjxFvu2xizIYuOx
oh03ENzIjSAkVGbpHQ+KWW8WZX4S+uxeVDzcATZRcVd0HY6XQtVcD/K2fqy1PGSjjHVL7iS7qBsU
dao2rom52SQAtmMgytAgGPEv7kdQLJuatbEDJW9cADzpt2qZuKDFM5O2Kq8YvarOfqGHFwJWyAl0
iIECwSyJ8TBzU16YbJRsWbQAuZEbvb7Nqbu4UHnFXh9qLlXDFHL40aYaMmfFU3v1Cac5VA6UPR9A
vYgTI+Aw8HQ2OcBJ0QmLQ+tHrWDgh5PD+pDQaK3wxGLT8BWot8/2vDg3zdR7O10W2VUEUG1L923T
swyvuqx9HueLIeedS7s9YGEIYhLdrmrbvq36pgpanb8b5sNyyVQ9vyEfA4dFG7Yg0ytiWXImIdvG
FoXv9raJtjm1QRfwrCrB1LlR2lMZRtox1rvqNo8MuTPSObwlA8jdJFYZEKjum70SgMSrE0g6ntWi
vCkGmgYtyFFiNZpdNhBiOYy+nuccd5rmS2kS5x4PVsBYdzqF9Od2Zc/1XU9X9bSh4MJw+Q/BngCg
+cjl/0tCzOY2GVA5I/tt93Ki6WFgIoeRNKdeHjBAv/XwbqPjra9t17lFS14fyUJUF/2kiY9p3rx3
mfE+GEZ1qgFef52Xnkuj0cDcS68dzLH7pmLGLHnyPjQaHxqZ0/IRxkUPFEuRsElg0M7pTPOA67I4
MZ7Ub0u7QKQkp/4ihyQfmEXU3KRlUd9quc577wrji+Fyn6jKcNjpFWMhLxVXiePde+VcfTIxlRzs
TvA89uZjq8GnElXN+YVCHdWwgIFlxSEeZK60/VQ3d03fRh/zJY0eifN6x8mTbU3w4EDux/A6qdfY
Kc/MN0SEjxtl2x+GqV5/JNAhrHnJHvYkdpa0zb8Qs0LwwqS1x0aN+rYRXXdVyvhkFYDFVrbNFvri
S0zc5Ecd0/PHLBvrS5uBKuu+XC70mkIJ8DpeUNkXJN5iqefu9ClPWAd8SdxJsN+xZdOxPoWiBkCi
T8cK0PRJ1znIE7KhL+ysGC6qecm/dqMpICzNOrPP8aFGk5ZGJcA1azwOBroPrOHlrTOEU0DToQoU
NraHkaCVm5LC+CbOywfDpV+DUhHc3AITjGP9gzaHSaBHQ3WodK+6bNlWPuKQny6XOu2CpIqmamu6
NHNJj3KST40lNMNXrA65T+aELCZ0MB+V0jRAGpkstwXDlcvaWPmgqs3GSxYStzBobPkL6SzoI6rW
e1lar3rGfpVcQRR24XDCiQo0K19eRmQXyA7mrv9cdJH8YE9khtKerB4LlD63c48owcacTpfdeZiV
Jg8Wp/klil4IFlOs39FI5T5Yd3F8389x9Gm04+E9m6IyoEuz+EVbMASAmJ1dLz2884W26nuNch5e
felcZg13vFDz5gB6UvFaOH1z1AGavDNOeEuLPtyWo90fWlQVcJszddKj0f6gLAktj51/K5y6whw4
FiAlZwHSA5+ieZjFQBNmka52pehVaj6CQec+JVqIqImRTVC38grxSSnxoHveDhiAJQMluTJsQi1N
L0LpTpeTIlbV6eLrCfjgwXbZGTVw7+xPatnV5AVdL21jfs3sWvKOUIyXauneWSMISAR90l3SOIxX
FHTcIxlGTxMj77RNszcl2Zur3LIfFaaES56/+haP9ZfUGaKLKaJcSB3CBTXTJhZaq0yER7J/qD3I
V8JNPjk2MaOm4fU7dxj8KHYfomEmt0e/wBZ+lPbgbmHRhntUGoDRxt4vl+xU9GbDb1Dv7onZ+Nio
amtX8RXn3Ual6a3e9RnchmXbL921C/B8wzDC2Uem422WMIYiWna3pav3h8ZZXipXu06Io99wXfAw
gozsSZiAfUFNyWQIvVdjGoEmOupr0wk6PBCYLPaUIMlF2Q1XKz5uD0aru6hikR15joubcrTGQzNo
Cf1UoS41xaqDiGvstJnQpZ5J5F0c5VBOSX7dFUuKIjTGkwXAB/PsUnqHBBatz4gC5cBksMnF0yNK
znJDqRNBeRpOCFNMH8DGV/S3KQAOHHxAm4Kimftgmiw/t3M6J2PQ6HLe6VQboN76gLl+diSK791I
62PDOOQi5BKx1War+MiELLyYRwPgqhe1fpEN+VFlXYahPvSOPfOLHTRHza9iQiuWBazZZIZhQPxU
cpCGdtQmnm+LhsthkMSyRsQ4b4SUjAr09gsAfkHMwbSRKFKCVpaoWJYxOzU9IlfYQEi5WM8ddQNj
xFmNL/SS06uCqOUbduKnUjXtxzKVhBook0przvKjM4sDA5bJ5y9xoOdgMAfK41NNZsSGMIsCTAdD
QR0WFSSh275zvUM1ivs8Ng2eaO/Qeo5fYcIe3QmKB2PKsE2nHYaiR8V+4lmafTKQYHEDg9WLBZWf
A5c4qEk3vmitCXfrorGBVn0KTkBboz3KL1pjkyCDy893ptI9odAOb1x3/gSapUDgOx2dcCTiygo4
8hlSXUnC/w7o2tDjFNIhAtGq9qEgrAyARCDJyNi1Qm8O2NsaFCJee8jn+kFYCxibRhsPHmnHrhfH
D7mW5Z+96CpxFY9LbY8urzQMlyUoGl/ZBPWGaUzj1gs/cMYPO6RqJ2PkB3c1vDMzPHgRX4kxVKjV
tKCBTyeN8kE2KUdctHajm+ZQkU4V6GO/m1oQq3AZWLYFYs9s3rWZ9ZjjO2f5jdkFY+D+UuvVyI3z
bCcyORSpMNAvbzOjO05OujMzYjycJS13UbxQdnv5fRlpgaZT5odFeGhhjxK2oFIfLL4KjKg+JiDC
fG10cyR2bQYq1sx3mtbH+yXtccwJ3jx7/oXJ4NgqycVMZ1tuBuw/h6UEZTfhpCFYqbyd87o9ZEtP
pEChqsOcduGBaHDFzo0Mz5wr6k2HWnkJuqicL9KJDBjQSooWYPpK1NxtJ3ZFZ6e3kdTTw9gUMQkV
6rmtiTa2Cutzw2fzcyNDOcfWcPKKm354G7mrbjRLjvy2ia5Idb8xQk7f+jmzgRzaxecsrWHxmNVh
zEc6OUO91Uv7tVLFZ80h891LuQmbRf+A59vcVtwhsg56qLwae+86ce0na3K/hJGXgE7uSE2V9qWi
pQrmYboa6fVsvdiYNkCdkC2mDH7KdrmwyHMH1kmwDye658exPl1CqVEwnBpro5tuDX6m4ArR94hk
I2wnQlbzdh5amIY9Ch3utcVlrOvIu6S6Y+jZb1M1XBuL+uSYxGyTk/eR/F4RcHgN3CohP3uEh5R6
M26yKiHnbnDv+Ha6Hb8FuJ/0Tfo4i4LcXS5IhQigG4mDYyhYNqgUtx1NMMqJ2DiQ0VngoJ4ZGNMT
e2ZFXK+ig2oiU8EkGmZkLERFWVto6VyHdo1qAtIEh21adJe5enS9LFuJ5+OtSd+KHW9pfWFUl3ko
4WnGHnkvECj/g7vzaq4bvbL2Hxq4kMMtwsHJgVHkDYqkJOSc8eu/B/Jnj8TuabkvZ6psl9xq8uAg
vfvde61n4TDPBbuGm3CQ8slyoRxRzrQNGxVIjSnpZZZ6m3lTF2TPSXVtejPCPXcSaobu7SWvxgvE
KXZ9rJsmmdylmY9kARvjnvdNyDBl+tGuOwxg+XLQMh5SWAoUS3mIFflE0CKDIi3qXZjWgr3M9eyQ
aWKCPC3VrZlr1WrOv0N3bfOclE47Dke1GtMt88+LZVVorFqzeq9kYuGUoYrPU5VECAWS7zH8KfpR
VbWrlxQnoLbQo6Bf7UwYUGxl5pVZaKJu51PxOkQjW42EUxd3qrCXBFHf50zq6LEIH5Io8a5Sy4Xc
MrSHBbGcmI3l3C+lWXZijSCdCJWDlygtO4C4my7BIlqk7cgoe+FhnSjj1x2pcs+dezPNfjOnQXci
aUWg9REOHpZOTs0EywW1+4NRBaeRCAo8CR+06X0tEe5yduTbuovvtBFmLPuwuwa9w0HO5t2chzez
LEi+yzHMdw2ThfCJ0ftXuOLpRsqwARJy2ThqDiEmlxs4yDKvQxJG0p0e3Bojy6lSJ6qoPL/JRcPR
8JbQrFrmEot+FJm2pXQJGyrzhIrVG1HyoCUv7hI5fwixIdtQmJTDCNWcIMjFTntYhcP0PFjYN6pe
j11C/RaSaggCMmoozkZ2saKYXGLCaPDJ9sxIJvUCSmhPFNCjMQ4+hq8Bc394zRCe7NRFFx3mPd+L
cHIHUjkQqtSUF8ML3dptE4yXRRxQ1wiGK5TfiH1+a41+pjtFCKQYiownBvjJhOJhVH1XW0P083Jm
2MIEchuTiLDph/ANGtxmjDgLsgosulF88s1Q8qmDTP8uZSMDXxLeWHhDJczyaQovuFxeURddaU6T
t25ksTuE/SaXBHdGBcV8kgjEpLvhIX6iLYGqHkWvPRUxucE6uh4DkZCNvp3lakkDP52LS0dWzmQ8
z2X5HaEu7yJDyewgyq+WTqoLhV12RRcmgCLKaj8ClmQvMtF+MWwXcW79skIWr7ehtdFniT0GFV4E
eyckL0+Mu1OfIVCW0vrbJHdPYdNupkR+m/OUoOMAI06gyrQJY2Pb0I1xFRphDqs5rJ4sX5xhNi+o
/V8ZArxHQCZsBZk0fYjkYzAqg1t3qdwxHEAjWpSYBCClyC0RDxVytwl12GXofXfjRIbUove3LESH
FIl16JUKNz6a5XskwOSKF3LpETeNN5VRPT3OuncmicZwAPUC2bpQ2npWPwqj+JqqFFPBhEIWQP8T
2zZkaGjPOa7kXJfCPVbmV7ARH0ZBLLJE4jn8xMmW5hiaIw0ZZDlyYw+K8RXMzAiqtSIEKYJAOOYX
CFWZO4Xct7SsYyeWipvADzpQW0WEPfIuEIs9hgBapEQqEyMFZaUARGGPKuw3cZ4lT0HJQq2ekmG3
CKG7zGAW1+iuTV0LX9WATCY51hABmGQVGUrB1ypJxBgK2imRjOZBVikFFDbmpN3LFd0GnU8TYla1
LDO3IQ+dLWSGjBNsvmWNJXOkok+L6Z4EtcRFx70GYmEigIkB/A/iuDtWwncjGXZCnX4zEcZAmIGH
me4ao38LTXAf8qI8xYYM+0WJLjMRTY0QYVnuDpKs5PYymvDOO84jze3+kpZlsCXBa2LxTsQN8Ui5
C+pl3kBbtjzy7HPHkFUZ7jyLqTGld/QsbLEkhkmQtlgl9Kckyg5zJb6zux79WDwO0+BHVnONQ/WR
PAr1MAzh2j4O9hMFdpt9g8DzgYR4H2nDlx7KvVS/xbL1jDLqdVAD/SknEQw94mLsJZG1qFRXh3sE
pb/FQUCuOQxQ1B5QYFScakaxlczFnzr9SZPV966TntKkjbbMmFzOlklaMOVA+c2kzqoweoRKhv+u
mV87ZIhk1Mpf2ErmfDNZc4UaGS5NLvKPw6JxuPXdUVf2rV59EFdBpwqv9T5TDA4AXeZOreFzsNXQ
tro0XkYafW94gRq3zpvb3Av057MHc1RuZiV80bBL2kAYSg+CAIOKinJI05avkQg3PRgErkP/apbl
4JhDL9qkwpfEigWpB1UYoR/ZqZtpMYGHQYw70F4/TJlF+JB1RKAtObGx4KEVRlsuib8sDVZHAobS
ws6F+puxjBPs9ibaNAyZVUOGqBukt6nvmM2AN5D68KEM1Cuk0it43iuF4OTBhnM0c1y2Ra5dulJB
54y1yEbnpDrZoKOLHztiLyk5QBcCobZiajXE5beB/EI+HFkjoVEusgsXJkTLzUXkfVJZBES0Bloe
HWGJaLbWXUS/gj73WF6yun3/+6Pl/6OiCw19618Nj4u3j/IXp976A/+cHRv/4L7ApWdgN8PAB1rr
X8Nj/mbFvFm0x8wfI2IcuP8aHiv/MDQGxDj5kOKb6Jj/7dRT+StZhaQlGjj8cKX+LcM4Iudf5RbQ
+3Cto3om9scS0TbhSfxZbmFENAAI8RooY2/0feHEH26aC5d2EzmJO2xPLPi9SPbmvemgpPUKl6LH
J/xn3iy8esfZPjyFGAHy0vEVv/MGkiu+TI2971F9uclm/DJvGR163X4Mt5q+F3uXqrY9P7UevPVt
vsUOsVmaI5IguwI6qW/l/ElEWeiQUG1TExO7auenQburYnvgwGZn2gyuKXnTJsA+8aq5vXPrOYob
IWWe5WZ+tNO9yI/d1C4P0U0ZHX0+9gfIGL391NvRUTzLt2wn8nXY/23kfXXUfdmvXO3lILgZv0Rw
xWd12+zBW7/Hm8Drt08Y/+7R8tnrJ7DxNC5k3ijHYKPEXmzY4t3wIp96p7dvpM570gWFlGY/7W9P
T5Z9Oqz/Z3aaY7ZrvVfVIZ3Pbo7NkabcPs04qgMFkv1l8/AQ2u+TWx1hMXv5Xck/TJ9qqKGkGtNp
P4iYV4CPu/FC7ITdP0UbcuoNfrdhv8b2A+fKTnad2/HPJtf4AJ9s6w4vwvfmRXHTO1AqdnHM7fA8
W4kTP0pyAVzbif0Ei2OPpckoeI/c6o/FF3ewLw7rhI6WsLIhcRs6UXjUbvE1dCq/3RK5fOlIiw5b
L8o9+cIMpwci3u518zIa1+bLsslc042P4Y774Gny8DW6EHb3yACVitraZYZPHTBea6Imr9CxhNZJ
b9W7OjKAsftv1UXC+/NN29S33scy6nYfFFdEKx2KmMumaLvXCYuQgHzMnbnW1CjLt+GkIZr1V2+L
z07ymehUm+XzUeHbcOJOAwFFXvNK2zFz02g32WW0uxbR7qWZdtH3frJRvemEvmxCrzuIO/TEx+Zl
fh2ZXzEJYKoLNQ9Wk0q8Zcii5UqjX4uucWxFbxieFxLjIYHeEptsC998rk7RUT4p981x9PtH3bgK
79Z7uYiuaIJ1t2xqHP4g7tNz5AoXfABOIpzG0ROdJmUgZeM4z/lf0+HPDdAxdueVPx6NHZUZNjQp
ws6CI4Uuy0lpd2wGSCDpvzPVpECTLHvEuvjQvxHfpB27C326psQEucclVUZbxQ320TXZJUc0Hf33
4MavdN/R7NnX63HP8deOeE/qMK+AEqkERecXakgyNlahkhOz1f6uv+onNvc+PUJzQ6qn4MGe3wjc
YPRRYhr2H5j9uAck36WTg0DeCcoN+lWCFNmiEChBUPAX7rqaCKlnidgkR3txmTAH9+JHsrFBRdkE
y2zVExRsfAamo33wxbCubaJNv7nOW5SUTpgeUFlzdvCh0h0+K5fgkYB3d32CReVxfo5S1MJ2+85x
UbsWTvVF471hOMMXJoTX8DB91U2v/ia80xKmCGDf2SqbetpqfhE+1xSR8wO6cmk7n4qN6mxmb/YG
usi7xb0QRXF4F2xmNszGD8nX9KzvQdbob0hS7PRbgOCWdphjvpAGLNjNVn65hifrDecXveTkKt8p
19h6VJAZyy/LvOsc6aac5BfzWKGkJzwA1feHuJOWk3nxFsfwzS+E7JzA1Dr4Jt7l60658w1HOkff
lbN5HRwGeffK/lzvkPNsGEOI4Z2R7hg7qk9qwxdqzuuWf5u6vJa9t7doS1/H2on2fbQtr3tyYJxn
r7Ij+zy7nnZjtvrBJNINnfarfORPtuiqX4q3F4WXOV16Mjo2nde74yZ6o+luU8rZBD17k5dtYU97
4/EsbyTnTD381AJRuCx7voIdD06+K4+923nmBdA3/woqO7uyB0dH1WNb/DtohXQ7O2v70eWA+M/z
kfw72CVbaiJL2amFk570l5RYuX33XdNs/ph9fzH8H0dx7p7YxNHF8QE/PRk4YpAi2Mz022N9xEoh
c5NTmQ7fE3nfugXqm8ZenHmj22ya1u+U7/jj0fKHjNcMS1W3J8MhuJCOgW5G8vt507v8DD1fP9M2
Qobc2pm4PcWT+hEycaxIP/PCq+a/4HHmO1iqixkltCOfu9I1fMkDT6K8PSZ2sr93tt+FXQGx9qAf
zM3jmTwyVLzIJ7Q3zWGXwbppnKRziqLlGnOK+k3tEhnvr/8Fq3UzsMu+ssZy+IbPhi98KN7S3Gkt
vz1yUOYXgifO45HhP/FEox2drPp1DhzhK1tvA2M3OQPqJfBulst8Cc2vj4RjCLcqWb+shxmHjBlS
oYY1N5WwVYat5UqdiCtzr0NV/PsF5H+gTfzfpDpcmbH/c+F4/tZF35rsrfja/lI9rj/1r+pRZuoE
6UHUVmSrJfI3/9TqKv9g1IkpTZTBPPzwp/27etSUf6DbFkV+UNXWChEh4784DyKFpYIJDt3vD+Xh
34qqlPlFv2h1IffCnljhuKuZjWn+r8UjW8F2mrH72G1VCw9zq8mrQlBc0QP031wj7dD1pGrbeS2s
NZ8o1yQnJo/Ic22UFfoUU++RpiST8RJYL0syFc/1NGXInIgeg9hfRCnarcoKHlQF17ZViXRGZmPe
/HTW/8TPth7mz5JjvoaGDBMIE4Y24i8/1cCiOpu1gkUbue+ibCplgN0mhmprK2EXrH2c+q5Ey7Md
BSvdiYso/tPN+T/6ApX1A/5wAFBY4eNQhzN9//U8Mm2BvIuinq1ilhybRExP3RhTRHY1/cMgWKWB
bTgE+yo1ha3R4/GIQuE+08N2V1QsSUtjOKuri6NsL8uQ1hfZmlp/bGrLr8y22Sk4+lSvbAuklEUl
IMRSsBCpuvWS9O2intRGIilqNtJlo/3Qkv041Tnq6b8+1dJnMgjnejUOygppo+w7PsOei9BAdIOz
we7jtLpLke2d20kEhroslUVafLlM59GEnU/EHWY0p6+mDlcbiVVOxijr2WKI92Y0qyxFnBSrpUYO
x4wXn9aDyRmThDvuN4csfpakI/w1dShJYDuxh/6B7zgq6pBJHV6ejiyXsyRN39AxLsx8FdWz5HQ4
5Eg/9p013cuTumyNfBQZi3Xa+5wP+WVQpiJziUUmXI38KT+g5VmdUeD1BxXp9yOASvMjbBGae+XS
xOxwmrx+VJcC6FtijXvcHv2GfG/xamL+ShiX+FzGeiPkne4WVav4U5zW7+nUNSfJUtCwy8r8vVQs
4a6WcgahMcPzIKgQQgkrZg6Bk2cMU4rpLW0PFSKeC9Fspgf7r7g3tMH6WgbLYwM78wntUvFcAvB7
EoyMxQecgq2HWX2Iw9Zac8/mK/EXGT4UUBatnebTnmm1fq7mqj2VS1FcGqI2aEAOyjOax+CoSQuT
Jiu9I4S8hU8bj5hejbzapNh87slnWjMthWBXT0Tr2Au/zDaGeTwZhnAEJ9DtwnZhUJG0lyGzGDRq
bIWw+Vi9+EK7L6JxhnHHTfCpM6LAneKpmSXeJIxNBR3kgdH+BK8jJ6r8FAIqcHV6wE5gURGPelnN
9hqVZptp9WzOgrUZ9KG71gZ+q1Ts93VaSySt5KX3m/vr8+sHEizibQjZKt0jHo9Pr59KD+OpJCjG
ac1hpLCYKgvBZDvUvkznm32JLG4BtbEUE8JA5yttTrNuPHeCLORsiQZa1RMSU8mlaYigVwkpaqwy
3g7r0y8b+A1mGg3H3xz1p8aByFHrig5jS9dX5fna1/i5cVCYNIEJ6aGwrwTRTSqcoNa44Fojwmo7
cQcZ2EO/SQQT+EjWFFRAc+taWRy8/PWBfH6hrMeBS8QEeWSt1pFP785JEcpoMRjq0gmtH8iNCd3E
qGM36mdpI2MkeVArqfvdNfvjp7JYGAZEcQnfOIDZX789c61QFnrGbuR3oQaIhrH+ohpN+EEAjcIu
Mg+LkfnTUjymBPz4ME/ztLInWJAvQ81UtYss9aXu2/YoWCZzHEUyD3pN1DF87uU3LzCcdZ/WFwkT
wrq86WhiLDpHVBE/X6sGO10RCzS/Y5LcHK03Lhz8ezRXimLjVgl8K2Kj1pCuagPzKf1u0A9DJIdM
/DLiH5F7So5QyG9ogUtU91lzJjPS8PRGBpKtZZI7qkHzXijCFvtpvB+GrnEyrXhWCN5xVKmmZ1q0
wb1O7MtOr3PRRyrwCHt9lCieg9lXxUJyg7Ay75sgstxyDKGSSghamJQY/RnQqESjnTR4pPICQzKI
2BP9fkicOb0OnGj2Ug/9M8ImRoJqZF01CcFu0wciMOdAp8EkLtFrbBnzvtQxrGKDa7zWCoNNGqbN
4mBGpZIfa/2+Zby/FeqIuRIKMWpxPHqIllmZmS2/gHXXiBLO+OVLIulfyPlZUPqVCTZIEqGPhEyo
gmPo7b4Z5eaqaXV764Ri+KqGMKJ4naVnsZJDUpfVYdnnUY+fOqlkw0UNQ8tmqpVTpMlYCpPRr2Sl
+qIHdYkvMdTOWtvHVyFR5H0YFIFHcJqym5IsAM3DRmUqV31xmke0z5tl30Dx8XPFCpkxD2z9dTFk
ThOMJZvlytDKrW4o6ntb65LXhTpteKEnn1FLlKHc9EoV+0XF3K0Bg+TMqtAiAzFnz4zTOHCLoqne
iKisXHDvjikuyS4P4/48x6PumnEwHQGT70w9Jlov0L7IIsndSh09AfAS6ExgoWoHhHkzlWKdryLz
sWjPmaCVR0SDnY9r1WK7bGR+odcoswZc4etQqSpRr/ZcZ600T53ZPC5zFpxaNMkX8weBJi2ykzEQ
TBhIleYzq7yKrfAaYXG9m5nirn1z2oXVMCCLqpkRY3ZsuOVlH1RSReBb8CVMlfI2jnSwwOmDEqAW
emQWJz2txq9dGSa4ZsN0pyiL6UszapnITOeHvM4EJ0Rsd0eEVXpA1TM7mJSfC4Geuy6o47XRq/k6
WEK8FwoTTVJOOZuVpo8ceHSqHlW1iwETPT3DIIIsiGrlDrMwicXFuBpsuleu4Xifad1rUGXxHtS0
fB0GnO5a3pZ7ljnjS53CC0qQ0G10HW1aHoLcJxn82yzMQMzKfsL1Pylo+pIik/dLjY4sjwBJEdmI
zaSOvpUo/gsbAXi8mVIN//cgPQQFw7s4XOpTL1Kdbhq5FG4dD8xtlJb0vSjDE9jhyWvUpvygFmOw
Ce2MO8jUzb2CL+VOxR1C8nbTPxW1fJ+Q9bOH/iPW5IoTFCWDMvCWuERuwrCoc/Me62rGBTgXQqS+
Sbz0nwXkstuSd8+jmS3VpWrl8gulauQtSjIfWyLXqIxTwUh80s/ZnyOOKTyE7tG40RAkhiiOJNpG
qRUFXwTUuGjUkvhbA58rd7soL05xK9C+KYlrJ5VY9rnH6ndhqj+IlWb73Mio34x5JoDU0n0Jz87B
CMPuEGfxcmnlRjsYGp5Y01ielVj/XvLEb7D++CyN1iYU5ZwgJlo9GaHiuYVCJMiIDOotQ30bYp2w
AvyvYjXBDsus1HgyLGLJVp6CRYG2xOOTIQO3cidLy1xNzaR6EwuYB8a6DD9mRlge+Y2RXbVjipGp
GBa/D2vQrxoudKvqEG0lROGtpcA5inSRJy8dhfNYD8V9lBQCrwWiMv2M2oH6Wgy3AaJUJOTMhwcJ
NKltzhP++tA81FVZnIh7SivHzEiH7FCWf42hnDtts+TPJvICGAS6+t6D1rsngIEX/6x6QUvmgDWo
4ynR62bLA00jw6osbzTIkcMfbAi6iwSl0PfDVKg08wwIz2FB5iJdiWmNGh1X9Q3rf/mCugWeJSb5
Zi/xHiMVUJUFnoCVPlVVdLZkxuxbMRDzS5ytFqZKkwLLGwJFnr0YzMT0GOsauzuRZCYXOOaaYIGt
7+vYL6V0GRirEW+7fhIZV/qJtK8Q3cz6GMxrpBfCSVHDECURgssyMsq3BkdJ+bUntcIpOeLzUAZK
TvN6FXWHJCODDFLRPfGseW3bQQ1YNBbgJCFXgsCn6ToWc2si+i9pwE+LhPq9Mt0Fbu8u0Xj5ogHO
cwR/0nQtjFLmRcxMUfOqCnTapm0mVdmMQ1yvgn5qlEMZ9xn3a5dzdsU09se4iP0JnMeRddx64sOz
+k5MoyR5D6YiVK6qXhOYo1KMpFTBUpXBBQwAeqMwqnoa43n3dahAGup5K52rhEjRH4eaWiTS0KCM
/VkepYdKzGktFpl0zntuY2h60hnwBegFicWYzVtjunPHUhWwyhylvGAKTOT9dAVaYHm5ms53JF4j
+zLlsnws0fXQvg5nSiClHKZrp60pHJ2hD3eTkNPqXEqBRmAoqW8JRoHQlqaZpqEKZ1zaJGwo0ZGn
Y+y3wfqLxCJrti1qRII6W8QEipK9gJznOGDdIUkSm+rF6puOQK/SrO7kyiLbSyK/kVjvIeGGRbC7
6+OeL9IWC1ejrRJ6ZjLAGVI+IEwEXE40DIzvpmvWsCPqM2FcTRVjs21aWbuU1ImFk0kWPHUC0dGP
TeIsuQbpRk8ExXPqUOcS0NXI7Ve1NKyneZkjWu8LGE8qikl7ywJJfJasoZ1tAsKmalOV6nBltBt8
X0whOZFcYm5wcpAuU1ncoNHkgrbbg8CrGweIIiwgi7gbNPqaOxrqWHopeaobKxbwzgzzKjwobmKz
qG8Z1rJVb7obhQK1/9IWqN2naB8Ky3iO+ogJfzuAxcsmI3hgrN9MHgFqH2XUSUAO2E1h9MjmLbyG
9GIoSXXDVKaeFmtF+GcFP9cpzX4k0tYbLWvdqaFFR1MXlhvTCIx3qa3RCSnVWG5rUIwHqZvBzwVx
9rU1qDpq2U8j0UqOykwaiAZPcStJRvEdB8d0yoNOfKiiqF9jiXWm53rXSPGmqKv+ZekwCHRKJUUw
RSRWEFKHmDjkNT6yBdu439TKlq6Kyo1nVKQVF+WSbfUuChBC9Up8kGuWaQNi3C7JVAv6fSU1nG0J
shBCWinYitMq7W+F6RvZFq2rZgg4GwUtr5QM0l2iIgtyWnb+21JdwpOa8mQz1J+fcL0+U2PeG1F4
ayI5doS6ag7tLEp+1nd3qmKAZ1PmDc2f5j0sFYJZjFLDJWWEl2qikJq1XLgJI5lCE5G//rwIt2gU
LZSc7CUFXZs9gJg9n7USI2VtuoTd0B/KMsGply/Tli6C+apEhXzNO6t0xDFVLgludY/Ia8mTtDhm
vNuEpzZLg7M+9e2tiOrkEYDpc1WK6laBUXlWiv5NGILyqdEqpolCVOEETWIUbXMXb62gfQrLWn/B
/2M5rRo2X5sYo/KymC33QcfQd0GMTGFoqr4sVBsCemBrMpG8YTARiQSDbkripGL4uHNUrr7yNcal
Z8nzCfpoibGg8f4LH0k5kier2Vprntm8oI8aVYgpRLYVlJ3xLF5EvKJgD9mxKVLz3urdndkzUUql
Z6htyFvE6g68530qJA9RhPYrjd/kSHz8sVf9W9i2/6DD/Z+pKP5X9cHZP/9FH7xsxrf51xY4P/D/
zfcSDHO6DWw2DJVOyQo0/mcLXP2HriKOoPssA6aQwef/uwVu8ENY4nm9Am8jrHL9oX+1wI0Vl47q
QoRiAYHh79HNf+0D0BEUNXjJdNRXKYcsSZ921gHqVdCz5eIS5Sl+gG2prnqpGQ0q6ooeVJd3+bGe
MO7+dH7+pGO9NjX+u2G8fiz4TTqoBtoRNM5roMDPG/pFMWZE7ovO20YoHil1dAwwRbv7608xlD/5
mFWgonAaoQupa+fqJxaHVfRCXUQhehByS5/xqgj32iyQ9hxnPT2mWJMf4JsZoVOLncmGKO/U+6yD
hmkPdcvIrURwFft5TffdVVodzTW1W4nBo5fDD/HHGdIbXhRuNk2d7BDcnqV2XsRBjgY8h8szZwRT
hzPsUY+9jjhtELni7KdTwY476yL4rPIghQ4ZzAyW8QBixjNoMjHfU0IpWDuF/VcSzvLYlceyRx5F
PM1bEi3Jg9VHMlqMNknDw9gW4z1Ex6H26igWnzozxvrdSTRtkZuWrQWTDEuinehaPuwDtob3SpYQ
OygFdJy5yqKVk6WkIAhezDQytosqiTov4lTaN5CaVKfGK5h5wCkJ68CrG+6Iz4pL2J5jc4aoFqGB
xj0K6TbsQtX5L1xtGvvERqe8q9Vrkcb0PvJ6LA/pMtW4l7qIMxWLJM+5ImD2yf3rK7/etp/uL/Ar
Co8HwAvFUj/x/QYRgK0UC4pbA4D1+kCQUJo3jB5Vdtgx6Nbf3GmfZEg/bug18pL5x3q7QRf89U6L
oIGl6P2woSOQxkFF0oRxZFA0YHNRquTSsjmrvW5RhTtr6BAZhtRwkQ8IWSf9XVlD4mosqqqLowXy
qNZH78oSGoiv9X4kCkDRpO/pbHbxRqhnklgEs0IZUiFSHlqzWS8VJVQB0Akn3TSStklKMuA/KchY
SoMEz2WbCbW1CRI42hktdWnd9LHjVKy6QtMilcJTO7QVUtncsnq3rrtmn+Y1DnHNmPuAhSqMX5ei
RCD6ty/VyhmRaH7SKRR/PMM/P6OzhG2AqYWbj8PiRQC4/TibhI2Min0Ld1E6/fXn/Whtfro3rJUO
xBzRoGctf3opSOzSoKuGkhsGivGel7QaIo3qRLCq8UzyOAOYbGVLm32M1FFVkGwPjNDoH1nVU7hy
r41Uo4GjNeOE11RvGih/4pj5GersL0oAzs+x8lLcQFesPUZ3xW9ubvmPb09DNJnjSBCoDFlW1tfe
T6csBE0fFkuguHlRmjiIwjY+5EVG/dlPg5Uy8sddncX5oHtaLKI/C/CzmUBTcp7TXG1zmFnRlFdu
EkjolWsqEbREZc+OEYg6s62ibvsW3Trllh6q5khCUIBFhuGMDDRxEle/R9sXpBkR3fib1vT66v/1
8qzQOI1Vj1miIWqfOtN6q0IVhYfrotSWTx2aaw9DZbFd0kL8zYmUfp1brk+tabD2IlE0pLWxvJ7o
n05kymE09DAF9kSi0LtROi0BTF0DoK/W0jEFsjeNXzHEVa/1EscHE9GyBfdrheP+9V35x3XYXOfP
qBmBtf5zTv7zkZQDct2GXAHPqKXaC9l80RIW1ncm2yEwACpw8SorfvOpPxbAX0828QsmY2MVwg9g
nk+jm64IUxLYO6RYw9xkJJSr64iuq6qzEuDbxvoxYiTS2Ic7pZGaSNVTxNqrxVU9ZnVTxU4v9wL0
Gkj3ElF1mQFu2ioRrafQZy4K+VwIa8jMlexeKNLgyCREbpxWDiiic5gNz3hBeMtFokysHhYnxSZW
NefTemm4YFQZ6k3Wsmrtm1KJn7WI15BdlXA1PEOcQSlCDe/X3DoBmgQ5i+qTIZlFuVMFgcZgtmBY
vyVzH2+lPKDTN0KvhaAuxRAGkiSnu6x1GvuWefFbC+aWrffWhBS/6pfqN7f1H1YkvELrsGmVGhB9
p35aILpoCQOLgE78/YP1Le7qZFsvUnyYEigRYqr+bir355+nEUxMhagzOPn11p5YFmRZzzMvBniy
MRoT7TW8ecEZtE71ojnT6t/cTH94cJlkoaLQJfS+hgFv/ddPnCc5BKtS4stVp5zHNZL8uY0gq6jp
+PDXT4v060CIB3f9LDBwxAKpTIU+14+5lLVlSh3iSeM0HqcuVvxeTWbi/LDyPVcEY/duLGg086HN
3i+RbraMrKBSIuDq5e+/OZo/vI85Gom3B9U6cXHMcX795rjWmU43pNHwrErdLmN3dx5pddPKHNJj
FeI8K5N0+TqZBEHEWtM+yhqyvaXDaqLMUngsm7j2i6DOfnNJfgCZf3m+OTLkNRybQZyK9qNs+ekF
BzApIJNeA0AP4DL127SUbiYM/oQ9JTiiFUSOPrceWR+cETYcSWxSlr+CRo4R61XWojvBHEjYRjV6
1E5N2/4KpqAyt0xhMGMwPMi6QzYbQuP/9Un9k7uJy6urFlNaZd0//XpOg6leEmWMwSbhZthWRlzj
UQzEO1Goy7+9DEiionNyVDRATIKtT5+lQ2uRxSlEPC237aMACH2bqGH+NjP1OptqF75G+qLvqrxf
NkMrm+9xUaq/mUf/yfO67g+5ibhc1JCfnp7FUKch1PXAJSpGZYghquVDDxnE1/SWNKUlhE79m8pL
Wn/np7uDL036J25zQG/mp3dEIip1KtAGdLM4YujUtbmYEDagInIuzDh/LJQc10eQkUhPhhNx3sik
agfSlWo5cIcRFY9gtnQ3BBGjuGM215u5l1mlKiU2HpOlX9g4VCItFxhW1eavb5AfSa+fj56NMGW3
puu68uPvf7q3S/LQ1jcOJvcuCCY7hq6WO3rQ0NcaAz3pnaWpsHixvqgD+c1xgERZVMCy5RzNB70c
Id8Y4qigeMSwOfzm8Iz15H06PIozXk/8UoVm/nqD/3R4ahUSzVkNuA/A4wZ72EEzMVYVpsUxGGPg
19yNVw2qReUO4igcxt5UM2oxJW38KTET2Y4IqcHFFVlIIROA6bY2YBZy6RElmStIkTDiWW2qMwhl
PDMjiO5vwiR1LJACVB4XBBZWMybr0uCJVgu1qLXo3D9Cp54mt+9hgOj/j7Mz220bibboFxEoksXp
VRJly7EdO6OdFyIjWZxZnPn1dzG4D5HkK6Fv0t0IkIY513DO3muLpE62TOnt8Dqi4kgeFJSufaSc
NHuMXAjYfdtZP2UBHxnxWkKgF+t4eEc1sdabvibBZw9qLV82bW1kTLix47+fzWD5GFnD9Lu0ObEH
h9qq3OG773hfhnQlUcVq5WNqu2S8sZV+ksRXIJ/zhg9t2iTutgTKcwvvlu3rEsXFq6oN91cGk+C3
Sc9NhELgC9p4S59/Jw69xojQlkxtXmx3Cu9SkfMyd/7sbhDk2MaNFyVItVUmP7iyRyh9+UV848td
1YPQxNYSDxlxxw86jsGOUi0BT+SI9kFFCNMcA7lqlrTlgYaP9f8YrphdWSXjrWHGFfbxAbt6SEsF
x283RI7+SGdT7vqafnUyBxZWFDmwjJ89e88WtP3pIEDYJ2bjXJla3hg78AOh3HTXkYNVzfFJsJqR
qeFqY0cZQe7zmpxFGOTY5iZb7cw5+DWRkPrBbB1ESeBmrtyDs+Uy5Yd1omUhwORmmyf33KedAYrY
j3b4NiGhm6DSo9JcfgJruaEmPx9sQ41XRmi+DK7p5JMmoQbgrM1v/nAyXjraMMDZc+MhiwCZg/oI
Lhw7WkPXQi85Wya2Vj0Od7q4w62Z0gLDOSz1pyEtEHr4U+S5N3MpjHdkGKHh7iqWaDsIJRPgiUXJ
TwYtADIDlkn8qLI8RfVsQDu4dZa1WL9IzRiAW1qgSCuyYE3AS9xbbq4Cf+EE6gN8nhhuWhqUxrYp
/BZmXS4KNnIFKfGYv7MFdGBitp9MEluzTZlPuF1io/1cNb5EE9gVz/DQ0qcWoQRAFx9iN/1ncn1u
al1Fz8De6uTGgzD1y2H0zLEkjtmjBKf+o8/tOQ2xAiY2KruUlfTY5bCRxigFwTb1S/5gjoJ5DREG
MnXWdYTzyMUg4sgLliW4gzA/ftM0lqhvF1J8i0ZSnnbKyjqKNkk1/hBNhBJ+mrX/YZ7LCfNFm6Jd
6dy6/7C0uJu3sEXQuWaqCzZW06pvMCUrky1qjXaut1314E0QsyEbZDbufHRC76u2b9KtKwR0hHjN
ayAIBkY1migEBxvUAgBums41wUUPEcIYt7fJN6y07klh84wXFankV+PgndyiMHMfsXLjzxhGuFYJ
7MXfYpiAF/QI4jCrC+ePCZq0RPAniyf0F+7nGuzkk5Z987E1vPHLHNjw/2S30t3TJCsnBuwR4ulo
GQAjkanF5KRZ+DTTASHvtkVkDCGcUhflSlXpr5C23HavOuLjtiQr40iyVel/Skt3wref1saDdBCA
gjxj1YXFtsI6XKRBdue6sxC3aVWk2MKckeSwpDQPEoMpPDjYo+kmHse4//5fx03wMKT2mZhI0dKe
rpp9RWXLDEpvB2GCVK86cjczIMtHJ5GUtgKcRJePd/71rgp0dLDswygK2icjVpFUErFEwYRc1C5j
hr08OUy3z61p6iuD4xtTwrrpQtdHfZ6Ew5PhqRjyzKlUxvCUaf+L8vPs0R8NcxtrRJHU54IrU9D5
pdFeoPyI/Jt+Agv948HYhC9Ha61FeYYGeesXGp96DC+kKIEGXL6L5zWTv60M1owWbYuA/xwfy1Kx
kVVOGuy6iIbTBmex81BOvnEYUwzwHhSNz4uM24x0NTW+Y1XbPo9Z38RXLvmNGQDJOzdX0CRhz3ky
CdqVdBaZglX1rQnBZqvJ0QitzACv2ifdEIVm15f4MZsZyuflW/DWoSUWViqIhPRwCsd3wAd0hTaN
vLYEFhbhLG6/b6n9HSaUKXdLMWOxM6bsyn5orVifzD0+8lrXdzDO+mf7IUO3o1NNOa/UZNnjDUEk
0D1TLAcpnj6HySCotQszsSezLujUlbnvjRea95lr5QQ4ib8z4z+LWatyTZTFsNliNKU/le5QfnGD
QZelaAn6uq1fL99j9h/nF0xnSlBJwOML5f3knUaGW6gMZheRm25GkqtexPc461ukJXrR8+0QzJO/
c508LnfB5COgMBOk78+DttFiBbKicJfNUNyQ6lXfiSnw4Ge6Alm0L9YBvDQUc2A2L3EBkNfC1hYT
XfHkQcn6QboD+wS00vVDbjNN7eBOxS9gByjTjDSBCReEaaH35Di6L8KzVtmwPzHTjcAnbcaWAG8h
q/RpEy9V9rWCCd3vGAEDmwZztxIjahwdsDGK+N3gUZEJXelTZg1U1AHasXFbtX2cMzKPKdppw8TE
CPmZOp2i3POzbOcoxcdnjd/G0vXpn0V5tx25/I4LAmhDcohVffdQybd71+ohRBttDvYYJT7T2xRn
WbRG87YVBip/VfDPzfsS0Ml6Bn4EO8Fesh5+iGV8QthV4/0qp7SBydVFNBL6hMTswII+XSczmKJ2
WkAv6jkDdFUL7Ro0MYD8k/7nfNC2mf5hIavwAzZxHH9UKUSD3ZhE9R9/VjgZ8zaH2QKsZvzodioz
wLvVMxm+rSkbAnmyngjBLkkwxdaFwtDZjjq+rwHXPRdRUAMPivr2dqRGSKmCUiHbQZ0l+c0yeO1v
OAMI0kQ1ia8lLRPKl3LGLFyxuriLGhzlGxuVKhCpJbLo2TV23Xyd8mb8yciTSuDA5N9sERrWoKRY
s7CxQouJaMeu9MaaKvmLUafnXZI05m9Acxb5exskaR3SQ3TjXdTV/JRCRVre0/9ZzIMZpy2c6CiO
rH1hVTjaEMCAixYdsiiuU/qEkFiKa3biZvg2FnlRIgZFGbRJSIJ9mdSaCEdITsCczxK82TCz5php
CeF6HmyNKsIdjemHinWEksYwp58imZyfccDXtKmlEfxhceZ4dz5i0epG+b2nYK4JpwHZZGoM16QO
/bGXZUK/SfXh3gE3NmxRfrHS18A88k25yPl1sNrpXe1AQ35IYDn1W6RG6dfOL+VPcyEabJs2BiOR
cifafGTaagLbAbt2e7TOctl5BuJ2xDLOEofTPEBkc/Rs7xBho61ELBp3IEmrakFeZhrO1iHZpN1p
MJjOLsjK8hNnklc7SyWEmJjGMtkHU3RSvdMplfN9TcXmv284TExntCTY0vuESJyMRuBhNQQW9H5K
l5RHms6ci21NnzXe2GJOD21cJTdZ1V6bbt8aBW20AdRUqePJv86rfwbeGJT05M9raYoVFN26xMMu
P8jppuoqOnsOzQKvcadnUQyQP2RFof7yQPzG0iLAaxf8LXGywjipjXlE1nYGCtVdqZzyzhkq8yGO
FmK5guTb5SOdT6ts6jzgS+sihmbg+vf/XGpXk5DrTdLfoTZbNx5D2YQm6OhfhrMA660RPw5z7FyZ
zM+vj1UotiKTBhABet7J9VVNC4uz9zzSdKLlwNQwUzqYqufFJ8/x8gWeT+EcilqQQzYI6o3Ttt08
2bloBgpW1iKqh8wFamUBzOd4NpIzwsB4gInbvxARe2U2feMibdZIEswfHVYCBI9vLerH2Ey14Na6
IwLHCkk9WXf+l4UbemVnbsqzeRs1E5WQwKJ5t6pKjo8F+jIWveygyXUA1l/rWYldP8A4p0edd789
nUp1o0rPhQzGPnnHsiIaQ867S7b+UhsgpSGjVTCYpWwPWVLqK/uON24GNU/L8Wmg2oJ3+/gEPbDd
g4NmbzdmsIctMwNbkxvdTgakGFx+4m+80hI/pi9R2bBePH2lk9Tp0mGR0Q40JLgdA60qsmcIzsQ8
PJI3O4T8RWdfeaXPxwwT597qrJVsQeipH1/gTOLFMhvAFWz6XfFN4VvUs/O5MNlPG8SOx75RHWj3
moyyVieePS1UfeXK37rJbH/oMfE2BGcLRpoFhTnVItoRO1r8KSmmvALIQvdQ0Ch8/s93mUa4bXkO
cSW83CfXqyn7SZcY8V1SEVGzJ0CtmTcJg3W6NyWoDIUQ7gtZX82VRfEbT5fyMmOViyWUP6xfwj8D
Vh075PfMlr/TAQFmnSvSP9DH4pIqEPgDQrG7G9Wp5b9v9piHBHvYtT1usj4+PuzkRobb0D9l0oTB
c+PNvLastcoqJD20u6KWeGPM4goptrFktfH3nhysFJ7RwlxMQ1KvybgvhY/2RHp+OMRz/guInTwA
/fQAOQbaUOHlB/vGS+ThWTUFQzM3eTWP/3uDvWxITAQYSRgD1oOi3vYHqvviwcjRKl8+1BvPkm06
85zExGgzUh4fKvP9DP0Tah1zmSvz3pa1EUa5zz6yoJAMeFiQXybx4Pzn78Ti8iCmUc+lUfDXuvvP
O9SgPfcdmzat2dreH0801Vfh++kB36Fze/kSzwfm40OdXKI94sUeLXqmCmOHtc2LFCSKg/jqymex
/pzjnapFU0muZQ+q4nRGj28lZcreEumchWmZlPdklrTvSzpe9wZk662HyGx/+bpOLNlrDZhAWsR9
QvhkiVinipGenVYKMTcPg6FBJFulRYAXomGiqUHwyvoxUnr82ARJMO39qu+esfXXX2mu6ZuIxg8u
OcM0CA+gZpQgGEtLZ1OMUbWr5zw94MKgfXv5jK3ztw25BfMjW3kHYaJzMnKw5UHt6yNhTwh2LR8r
HeefkxEP0fuGOhvN2agfoGiYMugIcq1g+3hFB+RSF/jfhyAvM2jfifciEPAATKrI39taTeV903lN
v8MGgf1xKOzkm7Da5nlCK5RudFYW4x6R0PC5WHzp7YpCQie0pAN2Y1DBbG1qCw/4lcno/BumRITY
k2cE0AGB3PHbYHqFzV4oUaGcyCXMrMJ/nPzsewR18tPlu/rGygMhz+qlDQIm+OB0fZX2s1d4Bnhd
m4IxwOnW3Gf24D91fmo/UstenirRjB96tkyPskLGkjkqatnfkVTgZWvmBbELaF4jj2bO5XN744ED
mrAQ9CLbokxwcheWGoNUrRQPnKTWGwLol31Q4+rTBLq8NztWnsBkkyuv2V/R4cmXSIbXKpEIWP4h
hjy+974a5hQztgH4ekZcHuArelAiXxqSm0dsX1lpNnJr4+K39yQ2Wd4nh1DPX5bomwDMYDvlWx2M
lFCiGTn6Bjmb9+Kbtipuit6Ng5vL9+h82cLmiqFjLWIKBCvWydl6Zhz3FTUODBNpKEmqgozUTHm8
E0OkSA62QYOaZQ9gXZYBtE/mrN+XT+GNIZJToK6IFpt//r5h/4zGTPF+5psxms0lKfa6NIbfmPiW
r5eP8sYA6bHwRIS47idtCHhH01qDb0p2gPrDKl5ImMlH0wiXbIaF5vUdPOaY3f7lI55/GqvEzZfU
03y0OTAsjg9ZzLVVNVo5oejnKmbnXOefnMVrHlBIR3sc6OZTgjroxplrMCUU3Mhajh3ctm3m6Y9j
Eov7blHZjTLpY10+t7PHDg+UciYSSZqZ0rXs41NrUni+jQaGDYyF0lHP2v9lKfFthKK1G/Ommhos
3Cw04j9ksIzRzipc9CuXT+Ls++QkkApbPkmQVsBm9/gk5rgziqIagEhM5YgMrlgOyKkR63RGBHtp
zu7idEjDywe137h0fPFMXsgYKKueqnM6Kx6xm6cA+lpJ4mwr5ULeqeECUcIJnlXEN7upvY/zyP5g
ZVHyG7Vl+xM47/hjbCPwgkALmj/ztMDSRTwYRBvlrxzu1Vv83apELdC2LS5s+C4f/3gjEnnG+1z7
+ziNhudxkPqZRaxCKp7OhGWXBcrmLSZ3/8ZXEz7KfLKnH46bViJsu9h8ygeRe9tFjPFyGGQKiFbG
M8nmmUu2ic15Jk+slAfnLvci272yfnnjGQEEQhPEV7guSU+fkTSGpra1BliY1rtyLvT7DljEHsbB
O/ZvCYz1OLj2YpyNCCxkqD2bNv+a6+xy8mK0k0MOe92GjZm0t8T1gU2tJw9dyeV34bytsq6YLDdg
r8hv5rDjA/WjiwvUXLg63zYfeibVrQHr40amWoaNXza7NGixpyUaQ4HTA+BNJvPL5ZN46w6zAKa+
zxfAIHhysUjE7Mb3pA61KRQFHwUurtbjdppbkqZd2dwiKU6KK5d+tsXgyxO05qgZMPTTPzi+chOd
EKLNqQ2JLbEP5YIZpRCGOrgEcRD851Y3hEh812Ur7v7r5a66MgQbdCFhb5xOj4nRWGVPYEOI/Dt4
tegmbTPs08QTBaQj7KLWSrd4tQ15ZV4+G/+54PWFYkDmF5DU4wvWCzZ1B75UWECweZyCAFYbWO3D
0BXmu7FI+x+Xr/NcLbkekPUHt9el/nOqltDSiLpiUQQWBbCQd8SROIRQpGRuIJrw/3gxLgw31YW3
xQvZtMRDdPNjM05055WlRX/lgZ/bctbzIQKewqaLysI9uQGVQd4Lc0obGvNM4OyOIDG72aJE7uOd
nRppTnKgRkGD9dHBD5yAuyDKvZBrLkRDUhtYk/ad0IAj7gBf2VmIR6UdN9hDyZdMBjc3NoycZn0D
lIdutmUsye8lR090h9g7fT+yUvxmSKT+LLEtg9pTrgXhJ1Rzd80kWA6T3SCX+7Zf0lejR4mxAX1P
eo9PCvbnzBoJYAEFxkkRFO2+T/qc6HfO48W2pwyU+gguQhgZMZx5uwwm7QGzgu8ei+bQVkgMb+q4
SV5wXDiPy1jM886kfXUbLGKlEzXoNQE+lzZhik1eTb8iTY0wHJHy3lj0JuBjohum60c4aqA+6QAL
PAh6ECWlGpPqNlJASw6sjuO9qdqpONhsDz6Xo0n9HxPQYt/iKkAcNNjd6kkdiAmhoQulM3KK+c8c
aN2EslHI5y6/hOta82gtyjN32QIwgFMbRLNz/NLXMd2kUdVEyRnzcItoycMBny63DtX6K/MqtYHz
g1Hho1DP9pOGmDhdYWEyTp3YKuAeCb97GQxZvuZ+aZo0F1atnDEa3g+2qBHeoElNr6yObOtj2Rr5
vGdpBMDTaacBvWNOWEq1DPqPaXWRsfOFsczv+ijuPmcUVL2DXrWJd7khJuse3EuBmFyTc4ILyBs+
YQ+tzJ0moVQS77rgvze7rCRFTtjJFuAcJcFpYltKfICePgetSzTTqsD3n3SN5D2cHBfKQ4TgB0q4
sLHp9B7unYEYxn47CAxYW8hPOVFlLSFQOzn2DkwNnejmlg1v8H4qs+ZXrkqQVZnVZwI8vxifzXkW
HiAjKyb+qZPID52gh5vPSCBCL05I4LMCkoXYA7TNndcsRbeFCVDi0uW9c7axU1TfMqNDZdZ3boWP
CA6Mu3VG17sNiJQd9tlEJ5oxx4lZ1iYmyDtUhnKr6beOuxlXtbtzAY7b+6gvmNyWpfEoDpdjeasK
sERbjD/mLzI8muJFxgPpoVMnKAtTThYHd3B7RD2Tk5Ls6NIM2mSklvxiOVNbIQyq+GHIO//r2FGp
4meaSj6SFl7ZW4kKh3gBCS36eY6b2kShlHkrxCPoXtHfy4Eejq1+t1bW+B8nYjqmm4TsHBcpD7Hd
m7zXEm8VfTDnDrhMFGwx2ufxXifg0cEPQ+74xKvdZu/10I0kHXiEj0KmRnjVpcFCk3Cq5b5N1QgE
GgrQ+BCYcfZlsmMlb5Aq1PCFDXfeeaMGJcEasB23IpJkj1oZ1bmNmbvUzQPHwG8/E/qQAgkooFdF
9RyxdOQXhNSAVtRNUGcL3jqz6EGlKqn/0HNM/T02TCz1Ve443wmyCCYq3yYtzighWyaOvOVD2wjx
ohFxtGAVYiIjCJlRL45RpfGOqMT2U2ZOmIvMrOek2ohe0xbP20w4Tx7/cHFPrByzCMwv6K/4V+wN
aUCrCvnVBg+0IqOX/NHquY1znT/bvUsQppMOaKk70pV2aT7OL7AKnE+Xh503RoLV4IK9BVkMa2zr
eNixG81MYLV9SIVx/DAGUUK8bPnLx3D3TA3hmsbojbXMWspbm4S0ephsjw8XO005E13Sh2VkgXeg
y7FSs8heoP5APhmimmaP3zM/lCjW3l++1PPVG5EFKHLWlQyFTHs9t382r7PVTYL3pgjh1iUUupJl
u+oCbmEPoDzqJuslT2ELXD7oG/eXfTJVaE6d5Yx1clCnYR8yNFMVGn6B7q6qCTVCQbn3Kfd8SRrC
hS8f742L5Hisw7FaMJ0EJ8+z7+XUl9CUwrKMl5vatdnzuGTC2WnbHYgEcynuFde0N28toIAk2Yhf
6OAh/TlZnBumgGvSUSEyOmgeIWu78c8sG0xqHkiaDHlcmd3NNXFthBUOXf7Z95KyuUX35b60mQSK
d/kuvHXX2SmsUEckuGzqjx91Kwq3nF2lQ88Iki8NrIsN0AQkWapdQl1N176iNybvtYSET5zmJS2z
k9c6a4fSSD3Zh1ZdpR+aBkEE4pvgHsWNuvKAz6u5dObWNjvNBpbdWLePr03ViTfafQpHvBb2LaqE
/FDz/+4ilvHh4BRdmDfK2BPkbtKPiPOdDVjoI8Mf+ZKpl9nwWdx537jWaG8aoDQ7Fx7lXlid4+8u
P4U39mzOqnxGVWR59GH++iv++eJ6V1Dv7CX4PCLJvuCjA2yRlzPAPrUQPznG42uDhTxMCEb7GNAE
vc36qLt2w86rCI7Pfforg6YHdvoyYOEnJchTA8qkPMtuZOfGxaciRpYQ5mg8212Tzc3HxGx7kpdU
So6xWWfF595ezK8x0+Zqki7qR2I/1M+0VuJuSeXoofTPKU5VYzV8RREdfZSRuVwZnN/4mJGwsxNA
yk4B6LQQVqlYlW67wA0NJu9dj5IVNJMa3om6rENSTlHTLVlxZXW4bidPFqKUhtkNsc92aCqdfDtG
jDzS72hmeSvtBIaX/lLVsX215LZ+E2fHocjPht4ObHb3x+8xuokUtMMq7ap6KCjp5JevQHXiR78d
JTpbb9a3RVN3+zyRTb1fF+j3kRmV/497TDcYHRNjpk877fg0ArK/MgckUtgESBvkCGtJL8kaXC/S
+7JdfpnM3FfW+ufDE5s72uuUtqieUN07PiYijQDEIcdUZZof8j6Zfyjsyv6W3R5RQAlIvStf4voT
j282+1qGXWzDVBGFfzJopLnr9oVYmOYnBc5Rzo0kv2yp+h23NHkyQd2txl4LiV7VrdE0gIbNx4ZK
8zcj683fV07n/Nlj0GDLzYy4uphPBwaqCAXkvWEM/ZgE5DlmiLDXBBzSHRFotWACylIMD2kmVnNt
oDAvyfj18kmc+9xxmrIUEawGaK8Fp8qWIBh0OxvOGPam3ZphvSDw31pFGbybAxcg+6INTsTH52yw
ddb6uVnmudhUsy+fvdix5o3VwWzeCK31a+RODUAas4bzOFG3eJ2NCGO8O2T6kMHuGqG1ZorQRkmQ
7eHylZz3MRhjaesF1NppDOCoOn6fAKOmKh6aMcRwVNDlX9rbwqc5x/rK5t7N5sQQq9NDRtUyrAxl
2mgX0eJv8EtR6xTgNOpOVQevrYs7Yt7rUAx2fXv5LM+HYRetw9qBXIcVedq+qLsJngcUsdBh7U6L
h0D4rqyQtiGb/YBTYHoayl4cCvSPoQWe68p3/ubhKQ0Ky6N+Z/5FqP4zF1EnSyckYXNIQlI3EYtp
Qymfvd6L7guvMnxQd7S20bjmzrgp5YQaFPlpZFxZhP5ttp58iaxC6fQJlgug208WaMQ45xT7ULYw
C9X+A+CxNLlXJuS596hRsSGRKek8RRRzX2sSYo1HxxoH0rBVEdwFxJpmt25i2yAZqhFcZiahY4a5
uQBgaeZmgi5osqvdkOwc6O1Ei9U62BECBNyHid3g+1bG99ImzXQN4WRFCpevQG4bVRS2zdHAdF1k
vtzkQ8JTmHpUvrN2kncguHtnkylc5rs0buJba/HaaF/CNO+2XhCnB52XMFd5eaJgU2XJ0t4N5M5+
97up/gIfWn4g2i7LPo+RzA4N24Nm484si30rl/XN7Afy3hvcMthS1xZXhHPnqzP0NfiRBFsPRBKn
K6YBQJ2bgykMe3dWRHyxdcurlpfcqsr95Zf8737p5PGyEqZRsop6mFTW2fWf12wMAKINYhVsBVZD
7qcw2YruaiRb/SZKpaXDhOpG8WgaccMGnHhQomrqafF+mq1uxKF0+zb5xKtIy+Lyqb0x6dAzxJjF
spHS9WkZGXli37QtyOx+UQak26jc4UpofoxD+xVQzLK7fLg31qkeTTW5StwoWgNgOb4TQxOJvivX
GlNs40kGIad4YaORfHok60Pe771cVDYZwWQM7gLmA70bioqQ7GlshyIMsIgQJjIMKGErctiNTb3Y
WMUy3Q5PxNRHTwOKb3nltM/fFQ+3HHMlrUDq7fKkDOcFYG7xa2a0GSL6RWnXD/tej+O7uk0i978f
jEMxKBHPRUv1tHnSMrfEs7WACTIb7y5YZh36HmGzMW21K4d6Yy3OJMcieB0AKfu5J8u6QLNzw4m1
hJWTDPeLadZfDarQe0nIQL3pOOztyDJzz6QZ43hVyWfEkv6Vd/B8QUuxHrHU2nJnp+Svf//P1+FF
AQnGYKJCh9X1T0Qk3qcpION+o5PaCw3UuaSBR07lXZl7/n7iR5+lTaUTqQ0qOOzcOCaOD5xAOxqi
BiqGnnCW3fWxEI+6XbLswSkmUe8TDfvxJqEc85omg/1aDmX6yTGJP78R+ej/psGbPNUZS7m9A8LY
Y45Hj0meVN1Mm1yrtic4e56Rq0cM5Ab2bozJTRtHoEDmrt7MS+FE276SqNPdCDCdNDr/pdJz3O8g
uTbLnSrE9EFPCmyp7/b1GshYTL9dKvfDZoqGnrhI2orZoSVp4/OVT/VsOcYrj/xk3S9jsnBP+w2Y
riYMcr4Mh4RNq47JPIA9VWvzXZsmKgrtYi5vhY8NzBxlfZeqXiTvJIKcl8sncvZ68JR4QLThMYR7
wenHhwIzkVasFqKam5J0t6qoD7prTaCWY2960H+NeO8PBlyTywdeX/7T1wN9uIUTmTvBd3D8esyl
E7FzlyKcrDEp76bI0kxrOGcQ9fdO9rlO3DSGDOKbIxLzab5y3WeDDteNxA1lJv1bh+398eGzGFt6
kpEyxpaSCdd3JkyJKUBxn0rYf75SCmB863wM+PzOLLoyRhhF9ncY+1QgN4mmFw7OdhrDRI/u/SzZ
lcwBLhaAyvHN5WP/FeOf3GZkt2D0YDJRKzrtcSgl2NDFtRlCTsJYijmkojgf5M19FZmlv5toH5c7
w4+c21wNBVkWY0nxFgAOwdVMNA6F5EKI6TBEMdY5AU2VsLMcGHAyraG/sObkR4PTB0oLAg6Uq5dG
+8IzK7HrRAUo2K9Gi+zyrqrfL9bsfFNlglE/M5v4Tx0NWbBtuC/oP3TRXvvI3njIUqIyIeiV+08B
8vghO6NZ233kmGHg92N9JwzT/DXZXqIf+ySmswESq4r3keMtPwaYrqCdMM6PW2j/Ux3qZvZuilbL
eLWUkQPD+jTa6jKnsnX5Ib3xDa7SWSJR2Bz5aAePTxOjfBnN9tosaBNgAdAHlpWR4/vTA8VZd7yJ
sdAl8HyXSF35Cs8XT3z2rgMhh/vjSVecrI3HySsZpTsLak1pkNk1K//zMHTzn95ccc6ZogbuS4r3
SIS8R4q5bU2CvJu9Al2dtth91ZWv5XzW5IwQalKwhpDIG3syMPh2XKW+4I21aSZ+qMphPizMFJBr
yzS4ZeNY3ZFx4u6Wss6eg2GxdkvLKu/KMzmXJyF8xd2CHnItMjqnKmMTlyw3YxZhhsjXuKsF2MUt
Eqqh3tFJj37WHhSSrXSQ6g+ldrLbpEOBuhEYDyHjR0n3xJAGEcJu8I5vNf1heeUUz1aXNns7qJu2
jbnBOyvsW6SZ+0XlEc8Mq/OxwpKz5bM1P/TNUn7O8zr/cfk1feN4IBbXrCtWaSwwT74mDPg9qs7B
Dv1GksRHmFP0LjWM7NWLB/CuXkl168olnk8SyHYpWK3PwUZxYR1/GWPlqCSeMhnq3iQFtA0U6Y1F
Bt7OnjFrpOlMMzKNlr2Pp2H5ryUjBkyeCkKQdX/vnvYRmqyvHV85Mqx7rJIdJvjvLXto8kJJqxi2
k7IW+8rLfz5gYYSnqEDHxMODfraAX4LRlk3shBNNrzs8SX0J6Vkb77SrZHZl4/TG86TE6axkyFX2
8Nft+s/KMKssGvNTwcH8nrp0WxlABfP4YVbFLwQh9RXZ/unhSLRhpl/dFzxHWFLrs/7ncIEXT2av
mnifOjbESTiQdzhCCLAxx8i5S1C1XXt7TsfVv0cEXYcnYZ3iodIeHZEwBUZPRxghQ7Z7jzu+g0TQ
VM8C4gu2dPLFW7+/Jhml0s6P/XfKXQ/r0uCnMQPKEcH58WEHq4w8YqjJwFST9cgqNqj3JAJML2aP
CG5TB539S4rIgF1VEyMRQvgz7wLawB1ZZVGwmmFM8QTvAyPf4La2oKldZYfSSpNngLwT2/jSdurt
3M7xhyaxy48u+gCwnCLrf40wEMd9VMWrhbRM2u+dEv3XYuog5wpncT1yr90+3oLYEDkSRoUhpKIK
+bj4VfN7KXKPXOI+8fYjGhNx16ZTf2eVjQekYlDJt0QhKKB5Wg/zRrQVUYnBPFKjrwzN0sFv45SA
73oh+nghn5k/t8P3GEG/Xhvm8bBbVxv8KGTvv3lL+mhbLCyut6qi9T5XmM62ieyq31miUa2kjKLN
RkfzlIZg9rlwrY1I7tApGU9EP2RJGM1eej87Q7xswfN3h0DwrMM0k6S+u4ad/mSDACuj5EWLNlPg
6s8Rq74qjBoLWKnpzGa/ob1N3W7s7ezBEAprB77fBBNvbmHGVW2BmrCFwg8cvDXa5RH6T7psexjm
7BKkbehNTKnyXvN3z1ERQ5INrMGIt1NZrqu9QjUzG6zGfl5GxAn7oaqH327rsxibUtm+VPRjf3dD
xe6FTa+Pnq2Lqxer0DMI1HFu3uGqjPIdWhWY3m5qJn/YVJglgVxubW37fgpmJOURMLm5kMSukLMD
DSlFSPDV64UZ36alSG8jyxthY5qo2AB6JzUKUi1W9BxxAQiZqqort8zyE5nCUZ7c0RmJbY5Gy3AD
1sVwvsx0xBF7DPRm8PqSvrYJ4oDeYmr1XXywe8KbIG8ZYNyDciAaBdbu/GsREb70ET+73JSFyh96
pNogxPrlTxpFzi8fkciaoi4puWGon3aMjENyTxU3+5Y6GV+uWYzuvO3ZHLsbC0bGz2oGHxrO1uDd
N1WQ/uDG4Tt2DMW4fHm6OyvxAvGjaurTScYPwSQkj7/jfm1gpGNQ7DHrTwhlZpeY+CUZ2K2owYLJ
LjA00xN03PoPqLYpYSqai58YPmJvJ9uxeFKNwvU715V/W5NzYBFv4y8gRYbS+t+gz/8z7/B8rEOz
xl543Uyx3z9tQjtZWyg7qus9DUBzWzVodBWS0O99rr4OiXzhIsWnyzfor6vreKBjGIf3BBGBmhMb
nOMbVPngCvqa7Azh9jBh7CqqbqesEVVYpy2bdJ2sUQ0WW70ilEQ2oUMzimnelVbXOtt2thq9gRGc
f0JrUkIfGzs3eu82RMqN0cTw6NPZRQ/o5f5nhUa42LmT2dTsM1w6iD5StCeFQrx7sGdiGo1xqvSu
BX6yfOirxFbvrcSecfhID7VoorDYFP/D2Xn1to2Ee/8TEWAvt6RE2Y7tFKffECkb9s5h+/TnNz4v
8EaUICIHi929CHZHM5zylH9RZhTY1ChH/sSM/4tFbH2xgOak0PG8GeNwvWh+rLSjkF2NByr0jjtQ
2FXHhP6Nm8XVc6rMw08cHGMlpLBAoV/NtOEjQHATcyWW+INdyHqFp+F0dR/1lfOFx34aHywATmhS
0H79JqaRCpqTTemTZ4Jq5DiW1Z8uSVQKycg4o4AbL9Whb6uauiFMn1MJcEgBH7YmVPGcQtRB0QLu
CTjF49cGN5PpkBi56O61zhaYtGsFkg5x6xWfhhWFjBNuUJAcBy0q93L4y02HxR5xMn1/6uo8oOcb
wFrMpZro1MpOoRquGlJBdU9L3Br0POjQVsIJx+z+MUbieWUZZK9UtpeBGpwPavbQ0nS0AEPVqPEE
7+ks4Cy4QAZQ52+3d7jcwOcbHI1KKrh0DIlcUME9H6qL47yIExUYd9thktKY1vioNHb7fHuYy2U0
aUuisgvZThbrNoG1S7NotYshDg1QDNpRifPoLYgHnFPsAuzMuLTp206z9yAkV+IUKPzkECSdwP23
aSf6NQq9mzQJhzGu8BJctTtUpoxnCjH9sx4l1t6NegGy5dMhre+4FhBb+pBbjpljtEsVmwZWSqAX
+p9inYdvVN8a/OBSJfPeuG2c3JVGJY3mEH34imYOtHBVQ7EjGNoownu6twE0ljRvnvMKaumdhd5J
GyCF5VkHPe6VJugHTfuEPYw+BD39xF8pgIs6rJoZ2NMCBAHxqhTivh+lqP/6S5UbbxSOBg5D1bq8
pTxsYoke6UYVuoulPiZ5M0pZlMLEGw+ulgLusaxCYv8188syGmswjCDYeH5VzQ6MrDA+CUUnY4Za
Lr7Y+TKjVN4qjnKgl9jQMFTHYaANGOf6sUBevQ2ypWlehLWs4jQjFbaG0O41NHOWRvvZ1E6XoGik
EyVlS+YAMYyMtD+giIl/X5ZVDqFAjGZLl4Nl8/M+QSu8qfXqOdLieTyoXCPod1TYfh5pfUzLiQfT
+915dEZwfqMLEqyxl/9a1KJ6KhpPFXe3N/cFsZBn9FUmgpeUWgyp6vkhclprxnBnzMPVSHQr4MbA
KMC1FXT5LWRJCgvDLmwFuVETDGH6VSiBJ/JoCjB0Qw7W7iZ1ZQHT4b+qMha4xc2EGD11h3JIcWeP
TOeN53YLpSi1Tg/zsmKa2cVGgNpUFXS2OT8jAVktB8TnYevUIrw9v1dEyPklwStITwFgDS0v8sTz
+XXlarjD6GWhkemICuaxbpBhqGbvR3YLeHKcWwelnBEP94WQwtdm2/pUA4GtTnpiz0bQAvr/PhSY
PDyORqeXz7N8EkBtEeaTkY219QQnNO8CNh6xjrEgayyNCaFO8r1Gwmk1quq33hgPT9gjLNPBbXBy
C8oZTXbOteL8N3SF8q70Ovu3YZdoU95egsuLBFVR1HW4JCmX4Ll8vgIztE4HY648tOa6elhWpN2y
mApypdqYpXZlvPMCXF7LjCcZ7jAWpEHp5r7Erbgbx6bNQ71MEg1VI63qn7yiWE+357XNxtm5XIuU
qBmMCtBWr9rS4gmNeisLR9STnjKnq1EW7fq3S6cvh38eiu60IREjdIogi54vIdBWynPWXIQ9IM4T
4oog3nvbfUcdRtmhmFyUhJkWtAtZyKHmT0N8s3wRZmBO6aZpiK2naN5UwsaRiu6/9zyNM30XmzuV
xGIAb+9mwiaLK9IGlSPVWuBnrnZ25/EGFs9R5q4QIa3BeOflheAWFkDhDuyULnkYhhafsk7R4nvT
Hq0/o44tmO9qAg0g6jjic2uZktharnR2FhrSQ6BaffdpqXvDhuRF4fMx6u1dV4zLvWpzcF6bsqA1
aQCeL3Sr1OBtm6EMUdefq2CcPOG9RI6ivFGKjgxcccfJ2vm4F5LXFOdkv/FVsQa0yBbwlJaFpvbT
VIWZkns4uw+Wfuqz3npTCkV9gBpt3ZW4PfvIion/TCXGHLHDfirwjMq689Bx8y1UPZ+6asXik+or
yZ5XFiCjNVVUvt4b8c6lfRmRQHhFQpXwziE02MZYCeYf9jpiF8+3c07TYCAZNVSHprVoCTtd+WZw
kmHnIr08bR7iENI8QpN/bTOYqHHzkhC3C+FhdJmPXKH1qXLwbseNvdqZn3xzzu9sCJWQjkCCuVza
W3FCE84gskF9/eqQfiSiPHp1EULat4i2Su+5jtUlgIqhfvvHY04fmJlhqWBpxFZbSYfF5tZq5qkN
u8X9RH0ho6pv5ma4jEb74fZQFxudoej2Wo6NWjkX7eaUK+4MTWzWsP9CEvA/o+zNE8Wk8ie9f6oz
Trzu4d22HU1gXcjK0WfSUavA3X3zCphcyW7X1004oP75kkRlL6HIEAKbvp1OpaVJtZ1k4M95MB5o
OVYh4mnuzu120T7gZ1iE0DhoADQjgd80U8pibFAmSLowyVLlV6aNLlZuin1cLAhe1Mgm841ZZ4oB
g9AtfKECh1rcqtk58perT6ePcwP0z6WLsIWHLTR78IdcRagW2vIkOm89sHjuPVaIk8qvQJx55xG+
2NJsZ5ICqdzAi8jmPr/YtBFWTJSmfRhh23RX6BQ2IctkpzKe1yfLK/FXEWhb06IrdsQ1Lg4uI2s0
UoH6UAMAfXw+8igMs1tRygpTW+QaDDldPNQWyTUBUBbtTPPiZpKDwc7m7PClKeueD8aZVRb4w33o
9obxA3iBdtf3an1oTX06eDAy72eo0TuDXp0hQE6k7gDYEOmdD9qNBi1yvLFClwLOQdVh47eNp98V
TT7c3z6214bidfLolVBeBKd7PlSVo/0Y63gJG2pi+0KMP5DeG7+YvRO/uz3SlS3K1kR9C5lJgret
Jgo0lKJsJp0gMlGch2Wah/fw3n8mWeIOoPQofNwe73KDgk2SjyA3roFK6eZCgh+swOEcgDZg4/zL
ifIkcNbItX3XovXr63NpdDDTOnTkF8t9uT345WQh8kJ8Uwl6pG7dJr5KcMYcQBwSomqFe0o49p/R
oy8fFG6Kd1Ai/w/Dceo1qLQS+LXFvpAIYbOllUW49qv5hAv34s8tvSsrdvJvE9oCx9vTuzwVlAP4
jIDgXkPWza6RER2OizbT6+HZ2MKeH9RKRIdWiMbXek15U83GHpRKfrCzRxRhPBIfCR4BCAC16Hyr
lkQfM7BD3k2x2GFczqW/TAqk2a5tAqpxFnkcLdLerItHuxnjnTlfnhSGZzPRHZQqcls/tcZZPLcx
+wJ0kJ6/VRoXTRA22MGjibJzm19bXkRLSPJscnSgdeczjTtHn6jbFeE0a+NjlZN/RUWJnmpSuj9R
S5oAUu4KKF+05gHwAQYg/KLfSj98i9wChOOsCibDoR1P9ftYamaf1pIuCGAo/d5aDfwUEC2lgYGi
2FNaZMJvSs/66WJzhEN4pv64vckuDzBYNoq9UjwODoG0hvy7gQecK64E8p+hV6r1u2qBfCoMUgLN
LBGjcvvk6PSGcvDqzv3nTy2LCKhkw1lgi3ub7Z0oFRbwWIGEapPnn8eeiq6l1+I+Td09x6ALXhWC
ZHxkQEH08l/31fksrQGPPhJKB8spx7uzEPB5pne0vpNC3XfFaBmdn9XCDafMgCRiRdCccq34XOCs
+un2el/cWfwS9oAnJVIIarYvOvI/TlNaowNaHCxOrc8f6XKn75c+xr+qNK2dZ/zi83oQ2CQvEQgK
8eIWd1FklTHFhj3jETe3H0BoPC6jZn7Np7y8Q5UgemfWovspHF25+9d5gi+mhKKTj9GlteQP+6sx
zGLjk5StatiK2gL+RiJkIuf81snjH3ml76FkL5cVcg8IBkIWri+O2PlwKXKvep01WjigIudLv/gT
9hy0pSaaPKNolF+3p3cZkVLNhEDMS4AcOhiszT2ZepW62MqqhSoFmHemN2VvRWynpzohHvaXYmz9
yLPJk7O8/Lok5Rz0qola3+2fccG9kDZQJlgG8BsyAdle13GjWCW+jGrY4zVYfepRgLaf1SbTvkIL
AYLmTVYyHci4BhMh5soNcWZamkcagQNxcmGsn3WHQ39sI0NbfaVVJyvANaYFcL1AuPH7qrWHoEKc
F491dDJSv8JCuMZpIUP7/fZkLvcqBWLgDzAAZQtqq5eJBsxQWP2khTX48gXUkuN8WoB4vc0VO7oz
lCI7pghrHQp73kOFyEjh71cPZxFY58TYtAPApmx5hwOIAYFb1Rrkk6EHce3aD1kz1jtgie2LI0eR
4nF8MVBIFx8L4yfd7BJ1DSpNX39lTvq9mu3ieUg95YliM83apNvT/rl4cP53ULqdcKHg6m716yfX
hIIwmmsQE8e39CFA5daR2x5mM9Y/ah2KaUUDAzIAFJa+1ANY5dVbqmezqrtTl47tzsVwdREInoi8
eXNRiTo/qeZs57itpyo4iYp71nn1w2W9FnASLrIS5WicWkAsOyfltX64+cR06ZB5J1oll32Vcvjr
QrLKqKuraFgDBV9JPzJK76R0ufexMuv4d9YC2cgaxA36UZ1PMH0rGoBtfF/o5JeIDi3PQL7a0ItA
DptOhal6NILMKofi6xxjoBEXbrLzPl74TvHlQMtxwrmWeZ63bmFZ3c+ovIPX68zBebRxjfdj1PnQ
SlNiSCZ258C/KDwVWYZkCjsztw/YuTpHR8+Uj4AnCWiGbK/QeEFHkL9KYgpB0HHtcAGefz9NqSka
xbqECQ7Td73oRzxYltH7PK21+1CnkaIekF7V4kOiCEqJJsouil82qrifqXvSUiFRx25JVdS3CgKD
nxs7Nd5RGkxHv7KAe4S3b5VtRCl/L0ebLI/0mdh9c1GPQH2qYcwXYHRp/w7F7/RB4I5yEDbu57eH
ungUXseCkYUSgCQjbJ3CpsImSiuAhqC7N3zUFaf6qCiAr+JiFD/bWDV9oFkZ27tJj4vi9OEq7D1B
3O1LKH8DiaaEKckQY0ucseOei2tAfbc21t+KltLw6/BGDjqwv9+sKlf3Ji1rEJuDJaMqSl/yDYIT
cL4hOjJnKM/cncYqaO/3SxIolBXu6Hvi1IVNEeYJde7cc+T0Uwng1s/neWn9xoim97c/wJW5S50z
SYoDbHcRBYweUpN13K5BSeOFGQ/rIc7M6kFV+wVRy9XYSSFeSWbbuWt0K0i04ULQBz2fu4KIWMR4
azAgcnSvT2Cqn6167un3QwQVvttHoAwLpSfAF5XI7CAGuv5DWNAIfRNXI+SujKxDaCRSlp9jpqCH
UokEcVHHWJXTzHWjnBAE6b5jgG2+j4u5ZNPEzXBv2YM17VzN15YP3CCbl0Imd/MmiIqX3rNQAlpA
VlSK3092/ry4Tu9PYOCDNY/Mf2yRs1VBGtAhh8tIBLWNEVuBFQ8K5UvQOvkP4U1qiKulBRCiLRHf
K7gkina9v71FLq4D6i+EozZdS6JvtILOv1i7xuDCkOnBS9B034xrCQPQzWMUZfQ9J9aLl04OJYvC
Fl0Z8r1NCNzG67RGistQeq884tsxIUdeLRDXLBuRtdo+rnU/7Kzp1fmRTEn1ReldJv/8r2cuwjza
NHKvOgBkaX/Qmk4Ofacijyulzm8v5UXQxPwQypNoUzDufMbzobqM7T+jjnVwarv+mqEzG9gpoLi9
l/vqOED+0YXmbNO+OB+nwdkH8Vy4m2UUrQ8UQ6i7eCzsIV/T6KMR5VWACkrz3R7L8W2iLSDXsEcL
KrtEHyUaHOvX0I5mmKPMsrMCFwcGE3b4UCCZqR/wVG9imU5vJz1CV57qoeG9kPTNR6guC1TPBak1
lI52yvFXPi5AYtfGEMikr7jl9YyYL9lpDZCorR0HRSANHBoePEG8ensf99rU2LSv0+OIbm/1PM0W
QFOcE/y4AaNnYDb7OGmCoe6LU7Noys5SXpsa+bkU/4DKDrj9/CPrkZoXFryFg6At+ZKUuNZVTtO+
EY67V/jdlrh4GixEVpgTGHt6wJuiukuDXjWRUDlAQ0IMdUI4HtXx2fjJYTEee1xYnlGxGpWwVazs
qObDcLh9cLaJjvwBTJMrDxIh4L7NxVAPauREFbbottPOT+A6lLdVV7Z30rTzeV3m9GFC1i2hHTiX
4e2hL8M3OTYhsCxDcZy2wkHksvWg2XBWp2yo66Ntimw8wdfALJvIO7prVXKvByoRNHYTdJ6cU2SW
EzbLwG/NP/lataGjobr/1K6F+aldKM36/aok32MkF9ExhXKz8ypduUbPfvHmc8VlpcQduf0BU5n+
xbGX8R5uWQbr1QQwiMT0y2gSmt9ep2uD0mjioJEysCnl8fjrGrUd/K7IhevD6EXpn6Xr0N7ScvR2
yn56C55HhDGIhePtQS/oKXJjsC1pK3OpQpPZ3CeoOVAKVMr6kLSal3xLPQRZA7UfouyNVaEJChYV
MNeh6Ubzvkj6/Hu/WkN6hOQ+z+8m9PIRlhxaPPyMpQJn7kIOe7n9E69tXdaDUIfsn1O6+Rh1kYFq
S4hvxql0Qpz75qM7ojeo0f7+Mwqg8WprlqHbFHs2vNcuJIARUsVRShFZm1dAy1LVLJaiwRnMGNAv
VFGZ4UNYn10q4XjBtj/+eabSQJ3v76KscoETaTHyKhLA0Ic+b/VD75oZ/oF1FGC/qR7LOfldq0b2
FTXGPYeAKxOlo4HKD2UIqTOyuQnR2Ekzi2LsoYzx2NPMobwXRS4OuqKYp1gz94TTrzyvNi+5DBfg
4/DX+VafHLON6ihmYQn49FC4VpXco7eyq50iv9BZsAxhkvCcBJwWFcDSzUAN8jCRO9GVjQyJdF2X
zD6NIuofp66f0K2ZlVOrNHkQJTRU/akSw5M9C7j/VVzaPpWKxJ80PXt/+ztfOekAImSKyL/Y0pv0
JVs8JPWEhqwh4P9noQ95oACNvau6qP8Aztd47LL60+0xry050QAMLtlm4bnbLPmaF3qFFwqetn11
KOLCfnKUpN2pp11sJEDcZKIIFcgLhQz4fJSsMbWpRKo0EHGWPWvaIUMrKpOQZH3UxM7FcGUw5GfQ
9gMPySd+rcD/dWGmGWVBhc4On7VKA2Dh2MtGNVTUWagPAnjSzht6bTxuICn3D6GLqtr55JxG73V1
dNygxqgdHOnoneiL2k+qW7VBm067iMeL3QuwSjLz2MBg8cE7nQ+40qBw9FlnQF2BzqMUifNrXZs5
PvaYyWJFPHV1crDWBvVmPUYeLIGFoQcaPAPvSD2a+lKtd8ZRwZgWCDB3WWilIqlCXF2TPzOQTg8v
srg9tgai1n6TNvnjlKbNeMIdtfd8JXaaPZWNi73PnEiEEAUBc62Z2+6AgQh/VTWlG7iWAvlNB7KP
XA9Mw2O1NPpJQ9YyNKxdbb2LWI9hCX6oUNBy4oLc3HCFIWxXEWA4tMXoQUDONpZmQ2UAp9Anbyfh
uzhrcjAk9SziD/DC2+utXFQExC0GM6Vz2Z2bOXhY9NUc7ylrXxsIORAKjFiK8Y5vHu9GIXlvldIL
xgqcqznY04e6tsrPt6+Oa/ueTo40h+YeZRnPt+Fk14ZaLAtAYt0ZPmgTPmy1KOpgRVDtfmjRvro9
3pVvBVkShh/VY+6qbb7cJWKEfVbC6apy6o2i6uvHAeljza/1uvt5e7Ar+5H7g7V73ZPeVsdjggGU
Zth0oSep9U+asfxZjSnzzSYX915VlI8FW3YnvLyyoFIJHV9QYD0kcpu7eEEgjeTG8oLaHSHMzRjG
54BdAwWnzp/rqO9Biy8L8vQ7QSzQ/6XdIVmh519wtnIMOSj6BisKUpBiyhLbC5LzVpQEeDkS+HGB
Y8vQ0RCYO6eFmbt6J3vqxjukEPdE0a9On2BO/hwu7i0KBgGjqBZ6EknYhjiVYw1pThZ2y8T5Siyf
hre/8EX8yORlDEfhh+SDQtP55B0cP4o14RZVqsjSH4iznefcm8bHDDmNn6u5qndtb7i4lGjC2Bn7
2u6CYGliLivDnW3saiKYMowOGPwswiLZQn/5sU1h4VVl17+IMps+YCQ87xG6X1twZ2EPU4Yxyg4D
RE2nfXPb9XQQcEYroqDqYmt5gyRNLr5BHUJgW9TK3NcB3NkFnQDXK967PbDzYBq14Zey9jjv9qbi
zJAKoWieXAfhrUCfI/dDFOlTF6RkP9UpTWhv+94QD22ACYtXHlhbOH5tNCf6z7VUk4/ZOFSU14GQ
jIE52sjtmqgCHRu7RgkYQIdXvcmVuSv8bIVYGA6626fvET0b76pUrSe/68vykx1ZqH8vhhsVO42x
q2eCEFuq+JFT8Bqdb4tFjdK+zmZUq7rFRjMDtcY/dlSXDy1Q3kOvr+V39G3Q9BJec6+tWe9njTe9
FAqtGb+Il2bPLOTKsQAzAF+b8AJFkQusj3CXTPSzHqRRJb6s7WTLJzEb32QIG0uJ5Tjeqe1cVCWo
bv0/EDOhKMzm8yVoq6atJy/Tg2HuzUCs9hwAGNdOSwnU0h+VgSpz1rRwNAlCOup7Kbza24fzyqRJ
OYiCic6xft4apedIS3dj3OpByarcNUa8MGRfqN4RSWrxLMoFWs3tIS+fF6DxmLFw7OhOAo04n3WN
/wrN5cYI6qxeHyezLX38Lwo4o2Kv8ns5O4DxlJoZBK+3CzcEPdEFmQ2NziKbyKvUagkdkf3M3Cw9
6lr2rwJYXKjQ77nrMP00iVE317ytTKqR8ncAbBR1hXlMTo1b1J8XjYL3vy+ijE3/FxyLN+H5Ii6j
3sV1Y+sBJjpe7s91Kn4KUdlOSJsKEuPt0S43KkkiwiY0AHku6GhvRnOWlLwiMQgacyrodVb8tIWH
hUOeaeppTROvPwy5AkdYy5v6p15Myt6jdRlqSX4iiuk0ELD/3OZPXmc6IjYn4L5Np75Zi9V4YdOI
nYle2zDSDBDYMQQOS5d//ldKM1m4mTYFpKNsrtGlspfIOOQG/OWKqtOn1ePSvb2yFzAluWekoIIh
+5RwYDYjql2LXlZawh5qPLcOtVkXx0H0WFIh/v4O+AKU0cLOy6Atx/ZLRKODtKOKvsVFq7+7/Vuu
HUwY0oik0Ksjndts334ZxnaeIJ0OdoIVY10md+lgqydpubCzzleG0tBsoiAACZQF36Ry82IYigMl
JYgyrXhrZu4LmXj02Mfzx9tzevUfOX+KyXNk7ZO8EZrpVvwDNzfMlbLODJy5qz5Qams+RsQ/DRHB
kiJfBBT6HeAEcznmbdzP/px2DvbkPbQlP7F7LJoSpxLHWLS17Vs23L5Aa2Hp//t5lsaqRIkUxHWa
i+cbz9UVtS9G0Ow0Vlv8yIEohGhPlBPKEXp92FkU+bZuF4U9RxeDariEXp6Pllloogy9MIISRxID
HYhGEysGT9qafHDzxYQzkcXdt7nw6AGg4TP9V7o0JFeT/y5QzamO946B/ODbX8RGQMoPyDslo80v
on/VqWWXqTjmJcURAQXjt8BkI8QaSfk1wL3sIViU2EKAhkjxuqjUcFmHfmdh5NOz+RUA+rm6CdeB
PGxlW5JqlRqUMb4c0wgRcSaNvEeeKGv92FPShLBjLL7RlS13OnjXdqmMhEDtARCFurqJBFKUPZXI
KdUgqorpQTWH7E2Rqd0na4iXB6qgeGmVcx0k7UoIWCix/n1U1fqumNPxVHV98QLSp/4+1WrxYNVW
9t/t/XLl7kUXn91JuYO0cAtgdE0EUMs6VwO7wUTKQIYcDZLOTnb0XS+xFFL1E5QKuS4ETE7e+bZc
3KhulxhnsabVbVT8JpAS3QCrw4/npoU/b84fGzI3XepLqG+zFUofErDxTmh65RGgIYULmNQilfXg
858x2eboOGmnEoyVyUc9T9svpp6mnxFrsN/M4FV3Nv+1Xcd7g/ATzw7P7OZ11aSfcuNiPWJBln5b
uU58FFNRPuje1NwPRgduiz7n/e1venXLwWDj0IHVRDlI/qq/nzpm06xkTIHNk/dD9sEemqlYPgLF
rk6VuxYpUgVR9Me2l+5rSV/ABNQvzVvIz9VnM57txR9itQQl4A7vp7LGYOn2T7z2HUCwwRGhdw9G
QW7Lv35hvdJu4u3A5EhR41AsjfcOhhyaewhMtO8dc+129vm1Adl8dL5AiHM3blKSNPfEhJOpFox6
HeMn2y7p+xzGnoFkpZ22gT6OaNDcnuS1swUCUVJFbPKO1+bdX5NUekdtzHbRAnUx1xes5j7jmTl9
uz3IleeWEPj/D7K5XvIqcZuZvlewdFCoDhDaVrT0vLgqUcYc5v/LMgKQxeqNTivVxvPvFq0dr36F
ORXKs0Z5JAkU05H9v6BJ2NJe65M93f3LEoOs40Bbgz0AV2tLJlJWU1OqJiUaTvXyvhF4Ks55b4UC
L557zI1+U/JoHirw3Xf/vrDwNaAvUeAAEyEX/q+v5w3Zmjs9Qi0ggiGAGjihDnk3PkOg63c2ytU5
cg54lqSZ5FZnMwMkodjc/EHvxXP3TSu1aHqcMwylaSxXBjpYyEiFsYEhVaBrc/yvbtIEqsQLsBeA
mAHz3lYhszotpsQlWdVRuwrjBf2XTl2rdy2yDsfbq3rZFGUsGClYuCHrhQ/65kZs6JXVWDTpwWrb
8/zGHrNpfoti2xQHqMCwyHiUA2au1LxTnvLZRPu86yuS2GLRFRD+hvIzMhdtODlDIj4namfu6S1e
uyoQBKZjSz+dzH1zVQBiSjFPjvB4iqGTNVqKV8ia9I8YFv2G7rbuBAjXnghJ7UJeRJXx0eZIDQLI
iTVTwkL0Gp5jaXwecXG7i0RRnNypdQ5QwIedvX0tNaFGSNuDD0Ge6W3mWDlWaowaV1O1dqL64uZz
8mB2XjsfAaY24D4zlNOXcVWEL9JKMR6mPp8qX0mAKfpkykn9f9gXJKKALMnoyX637C+AB1rN7lOD
RJlr5aTGljaEwJvb/CuAZscLu9bpi+PQGOt0SuIUAhxRfcbyjIX5NdNKfSQ3Bx/tqzMeP8DetXhv
81650LkHeEXwZ4Hus+WtDrpSki33KmW8FreINNIxxnaX8PYRkRfLJlLl/47EKKoGuLtvnW1pq4oR
G3eMPEkm7ud6tT6XQrxXs1Y5/etIXKzsANn9xwJq+wp7XtR1Q9zY6AZM5SmNXSSIKJT/yNqxerk9
1OUuZyh6UnxGOeL2LUwAMBi90dtB6fDgu6mihmwmrBgU6AeLok3hbC3zzkpeHRRkoOzzAaDbqii0
q+lAksRljmdpoIBhU4inBuCGHgrWj2lpzvdeq+7Jkl7eHwQu1DFAkvFKcsWdPxwF9jSG3jp426Xw
T3mDEYOaVeuE0lh5cmoc8W4v7ZXYGiIqnX4JENRkZ+d8QDRxJpFT3wm6ZVk/JWVDkx2wV/EC37g/
giCOnjSU/Y5ZpxtP0ewsH/t62XsuL7grEjtIPVxa8sgi4DbPSfCOnNCis4mwGs3JUfCRejhxNo+I
EsDsbn1NH4yHWDjz96FO9LfFKjWDrAgeka9ndvtHrW33u1VlzfBklVP7BeUEBDUTa15qvx+V+Xfb
uq0XeoXpPqSm1RkPUEyUT7dXUy7W+eljGlRMWU5AsxedaC1ZzMFA0SdwtHZST3appS7+f3pNTT7B
bw+k9zyHgissP+bCSOugpkZh3t/+FZc3DeUCeo+UNhBGRrTl/JN2ut2rkQFHUM86iJNWlr7vkfvY
iTsubxqZD8Npl+A5yhObUVYsJhtldc1AnSet/tCOTaEcTGne3Kyk0TuPztXRqIKRdUlVGGuzTXEv
FXlse2bg4VXaPdA5mrKnVUeHLXDsHj3C20t4bTiKUIgdINcq5azOlxClMUnqwjlkHVL3u+1m1VFE
Sfq11nc9JK58LZS7pQszVG3u0U3Ja8BJThpaOCTRXfJLQyDscxOnO3HClWtFyoMTdLMx6LNvrhXA
xy6oSgZZ1UYxcF+o85CiXgLBZ+5W+75ETeL77SW8drOcjSkD179jYB0giDtWDo4ccKhANSRHxInm
cIBs/4HKZvyyLpqb4Tg5zadsTtQ3Yz9PX27/iisf8uxHbPaNFXWrOS6cyAVRymOOyyzW6k2HbF+8
J8V+bSgE7+mfAmcgM90MBXawL6kpugH8lU5HeWaNHpS15YJS5nWvNiD/Z5ubBvwz8DsiHpkjbha3
oWnYeEUDbkIZC+PUJIXxzrT61Th5WtnmBy/VUZC1h3yd7nR7glALrDYq/7llQ2VOA4ZMXgyewtxs
KzWKzY6+NHs37+3fED3LHyTt8+hnhj7tZcTX9jAHhPQbzC51kc1gI237CioFgxUID46rUT1rE1Fv
kqt9oLuL2OHLXvueOOwxFmkpz9Jmic04TbNRyxygKY6iHVA1cCdfS9U0AgI41j9ub9TXItb2izp0
GSlwka+CHjk/LoilAc4XHFHSdf5pTpMYgnZIBRitotBf0jVdTJ/7Cqsd2DTVaewMSi8VAMxiGJP3
SjSNh9u/6doK4PhIHAlxAZ6X/CJ/neAVFbY4QecXEo8pPpVxNwYNzXRo2ZZ2uj3UtVsQOSKWmt1s
elu6lIs4f1pQAw3SbOq+Z1TVHxoU1JKde10u4maRKfvL9ipZJLjazSJHzoJvZQUyJrEsPLexTFZ/
o+iLmOWgGIbfKaX6PcPve+etvHJaAeABWyBFkzW1zXNi1sZSEga4wdSYboVoRNKGCXGlGeKGt8b+
sti4yOhqE38curnAxHsaHG3nR1wLsrguPBh7cLElEfv8c7brXAtkt7ygiTIHce5R0dZD5wAb9hux
Kh8SpSzTYLadGNtmkCkxMvfWOh2sdEg/qtO6/rcURf0NjC0LKGwNL2hTOE7s48hr9IGr9hDMnCVr
7pU2mYCtGA12vFkHxPPfj6ZFwColeKQV5rYroqSp0Y+tVP6ZDe9A+x+vh0Jdf9tZq+0Uny/PAN4h
jARkgxYn8dT5ovWTMddjNCQHOgPDo5OiQoN0a8FTklQ7m/PygmMol5sNsrwDQXGzObXByZsl7kAO
jqI95bYUa3aN6pQvuBeD1NgDwVyeOaqoMtimWgosdAvAUcip8EfKlKDyUGuMMav3XZHtgZwuF1B6
bUoDW9JEZDzkr/jrEmnXtCr6AZKIgqorpeKcF58S1bPRDN4/bwuGogoAD1+mUFuAmjePLjZoM43R
GkRL1wgBiEUqlLhGHd6+r67OSg7E8oHV2MLzo9HAQNxboDlFdhQWZd0GiOWpR71B2uz2UJfbAkW7
17wX1hN9EON8ATMBrTJLciXQ9QJFvcyzlmOqRAuIJedtqZp/bg93IYtN2qkCFCZYpL4OtWhzTagI
qaJeBsxvzblOfNoqKCUPEX6seAggUInGuzrItmAC/RfyWucJfxgs9ZuLEDTuJo6xDL7Xd1YL+SkT
0/OE57V+QgcNNxx/rVssZ3Z+8mWXkC4AiReNedkr3BboIwJJQUNECeaotl/sbp5f8jqd/VZgSMhP
Gw+x59R3dmY86IixPsUpgsm3f8PlFS8pAmgQ8X6Rxm4RZcliTSbVJVRPJxtjyloi1JNWD7OurCmD
Nfq9w7V7ROY3eyx6yFS3h7/StmF8SkvMn/gIZPL5LnESzOyBgSLSn7sSAgY7J8iQxf+tGwqWD2hG
934ZZ/W3ZNG6D4m5piFl3fE3ngIdKHdDnCw0acO6GMfomHkY6d3+gZcvL78PsA0KcuSNF53M15Jc
pjoKPTzPPZp5lJMXaAnmQIk4ITaxHLS+7HYGlSHa+XNP70xDkpjPwhHaduyKtO8wC0einSzL+hI1
dc371I0HvXGGw6La671I0yXIlDHZAdxfux+kdgXqijSqCFnPP0cLGRi8ZoFcrKahbJDpzsErI/fB
sKq94smVoWRjmkAV3S25+86HUhI9rRaTlYXkTKzmTDlQrbme5sNUd+XePrty1BiMCA0WJp423maf
4dCc8jePRqw7i/stberhQJtSHFSxqNmx0Iv4D6o5XhROJtpUMMItz0/mak+y6X84O68duZErDD8R
AeZwS7LDZI2ydEOsvFrmnPn0/mqu1GyiiRFsYw0Iq+oqVjjhD1uzFkKEsBmYPbf95awdZUlxNoNn
ig1dHHqOMim4QUaB9dDaRn66vXm3BmPz0kpCxIYsfTVY2VpK0Pd56DtZb2HlJ+OT4w74q4LGQ9h6
D/WwNZy4yjjLAp+6bqkMpSrXZQNbo3ZGoDBSVn7PZSC5iFR0394/M+4MgnvKbsQ4qySHEm4fOgBf
PEknZ810Kz8nbYwFx4Tq+18MRftPaF0JhLF6+cWCdqxQuNICL5wSB6uJRQu9Nhny31Ji7r2ZWytI
/wWveoSOWETx538EHZDauxxT2MDT9XDo/QJCeXNCVhlbxNzOu/cnSlRqQTIj0AYIjX1yOVyq1Xyw
UQo8FeO0p8gcU6/M8DwgMtbCnWXcep9VgKgCr0eJCtbQ5WCxiihP38aBl+hUMh54D7uvgWFKn7RK
Kf5bgrRuUeyp9WdSVYtKORqzGLgpdoWizTL9r0cvPeAGDCcMHAgmMIkxtfSlx/ji39sffPOXCm6y
jdAWt76+OjbYqc0RCiTi2OQVOgaZDRdbCqrukNSW/pEIrlfccImql6qWo9mfUWE8SL0yuHHQ9s9G
jLJljOkzNzS2hQe8H5ezRRljD1Cw8XZzrPkPsDlkf9aEpbBF5ayYDYK50JIOrZNaj/AfHMQyRu1A
+VP30RLE37keWsPNWkgjtxdqI8KDf4vwGgeelVrTAMI4Hx09AdBXtHl/bHppAPnOsxhM0zO0kffq
cRHggUblWYLrB7dwnWc0xkzd1uHqxKL4XkUrysMUnBCpzcaTMr1fFEQMJwbCF4Bx149wvshqO8o4
DyZdFx8b6mcHOA/RnTNhmFJraVVgvWL0n5chq76FllPcRe1g3jXDYu3kB+IYrsIBQJWIAlMeB/F3
hatGO6BHf1rytEFd7oXfLQq1enu+/TU3dhNJPvc2oTMHda1RQOwjOWGgRn6PbeI5XaLwg5SMDlKU
eeXlAAWPHT/anTsUw2Klf69RDF8XGU4iHvFW0SJfXQ+FJvW2NgO6wXBQOeaI/2MpraAo10S6b9SG
7NpIjuyEBRv3Ldwt+t1vMDWmfXkndcokVH1IXWslsA6gQ1MffzrrEIz7999GBIIYAZVPMIqclnWp
qOESdziJka8szRJ7YD/Mr3o9TveNLkcH1UmnR32KFxeZYsoCYwqtoQvjPb2HjRmT8ZukzjaBJSXQ
yxnHrVOj2GeGfryMyqkrCSgpnGS/egK1vRtfZHirfasLVQ0gLPT65bWadYwFlEVHP4ITl5V3FX3k
z40pdaciTrPzkLf19yztHPGwFliTQ+C905sKpkhmBP/0NZToqYNuspPwbFxacFkEzkH8JIpplwvQ
AHLQtQQAheTE/2kt6BItjOyDmQ/JqXTaaeeO3Fpv8hsyU0qysEJWAfVS6yAgKxUDiKmg9TtihcT9
XEOCiWiN/sXcKHmCvKLuS3NmNRg11Rbx+J7BylYmc52cRydL7LuygF/rNVq37Ay4lb5RHQFhbtDj
4m5abSdgNVJuoOjhj1qknIZOs04WrFY/MIITJicvYGBNYSqU3YUEIG6F0edL2wyK3yLLdp9oaFUO
YYV436j/uH2dbS08eQykJXqahKSrRzzBuHS2Uy32S7m0j8lifmvQZPPbPgh3PrGY43qbo1dMtIbT
FQB2cQz+CNqoKsqLZXCJUJN+MaMu/9VhrEtBoewenUIxXw0Ltr9jSdmHd0+RBgYVMGg+fPX1WQ4k
Uw+CoAh9qUAWb5oWlPrbGNa9NvxFpAiKHpAKzVlBjl6tJrAjp++qOvTLoVhOBubsD2YEcSltiz3x
gI3XjvqUxtF8a/utq/dzgBp/LmZlh0rwpEWh9lSWS/T+1Ai9biGZSPkFYOxqQrCDoqw25tAv4iHE
/KbpnfqQjNjPt7G81yXYuHM4lnx+VpAuwTr01YYOlE5M5ELl2nh08oEXbS6m2I1rZ2j8QNK7nd2/
NSIxgzCIFcz5NWU4LaZcLTSu+bkug5NVLbUPnfG/yNTCB3BDe7SPreFI+lDVEE4zuAVfHoEmlJeh
tozQb+ta8rta0Q/cQ50bLZH9JW3t+C++nsgiUD2ADgXp4XK8BTGfoC310DdHotw0oAJjzjjWYy30
F0ktKExMT2UCQVL21UYpajwMB13YAtXV4sdB2XhWHhuvAY/T+6MR9siblS1XFpTey1lZSwflqtAy
5IvVxQ2DXjrLIf4PEdY976/zUF5iMOEiA9ZiNVQdx45VLHrmz2Pdvmhqbt5j+D4+Jos07rwRGxcx
bQGTpBY6AG/T6onIazsHWx+nvhpV6AakHRJMet0UtZsOw7SzhOJ3r+5iwbgQ9rjwD66QltrQ24tF
Y8xPDbn+CqqlfmjDXX0T8Y5ejYJ+FVVthFWueHiAmmhIxU3qtxA8T3NiY5dRI2c1LjaGfLDKXatR
UGJNp/xT1FjvNUgjVIb8JyhsYu8ra1+2ms9ZOcmY+rMZjSdQq699EOefEQDt7sopCXb2yrWKJ+oD
VNV1i+FI+NYA6IleRKYpdeKneUNwYXaBTm3YDEZ/Cpz8qaOeeJa6wjr0ely/gCEsPrUA8B7DQtdj
r8xr7R/dGOP/3X79Nj411Tx8nQBKUNBbv35KoTqNlpeJv8SDDCZRgl4SpXtUlo3HnW1EdxsYPSIT
65ZdMBNE9ViW8Kln4KFA97HdU0lK0LdYUvM0jZb5YI5ENPZk1XuF4I2zQx2Ny4DUiGrwOrSAETID
kUgzP8vm5HdhSeFjONbmfWwXOwW1rXnSMgd1RSEBSZLVNaf21lDwoUFgFI15T16S3hELyAdq9tph
RK//MTC65EQQoJ9vf8eNt4P3l76NQrkFAJpYgz/Cp76N5MpImCN9zPi/zjDawzhrAx7DRt2e+3zc
Q4BtTZWKM+UdZgCZXvz5HwN20WLCOwLhnPbycKTvO7htEkOPizIcFZPafg2GpXJVtK5f/2KqcNQU
olLgTGvMO8lOjBIPi6wjEuEiYz1+ae355yxP08kuHOvu9nBbu4eyAV1gcmvBJVhNdAbyoycT8gCD
UXyfGiP0KDdjjRV16n+3h9r6iMKtm1BDRDhrFdGqQC6wWOTMV8fChGNWKP8UXZZ/GBQ6qJqZOTso
revDT5WN8gzEKgr6PGCXU4ubpWmHVMJ6NV5SD2ed8rkdlj11z+sFvBxlFWbgZJcWZYYaQaNmypeh
KKitKUX3YRppGbx3AbliQLnxovChSJcvJ6RIzdxG2SJgo5H1CaXWn9JSmmcH1PpDVgx7eN3rF0x0
62m8kL0BEl6XDvXRUOpUDgvfFkYZJUlq66aQ1J7laWlQfsG32DVGkbtN2NHynKVxsxMXXG8ZfoJD
bYA+PsDKNxzeH8ewCrD8kREE8kG42a2vFnr12Zja/j7QHOmUoVDzboFGLHKEaIbovUD5WEepQ6HT
Z7EZUaabdkirWDktduTQgNL3pBC2dg6DYc5K4xsIhpj8H5Nr9aqhvlMXPuIzHX1m+hVPMO+a3s0C
w9nBemwdBtQORDKD0DaJ0+VgIME6O3RGBBF1CK/0gwoX2+d4LwwQT8Bl1CNmJOI4bi/adqvTkCKl
iHYPal9x3erUpszBzczBpD29qH6iTc5xntXsUKndfLKjgG5/oAa/bx+T67ubV4A+HgAGCpVXukuy
lUZ2aau5P5SD42ojmVQBFOQOU/rEC/RpvmPTz74858NOEXZruwpFbIIrkg4gPJeLjG/8YgUVd0GX
2vOzkcz/ZYY65C4yo6aH8cl4uD1TkTKtVxsdBCGxw+MPuO5yvCQDoxzKjCdby7+jsui9WxZj8ThF
neUhxFy5fdRFO1TRreUVGJQ3sztoy6tBS8RJ6qyLC9/R6Qq1AeEUkggIruRG+tT3SnpKYyf+qkh9
+P76r4VogNAZRhVKlGMv51vEVUeLCGFYqeojT5OK9nmO8AbqUIrys8IoPdNM5p00eYMTxGNMp51u
CFuKeujlqFJhV+bgIJJJcRbFpMKRMt2LM1P7yRURdocQAElxJ6Ec2rmNFWAlhCNvAx55EGKr7aju
gZvENlp9duAgGKUJhjKAv/UyEAT2iYyW32I0ilun1nKPrD7aVWoX/Hd7h21O3tHp/SHUAPNmDeE2
qrA1dHxN/Cw1R79K8rRyI4QLKpdIlgfViIfHcoyWbyDOicJIGIfX2Qj7U60njrfzYzZuF9Hb4eVz
6D7gOXr5Jea0yymjoWWdWxECit2S/xjEr5iUID7bGNoTddv5nYECiV86anpsTH2PVbJxkYoMB3gy
RS4RN13+BqULkCyX+A2gBUYMEQbcmNvy/P6Z4p/EQG8erkjXXY7CbZlLQUqaHxL8yU91ZIxPuj07
6BY0KetMnByVrkEg2jxKZhx9DbKkGZFe0ckzb/+WjTCAVrPw82Dh4UKsFn1KpBmj6DD1F6Wt7vtR
tc+pko/3RQlETNIC7b7shsxD6aH/MsFV3rlurjc7yEQawjRECAEo51yuxBzrSl0NyFktcw4WGktA
b9KkyB16qfFvz/T6On0jldB5wSEK5Tnx538+yFlfTTEOtx5IPgcmr1J9Hap09oN6yu8kXFu+6ZMp
Z+/f1dRzUMCACE3Kzv+9HLYrG2XCtMHBL6VTzy3cHj+FkP4EeWv08VblaltM9RP8ivM82uWDMrX5
zm+4+sYsrCnaarycgEHexL3+mLmUtW3WacrozUoMrCyNAYWiB1Bm8KUGyXIVezE+RuUcdxTqm6k4
UH7N7t65+vwG2tS0LklDSGhXH3qUgFeoYHuQIDDC+3TuypOl18khSiTrdewzx3XmXTPVqxf7bVD6
sogfCJnBVfrTKm0XDlWFkKFUVmidRP05qPT+0M75NykMhtPtOV6XScR4QmkHWiGoinUID0N70JB2
HhHWzJ2vZWZW940TtffVssy+hhrUuXPM8Z6AwfrQ9Enwig+qce47p38sJ1n7WYfdbOx8/KsHXdQT
AdbRohdxyxoUyXWSorbYCNNyyT4WZaW6UVh0nt5kk2s46eilFqJk6oAN6+3luDrbYmTkH97qMwTr
q51v4Prp9CAEvC5zwkPd1I0PfT7xZqvZwzBuTlIUaIUnjxjz8pDldIh1zPUGzzIb6Rn5RdmFzKuc
mzypjqPjSMdGrRtXptu7ExNvjsyQIp8nyl8LzzjmUkhOxSRtY4C210y18lSAGvs1q0t5KhW7ecXE
sgnwWZe1nah/a4HFtwWjQD+Xt+Ry1mpbdY1ZMjbxy9B4Zaxp/+vnhO51qTvpXqfv6v4kKeWBwCkM
0g7gxNUJRlphKtoJJoWdV/lpGSKAmDHGup/GsR1PpZbXr9bcY5J5exdtDktsQuZBm/5KThMNec1p
pnSAQpsvp0AbzbNaTJi5Jkt8cN6MWvK42dm6G18VYUd0gEEjAMNa35jgr0kkTUQM27RJsFtueh8X
ec2toWXBKhiCfzVrDO+6JRmOt6e78U2hkaBn+6bUAi/88pvSIlcGGATo2BZycQfjP32xtTH7rVSK
urN1N25Harm8h7BXRIdodWjSudY6ot3BIwREm2bAdgmbjap9zHpNfyrKsPlye25bnxK5XAq/xLcC
2Ho5N1UN0cNp6wE3zEg/hMmc3WWag56GXDSHuAlQDJzi4r1ML7btG9qBEhg3xPpO5j62FWD8A0is
aDoGyMzdj1UbPsD4jv7i29GJhaWDxizNm1UFR2Y5TQ7i4DXIoJ7ipJGf7LHJvdjugx+3l/JtrS6y
BDEt6GQmlVpapeuqdNcamDtY4eBJidK/9FKagJrlTTE8SK1O5CKsGDfHWVd6060lJ/jhhEP6MdOd
YHSTMOlhoNUpNJRAU2cfkc3sgyapkuEVoxxZ913WWo4vZYH+3SEkf0qKLPxZo/mPA2BHl8GdKQO/
G0xGPZYglBMH35OHanWdKWlbydHgcJX2if7Ya117ap0hPbSK0z4AC9/r2r9ZVKzWUEgqi00hTvoa
a2kqc7hoNSFnA5rCxhoE7/jfFM0yw02yYAzvl25Mf1is5HIeijzPX5N6zkaf4imimr0VxB/sIcgd
11ALpD0owXbztymbJnQsDKSM3aVfhk/ZoIw7UfPGyQVHIjiUnF9u4tVK0YbNzCiQJo+EDc45TnTh
v01v1DhTxk4Uumh5xNZOonCVGfF12NfU6MkVidnFb/ojiFTwG2vGVsEyrZqr19BxfnVqqe5s661B
sHKlIi8UBKi1XA6St0usdK1KyBBlvRsVugkZpkgPtw/Pxj1E1RN8G0gGQE1roNlSVXYsdxKxqDIs
Zz7pcKcvnVAPCOfzkqNhnkaOs/OkbFzsGg0cyoHCrZd04HJqiT53Tr4Qh6VNU/w3zEu0HAPJ0ug3
oAC3E/RtzRAQHdo27BOi31UVRx6WVktCIv6qirFNy2e9eu0QnvvWIP2I7kXSHO0mNF9vr+vGq0k9
GUw7DWUUQ9dor6QdlbGETuJNpdx1XliY8WsyI/84YM6LxFlmpI+ynsZPWTdKO990a3lB8QFfhNBL
hW+1PUHrxUrhcHmIruChb2Y5PNHzaBdBCJTGnUdla5+yQQXLHhz/FT2jkJ0JzFI0eVZRmD/45qrq
yom5V3HcmpRwnoUZA7wXdvblnlkcp24M+vEebngzZstV+zBMlXaP2AaSjrc/3tZYQvbdosdLbXPd
pJ94neW5B+bcU+PyjWgi3GkVuXlM0qb9i7Mg1OV5uIh1rLV0R4FkJLhGDAgaBfXwgO3hzXR672dZ
SXZOwsaXIh3j0qZ7K7CXq2PXj8uIDiknQZMRIG8rPXhIi6ba2Q8bFzIFRBxB4NMJ2J34FX9cjppe
dFo+j+y+OqKTMVaKRffQ6HLXGKKyvp8z09wJ/q9rdzj1gQcmQkXBkFr46hGgdFLzJNkDOmtVLB04
3fJvKFP6EzpO8394+YGvUJK2AmXhTLnsp3GYn+RaalXYcCViU+/ePyL7hWgiblYCy8sliPIQoFWR
cHVTRnGTabbABvTlaUQPZWfqG1sV5BYvH0kXhfE1KTkZJzWhzjFg6VuaJ6PtzC99nWhQ5dJsZ6iN
K82gSqfT2eSwA7m4nJVJ2a1veiyJgPDrR6fP/+0UY3yWLHV6MZZUPts1vgVo7Gof3r2cdKiFYAiW
gkLO43LguGMZA405GsYcPYdZpRFOxGOVuXKuzTsiG1sLSj4jFOV5NFAmvByst6Al9zNSC4XVpl/S
BPKzLGnGIzDd5O72vDZOitC1I2ilLAM+bTWUXhtmJWNIAEdTGp/nVlGPb+jRlh3ua824h0vbeAkZ
zxINK4RhQYNeTi111NapFAON26IfjiEVMlca6i+mEmlnK3Omu0Le9d0SJ28VV3Kt8e0IlzBNXANP
TUlGwDQeem829DR3Q3qEravPjvkcoulRuaU25N8y/l3TDau6/Kzaabnn27jxSam2AR3hpEDqtMTG
/uNG6p1AgbrHOodGmv8v0qX04yw785Npd/Fe4L61xhS96HHSW0X+abXGZmPYcahH5HUYmN/12mQc
oEgNTwmu3L4QmwPQne3phW8t8p+DrjZSpyTKEpokQJVZ4Bi2WPNdtoSwjKPUwrU8iR8ks/g3J/kV
am9/8YLRCKXfSucaYZqrVDaVjTYSoyPuo/vlqFRH6PYSTrFFe7x9Yra+JKwPuhJkzTwtqy/Z6GFI
LYnVnaJhPisFeVcGC8XvElPZGeqNQLPeuUJNi541HIGrgAPPn6LpUB/0rMFsD0tTJQ+LpCYPjRKl
P0sL7QLXSer6Y92rnpH0577KzdrN9SaGw5AZJxG8E0Ev5r84ISwJOXdv/BP1aKreXhPxcde/Eyqe
YBwJPqe5evvsaVFNYNxo382F9K81RZPq4gpcf2wr6N9ojyifbg+48RFgS3Bl8SFYmnUYAWa86NKE
4wQzDatKO2ufcmrKR6sJl29/MRTcJgFNoiWzNjDQRup9zSD3KFY30ketSMFBpXPOvVUP2k4iufG8
8biA3GcVCZDWKTftgjovjLn3ahv9aUmj4dhyzj/3RSKhiFlU5wowpdtMGPTdnuVGXMbIRGVChYf6
5SouU+eWgrcx9V6mmdIZ+1PTcyAQ7OyTayknQBHUFATcwxGsX3F1/XEN1hWZxqKzoaVcze/NJv1g
WfV4GO1QOuihFHwcBydxJxm+U1jpSD1axZ530+bWER5VQl1TVFAvf4Iza3rLQvAayJxaPbR1X7JJ
ccENzv7tRd0cStT4kdSAwL22wmpDGZpUYrNLndk+4yaQouGZKkdulXeDE8TC0qaHRSQEtNdIGlsO
s2ihKeg5lRUc4oFyURep4SmMut7ryJ+RFi/3qDTXvMy3UQFGI24oHCZXu2aJTDmPCq33BrTUj0tu
pQdkB5dnGzW6M81jaz5WpV4fUzvRsFcssxIwbjA8BnI2HjU1GU+DNKLMZ4V9dMjAcfgF6II9YdmN
91AE5qLjxD84WJdfvG7sMAkzhVPVhsNLH88Jz0Tp3MMLTD4hxOj4Jp3G8+1vv/Ee0uUjoSKC4zyt
0SI6OglAqdhmTT8Nd/BNmh9pssxP8rIkp6HPU8NVgz54TBpkBKSoV/d8xLdmzSkTqHWNOuf6nZqS
jrJORNSjSZN9ylp7emhCcrxQj3u/lvDaWFQp28HkbF0jYh+gVEBNir14udRxp7ZqSXneG4zSfgrx
K3H7cNxzC9k6V/TcqRaJm4T65OUok65WCIdzWel13R6Uqij+V+ft7yCpu51E8lpMS6C4yDboeAiF
ljUAoQ/YMxDzeq9qA9tFXFJ6qYruu2l2xbMqhQW9S1315VCa0XotwOzLZYsrfK0/Fmke/bi9pzbn
LTCColBG/2UVepTDGA2pKp4HI+iOWif9QnV2+EwDpNzpRWxsHp4gA6UNKq2AkFdHpmhTldg86LzU
KeXQbYteuivUpNVdNMyXl7gptVdMLvbAZBsTFCh6aoB43CCGs5rgkjj9UC51702U534qQW27k9GZ
L1M+7bLft6aIpjyIVerNiBasYpYIWf+Ae5jMp5f1Y1VF0xfETChMqKPZC5Kr5Vt10Qbu2LUdxlco
Hx7T2KrvwJ8XJ0cv58m1iyTRD4PeO3dOTAfKD6VSOoxGPf3FlgdeB21OYOvJ3MVs/ng4q0xpqnh0
MEOOKMJmThT7WRIkj+bQ7HGjtj6Czn1BleutSS/+/I+hJmkue6muWJga0lw8VcGvqK/iB9MqrZ1t
tnFdiBxXRARs6iv5rSaOpTxkOLomrJjTmvlBCTr18+1jsxGdAnUQCsOA2YHviT//Y0L1POKM2WMk
3cnqjNjvmDuPGbD5H9XU2c+JlDb/3R5wawVJvgTDjKAJZvHlgPpsNONcapwedOHOut59ViQJr5u4
3ZNi25waFUL4PNg7U2RZjRRlVV2PjIS+GsEh5DUvDgP0ijJ5uuuTItp51baqXCI6FHEwFQOcHS4H
nCM9VK2ataTDEgB4lKNvEwqW95o+4NzQAK054Owgf5d7Q3tM+0B6lnh9z0Na9/L7K1zE/gSrgl5E
Orb6rG09NgOejmgbjk39kgW55tc42Ueu2Sd7fsZbX9QGm01sDicDQf7LaQOa10hpWecqD6PcQ3vA
uG9LhBNdTUqnj7e3z9bNRI2Amj2gFfDuqyLXJDWZtNC88kqEoH7EaZ9+rwGlvJZwtjp/NJe5cFW6
cDuvy9ZhdBQU4EXZAAbm6tPqVsvfbOidl08BPrJdGhylvpSPtye3ERcJUzagL0yP7sDqbGhxb5lx
wyiJ041+MCayC50PIvKcGx4E0/Qx6LL4cSxxpw6MYa8Osz08jQmyd9qM6+hfCicpQNqLuyCHGV1M
RgXpbdYO2tJ1d4vVLfedoXUnZ3Ik+rR6sHN+rj8toE5ODYE6ILsrIZNmnOqk04ETpMqy/JiGzD4E
qPUlfjk5VIbzwBoldygteecKvN6/ZDv8l3IwURl43sv9W9hmWRZRNHqY7FCimXP5Q2s2L43BUb39
fd8iostaAA1DTiUJFkhCKn2XQ81SNmlJS30Ey9rGOIyoWHxQYuxW3Whu0h9yY6qnQLWkn9OSFC+0
MdV7J06iB1ED/14pg/SI9K39qZCDPam9rcWn9YD8KOmYqI9d/jIwJIWWWkFPqSSA7dPKGC412D2X
OFC1EQaRtuHG7bKH+LrechxmSqsCascNsjag7TC3tnQ8vzzHSfPaLRd7BqTemu0PMIeK6SGzkJy0
oRp+RgtamcdUWzCjuv1Vrt8JfgNyUxTIuC2vGmRL3lYWbLjBi8qhPrVyNjzHYVd9VWlcf6ZP824Z
D1Hk5N+DngfuDgr+5VIvVlSqdkyZd8wpO2FwlPpRg7MZyBZz50htbG1mBL4D1Be7bY3Q6VFLtpqM
vzvjOfbqaAjBs9gmUk3FHkFmcyjE0eDdk9tRob+clZR0hVnrlIJkJ3oubeGolDtK8WCq/a4d4eZY
XFPggdAjJnS5HEsdrCwsKlJrKiVK8zAZY+WcyxRTe9kp5q/v3h4wcwWjFBA0/drVyYgiJ5YHh8Gq
Gg+EINKfE20JYj8ardxX5jHdoyBfvzWo6VHOIsjEp5PH4HJ2vAKxhhkxhU0AHM+wHEF4V9wEt6e1
ceDFhhd6AnQ1AWdcjqI3qWR0E+nEjCjw5Ec2uhduFdXpeZ4s53NsNuohqYJyr92/OTsTTAPxCTH7
VbE/VM0ZI2sumkCyR8+Jy/gEhkPeg1lu7RGuWEp2XGrgHcXv+COwlXvoOFSOKfBoDSjaFhBvjuyH
F1N6828v5eZQ4m9D01PEf6uh0ioLkpGulKdVcugRJSn3+TD8T+8Le6cGulEjRKuOLgkJNyeNgP1y
VhL6EKKIyGVht7XX6G35b1kstp/VenpXLpL5qHf6x3AYlV9JHC/fcEbaI+NtfUCCFM4Eqhfcz6vZ
ooptdA5KfV4Ei8oLzWU5otSd7KzpxsNAi48OgoX2Go2p1RHHES0vmywHwTlHC8/AGNwNxpwftNLu
n7raaTHr66jDotp9qjVnz2Fo65OCHKU1DAad8vYq3tOqRouMgWZNv8TJcZLS2kcXgNaqOXWH9+8e
gJuA5kXswRN0+UnbaJLsvCgxoS4Sw2vrOfEHA7u/Sa/fTSnkbyf6oA8EDZ37bPXpwo7Ocy0D+kN1
vf0lD231xYmS/C4CGrazUzcWkN0B6U3H1gW60up6yedOL6Slos9GFuLreVQfpMka3Xxsnfe/36is
mQTnqI9yp622yigHA/IoVBPlhRcgVrsBfW2hf2tTbwu9KsVE5vYn26h8CdoPaiUIrgFsXOMZmtzI
Blm8q0WCrZmbZ0tpfOilcVQOZTvV/zM7Pe4Aj/eFAe0vsV7r3FKgV7aB9TKl2IYcQrNQ+n92ftbG
0QSsCgPPEbx4mhWXWymZjFAybW6HrJjqozSaaX3suxFXNi6N6rdpACfxICBG6tc2Gs2nFEum3kuy
qHjWExwOHicjsmgOZrn8qdOmtNoJRzYOtaibIApPj4N4ZHWqEMqZDDlOqJ4AhvZNCkQeuvD6wanT
l7jGZZFnSjkPc91TANf0nQbL1pZUVR3LJiq/GhDby9UpLYOM3GTCVYT3LDh06SEOlV9ybyo7ld6t
kTSBdAFuBaXAWZ2zxMlCqSZJY+9hF1+WlD1B3USesUzjzj258YyLZJFlFdxdABGXk9KItiKEnggm
o3p+qJpwJoxtbKAXsRaeanXGebumin57p4m/dZXH4L6j87jy4JEzrGIii6JqC8FtQI0sHr1RnbIf
plEWO4CWje3CKJbABHIxQtC4nBv2REoy6ABaFAxy/Xzp1IeoTbV/nCSxjlKnR0dEq0w/dkLVLeVW
/3h7km8YwPUsFYebBTSGqMOtNkw8OHoGqX7wugEH7LMaQMjxtDkIZoh2ShR4QQ0x5mD1laQfgqjs
JhfXifZ3ArMXvm0v/6yLqD6VeBAdhyCI7kaUX7+0UhqbhzAd9faojZEquXEWtdSHRq7RQ1y2ZnWc
qYbBIzSyMbu3DKk4ZFrolDvzu85GCSEExl2UGyinrMsNKW5fnUlkhI2Z8zWuhpMTmKKBK9JRR3Lo
TOWYRM0zdKQcJJYirjr08r/nsfladOjfGd3r7SW/2s1iR6Gq9sbzJ5havRqJMaQxLUNKSeFsPHSo
QaWuXNvyQ0jd6Wh1NlRqAr49jQ3xIS8+9NuwtMCIZiiur6VBKwsfsoyHwwtnxyE3d9qj3gJ0XYLZ
AhCatjvvx9X98HZwAJMwFjCJ9aHNKVtVaJlTsK4t51TVw3jOgj73OluddsL8raGgqwkBEZuYew3+
ILlNAKbTrBDWzX5n6A3JRD/jPa3soa7F7b1eRaAA9PVIAAUI9PK49oVqtHE+QNeym6CEqtXp/+Sp
EnyDlNn6eGWiqpgk03M/L/pOtLE5NOqnAuICFGHdOteMsUxkfeQDLmaE7q2qu3aVDCd7GsPHSUhX
53WTue1UvduPiE8JwZ7/UfVl3qs7KpVaTE5aEMQJxDm3y9QFbXBzPARZsyftvLVLVZCh8DNREIJ7
frm+qdYYieHMHa6XbeZSSJz9yUGCMzeMzF8GU93p722OR0nXZDSC8HVHjUokH5k2gCfLknzIE7Dt
ta5jhGNjtUmTb4/OvzkeGSFrCUeE++hyfkRcyTQusbB4T8ePXV87PqzI8q4xQwAmzbznBHLdoefb
aRaoHJA55DPrBVWlsqYcnhMBdahrHGUJU5pjJMFp8rTeMl7yxMxtX3OsnnfHkcKXUta78YMc9Qvr
n0Tj6BatVtiunfY2FggFVE3+UP0E/954d0Yifixi92+mvuTDq9Uh95wUdCrom/DcH5zJTp6DmKyZ
xDb7fvsWvs4yGQvgEAk66t4kmquTHI5xkS+VROdEkqXvnNnqe6ov+tnqZ+VX1xQwYJW8oevFJfBR
l+zltyI3vb0Tr23tB5JqdgPlF0RzVrluMMNDSJBN9+QsWPw0iucnvVPNb3IQx98rW86+3p721nj4
s4BOFh5CqGhd7j+kGzPIbA3l717rX6Yg7dC6X4YW15sgSf0urvZgCFdhFOvMhQVZUKPiSqnzcsQ6
TCvFampuzLaUPkODVF6jKNiJoramhbIpGE++qGhaXw6CX8uyjFbVeaMzm/dtnX9KWiBoRiqRAEyD
er69ilsPzp/DiZ/zR91FUcCTynbZeSj3534Uq44XIevqt21iHm4PtTkzCh4CraTRvVxFC3afD1ZO
A9qT7GZ+pCYpv5aE498r4rnSlWauYPf9I1INEAoUXIjAZS4nJweOGZDHd55t1+PZsbvWpUZhukVo
mAcVWOHOEbimzrFDEFck8gMzQoa7miJ8NsOYNN7UaJi06GB0rfaqUtMxj3S5m0/SWHUJ1mn1FB8w
ZZ7jAxFOaLlGU3RfMK2bLRfdCSXzIhrwxh3XB4z5QlWHyC2zytTcWM6UD0nUAoQyMjW9S/B6091B
y5N/Rx0PYXdAulLd+W5bW4Q6GXcYev5CjP1yFVs+jFkarKJjLdhGU849dloqnxzazTuJytYWoWZL
KUdGZZFqxOVQll1UVmHQ0iqmdD40Q278okCWeqNpSKgAq3sZ7tbUBLGHzjb3CBng5XiRvGixEiyM
p1LcLKRe8zpkQk66Huztxa2hEF4BPIcCHhzn1VBKmOkUHWnxWlkQo8881o/JPEOEaYt4J5/dCK8o
KpBLQmoGVLrupA+GZA76HPVej8H57wA1+9Kt9HnwTFmq78Fe5oexkkt/NPo63DlyG9MkZwcQr9Et
4eyt7sim/T9n57Ukt81t4SdCFTPBW7LjJFmjrBuWZcnMAWDm05+POjeanq7p8m9fWhaaIAhsrL2C
LLKmrcEMrKoNPeX2pwKaZOibU3F4++u+OtTGEoQXTjPqMuPFNxdtq5piI8uSf8e+sQ9WO4y0o6b8
xkjbu7kolVExk1pD5wtbzEt4sS1S5NgGB2xSi2afb8p/x21vhQJcex6XfQMYldPs1TWD/TdAmc3z
9C7epWGq9PRV9dY0ctdsyx//ffI4xujbwjqDHHXxnpagM1wi44YIj7ssEsPU3ZXkIzxh7m1+enuo
7a96NXubOpE9BD3CpUx6JjLRy0vgFTMgJtKymuBor+NwKIrJjfCfNoGmp/+MMm7WxECM1CMgElyl
Xn7ZWPjqtR0YFG5L/DBwDGB8O1mHJUZnOkI8u3Fxu/aQXNm4y7D2t3vNy/GsFJGLj81UNHi92k/O
MD2TBu6cWE5+jY5KN+cM/90bF6kr++Xmzs2ewgG3NSdfjrrOTucCxHHeKO3vy3qS5wDjGSKecdSD
iDru336V15YonROaUBzfwIIXq6bIs6TBVrqLmmGt94U/GKdGTP9A5L7VULgynyi2abiSYgQGeCl4
37oMfeeLjnMOVnMat9aXwikxf28MA6mAb2hB5GdvOd/ffsIre+fmfbvphxidVtvLGWUzjZXearxZ
2/NO5sINzblsHpvKWbfwADvMGzelgVOpG/e31xYvuJ1yLd2OISCeV4kGmnCcQA8EnHq6b54LJNAK
xGGc3vUjCDQpKHbk50Z1yIe+2Vmr7t93wYTZPf7R/7SLofeJyJv/AWthS+Jn4QmwHScX89Hasz24
DRdm6C/TXrjKOie2HYd10C9nL3GN49vz/5qVtc1CwL8UUYgULqtEW8sUzBlswBTA9FEnGgqkwqoy
eRLjsD6bS905hyEPkjvw2cbcTaIY88hpF/3vKEdqh7d/0JUlz+/hq8a9disRtv/+Z4GsMplYBr8n
nQfKx7Z2SX61vgFV/A/18eYZQIt8C5eFc/ByJBs2N1hLDmCAaUV6XBW3y3Dx7R5Kp1ulT3lgl7do
71c2ELqSgAYI46mPL5vXvlm5LSK5LkIoqw7jQPbQsnkvVxxUz2uJMdrbs3l1PM7QrRHDsX0pesR4
00sWaXWRPzfe976f26gXpUXDI6GnMFf/2Ymf1bSZHAJHYw7yioUr+1QNZe92WLw4cehMnRHZYD1H
qxf/y1Bs5gE5LJty4fKYE6tfpq4yO5RJNi3QXGWP8xL8dIIpef7vk0h5jGE8hxw49zbJfyxJK17L
SROPjsmAl57cDuNG0qi/Cq8jVarnLvD2cNe+ADbCTZMOMRMex8vhMnwbl457RTQn7hCirgkip8n6
0JtuwnNXCi1e1cZwoADCDujiExh04KJnTgGUpdMR95yZJ9zd9Y2d9toi3MiWMLpgT3HCvHygds3I
xDPp+Fm1Zb9TgvgSC0JZ6LeNEdLVrW/U41f3NOpHuOBw/Ddt6ssBg8zt8lLylSFmqdlDAAWzpg/2
QpvZbi2m4bD0UuyQvNWbx4oXDlbVHRPtOzd+ybUn3yRZWLbRVIa39/KH9FKjlrA4v01ZF5FaySa3
Wl+HM12pnVK4Y7+9dK69T+Iv+PSYaFLPLt5nRqO3zzLepyoT81AkvhvpIPD+enuUawt0o6MRCogn
BUXfy6fKuFuYsi/6SJN/vgcO+9nKRD23sDxuzN+16mBrhhIlukUeXvJKgRX1ZNvUWx7+01FGuP23
eNLNA3BHBfiUrfdBgZkMtUPy4e1nvDqTfPRsnRtr67IX680F5sI9OE06VuaXuslauBzoYN4eZXsf
F6U6V+FN4sP9A6uNi3qyH2E5eS0QDWoCcaL3n33L7LrFHnKa9/bU4QiA4dPJqEYjMuchu1F8XX2R
G9fu/4e/9InX7ZR5VcBDVnbr0fme3b8wb9ARMrfs9PaTXn2THq0WSnWMqn4b+Pyxh5pWKixTsDI1
d4ddYybGkTWKV6XMKW7i1Y7otulDL9dbOpyr3yDPSB29xQlfXltFng0rz082uEhyCGqLsXNSw41S
KrxoUcjw/4cn3UaDT7jt3xc3k9xVmy6L8ZoqLZ+CtIqPy7hJP2VVzsU+7hzxnK9D/7yasrlxdPym
MFwuKAo5CJsA9tCgtjf+xzR7fQ9pQSbAi7RalvOk7NHEr24tPsN8MKwzN1AfwzVLpH9N+ZB6nNNl
sS/HNMZKgkwgL+pzZQQIHSBDhnERdE04z7MxhZ3yLbFfnM74IvNx0uSyj7ZzY+6uLUgPDHLjLWIi
finiEYtldzkBoxHu/cOeitxMw9lYMTZr8cX/z2oVipU/R7vYLZcmN+vc2tYk9luHuSwM2sxZld1l
q+/cwqOuLUOu/zhPELFItNTFITjBe+umALTB6tUacQurTgb+qJEsl+YQdG16Y5O+trXwRlHGcLhz
GF6shGSt8moRNG0hSIt7G49II3S8ZTFQcy5jGylc8KbdYA7p57x05T/z4qBpfftTuLaJIrHb0Gco
86jsX67GIktT4RUaYKxMjfu11e4Hz6tu6VdfExF4j1zjNgIvYiw07y+HsXh7edxJRA9NuhbHjPzT
n4mecMEXrHxsf734Y1WTk4T3clntMrNMf/mxVBnNIoIuQQgT2ijTPFePorbjfod/7riEk7DXIZS6
Wr+3Q9tXkbSr1g/zTsS4innunIaWMKv2KessEyV5qepyN8le/WdmDmuDHipYB9ARPukXBaGv2kJX
mzJyHirv3SjjFqmuURz63rhx3l75/jjWN50YTVskT9sL/WP7UKsib6cFVSmU64QYWrgnSqw4tHJY
0W+vjdcGBRvTk/RP3hmY2CsxNW6iFDKSm38Q53kd+W2LenfFHuV7llviPc3V3A+THPvVM3qhwf3Q
t43HGnaTqQoz1yPUYF1y81ECgukwN9ohe9Cdnt53C1N5aBMSoW/cTa+AJFtFAMl5a7uhU3g5PSus
4KXLAXodOAOHbHHbvRRWHXmr1f1cmrTNwrZqPPfGrnitnsUZATRv6+Fv9I+X47Z+6aks5aqt7dJ5
Et3k7uhvpFXYAIsgE8YUGmX/NBaRLJDEj4sIQk/LZs8nfisc5MoS4TJpAdUAvG3x0C9/C/z2fvXX
QEXYQtg/snS09qaS8F27cSlunaVXJhx1OIQ9zm6Ei5cUIymAHEw5cpbGqn6QRW9HYzcmB6582FyW
VvWdLPPhxlu+8oQMCsbNfkIFeNlYJeIJbxe9QqGdFPbkw2CdncEwiPfu/4dWz5agDBLAcQ14vx0a
f35vuLtZndRd1DljtZctLdSxnK093qi3cJVrU7l91VCSIaC8IreuUs5uVXLLGy0MIeC9lFGHaOno
tVCEW7wG730nvVV7XZvKbQq5LXB/RtL48vnWSXqJRSgZPpDKjJw87w9O78MFyLr+RoF5dSgKPP7h
NHilBy0nI3PHrO6itLLSYxLU9rEP2mlXD/Utet81AgBdVfQpyGEQIlzSzLPMaOj8Az3UGV9agUw4
ov+T7mdrIcSmxFfSHRoCprN23gUBHXJjKrobV4fflpYXpR6oB/S732Zl8EVfzq3jt0Y7YsIabX7r
6tDwWj8CVCSfVt36GPwXkn2yLUSZnGQ3om2cjbZtw6rvS8mO5Sf3vjnT6wPq885TrSnLNV5fn97e
5q+UPSSSU4j+7uWDsr78lWOqGmxBLB1JnJTp56Tr3h7sT502y7s4cJMbAP2VVYBKjkATkD1qgktq
aWMskFY88CfYOSWJ3nGDyjJOHtp2NW4dYNsEX7yATRaHEcgmAydS/uWjUeyNsT2DMrRqjr29vfjD
jia3jdHXqOrTXBPHHppxTKC1vYhjTh5yFXrCFYf/PMXI5rYaAdUDoRsXC6EFv/GzGXjFGBcCiUm4
36VWtuzdYND3Ta2Sz2+Pd3WO4cttEhyDtsTFptUaXBDmlUu5HQwelDIiAIE5+rsRSOA/1yPcZQKb
fQvHBvaPi6K5mRfT6j2bEKOkDE6EipDzZabGoVL9rYDj10+1DcUgm78gWM3FQu0Ihye62dPRYNTz
wUUdHBpjPBzK+KYW7PU3AdQOCYSuIycpVLWXC2dRfuHETbLhiStO5s6YnmmCp/vVs1RIW0Cd335h
v6HQlyuVCdxMRCmatibP9ux/HDOYr/oNHTKeDTDfjupRus1hFFzFw5Fv5F1eO9CvibctKGDc3rlv
CicgO8CRSYfF/MTVwZ5I0Ahjv66KPU5R9l1exePPXFbWIY6zvtjpeTYfmDuSDFv8mP9KcPBI928/
yJWNF5SSwwteNa197tcvHyRuxOIZhdBR4TjTLwD86tzgc3euKzRnoS/6fl/MIjgqYnzPgYyNL8Dt
Ornx5V97f1uqyKZ1ZqlcqsczPJ0KlRZsMsKz9iLxxcHoBvc4xpZFnv3NwIUr9R82E+B6kBoR/FB0
vXzsQKe2LbZdjRxx97GeJ9AEu8/FqS0JqyzzQ+o500PBzhf1yezvetat6d60P3pdQvAzMN6zoJvz
7Jf6CWchPXXoOWLtxJkIl/GH41ymI2bVHZU7yOOpcPJbMP+VyabahIoNAEjf5NIWpuViNJedq6NA
S1Q/frM8xHbWPU1BUQxIv0fchd9eZa+hKswa4VcioeWTeVW0TL5RN/GWnKZKARdAGUtUTha25oq+
VyaES07dZOz80VIf3x55q50vvtPNm4ZQE3onJmXhy/cMHDi3UwsAt6SzE7V1kz/K9bYRw9Vh0FTx
L9cKTGFeDqOGrljjOdCR4ShsJWJvac6yW5awj62iC3uM0dK9wNpwnyzArnkm8o9TlZk7IyjS970c
y+ag4zQ9rKktb+xV1143etwNLod0Snvn5W8THT6VVsa3teaN9dF2kL/oyS8OfgLLZWfGYHy7tyf9
2qreHJ4Qh+C4RLbiyxFV7BmgZIwojL7eV6njRGkv/Xd9UOA/Jzi+XdCxG4Nee8w/B7240ruqWSvP
SGm3D4VHcyJXu0BQOThebL0b4/k/u8Mxo1sZRqtzCx+9vNgbxpRPSUGyhLcEyxlymQ5VrMWekKI1
HPx52gNaOkein28lgL96UvoQyG9AgcBCqc0vnrTN/MWjwY8WRmR+d3IcnWCCsUVgYO5XGsWxXufk
VnzLtoJffEjcSymIuMShkoT+dYGrx2ualwvds2hAXV0drcHuHlwdm/e1Z8a3XOFefU7bYEhgNncP
sNffhfofp+vSFX1rNQ034GS13lXDbB0CVfsf316mr3YlRkEMj4HPhqC/bu0YKJgo6CDYTGP6Pmtp
EEC1bEGw/TWkjkAgCYK565rlliT5NVGCodkHQfC4orqY0b38QjYjyaYRQGSLlubfg9Wkv6hqvQUj
VKgBlGL2FjhtZz+J7l4/43mUBGEyt8FTnGt32bclYZlQwWP9/PaUvPpyt9/FiQC4CG2JuX/5u3xZ
mbPo8bTSeR/YkWpj8+BPY7ZLRmo23bUuUIhJSsLbw15533gj08tEQ8A18LKa8jfmc7BRzb0qLr7U
tUxNsELnJv35yuOBe2xNZ5BTSGrbl/XHuqL6VJrFwDizkR9LJ5VFaMo5s6NJLfITuDGXOiGG8cfb
z3dlpW0dYQv9DXlmSApfjltgOIhMhXHXhCZt3en+ILPGCZvUXPfBagZkXUknBJO8RTF/PbOY9nJt
A6XYKvDLRrGaoUBx9uB0m/vDoxmL5YPK+u4GvvN6R6J4pNKHX0NB8aoaHtJ84cG5vXd5EkR5Nzon
0vH+Xtd+PKUzOO/b0/n6NcIWY7FA4sLnGrb+y+kkITQYbId2foaOuYwI1ukOhdUnp9x24+fYnaw7
LfL2v16EN44aaMjvKEDW6cU5WrUjN1MXPteKH9shaap511R2FmXF3N74Hl5vtgzFjrRxlrgHX1Ib
e2d080zCoxmw+f6RNnP8c85L810O/Pvlf5jLTX3xG4KkVno5l8JMJ6aahqWLibb/qbKSJN17ScZl
pTaKyYf4V2ZH8njqW5GGVx+SAnTrpeA+f9nVW4StNPAvH6Oh4mPrOcW9rCr/aAPO3lgwr78/Lobw
/fjmYRhS8L98SFzTXCEsgB1U/fLYOoj+joFex6NtK/nLT4xGhsvi+o9OnXo3OsKvb1isG0Rq20I1
aAFckqKoRMi4F3xzidZWEVbS6Av6RoPC4T9p1y+Z403VIVlH/dGV9fpvAFkFA+FymM0Pb7/rK5sB
oOgGG1I7bFvty2kQcVpMc0wftai6ilgchKWRWdbSvjHd18bBTwT533bLeBXLnpgwSeFls6acSt8n
llCHxcpuWT9f23T+HGX7FX9s5iD4+djimwMRayhQ7JJwK7sYOnjTt/0Bj+/x19vT91qEvzHfYS78
Bpbp6tgvR2wAAEWNqWZEC9r6SAamk+7i0vKfaprs30b24DsAGxPLXDnZZ2xH+ocysLPnKq6rOz+1
EdG9/YuuTgFuByQ3cLVhR7z4QRg5ZMVG5miKsvvsiaa8Wwrf/KZk5e8kkdG3IO9r3yw10AZVwW/C
eeTlgO7QV7pfAcbiQmSniW72Lm6XYr/ZKt24tlwdagMdIamwO73qDPX+OnkSiphCF3ZY/bo8QzTo
d7k5uae3p/Ha9kCzE9khuBgY9MV34VViyPtEdgBVfunvXJkPv/o0HnpcpZ3NLpa0ZENnxgGxRX58
e+wrj/lbyckewSUNzu7LGV03BUWNx0c04lb5OCzKeJ9MPspRhDOHt4fCW/fKlwluRSlA8cn17BLY
dDoyMZSGM+8T2aTvxVxIgpIVPVuSYOzmWaeCx0y81FqP2hyGj0jgZ1BsqUUfOqlfZAcTKu0HUXji
72WZ4w+NjmMvxJugMneLEatp10llBiFpmstyXEw3GXdZ6WfGsR3c9qfSttMetB76f7y6nudQr9pL
w27MuveLgTgtyrzW+SnVXPw0+zlvTmQBOWWounb+i1iZoQlB0rYiPbfLf6jpzc+11NqjR9DKr1Pn
j91xWZv865aj28A2djoP5WpcPGeOTd2qLXKpiJnv0jxELmw8dvkYtCcgV0RVlJywMHJj1T/HUXvl
U+kBRMEm5XZO1UqyV0DIdbyby0x7R3I5cU+xSao9pMEqs1McxAF3e1n74w5vyzqNlmbpyj19lHrd
icbM5gMGIeUpaMsJWK0V0g6ralHJez0mzVfossnfta6Hr2Rxug1kjartkH3ivrdzxtV9JIqW+EzU
vuMT2JApdiIehjkSgTWb93FetU7IJpH/U7t9Kh6ln5rP8MkU4VuZH38wdUuhOWCxhCNlWkI+74za
z59HQmDyvRyh84WlWy9fkAGkWWhZ/bDwR1T+eZ3X0eZGhDOri+8ISNmYdo/1Kkj3WM2a3zS4Zjxv
6qrsV1D7CdFpaPeTyJmLuXvX9sgBcQDDQeuQYJwF1igy60mQ/ZLd4fBWP2W+H/OkaVDcJa6o3EMl
Wf4RB5TztRnz9O8JIexXCIgBKeY4+xv0A/LlWHGg2vvMdOkNlHOOi1zsJNyCyzqnT1ATR/joGM4y
7ZPGV5hDZuZch0mqyViFVLtUx761Seuqk/jLWK2mC9UAc5ydnszcOfhDE5QIc+q2eMSWwIT0UI3p
nTINiGs8hXlIejd17oQzA3FDEHKKsLOrtA3liA3LyR19Q+z6obPIVQULuhNpLH9hkUTKVZuCFjGh
fTCdkZXkhOIkhv+3MwXKPXgx8p+wJDVJhpaJNfbzMNfFcsyCcpbnenHNfIdbZeMe7TjmLxNiXu4m
J3MFhhF5815aqnlHJnLbh6Whu4c8Tu3nacoM/NWHavruebT6I2uCCXwkjassIOT1nntnyji2oSZx
xSSaHhr/Ye3kahLS43aw2DLJY5b+OJdnw8NO9Z5au7ZDnwSRZ1ckAr9II+mbQ7lohdnJoOJ/Bs9f
ipOj4v6fJrbqL7NLVANs98kBGCNvuDksyWL+m+Ze/rAYc8ZW5KVqDJ3Z1+jp/cTxw1rp4EOXCJZr
syiwNOa4OM2sRQSX3lC+j5MWS+uZK8HdjGOwfyQxmJtk3Vj1v11OfwM6+NjjP0DgbBGKQXVn3y9t
N9QU3vWhBI4Cr0nLajhNpR/vAuj5zr5IZWyd4SY0xfZRjP8AE9tDOIHXPQdEa8jdqKvpnLhy+qRH
Aet2cYr4mzezVHY1Sa76PCZz+ovr9vLNdZSndmNlT5yUiztj6c+bNnatDEQVlXIInntvnOq9laRF
chbpOs1YYgp8jKy6VcnelpNh7mx3MNYQPoZjnAqbJve+10WswqZBFh1NC9bbe23WgiTO1VhJD47b
RO46o6mNUNdpDjveaIb8KU0HvN67bFjG3VLU1XjK4nyO74O6mfRdZqD2D1OfXMQo6edxPDdSlKRD
9R2I3jLjWHESy9yq0E8NMX9Ps2QuP3LDdX6ackoJGWlT3TzCYLCA0ou10ev7jp8z7aW9AIjhOz9X
D6ay/flIinki75l8DOq9Bea5iAJV5v27Rc52dh+vYoz3CqO45qdnj171NUnLmj1xWZRIyMH2JJ4P
R8/Vgf/Dy5JO/kjMpbcyYNdRL7h5Yo/rf7EKF2vNcHLXQXxQjpsHvxbKxXYni6XW4mik8WyK0F1i
GqDhbFodKivRyqJd0NnqaTGixii84oiFfpf+jUWyUYa9vcr1pzDHUbkEm3itOsWJi0/3fSwD9qzI
zILe+NjPgzl/hpYYYx1mNub0hG9i1v8sBiu1vggn78p7waliR3gxJvG/2iZRfji0cmPwHLkfLfl7
mLPW9DjP6eIo7gUBROuwq0zR5DsN4tj8yoLVqmv80Ptm+IDTedbcF/OkfFp7ciW/W1d98hXXNtdo
WT7GkDzlk2odwv2SuXlIQOwh2AyV29kfpYXfLUC8M4yQSCe7zZ9F6XVFsm+sws45r1QfyxZfBuin
H5g3w95BR7K6d5L+ZSLCtcPdErua1UmcJeJ66Tbjl9JG+LTPjVoubTQDSM9ZuCRyik+9V/TpU18F
Y/urytbNJXKyWfpPjpoW92DybUDEMfC/xfHGALHJf9Ey6RK9G20iuc8pN+hkZ8Ve9TRac9+fNPF6
Da16Z2zvZYPDbBIGFX49duSptonfYQXYYjFo+uviyLBupwArnzx1Bvp0TlP2j866tMFjWvp+Ei7V
0MUQf+wFw6iQtNLA+1h1GS8FbpqYiiLs52Boj3MR5POpqAbHOjXS7Zxz0cwuCnGjCfJD60GPC51y
K2YbYZd1tFbDYCQEDQRJ+lP665g8tXAcrXB1KxzoEjUuTmgMA65RnUjpL1r2srzrNhuO3RqXFKZt
aTeEQ1lTS4oFDrXVYZgb24nUhOOVIsS0z4IdcYIV/fEiMw0U1jX5HjXJTtspucbpjugxzORdcyjf
wQDHpHkdzPxz2sP8jpqxd8XRhtH4Lqi9xA6tRgTDbhyt/ouxmv0YlmgByeowkulMjw476Vr7Mz2r
jOSZXVZ49rulnLuvdPOnNRocYeqQu1A839Vt4C07JC0DPI9MWdkezwusjTy/L+GfxRZ/3pjK5Efl
YrEStcGY1KfFXcsHokarfGfPbXPfC9NIH2M0AMt+HeP03ci+x8RBqf3kbtS6NFytwpMcWPT/or5W
Jd0In/83qvKB4sDPfVhmYwqmGuUaQz4MgIihCGuj64zvbdFVtOP6QLchpaJUYRD7rX0gSW8MjhID
DDecurqVO79v2Jl1q/ChVubQETxgDEv/sa36SR2zrFqnH5SOlhPS4SvzX6mYchgjRCVMx7hDDjY/
JVNqF4c1WadVhFNQT+qrrMve8A8r8dkWXm+xq/eq86Zyr8wkED/MURvfWo1+38L0Xi1nY9KTDD34
13xXWZ75e4OkehEuyHkq+j7S6u/rzs1PRuxm9d1IbpsMTdzRhvemMRkG9be7tLvEiOt173Gj0/dL
Py/zcZ6V1VPY+kPFUs97Z0dOHgG6ZhUAznrVvCKiMccJs2RXrmfyndJ1FzS1a+7HTFOXhdymdfLE
ZmwWT9bkpcX7rK/N+t3S4A+0z+1GN+in5PwBw764PMHU88+ZKtM2auOsXY9OBsj2EPAej065uqwN
h6p3j5noXLxvvMW292mr5F2Xi/WX30JznNVWl9ZlVj8VbqW/lERzdaGvDEoUNdNwgKg7VV4o7Qwy
qr/a5Q++mv6HiwbDCC21tt5Du/btsG+MyvvXk0PS7W1vUtWdXTT+v+PodOkuYfN8aDQWb7vEK6Bt
VxS4VWS6TZntZhVUHya2iWenUz0CR6iDnNNVVsdP5BXYOuyGAqcXPICtdIe7ifU8t1nehJTHzV9r
xel27lKLk7at8zW+4xzWOBmmNVVsr5PNfcxf+BHSTdX8GBAw9li0m4mU1mIsQrZU1USpUDXhF1nV
fZdtVbxnL5crTe66+jwXBaAeX0L6IW5d/tLBQ5IZzTB6qcxGsej9lGdYhI0JMYN7r18YvsMx+YTk
YPJDWsto7YoiqOud7gTXMbzZgqhTbokUeo6N92mWuzlllUlmXS+75j6ZR6P6AjzX/R3HqoF1OJqt
vuOb9I9igHr0zUvLJKXfXeV5SHZI/Hkc81GFkOzWbhckpTZCCrzse++p/iBUULehNcJ4/7h6slof
OqcVWQQK3Pd35Ty0P0Y7WPnBiAYhvdqpnE69wy5Q5U0wHJSvx/LOy/z1XGje1nMTy/TBHNkZ94u2
VvOOTzOuz6AdTRU6ikyRh2lYVXeUDi2EQ6Fqoh5EkHmKwqEf7X3vk3T/tbOmov5qToZXh1ix1fnn
qRJeEIm1cfKwyGuFRUltBzEUJ9X/nYgSfgc3nzxzomoaWj+aA+o78GuLAhczCWs9jHk5ybtU20UR
VW1q6K+Yai4yTPws/mqxt+K5USbjJyfv029GsU5f5Oqoz2rx66elate/aW/l5VmydcxhNrKSd1bl
jtUxbtL6k5/2MRBoxuTV+P30f4vBt6fQ1lC8J0/Jzyr1gvGU9F3wQ8b92h3dJB6d50DnjrtXi+X8
Ewtz9nZBXrvyzDbOlupmVKp6LUrzwfWb5iH1KKpCDgoJy1W1xvNYcWE/YX9j2k/ppPvuNBF/zibj
x039WHbrUJwmp83NT9U6tPqvwqTefWjHbD7m1Zy3EAZGccebnP9xVjW2R0c0U/1XRWFqPziDM/yb
Qs3UO10iCQ4duXmRFbLpmmhocjLwehfiy2OalYjOTewSzXexJUWBw5wrfxrGHHwsyZXrz4AZmRVO
eVkbjwPBUecpK2S8c4Ujx+PY2TGlWO+Wx8qup+SUNUb2lxirab73aqufTp0040MKJNM/1FPunr3R
bNwomazVuK+YHeLGN7c9rO/N+kzz1cvPSW3bH+1ElRQXdl/AqNfS/mIaK4FqfQNwG4oeJHFT/ZRg
BJ1tFYwOETVElc2loiHQ9OswxSonmIY1mrdGbO2VZbbP8EbtOuLMFPdKK53vJt8mNMFRDBxi56F/
WZWIqdriPnPgQ5fZQGnbO9/ceS6qs6VbvIpiT9t3SDxyPxq5+9p/zd0gD9ryZXx018oqQ63XvN+P
hCxO4VixmHbsoGxu1H/zP6aTZvWuUaMwQpnI7FeT6yXZD54332UTPm5zWJqJDXZMZOv8UDZxo0Nn
6IGK7CxzOVCavG4OxgKl4sglr8d5Uoo1nZrQrEkcIn5HNk+WK4r5RG4KSJqB3TubCbIsvWUrl/fW
mrv3S175RmiAVZvv86ZT6wHQy3IPI631L/YcWEukcmw7DwZIQXJn5XW/7uDeYkQSW1n+q46xxA8x
DBTmkc/aMo8jNUp1mh2cYM9Osi7Zfb7MW2INeiwnLHvMkrkDilRGknekTspO/eOw2Ago2XVMpBU4
J7mHJB5SFcHiN9dHzDXHfl8HjTV87gV14n7l5+ypWdGvJ3Aommhs7SIFf+OiwzcaJC5mZgbYScfQ
KsyE739IzLj2wyxNqjRMmgGkRaaJQm5U1LGILGzw32WCDPuwQK6t3znp4p8Ko8z1DtzK/ItNvPwK
ySF1Qmt26h+pcKo7OViQcEWVGcW5nagTMWt0J2+XF6vznKOZ+s6v3dIkCvLpjzkYxTcsQOyPFV/f
eCwtpco9vjjulzpYMhXa9qQfe4fD6d+pN5xPGFyb3R4mfv40JKNcuZF4YD9AaMt3hD4OiaHjbKXR
lFtG9iA0kxWmYzOd28buGqwxLfP9kBeGOKWaCLYHl27AsMPh2buvUZ8Uu6bOgvYAn81+lpXQAbxj
K9eh54lYc+n7/W7XKRA/Qena9sMqzbZ75zskW+7V4CTT3nE6We4GbXYfXDaJX+tIpRphKla5Z7vs
xk+GxuV838J8D/aS48Zk95fjw4w2kZXPd3Is/o+jM1uOU9fC8BNRBYjxFujJ8+w4N1ScbDMJELPE
05+vz+3eqcTuBmmtf9SxtN77rlm+dzfc+myWpRiOjrfJq13L2x/nQU3ysuJ0nBPuT/HROv5eZFG7
lPlZGC9/3t1e8zrZFjPyZtlD1q8lIUqkhOLSKacSV4GYdaGTZZ8Hwdda8LUt+R4+omgGO+Txmd1E
DghZMoO88rythNUkrkIuf9CdbY+Z12BaYRpbOtIbmt78WRHcqrTO5dYkVdhXwIbtXL4QTJ83hHAx
QJ9JIAbHafypeZ4VprYjaO34NvoN0jLEiPOY4mOC36zKMfrHbqMvocX+mIAlqFNbuWAP8Sz75XuO
3WE69pMt1G3nF6P1Z6cz8CceqzlPJ1l6d/ko1b8IYLg51Gbz3pclry67mxfywMjgV4m/lfTMRkCI
P6IBPDuUy0j49ThMG+kUXQ4bn/DtN8vL2Lt6P84YmNZs56S4eAzT8oCz0HuL815D2JXW9BGLTr/o
gKtHGnCidChG56035erdtFrJZ2223H4JGAqWo2VvkJsGr8B4gvGcHiXuBJlwtHaP1s7yePCGsbtE
kIBuqndmyHtft/tpIwSQPWF3ZHtwy3r+dNE+TxfiWeWDklPeJWHhz+vJsSZ5jnTvVjftVUDCkuO3
PWCX7BmduCNwRudb+88Aphsg57F103UWjPNbvmG3aoN9zjPjRvozoqxVJk0UiicrqEr2QR3Z9wM1
lPMhdGP9h9lU1qk9s7plITO+TIk00r9UnPtPJBvW7aloQu99jDzAujUI6p3uBxMDA/dR/WdZq+tX
7e7+IbB093WlPcpU7V3t4RZc9ufOa1nhyLAgene383JNpr0YnrC40lrabuHCi6Da8BhtXr49rMEQ
F0gp9vmw10swPSyRxcRURENzz1hjqmyqKnfNdBhsThIDnb/1BWVmH83QtHxM1CJNrzYL2BfBr9Ge
KkH78oMy1XLnEQjj8zZgLq858pQnkoa+jB/ZQ7OdjBnVA46xYIcNoFbjUVQBDxxgs0pqt74O08U2
9Keim6YDoxxyO1e0FN+6JHe/zijKulu/qPLzxI3y2u+de9e71/oyN1p6FMJtnO/PVly6WHKodUo0
eCbBQ7al3PtisfxvwEFfXdjj/ft96IPivO0DNkvcX+I3MvnmO+fEAsXG43ZnHFn1CQPX9CFFJS04
HGu7D7be4tWnmIOkYTN4IvXaqJqyKC/sGmdFy/vJqxpvh9DidwF41eGdiYrQOziEjSNupjf50fF9
8AkTL3JApzBFdgLi5FmJW0b7mxp9JovBGHQEuSXgYyZrywm393YnLRyligTUg5eHTQsMlJmT0N9Q
UMfC+ACRcfFro2ww1N2tz4DU6yt3tOVkjUGuegjKfa3uAmfi3tHMbcMDCKWp79Y+Zv0hd9hVl9Yp
SpH5tWse83pvf9dDiFVm9alRFRFViA/eVPOxkU1XWWmjZrnf61a0n6vPBPYh22D+I9fK91+kEBOl
grO/OHcRjbA3RnvVethoiuGNykXlgaV2wT/ZxIWTQJr15X2p7O1+niZ4lGmMl19uUYU1CCRherTA
72EyYjC5VQFwbda2pX7o83pdXsd1rqIDARJjl3iiUDA31NHcFLop5XtsYne5fq0Bef3b1n+JcGjL
y8ombB0ECf5vg9YrTyz1PvG3GAHj6Feyi49tk9EnZlR+6KolNzAhU1Dn2dLrpc8CLXJ1Hlod6lsZ
Nd2z4QE1N0Kp/D2i58576/o2HNISClp/Baoeb0gdRACz26K10nZ0NfjcOsZ0S3Lmz8xL/CqcKJIo
fpwjVnzOgYmtczdZwrqXFRqE+yuU+CeoRaCJiAgYS1Y1uXtmOnvcsm31V3OwrFr8Fss8WYljxd2U
5HodquOwwaZluyfGDyCd2DrPjRm/nQ4640GJdvwXzHb9OMtV4NxD2uqms2swdjaO3lQaVvHwDBGP
UyssyvhiSA5z3xq/gkxyBJFaGfEWYfypYdGaM4iyXu+iKpheZQtr9j15y1Knypl7DvqgNZlkCzDs
fyzgybrrwL91Y96nc7FS+X1X7cpXwI4YCy+GhG75NpXlWCUMMUMJwbMDp04seHHalKuo+BRDA5gd
NA+bv3ndc7zN/Q/t4R6tWAi8OE3bwhrPMzyhOtNWyi/EvT/x0SAj88/IT0KT9qNfnY2Ve30Wk251
pZDy/BbKx2cfqLr4ngidoEJvFtdEIcTD8CM8No5MdBOtr8G+BPvVhdI/Y8TRj0MtR50qAg9zblBF
60UARQX6zaG6ZEXUu+er8ov8fxUu1ROUK3llkOb5X5uNnZCONrRgd+dg3NMocMaHiqrOMSmdav8D
/QtFSHGonyekkTKpoCdlZr0GUN72wdqL86Sa+jOIYk6Ott6Lv1Pb5+2BnZs/vCHsJQgXb96eqAX0
/Fi3Uf5vD9rxP68aGLa3xqmY0zv/2SPtcXgYCE1ZjpMS1oFx0iqPQzV087O/bursMN/toI/S75Oy
ZGM6gr376sTvErpAX615FStK6ZeB/Xs4rXqzPmI5G8KG1iF2TmR5D+rSkBE/JY1d6qcI1qU+zO7e
o7SucrORVbKzsoAmzTYFZw7n4D5NjvkljB4gE+NOs5xGEjOAplpcp3uo7Zel1OGfZSidOt3//3x0
mEBkphFWw4Hvm9OQT+7Gv+xxLx2YjEn+7ZycOOje6rF2lq0dnNZoqquMv7J+LQZrcF7jjqKRZHMn
OR3jcRATYUKhAeFZBDRCQw9bcIQu82pgfhtjxIZMa0/8PlfdDfQTqYh0ienxGKnKs7Om6AtznxO7
+bgLgxSHw8n+6aZQ3knE3stJ2jXtcU2gg0PNkXKFIttBolnhNS9jzFapGje3JptMAGGpZY7uGj9S
1kUop68PVAJ16p7Vs1gS9n0WedEGTQabp9VN3ETQzy6rKVx15K79YeUSAEAuLIA5cuX+jEI0sL5R
N6tD2bkDm8riqjbpVqW/SF2YuPe0kCdkn8XO8dp61Tmuinq68eA3+Ryc6wMrlS6yoGD0uviob6tU
hBv42NTnJBaBo5BCQKZY55Gt5gY9mRhlrJOmL2P61LigUJKInZfe6nD+HOSwqIehqeAj0ZaUUcJi
or6Yn2uTsKjLIHFCRrKsQ4/60lV03d7WW8gWZE0+fQ5EcIsjJpx2zPYu3Oo73x9Ue4iLPAJA8XVx
G8dWY+4sSiDv+mnDETXOLhSep0sc/FMxLP2Za8p+793W/s93DRUV5VWhCpLTtzSBS6fhebNy3aT/
z9c6TIWYjvnadN2X7iRD/Nr49sM0Fy36d91ht/Xc0QFftcw0JhG+bZOE1MlcSAqBWfA2X3oJms3y
tak86RznJYfLYrxZbqGyt/I0OR603e4U/OliQodz0Yh4LcT13qySnQToEYbTrC8FZNSUyrZY+A/5
ChcvdqIQTRvW1ZGZeSMb16brLmHP2i6xafwwhWZrhmtmx/6yNoj6swJHUHSWJQ6MS0Um1McAP3mz
7bPp0x6uvmBkWjZ5NKqzrESyTFxLLRz13oKrfHS72YlQ264ShTUK5Jzl1UQEES7yerixIKhfB8Ym
751tcFJPntBD+B+4e4lMIKwgb1oAIZ3JrXTAeNAiMvUWW//dLOOk8NlOeNbws+SXvK1JjptM41UX
4ejJZOg4OathzXPzE1g7f3BlCXpFqSGZ18W0iwTxj81qNMTxsYpKP+Q8bY17llI1r3UxVL+LBR6Z
rJa+QLDgxOuOs7Or/4PTcCAYdri4iuNcR9PR7Gp2M7AChBDM48gW4aoCcj3jOb7tzEgxXkgJCAqp
1kdTtPZKfbMpMArsUSj/9vBma6IrUKiD0zrrfmuaRhwM/e4rRhd3yHxE7+rCrrFMB1ngLMjoIgxu
XO+qPlhLzvIU+YXhhvNLDVOu/M5OZe/t42NvCIcAG6NnLukVR9sg0Ryc16XnvI7GoHtCzTN4z7bL
9/Q7ULvczwtneZRM9loGr3Wk3BCnWQ2FrUlrKR/gPTjrYJYB4dzJc2OsvgStJQUwF29rIDtgltbZ
QN6k+IA54upv57oYP4KNY/9TepVkBb3e+dzvwqRLPE9vSP3z5nCNxCozPmb1OWxLuNxXne3WF1AW
WP/2/7/KbkfS4wtm1nkuKoHYQKu9/jTKlEPStBrPXayKmszdqqoFJuxdXbRm5LlKrZsodYecaJeJ
4JVfHlAGTxbikDbV1H50R6f1uKpC/uefYfP9DVQ9st+CXlf/bFPWRYLoxP7upzAob/NxoGcO8i6Y
j45R6m0bTftfpOS4H0h1qrc7tbRLTK9ZNJATKkpiefeFZOAbx5mKn9aaojIlO5ogR8yM9gs7EPrz
Gby74LNnyVrdCCVW7Tsz9/fEkZ52FJ1sByLhir8L0qi3GSX9xi9QO0EWeQMw5Oh5lpuNcVdsv1U4
9a9U1ceIlPapkEf6qV10BWUVZG1PPD0pIsNAKJHtjOgH9iGeKc/z9rK6m2To6qRuyNrKRDEB3g9A
k3c7QgCURUb7P0O4EvNL9PrwTo/bSDjJGJnXNlCOk3D3CJjrhjjFu11xJGbhPgeUlAIP5/fDOAHx
T4O2woMi0XL7vayd7aVrPS72PfS7Mxy8jui2g2vl8jGaOleDVElusXxa9vU52KwgyMbRbMNNrS1G
hrEZvfsgF4s5EHU1l9mu69g+cLwpOykjny6aAbrm0Edq3LO5ROJ2xWfNXRdNTnBczep4WKEGZQ6d
VQcBPJ+RH9aKPBCIYOEzbzYUgM95FcYc2IsKbnPmhNdceAi+RIxsdQWnwXCSD8F2jOMxfGQM6b8g
vMT4EE1NfZ5tV2/nfuCvJhxDNg+O169kmA1KPVpdE/4Eu2RKgHCNuiM8vPc4Mvp+QRb0foI/BoEN
QeAEhQ5Kh1HilwggLrkHwmQVRFr/14hyN0mNOgR2dFO6yZgykb5MOxSIaievOgxDt9okxpLm5dtF
HUF42KxMCbobZlBbIf0+UHTLfU2TzswkKiFrDp3fFijAoPNfBsxGfjpvYvqXG46x23pGnpHljnTW
TF03SVbZemGwzovqcZl0O75VDXq/O4sGvrerqHRPIs/s5wBUefpinZ2+oWpb8TDLXLcZqpncP1hM
rnd7D4+aOpu131WT1l6CHiL2kxJ8f7kjGGp8LX2fLjGeZI4gM/scf1Tyqod+D6gqRX9hZLJupv0d
tIvf3HCf+d9bvlQPhgCdt3gaAtLGjY/aHblE806+/5qnng3iipLJjp7A+L35vgy4eBI1ljFZfUuw
/tsrD0iehJ5iP0u3bO6NXVeopODyATbGCTlENMjohiFdlFnpwIBkJijat22lEPuIInq0H+ty5eRh
lxz/dUbXj+2YWzySHad9OueyOTozjSwQiCCxn6Zr5ylZLbqc0cPn5qHf9m386/e7flxcsUYnhvvc
Ocz5vMZoGK34964an4WQvH9QJVRFzt9QoBU8NKvoT9euDPxprSgZ/bY4LlOOom26rUWhZ9gDYu7S
NajEo7L85Q/X7mbojBG9Priz038W9d6gP5rI9zx3sa2LG9UsE4zn0MYPjloCLzV5BLVMEJh0z0U8
d+/s3i2UtK6KRw6BIcxKNL7fyoT1l1gLwPgrOPbptUP5Vue9CNMCzIjfmeweHsamiY55RM/EIdzt
4l3aZU9a5IzkCPWQzAtEcj0HaqGn4QXqI07yjeJglKSTAHyaULUyPkTlL7lUcjo0Uaze8irnUEAx
4D8hjkXI5fD7PbeTH/scFUXdJss4eNP90lrFFwArpbt2VfUEi8aKYzYomulGeLs2qe4rUh0JzNP/
geph3CSyf5fpUkNwH4hEIzzWGYJ4vO4iof3SLLJ3katppyQ43Wof9rgRvxb8Fe7NGjnbDUuby53G
rbKeXG8X+3MD+PWnjoy2UrWEbBWsmUVwrJY1/NhJjK4fdLW7BRus7L58Y4XLQQd8JJyx1c5WUk29
fQhNOAP8lLJezvUS91hoC1FcwKLr7tg5QX0bCJTHcOKSK1UaA8q/79L9Y2kvtk6FlAW/Tjy49zUg
s8VTuo0q28tI8O8Y1/1lJiGDE7r+7eyyBFzX/XF4ijbLLQ+T7/NkRoiwvkiJAxbdCtEhHZflSzWG
RZEOy+L/bYMQxVFLNd+703bOa9VYq4VKLiDcZ4uplk2HkNHjaLWz/xWus/xbVc76QUYG7vOg5+Nl
TrN2EKw6XpPFD/efFanJcnKDwWJr6xZxJ9EM/qpQ8Q3HDRonRN1xpZ0h5Ra8jHRnKwTeTG1V5ymT
Is4qGIs7JW/nPNy6dJzc+t3LhWPSjTQZ67S3V8qf7p/1uUUbBXeSh/IDBY/Xo0Zw+KDcKvChjNkj
nip/LqhyreLtz2rXnDYkOEV3uY3C8riZLdoSsNriK28WGxWt5TukTQnZmsSqYd4ZHomVUkWl6gMY
afurRciINGt2JH1DXk/izHTN1TkDkE6c8s7kghrWxXPOY424vLIAKqaxi5C0eEFHxvUi3HO5OHZ3
HhxfPwZQGnU6I/YJE7JTdJ0QNDOO1ziRcE0K30C62B7A61PY5NYLcilEGcU01+/rCkfXJStb6w1J
CU2HvmqrED1j6GZlYlSEOLKUdyLK2jPZPIbxwF9YIKdD/9DvSY+IeE7KMVdHwP8RwjA2pccusRbr
75gMqr+1l4f/oQcKb8XoAyQ7G3M9Op0qiLMoXsr5UAjtuqeQz+AtjCvXOyCCWy4LaTnzA01bzd9t
sEr7ATGGv95MvZbLY+mo6Bm+s+9StY7uU72RQXaz9k77u0P0jeTKs+mOa61teaDAMNiSZhHVHSKT
eaAAvrU+YAhLdMcI1VNXBdwU7tbK515Z4fdGcm78F7GhmI81qnMPPnOr7xHMAz6qxYv/9WsErCRQ
lh1GLKVUf7hNX6XROnvWuTFrvaNfNXt348+51qd2cto2G1EXeneQIfnTEsH/H/XYKWB4UeT2UU81
5L41DA21BaICDmJrfbXRv8oji0VwHE1p6+O1iwSHyK6iFcXaArHYQLp1Bx0hBXlZh0V/FVO/Pi5B
VKjjki8DBEEwDjlOQhs2vfE9DyRgtcRIgKDr3xYb0r/EnuKesH/J6fOxdV4zfhPrzj1n2qG2sh1Z
W3MvItMNL35bbTqxFcMCwv21cZKl0UsWDCy51wKcykmCGUab9G90F0fstSFMjPLlQxFd2z0RxdlH
2lJcfBDLbG6LbuWoJxECadjYt8W/CmN0wNANPHPLcyEO3dZxFkLAKhfd8cAVTvi7NKRu+8P35kZ4
jvJ+G700wLAO6BOtS8mtMTTDuzO7wDosqrCL29VrgJR8mNsTlXV9c85pvH4p6N5t7kavWjpm6nq7
ReOiPgwh6rdGFsIBsKo41uwBSySUlNm0k3lii5yDpeLQu4+Wze5Os7Ns3Vn1lW2ybmYSBmkCCE4c
WpG4sHHPnQcfGTcGY9EgzOqd5pulyMNcNDrbdHAqtC9I8Ut6VlFalre+tOCEyrCseRIioe/bjhy3
A0K07mBXQd+z7kaKH0Xq8cubDHoftbb9JXYVrDJPBHz4xrcxPU+qQIg5Sk/dx4rbIiksUwYJwtEx
f4xWp0IwlBsvfipjam4OzUIvwX24sgullHfE4jLLou0YNwK5ZqUO2EYbxEt30M19f2KDXZ79xUOf
VngYrhMnj9zxwrE1zaxqff9fFAJsIbqfZw7yPY661EfNlB99Co3QnUi7dy4L6AStDxEnyUoT2NtY
yeZfGMKTHShL4+UNh2n5ZQGzC05DFr4EFWZhjj1SMxrpVE2WVeOs8t2tyq08to2wHXIWuVwPVql8
iOlh3bhpuoJ2+KBW0ceOcoKBPA5K0I9aI+3f0A2wT/QIcyvkuUBm+QL/X0Z2k5k1b/108836SMqD
0gfc6dWY7vtiIAjWuZP3HeSRSqrYrfus2amFTXY+d8173RidQb6ixZitwDqtnGrrcaIopzyWu3fV
GOgtf/D0qkCnLVXmyWBv6ycR1+Pz1o8zayNFp1WqkN77UJYYZRK/bSqdimZp98vG0wyY25r8l88/
+SREOL+2E11Rh44PAsYwXBEajzIc1Y0AKbkHyVrIFPWuCQsuV8fjuO1NfYxKFRLjbyqNBQf145gW
2rbr7Orjhzbl1PwOMQ2IQ6DmrSHI2a1ZxxdNX07UUzqbVF6PeDb2OBQQGQ45K/aKKGpAg7MQN9PW
r9ZaheNlyX37rnOXCGjNwck4oXsEO/B7EdzaISYsvA1b/UJn+wTDFnbTrW7WkJcalOq7ye0+OAJA
8//yhks1BZyYX2fmjjwRc1w9Aij40aHSvmgeQ18tr1snbP1Zi7JwLzPVk/F3twb6IicxWpD1eWn/
MzBl40M3EomVoX73iLx3Gjmfclc3Jxexfv2fQz9V8GMrW/cJwgACUmt3cmgMjwb7iUoEgDq1T/7r
Poq2/QhYk0fg2Gq8Pur79ZFRpgV6t8boxE8pzBknxHIjRVsE50BIF5FtuLcHB0RMH3DpthLuiXzG
S4HNSfP7jLDtOaDdr6LoOFsslPU/XeHZ/8gcRHxEPm/wmONhAmo3BQ7GGqgpPi0bsHa6kEEzQ9PK
BRm5XXufoGfOeFDEqWto2NX/F88KOwmySdTTDoLor1kp+3c+jnFwP8p1Xz43LrpfXCN7nHkBsXUp
ao5CQeq0wTfOGGDacfPH6mFlYy0OtTNIk1L5bUV8Lc129hR0EYqosgmybhjAPbpJ2a9jCcd54odB
CcnCoj4lkuApA811p4NLG1N9YBGQ/03YFesfK8i7f02HguNUT6GYs57C4Be/gm2rx539XwCb+DNU
c2k+bB5rCoMrKpzTON73xxqZr7nh7R7UR6VDRFzJtvbrb2CSYT55EOSaBdWbqSLE2DO/y6Vw65dZ
+WTqL36Att7b4/ZP3nrOnRg3IKImZHDN2ohk+LzYQJMdYzvmFgmi3NN6l8vLHHYYPbg7t5vOWzvC
+a0WiSSMIe/qGHucyGKRnD3jMgdPZSA1UnariO4n0c/R9YGZYXrsYK+btBBjXP5qa1PUCSMkbQyw
Nw75QhXfBllQxW2FpHC8zGs4oGWfAhaCPOqYQynLGhmTVWu2zPJwqCTR4oyGiUUwW/BDuE8admk+
rZWt33i5xvVc13NtnwouvjNMGUKqeZjde2JOHfO9Qh/kBz5khKIe6dRonZZF3cUNwSaZE7IPXTRW
Qw/FD7W2ie61i1qsdvb9z+xRQvjoUnGVn1ZYOu9O6TY6ynp1naNLVOq/Dbf6PVATYmwNAnTw6yvT
w8drQxqH2/+P4notwZr75We2o/29GZGyJs64VK8eeVdbZstpfLSMZ/pTF0jgv87aWtJ4/QKMTuy8
6LR4oxfI6KLvddo4nt99d+E0gEE6Q/4DyNJgLnGHtTkOE46RtKl4yJhwmuJXKW1INGbWLU7bbgdv
qUNw57ToEazcbAacaGknUFrt1DY0gwKXZy+sW3mu4bLE02ht+yMmC9xl2xyYW8mOzpVszyW39mSX
c7LjsmZa81rMlBVoYvCgV0weuO04EKLBtV8QRmiZOdzO4f2qxm64GBossZZ5PJIH9iv9yExaN0ld
gRuzWONGBPsl5xgNVyyWDP2t7WUkt4Vu1szF+hbVjMw3TlOyKInNym8V9+XFFsHyqaYcTk7QOoKP
v24RoM0RJ8Uxt1z7cxsZ0ZK2HpZXH1feE0548JNuzeWXNa/5mw2EDA5n5qZPh2Es/oHtsU01MzEk
7zYzwV9bgK4C3THJQ7lK8zTsZuWhbzDHnCK7s4Os4W56BnbxgbcX7LunKMr9dyPqznqPa5EzDrdh
9Nn3av/VMzeistgrpq7V14R22B0By9ZqIy0cnXZ6kDyo8hAWWCDZy7aguiuKycAZ8TMBSlBYegNK
4ttHb4ns5V36bVhcbDkX1++nLbGMlFowwDLZQYr4ghLnIaxeASPz6kyqRPmFPcbW4HDdCH/oY1k6
ckZ03WPX2v4D3TkV+lGiCt/aprN+8dV0JkUm1773V0437UUR/rdSk/zTjzbj/SKU8LN5j0b5b+nm
2r+eoO7WQxor+310KeG7Qdu8d6/w737ByTNHYDc18VT/Rt5MmLo8GBh/69JhUGtsNyWObEWQZSwa
49eoaW7zcBX6BemtuFlG0hoJjkNZcO46ZQ1ndwKIZ3qNFu8IilChGN9QDEGl1jGM9Oh9z7aQ3DOk
ZRHpVm7zEwFIuDxrbOlvU2Xbf8VUmJupcBpATQl3jkRw109Yf9UzcrWiB9YgX+bZK73hvepd62Np
5SjShbnj0ZlsKz+rybLu0Xjm87vb4bvLCCpdz/TeA2Jb7Vq/MCWKga+vWN0Eg7d9Gw19iCw35glK
XNAnIgN8bZ/Ddgn7k6gKM5w8M6z6UNQL8tBIzX79FNNTWn2JPh7jR4ABvd6PI8NlpnRwii3SPObF
/e3ttfsKrWNPzNyT8U9lbrvVecLY0F/JLveHUo0cDFXV8zPwWFOeETVWj43Z1/IJ8CEqk2oPtv/I
9+d4KnGrayshpq9ajl7lhD04XVft6ZSH3NBdhzssVV7lhSejAZrOfuuH6iCN8E7tTFn6sSzo0/hy
iY4sCcmqRzjnGu0Y+BZQQLaYCJc3CgdWxMxsfdlcpFqG/zi6i7ddzNZ6cGQNVaXEhE+mpp35x2IK
v0U2b7bbPmTrTb1qI+RtcXZx2FzlN9nQRnV03ImAxE2hQexlw+dKYwo3sO+bdoXmbR2Mrk7uiAtO
9eoTDUnUYLKM4AoZgPLhzTJW941nA/pHAYwSDGAWJTCKjPg8q77vb2UxOKQ0zRQanrYJr/YHad3b
DBUGhg1331cBQ7zvMShLgzyo9WhPQXA3/y1AzzUre9egL8e0DDzuWogT8RggyR0clx9l1FF1pJhA
+Siv17gAK7PxaTGOLr8gFuVvwSXg8ICxUCNCroujPxCLe1UIhG/QEOWDxpRTJp0cvP4U+Qrx7Rrs
Auo7Ut6dw2T+43ahcY57BL+QDATF/J1Y78sL5Fzzn1v5qBKLdV2/OUSURmPPGHrEJtf/qZwqjPC5
cOgkeNzcMTE7hthMshfi5PG7HGLZi8Pf2GRbckGqNnJgktr+OwzxTI/grWFaM/Dd5sUcUYk2euNf
RgE0ZP3m+TEpF13fXQRKiZeOknpeSqm1D07Z9D/rYkdf3oLlgWAkSF230Lz3seVxM6ppUtFpNDaS
1iLo9De0dj2cEc8FD/jPK/O4z0hPzizzEIyEzu8LLsrZ/ofvDHAMn0Jx09p4SRBCOlKmuhTaOWBg
xZQZzkF064C+yaPcY6yGJBCg8fOcyP1P7U74uYxqeYCnBSLvom59n3mPW97yoL3FDIPYrVtwSdWt
gLOwTVM9bpPw7KOZCo+jpBhR2peIu28snxsnoy1sfCQhXH1HleP9GDU0t7vBDwBd5vUwepgefyh2
E2+CvRS2lNoj61iFM+VbzQrK6Ipub7N1If8bvWKB+IYfkN0WycT+xFs9/kXxSPz/1MFEnRtHBWcG
AIIUut7CjWRNHTpE0iLrrByE63/FrFFLVhd+56ZeF5fmLObdXS+bbLqbzrerMi2sLvTOcN99mxZE
DRIf0f+PszPZsVvJsuyvBHL8iDL2xkRWDW7feS9XNyEkuZw9jTT2/PpcjJo83edwQQHEKCPSKfKS
ZsfO2XttMTefXdIwzCNycubu0A0KxEsI5hqkILz4q8EvxwunvCQ4mRyRmpseCfKDGp3Cg0RQJOzn
ktp2KwVIvlWa9tONPSwtGDMdAn8zNI7DHzH8MvuazPhY9jTGec1lZhr6ESaRo9ZOmAbn2DCWhlvo
pXcueYo/BSISwf974p9FLKOvnASCeeUPYe4dQbWV+bnK6WY/mkltJMdy1sm8CVH0I3AtS5MWETYX
P02r7F5nQ2quaNOor0UQMHZyypIp4mCSQLhtI7OPNxlu81tMoNgVOVY6mLW9YbzgsWT27lN4WKvK
KjokqZ0PmLLJCmfcWOaYuWyahJWuq6brL1bYJC+WbB31xY9H89vIXKhMN6Kow3KL9yi+lbS38v2g
pgBVHwEIwbplob5DjGFbP/ieivBcxMq6ZZ2MWZyVO7QXxYKAoTHn/sxLTmvNPmWAqNKjy0zwbojb
/puPGulFcJZ8bGErOttxTpvPskmifhs7bTk8lgi+NzG2W1z7NamLpez84ERYZnQQqhiYekY63iYW
rOCNj6I62tmhI4sjPdeyJnU7YPXl369Hyq0he+6CRrR3eZakZ593Z2JuVdNrCHtiL/YdTWCAUXmW
r00U9XjyAMJ/NIdF+IgSPXguJT7elTf49deoj51lBp0SOqY8YvDWAVPkZOW4WfRNlYxkUE/Q+yRP
g3HFhk1lfFKpx/eVpNgxVwbrmj6Gadh/dqlX7yMzV1QPjjW8uKYePowp4RsUmZ29C7BofU110hQb
xGPGQZRN9k3qlgN5ZpftimmWBUMd6bK9iRli97vQSWK1IbxZfEbxpL4ZbtqceSNqdsQ49R+LKhHh
2SL44AzWZLSPkYTGvUM5iyUSTFD3CA25mjcY9zCkVPBEwjOnJyQ3fsHAfzUxeGhW2vI6m3OQcr8w
lAvig8lrzxaY+cVH2khNf4mQ5+U7j6DRHtyjKF8p3F2boILAEuxSFtR53A7SOWhOQNjomlphCbHG
yFqn6aJWU0lqFhfoc/2wy4LWZoJb5uqhYApJa8hMJbL+MXTnmzKlhKae6Tz7WNZWoKharCzcTS6N
iu3gm9YOZpfkXMwMAnFcWNTrDLsvqZ1ZO+HynCzjOAwUKNuhZTy1EvRHUBQQWAFooh8Upy1ISfrc
9osg3LLYbSBJNz5yqhAbGPrM9I5QWWZZdjpqUDRDT1JaQULnDi73zF6bw31ZgZzTX4ehyT+ETTkV
p3wqp7smC7tb6mCGlbZjTcgmG6e+hOhGsVgbYUMRbhvdnYXT38JX5fbnplTB/BH3/3zri7aKOfpb
KKcpZjUNt1liJOeTeBx9QEg7w5thAfNUpA/ihVXolEp2+73bFvmwMxg1stkipEu3cAyKOzJ/+WjZ
+pxHzspOeQgrqCYwuOrys85D/zybLPcrCtviY22nxU0Pdlltojxsd5zCJEY2mjxHCl0UTJlSkPRJ
L5M7lzLc44CrPMbWvl/PL5VyUE1Us1tv2iQMbwGatNGFVqEbp2tdiIDbqvuPRha5pwqTN0+VEdp+
zCen3zaICLuVol1KYz7xreLFGggYOHcphrd+ZSTOqD7lIFZ+FLWNesxozdHC0w7yfugdd1yVylb+
jpKO4icFIpCtYBPWjMuyCV0iA3oz2hZ9KM7K9BarEEa/FEG9YSNDWFSP62xEdo4HznLo0raQBle6
Gid34y9tGBozToh/Dp/6vKpRIrW3xoRW5K7KfO971VY2Gn0KBL2dnTEQn9jhKnkaCd6bGZ2z+K7i
UWnsYaNnoIdw0/nkZcxjypUx9K2xq2oqwk0ralbwEk3nWuDtj9YB8kXsw+yN6zGR/S398oAPq6au
2+kMn+pCMB/tM3IqwsVpDtRIDpNUv4Re10bPKEfjZufyHoXrVtXQhSTTLcz9Wadx3mIgjO+70Koe
kRH1+GE5C8o1rI7ghzN0Mjv6Ku5finGKbzrZe0B9qsK9M2zXtb5lcJBQR8coVVYV041usxTtHAri
DOOh7idvgBgwLC6yKfIePEEUAJu6UdEItbqmeSgy3PNcrMQ2Jr0xabYyqZ3HcLHCUnELp9hyhnVw
JzdIM3AwxUo8IK5AGteLSN0uvqPjWCD1oLVS0OEodIy9qQ6SuuHoXfrJnrIJX4PtTU9eBR/16xTh
AOv7QBb3k3Li8hiHsS5/DgZd/xUWCob7ijl1c0Cf69+gZ2+ZjNUW3oaAthptoDDgyy+QDj4w/aew
0VYH98cDyPNJ+7hHVvbkTh/ohTsPutPj94Qp6BcvnCv71s7SGZgNJ2CaM1VZUAX4+asZRdNPwQwn
XLVz1zxl/IOWrgjT300W407kLJaIz43yQ8teEdEi+TRT7rZnZFYVAYPSVrmI9qmTGN+CO16nIDOY
SNDJ2JoR4UExot12h3NInKLZMxO1Z83Q8YmlZEmEQ8TsbS10hOyawp6/oynq5w0BzFKesowW5Npx
9HiuC/avbWZlUQ2cylL2k5fXsT7JMuy+KSYfeKEAqnxcHK0JKIVkvGVFpN7yEzbnnY4L2s664bQO
bQOdxRa1VVx8jY2KNbcTqQ6OaTOYD/EEdvFg8t1Eq2jK+lujC6ZuHYBe4JDhNlT+Ta27fs25Huso
M4EB66YJfBitvyp/mjHIwVURZG67tUuyqkB5R/jCuJOQ9pflRZcW0dcXn4EGQ4EkhjzutH4cbCJY
Kck6zdLxXpEY8Mkoprn50Nq8IbylfPGoQquie+YAn3affA9pOhbYuX02wPR8otWzePfrWN2HUcbd
MCbtLpA5akJ0iCqrVkHZuk9wCWEQDEk6sytwuEcPifFAroNUyLvAbDUG8BG1b8/cIFHNxfFtiVLD
jNp7O/Q9vTNhVHwijNL7xuO23YMTzoIDe4NvdSd0NnoHJLbpySR9VK3txjVpmtEcAAzVovZdz8TM
MwDn2CtvgnzkONwryZ+dPG+S51pNw0VFUd2chiT0maBJMDFrmkiS1gidByyw/F9oETGjVzt8ALiE
erKnkjUWkA4XVybmYUMFC7ojniy+tqmPQmeTNTEC3U5HSABopVKyVmCT0QrASzO3I36gPWqL2tsa
WPkoCujyiQ0GS6tYzaWDmdxWlniomxAnNkuk2uJ9jY1116FRWCfNPFv4iGSqD8Pgsb6kuYrSHwVn
qxbmDpGzq34aqi/xNAfqgLbP8VairaMPiddHzz0meGaXbtC62ygp9TdaVTwvGWfNlyYXgukQphJ/
hY9IXxjLMxVo9QSIy7LHWO7xFtY/sg5MNTAPOYWrLinxfYQ4Raddp/rhYSZjNlyJEsUuzJMie4Iq
M5t78OwY0kKPn+GUh7015KxrYsEbQ5/L0SUZ7kniDq5OSe6DICip5ps9p/b0aWpY3tcRGraWP0Ar
eetj5R92eQl0ZSUTYHAbOw7Cp64QqXlnqsI7ogbokjWcnWgHgTnLD1MZt8kZ0R0bWoOSVZwCoLZq
xeSsxZ8RwA9ElOTtmUZqfTEBrJlrqXv1oRmc4IOJidrZaT6cxfSujH1XJXW05/VcVvnO0KzSXZXt
mOp2qIdGy//UeAUyw2Y0EDD1Dt9k0FnOfqg79Bp5YhVy36um8zYDltLdMq7F54L9dOlQOrRCMTiK
aje2g3w0tEL0kThlm28CtPpfJshd/iZHK/yIEp1pU4jjGCk60Y161VWWWwBEidEwj1rj6TGYlASI
TLFlUX4lHNRGFwUh9qIRLtsiJoxrs05XLTi2l5499XlUM6wBBEhWfTdwrVtzxj+xBZ5hRFw3bw4T
linjTIvW9tYjLvQBaW7mHkMMqt0mL2MapqwcQ7DCvfbvNbiWyX2RWjQ+a6ZTK5NZY3gepq4Uuy63
YCLAx7Gdn43vyFtZt3pgHA89B81c2lTmCveyL9ZJGHQP/Hh9zjCjVN8DcoA/Vwh6/JNvh6k4mIGY
Aspmyyov9tjNHl+ba33F3uV/ZIfPzG2H4pPTbmIG301tmE/AATj9Nmqgz1Gg7NUYF1+CupmtdQFO
pjvNYWRGe5rYwc/Kq6r4aNoiAnxOE95YD3ZXzduaAKLxAnTCTjYUVNTBher1p1mHTrzShlQYmI3Y
RMAiXWr2DA1GfzS9ouXzCfJi3NkKE8Gmiujubz0Xqge8PYJ3mf6Hhv8EqQHzhRehvt3NtBZp6rmj
czRpAVcMYhzAay4sxVNH4re7hjcG52Acm5FQP+FIlhAEiw9pPaYO8+iOPneMTPhsS4zt8GD5RDcp
EyPAfZYxfoOwEj7bnlEmB9xk1neGRYA5Kc8GMJydZW0nem/m2pNNo5hzuZiHsz6DNxfjk2EvFz2B
U26/MKgRDlPw+ei9yxUI4PLVwd6lTr5LbbZOC7b+LWlf/kLxi/Fp8l0FHPrhj3TPFFv8SorAxnnj
TL6ZfhG114yI1iqAKFE8F/d2QCTkfqQK5g2nL1A8wuhU9Cpnh15CxrLw2cjRnB+QxzbwJAufhiLp
IyU67NLyQrzGvuBHH0we9V2uGU0cKUxITuc0NWYnRDtiSYzuM9Cjbh5LfL0ScAKmbMZ/c1Gzk7NY
zPPZz7sSr0gx5/IW62xb3tKA9r74NSO5DwYUGLmd6NtxQQNZF2CLucIaZefpvPdwqNIr65Ko/h4g
ezwVmLemCzI3Me/tAd/wvpda93fMU8O7TnnZd1G2TfKICBzdIu/gRIsSpzGniNomxkR0vet/tWn5
pyccc0m6aYqIiiLjB1QYPC2kYHWjWuMUW6H4mE3Edx6ybkw/CNWCOOiVGrARZBE+ISmT/MyD6e+D
Rqlky/ajiu9pQ82zbYxkrvedm0w36MlBj0+m9j7HGfLCke+bzzbSTYwE1o/Gu3JRV9KBko8CPBV2
X8tOdzXd/oGRCwOExzLyEF/gI8i6SxbYo78TRlHuZ8EJCI+uqEFS8GucTbPq6zU8tMDb9qnTy10P
SxW9vgutH9tF2pXHwZb6C/TPihGFzfzqUI6QIbdDw8HmkAKF2E5p0Kq7wG3Lz24yZ58kyEDOQGY4
fZjmNFUXa0ROt6WskdY2stAvb6JxjsJNKydUmDFAJr6NCK0WnWWTSREHQeb7o7SQERaEVcfgg+bz
CECo26sgypw1zy/r8fZGIy+r0uVjbqSD8Yy8mPTdICWr7eKTiRluUR/HATMzwSHJHIYyP3CGy/RN
Y9TNvRjtqt/27dAnqBTS2N2a4C8/Zyizkp3fBG23Z7gSE24bcOAaKwuVB0OSgo1wNtJ+2wV1dbFt
VTlwZPw53zfhaPEVu6h4OXcYRfetDUbUV5ULAxALeiD3M3LGeMV5wuI8OZuFDfwxa9WnkT0JuYdp
tMUKg1DJ9Iye/IjLykkLsBd+V62QtNrjPfWgVa1hQtLIlZlyT1aKwPvYazUkx4rfgjYB0tfqghJ0
GLYzKqabTPaReze0WZDdDGMyMozOmnGPfDR5GQzDF4R2pfxopjVbR7pnwJ4sr1w+8MZwX8u4r8db
Zr++3jV50QSn0cAJyPBgwATOaK2Ntia4T0BYjSM+Gsrt6ITMXsv27080e+DmpNhGvUTiVnCLxaNm
EE0k21LAC5yZRtJ5syLzrqmCaIBT5vnutoLzzZLQUnXtzIqeEcQiwHyzbQwvqDXc10xp/NeySLEd
20pNN/je4heqkKpYbO/tJhhG9H/LWr7h6DMylY3H6FHplP4u4g06gkILO2XIVuqf8MqS7xyyGCCF
1Ht7nx5AfMEt1hC+jfqsI5WjzbunZFCc69rYDh+y2lQvQ4v/GJIDxsJtZjZEv8bFTFPDlCZMeJ9u
ZwDLwQKzJVk02IiwN3yMi1rJUxip7uNczvMTEA34C1TjPzFLKRYfn3xjIAxNcLAb1FvAeubpg8hq
dxEzTCgCPd6uh8aO0wORWtE9xyYGUF6Lcf6Uuw3npIU6ptbgwcAoONo00pVse9M/Vm2mX7p6wCJp
aWz18GhrvEuS7sN0ELgRqo9VDoR2twSEfXOzse1OJd/uHrdy2J7Htsxe6Sg2AnEZuWcuMo0W/Cge
lNegxy1FJw+lL99vROHdy8Kut0DpVLDSdljsgzSIiIkqaIScxjTNTYZ+s0Xf1sWpgGqmym5hlUX5
LZAalmLVZ1S5nk3Ld1PnHBmXQ2wfnqRgsLgV1uyrrdABzFq3xEe3csDJos/E3d7eKr60r44O2pfa
V+EF8I9A1Ty06EGaqjYXjjwnG2p7L5u3s4zNBzjQSJ90kFcPqCMYcTf8zIcGFBgDfM6IXwX692yD
jBewM+RY8OtzWJnZ1shs75UfS5vrEgZ3fHSS0aJbU4FBXIdunrlntrou2sMjcuI9Lkp+Av6X/UGm
Zc7O5Np+cwmRRDeM5aeQV7Ap5aeYGkUfIgHG2ixL46crwmw+zGWXWLsx7Wa1uGmKBxSv9GKdwWi/
CQhBNjKNdn4tCjB7N+BbtL2Le9H+AGQf/+Q8M94mSBsfnEFh+ytzs/qYSdN+ZtELbpOuaD8H+CS7
bWQEEot84eDWGqxPEYXkR3eeh2EVwUFoOabNKenmcLCPGaomFHGJcNjOxdQ2m4xzBq52KVH9t1UH
ljl0QvcuR2ZvsISm3Q/Oy0wv8yExvyVoNL/2ne1/EVVPXoSZAjvisB25T7nVIYxSZPiyTWXecIaP
5dnrnMaEEl8YiRXhUalIDtuCtpezTjEv6x1dLuNpDpP5qyW01hsCqt0vtMl5zQkl4qQEeFbfT3AM
QBgAbGH0jRzpzolohK8oYixKpdJMbo0aPeYqaCM1bAPDy+mcMQvaNDqRHQN1JhDIVa3hpzOl+T3h
viEqZ7YwSFWh0yCcC0lcXrv+MKYXWJziue2pC4w+DwmS7Udal0IyZxtcvzTWYWAH3q2cAxPqZuOK
Lx4+hwfUO3G8zpCjEkBakiIPCyvsDkxEsPGXtSE/kaTqmxuDGnBHMxMWUZf3wEYIeRrjXcmOh24A
Ld4ad5ROt3jC6GO6BSi2R+T2Aq8cNBHcZ1XH5HpcRhElQ16sFjn+omG2zHYfIytYiABNzpkrYQa8
alxmg5DDEI+dwBdae5sA1/qu8VOAD8hzDGufmyP5SiENSBt1eOUVHzsPdBaaZq79oL1mQecW/Ium
WrcvUQJAh8HdYFYnail1SYfWBLAxDtXPyTPExaJHQyufAfmNnVlVt5NTgLI644O1L7QJ53Tj2lXA
qmuzY9+aE5KJ7VwkRrGr8k5+4mxALJvQ4BZXDJbYS5NpBuFXp7oFFkMFOOwKOVN2h7ZUepktR8nG
HXA0bJzUWsa8hhs+T96Uv7YlVfqra1Lv7SCRmt25qAHcrID8wcjva6aIKyedlbctiY0cmDHQOlnF
ieM+D3GlmDdIi95+WidYyJkHVS+TNxcjdMasGTYJZtd+BY2sdsmht7yfBRq/s54a8boIi6KV2XMm
YPWh+7DqoAsuniMk+yBhp+DJLKI+ux8M2cXnpKk8jHyY+PkcNabXWqkUW5SO2n1B7CtAUSfIOX8a
8/w9oaUD/E5pc6cir3Vo6UgHfWALSPkmrOHorEhvb/LD4Lt0tPCjCb0KW8N9SsAFv7QeTGQQLsFw
lwU6jNau3bDChgnf786NkSrscu1O7mqyK3ULbZf5vQGfBX7sKD55jd18b8GQo6ixKEP30uvFz5Q0
o/yW3VbdYmYiursJhdltDR0KhNI5BkVuIErpf0LpPsmhTT+AP2EeBTJPP1dOTUAndqD+B4SuWq16
Ahp/akeJcAN2gkEGxDN53+ZeTHXAagvLrnbS14BPEPqv1adMnZzBuwwUwHiU4s7/UYCw7eFNwc5Z
5RwF/RUUJhaBMhfDgONe46cLGLue5ppyg6PXSGUAm8d78Rok3k2qdbi28pDdQ9nav0F9jsEFJVLw
CU15fLB0Ao1HFwNW5NQFyL3l90ASArC8RbAzSn8Zs8WoLUy7zso7UVTWD4UmoDoGACMLGOWNeCHZ
w7DXU1TaWEZLr033ArX6rSPHot0HVjj361wz29xOJOmIPaq76daTY4dtZYzMcVNkbvUtj6LkS4iQ
8dnxghHQ26j5mF5IMxTFHvZT16y8QkQCsU3XPSTkRYSHVGdZckTrQE2NyK49SkeZQKSQj38ay0R+
kqD1qV/6fkT2UvRQps25/5YUNtX63Dao93KHIyeCSPfDLB2fZiZYLmyILlErzGDaLL4zDNN9NoIc
L7CROfmS5kmPu4Ng4KGVKLSHnpiW01IGkO+sntx2ZlGsKpx2TDubvtl5fel+6aLKw15uzfYHb0ZQ
SGJCJLYpc2qUGrA1LGbPDqdTvqHYhTeK0WKDHNnHdFnhD1wJBqLJ1px82kxOD/J2FRUsrZuYHth2
gM/UsdowqV/3PqLvW3QgLbwyhkCQrQUmCCtZc62g3opuyPIPEaSREMz1yPAR7WTQb+Ht4jsIvWxk
HBfKqTiwISfRhnaIkx9sGzXdtrJ6+zvsX50cKhEjxo791r5As++zTYeCn9XdIQ+Cl82wP5s68j6E
nG3l1i7MOUeihL1tY/toOTaodihTcTCqy0hcyscCPcT3TmmjZPQnneeimXooGXivaU9ElfkZ9nz+
KHs9cfuovG4CUBSaHOVzlk+nWnhLiA5N+NeStXVC8aZiCUyxr+i5g8AmV8OX43PRd+Pnekbsbsg0
Q4LczP1ZJyM9ZtsRCSxc9N3POTo86zySQYAvjBprwQpgs9qTyaTvzd7iBRmQ1H2YKlsRV6h4SmiG
sC8DaRzQU8EWx4LhoeQ0dgiM4Eq1hCA+gZ+LrK+u19AzH4j+uo1ZxX84ZmRNOy8FTn1j4C6hVzwF
MmV5hfBOM7Cw5b2Tx9gPOgwc9Xa2YmyVaTzZ0yZCgnlkR+lygKQK5XRjOO5jV7gdO1nO5lThIe1W
iVUbGfWkp09enwTBJi1jnyIFQoy99ce2/zr7k/3RjKfS2jRMZcno6mvJax0RaLfhSU90j0tMNTay
o+I8ucIWNFmCsP0SD9i3L9Qr0wn/stXutE1PP2JJwGLP+B4eOHZedY/2kyMqo9v4uScrFMV3F9np
hnGQpDEf0vPYcKTKPhvwPuo1yMrJ31XMeD+XceONwGeM8fRXzcGE0xBTJj932WWEAtTR6xqI+V91
HAxDXeYk0Ui7EBdNjsh324xTusCFYHbSh3gTQHPX9o+oxXSKDQ35GpyCIXqsXCY6pLqktPvKAkYD
bRjRInTp4AJ+pTXeyftax2V3wyjbooZXOgo/mN0o5o2VzM4Rr1FS4LSp43L1VzDY9lRS223Q1qRn
5goB3HBe9Wz3l1nRsahoEG5iP/RemNW1z6WdJksBhQxL4Ez+9Nc8Y2YUvY3712uskLJWIFY0ULfS
C6kKb/cX5sk2EH6Yb5VnxfZasHmeREYIzyFFwzz9JhbqjTwja8lV46/4AlDFkjn0t2QsU0TAXeyq
XaNJmiBNuYhcduPQjvZh7KL8MqOx+zqF2XSUNA42//Wv//P//ufH+N/RT3X//yNB/1V2xb1K6Hz9
3/96K2LIYfZNMe84IjCvsg4HahqftY6jD+4OpEsgaWnnBef3r/JWbBKoPAdRIwqTQF5FAEbppIkM
4vRkWAxXoTC+Gl2rbzlnjKf3r7RkaP0SfMo6gercETZnH5cH+uvDHNI4UjC1iJTVRnIe5s7as5kO
a8cgF8It7G/aGwCcE7Bxbtzux/sXX27j6uLLb2j6DlGvHlPpXy9ex32U4cMnO6LU6bESCXmVoDp2
TdTiEHT6GAZPlm/fv+g/ni1TPyZ/XE4gqLOCq19wnqqhjV1Ub3PTVR+FDRi7rGrjDhx+8qeZitxY
4Dq2tOH7kF929TMyLBtb8g0wmFVVsyv9oNxgVW03Y0iq0p/elWPSUzFd34FM6ImrkC8ntPoKBj6w
Sd970kGa34x2/eoUfXH75xfiLOmQQm/yGMVVKFtuei7CJmgBcHKb1UhH4M5iVd0xA8ed+f61/hEA
x804khDIgJw9iVX31/cDhy2BK0XgrH1oo7CkJ2uV2YqBBSrhFYEY/Z9+3Mv1guXnYl2x8Mr9er20
aiNAZ1xPo8bfw3w0tk43Fw9/fFfkeloBQwpBa8O5+qmKOprZzSUFJ3Fk61ClwQ7DKGTcVgA/sQfv
N7mI/3zhQWv7eHsDy2cidP2JmwY+2EKgwctF16wt12OYW4MncgY5f/zjW8Ndabm87z7P0Ln6wfql
NVAkxE3MZe49p1XHwMGvnNcWQOEevWr8p+uk75B8jpaP9gAfmLXc+t+2AoM8ADZIVHQGMN7DHCkq
ciRUa3bv3+UxvvEUeS2IsAPR5OCOufrVYBy0i3EB4Awc0AOBLnwBdGfWeNe63wRMvn0pSLTLfwLe
/F/vygpxpuAhWr5lp14ZViKOIQJCbaTObxaoNz4wmzWDtRCpLav/1e9VWYgMx5hb0egYcOhywB6i
Md3H7gBxba7TP1+luF4gHM9zAx7l1dpL1seQ9wGvYkkK8n4c7GjjkBm2b5v09f038c1naAU2qBEp
fDbsX58hJn+yc3yM4ZlmLD93UbjVioD6dIz0f3JTNnZKwSP0XPvqUhElvWMmI6vUYMHJgxRwdENs
F4Af/N+kRv5ztybfGawnczUEimTa/npXSMkR3YQghWHhlIiZB6g5u4h6nIE8caGvg9bI9VrLYAoy
o0s+TYHNgfc/eLRSyMAxpbTldUC74vBe6hHOgxUaNRlIuM1pVuqDkEP6mwX533/r1woB/7IgxMIT
TH8t86o8EVHRKgZi9rqcy/izoZngrNqRaKMKldmdiPPsPtHaOTMcay6E4Yk7ttx5y6hdHpHi+D+n
rOp/IssuJed7tFlM97NDmpg0dw3sL7/ZsJYv871/7tXvYxjIVDNP2uuMeUVUxkxgw5HoA4IutuDa
xbqY2gTWMKCQ93+Tf9ed713Z+vXNgIyCxWXgyg3wRgQPkOUKeefROFvXptefg0USQJPgNdS2voik
iA91F/7mX/HWR8fiz+/lLQuXXP77vy3HmIec1Ebdg9MPtmSYwBhvkPsfgYTXv7nU8lH9434BKPCF
IwP2vKuPjpZL2mHdc9Zh+9VFo7lnKFMy1oUjWwERev/pvnUxewkWRemB/cG6qnmCKmudhX/L2LGM
zLUynepi+Kneu8OY04t3cJ395v7Mt56lpFNARWJ5vnWdZhzgsaaKIIMTgEsD25csAhTYYXX0KdeP
E2lfiFEsbwcucLiv2CmYcJEJsKU1kj4bVuCdJ1Tf9Qb/jNjVNMv37z+TZWu4+gEwFZvgUyS9PraQ
X3/rcnn8CoQWqjiMlbJGb+8wetu+f5U3ngLbUkBBywZlCXH1WofzyPQV7MG6mQRIXQdAiu9aK7z3
0+79K72xtLJ8m2zsFk/c9q7e3Xywe9R21H5Mh/RxjsvwWDHdWdNGWUYQXrnvGzOGBRkYF5JD9J8v
qhTUrHUePW9W1atXrBhxfiZD7K4DQxkPrSfwVoipUhcs1/nn92/1jdfZJeLY4aTAi2VeH6BRSOIB
rrkWQuElBcAmp5Y+HWrqucZYRvTZb57tG7+ix87IT0hAt8s079d3hRAdYJ4uLX1Ea82pHjLYf1Ur
L9qSwW8utfypq9eSSwWmRVnDyfk6wpmUnoZgoJDNOPcZAeVN0oEoTWIg4ISqbQdHWDckYxm/WSHe
vENpSc9Fc+O65vK1/G3lQ8SpU+hMENEwXezoc6IiqWCi4+pQhz/+9ZhMwCPnG5Y+uNFfL+UZsOSx
l1LkzqF4cuoqZW6A7viAqzIL0OH1tfWbxejNuws8TpXs+aYvr+7OtVuTNZAXRkRRW28NoGI3kE3c
dJNgLf/z4wpPkZ/Qk55lUwH/en8tBydocDxKyCoeSiPqHJ+87q2ukHe+/yjfui9WLhlYDnGwvn11
XxkYbYX+2F1jOHMJGII+bORk1HaID3/zgry1QS9fAIcHWjp4Pa9uC6++8LqO2yLkyY/WlVS9i0zA
VwfA+gYM4xjkcD4E5cA5bRp+al33R7J89GnuTIrzP79zj72M4TmLquteLTdNTiqUP8DJJHTXP3Q4
oHZj0Dx3A6bY/+BKQQAPC30Pu8WyGP3ty+D0RkAp/wKqRYtAAexhoI4sdK8k4v3mGb/17fvL+YxU
Nea+8mqzaEaNRKtBTlEh9z3CY2TKRnrVRjPDOQGONo5YE+V/8DlyvsB/y8pNj8L+9f4iH87jBDgb
RXEe4bRFhlHEnvllcopDNQfhb068b94j4yPfocSCZ3n1wyk8DtKa4DaFieoe/MRJ12TwzAeIGtkF
lyCRE7AK//yYyNptL9Iqk7LOu7rHGQQd+jrQ7TlaVXO7mEbRCba+dRtw7e9uEidf3n9r3rpN6Uve
Td5Qj9Xu16cKCc0JRzgea29ym+dxBjSuFXLWlETSj0Ms80s3GNPL+xd9azmgrwxRNOA457hXy4HQ
pV87A6QErDDjRk3GtPZyA4MA0+L9H1+Kvic9GbqCSxPo6omSsr04zZgdYP81NzHdygtt5WyX12H/
mx3xjbuiTY7NSficGalxfn2UHfYlTFkNpNhAiF2GspJZSO6Bv5av79/U8peu9l5sfryU1E90Y8TV
jzaKMGyyymzWNrKSW01o9YjXsySj8/3rLO/4P65jcwjGKie4paulVPp1maWgbdG76ODAt6L23th4
5I7bAKdmz3+2ezQLFdshIQh+9v39yy8r1vXlfeEhLGFQ5tEU+vWBSl12buTbfPHCHZ78UMyPqLpB
lsq+3NVTafym4/rGt+CTdUqHnB6XLa9X0A5toh9njBTlHOE8KpT/U4kmWieM9wGYLPGUSCAf//gm
WbPBv9i2LQQHiV9vEvQx0H602us+AE6noETceUynd/AgYZpwovzNb/rvp3b1VNkUeT+l7fIN+leL
d5APE2PSBrBal2Xf3bjwfyxL/HfhY+nEO6Xhs5vxGGNhmjF9oOaKPhR0IL3N+zf+z6ft+l5ARWFT
ZZEsfvW5YOYA35TQKBWeYT0Qmpi/MpIgARUDwhlUguuvJgw2zur9y/7zpXJ9PlPuH1vI/3J2Xk1y
49ie/yo35p136U3Ezn3IZJpy6pJrmReGpK6m96D99PtDzeyGkslIbs08TXe1hAIBHByc8zeINshT
/Ns1aaMvHLuYKuFfiONYWkgpE2wm7+CzvLAJ441Zrg6nubLH5Gkel+blcEgWalCXADlJDcBP4HjM
uyaDFz8qI6TsqERm7s3zk18Uny9I8BpzvBzQtaUqcTm00H8U2pKJkYuPc2fad4kVDBholmJjhivr
iKEbYzrcI6Sti4vSqPs4x2UJ6qeXt+fYqFCvx9rBV4IgPUeREtzNiqL/cXuWMvJcbmJq+sRznji8
4nheXc6SAm1JG4mjiqcH6KZmxGQwJeNxtKr6y47q+q9EtPgHQDLaOD/XUV6ObJMZ8B63gV9djmyi
LDQ1tcWFiX7pgdazc9cYrv6Izk+50TJc2TtUcDWDqhylXILg5VBKoCdVZJpAHCo0G5txmg9wqwE7
z9XHMsDJ+/Y3XZ0ZK0hdCXSdaS1ulTR3ImWOgZ5AcS6OJRkkMP9AOSKdk218xLXl0yjweLZH20l1
Fps00Uc4HrnUj5khAPaNEh5MdHdQ+Db+pPGrnxA0kjYJo7KR1cmgcrlvyK8Y0vVII/mii82aDhPO
RHkjoIBQX1JwKTrGFD42jsT1wvH+oHzMviTUXJ3BXkOTBOK32LdtgqQOpAAfEZrqiFInikM4w2x8
Tk3uhOW0HPk4o/Okkx0vjkOjVogkC0PQdKrNd0nGCzJKCkzNTKOOcW0JmpNatZAFbDU/13WOVGns
iYPoQwNZj6F+UhFV+3x7O12vsY1+n04pj84zN8hiO4G8DqHgscZtnqEO0RNkv4apGE/oBNlfhICJ
eU5G2IU+OG5AlrdHX1kCj3cmWR//g7exCPOeY4/wcmsa++38PUT+mMYLJtMTlCZC4PH2YNd5ElFI
o03LubEMfdl+lqa4CCLiTqEC7T5jyIXIjjMP5yDHMpfCmnNXhjlikp0QycECivD2erDDIWJ8fgsb
QfbFecookaoIPHV7N03+4kHUPuHQHiAkm5rvb0/1+gAxEgkZFFLubuZ7GZO6Gmu+1AJvo48FjOM6
EqeYdufGhl4ZhQyMB6ZMDehJLFavVjxktNWADzp70H4x/7lXdKRSb8/lOuA5sgQpZwO9he1yOZcS
zVqUpEfkWaWc1xQZ/Z2tJV+NYZ5P/8FINhmewcuOqtkik+0RLYO9MmDsChgZP9PQuc8RH0bvw8ju
bg+1shepnfMI0VCpprO+XKDIxZbGltox+D62sCQ662iO+vCk6dTrd7nRpp/yCd5e6/T1l3aw315J
Rn0OyJAOQMGm07k49wj0Ut/JgVFhXlg80g6fD+WALmWqjubh9lzXFvAVtOC9Lt+yIYgGTN85nT4g
x1NDk0ohk8F9T55RO9zqTMjPdhlhccdlRhLIoiIovdiRboBJlTbBtqyN2fiI3l31pVJs/YuugO/d
9cL1/LwsyjdfV4wKco0HpUbtbLmYyPWMYxaa/X4ESvmAsVLla4Nn/QfnAIM76oAST0Aj9/IcDBPG
0KqJRDuMQ3RBZwOtVmNu9nj5vb1IxVR4TxI/aKxSEbwcStNhLAOyBvbkYFniINJ6wAnP2oUGcixv
3xyyliJBBHTArcWZ05sWU6De6Pd10E6n2UMZO6JRfMz68eftkdaiFY04rhkJr6I5fTkpWxi5N2e4
bdRN1d2Jhhdy4YL0vz3K2mbnQjUsuLWoYlqLaFUZAaW/BO5l7WIbgio/UtCNVZ9nUfYbl+fVUEyC
rJqXMCZfIEwWWdKMzlJrd3i7qlbvnLBHmc710FFjgIV0uD2rq3Mlh+LL2RRJyXTNxc2lYOQNrwi5
o7TIwzPw5xAJIhE948nWfvN6E0pqgmNHuTHDlWFtslzshegicM0soyStbPZBhRcmVwBZtfiKbaJ2
yvJUf0Fy1S0RgbLqt54zHgy/D7rY/BZSOHkYjTNadiXkNB2DHVQ5xHGKh/58+7OurCCdPI8ZGkBo
1CsoUswTSEczYV8hvHkPYhllTgc/NwDg5sY5u8rz5KyATtKu5VsCmLjc/QHgktgYU2nMmY1YsyHt
ahoI8ABfUE5Vr9vfycPSj6PTbhy7q5tuMfBi66DpAqzejOa9ENpw5B2IelFsQdXU5qS6R2098lHy
goGP+fAjjeV840Cu7iEuAw4+HRQq05cTR2RvFo2H1YkaYUK1i1VkLf0wyorHAImABIpGjTLIhMTF
xhW/PrBhoTtFF42M83LgxtGQYMVpiy5f2v+J6kf9Q8eG6AQVxvFr1ZlPKSaQbz+oskdONZDrDyDY
4msPleJpRVDK2QLi31OyavPHThTF8GvuC+W5j9pEoYJbNr9ub+Wr6AqsiFcw1VsKKAbwusvZ2uVs
1hMKOHvkF5QZNkkHKh7HYufT28ch6TRINz3ApMveG9eFXrsN/GmbMpR01Jma4CGK4K1sLN/ahAit
VC44chgwLiYUi9kxsyBVpSYy5q0l/gtz22/1Z1cigPP7KItjGaVotCP8oe6RAxEnxw5QcY88qULk
vLkkwgqRrNMjgZxJg2ZxXaAjVed9pAO6sUv9W6RM2nu9c+h2gSfyby/SytZ3SGpxrbdl73mJo8Mo
x/WKLFD3KL6htodmJargw3TX9Kp7DnHW3fWIs28s2EqEI1+xbdoHGuKb9iKTUJ3IUTDZ0pCYy5tf
VF5+oIg4vxuICQ9Q8AvfmqW3nOcgKn97umuLaMsKF9UE6v3LrYLZXSjylF3S5fZ0gpaOEWMCy09H
a2fjclrblWTtwN6ojNhXYFmPXk8TWkiEUAAvT6Va1r5DUWEjZsoocZFGs1UoFgLhc2AvusvOoWMi
+VnPuLgBr55Qj3TqO+l3e6yl3eVQT/pGQ23tA8qKiAR3OryOFzHaG7GMw+ZL3zdWkR/KqJuOOH9N
J3iNW3XQ1aEcAohKum7xnLyMU2oNE4pmk76vISUeiJYIE2JQhu6kswWRXf2K3H7UFSkN0qq4HCqN
QevnTqbvWzwx7yAxmHcV7in3I8zFPwbLCE+3t+HaqWPJiIw6mRrtrcvxcE5IhLCZmmE0Lyl0xXMs
YM2lOOT6AsMIzKvncmPMtTny5Hktm1NTWUIGKgDvYTES9idPqPtZq9PEn+ohL+DQ48OICHXxeHuW
150RNqfH1QZ6huACX/ZymlZpYwgweQTmxOviXRa/Sl6PnnZMkU9GuA7VMOKce4wjCzU6+IbaMShV
aGa3f5G1eMO8ecID+6JJs4inqaPhExXF4N8SV39WMGRRwWjYw4ly2vCrKIUFdQlZ+r5tjC043PXY
nH8CLEZ+lPOpJV1+g0oJ7bGfAuy6yqT2O9McU3Tydrp3hJvU+rUZDQeRt8rh9pSvow/DWhp72ZSY
rOVDF8I+dS15seOtbh6cKQmeUrTvzrdHuT6icgDQ3rykuSnU5eRSd54wkhvB0gYWgSfETAu5l+NY
1V/ePJJjEgXkm5ocbZlM4ItOkW50dNiJhn7w0jk6Da5Xn7R5sDcmdX04aaRL4K5rA8a4ApmFdmwp
RRsDzfeQVTeKEvVwVUGWqnCDI4BYBamBdguodH066TsDCuW9y2OUNsjlNukcyNydBYgP7mZ8Nmu8
bRts5s6jgHnbxuCI3/o9ZTmJ5zzvRHpNy+9Z9Gna4j+FTFY0d3B9x4bIUPLweMzB12xsxuszcDmY
3Ea/tQirLoiGQSKInEYgRO22aEWEneGrszVg1Qtv3ykJ8Tmu3hv1npUQpAP7QkwB7LlMdBaRtlQt
YYX0Pum4J84TNob9XonMr4Vi4VZUIXuKMCn2sSMSpnWD47GV6/1GGLxeWpsLE0KVZJcQAOR++232
Zey5kVC1yZ8axbtXhik8TZkTnNO8nlEYmrZSuutDyXj0oaGxMCAVmMvxMiQckQDyJpx0dO+JivOI
GVpk+KHZbRUbrhfWUQkyuqbbPIshYlwOhZrMOKOVMfhW1fSoGvat+Bx7aLZrnUg7KMOj9R3jleYh
xI19Y1Ndf1bGZlFBNptUVpYUq2zS0FMdy8F3sQp/GmDQnAsKsuhe6e0pUrVuI1O+/qwyb6QRTPrj
gmE0LueKY86o2LEzYIhYE7y9ZNwhp4HRqdp8vX02X1uel0mdIwGuXJ201mTP63KoLGo8Kvbh5GMd
i0zjkIMn2jUmVqlA/Yzuzx7NrGcbpZ0/QOVOaP0nNEd2UiAajwIMdndDltsbvdPrC8XRCcAqSbO8
ypYoQMSjOhUYMSoqgYrpIHI+0d4Yiunv23OXV/Fi6vC4LJmoUAK4ioPwxHHd0kzUFcIWBSGo7uoe
0E8dnzR8R8GmGQAcYEq5PnKdwtjlE7p5t3+FlYWm6CJHp1iHGITc9L+dV9ML0I5NXTa1paaPpAji
rDaWeg9g3th4CK0ORT8NCg4xH+Tv5VBtYpCFtNrg67Mi8EIrIs3cR22L4rNjDN3G42clGFIs5sFl
gIST773FzKKelVCRLEEJaVCKfadr8KXR1Lk3oKzue6HBWzem+ARL2H3Xzk34HM7aFt9zbYWhsdIh
coFxwwhazhkNQV0rR/yFNO1x0g18YmIqd0U+o1eIGyxKl7riZxn8frKY7tPt1V0dnnNF8LDYz8sH
r5m1QZQSOHxNSy00KDUaymkPLdpNrBG9RPDxgKw7VB4qbGIV5814a5c1oLEsSUHydbhYA2ED7ejG
ZvTDPq9+VjgWnoygs3ZDV3cbR3YlQnLxsJfhhFIVWZJaQq1zhT4PIzIpKVIaOCifhxGQN1I3Mao3
ujjd/rRruxngEZ1bOpkaydPlyiaYYqamw/aqe2/8ZDOAD8NRPCRVvIXkWItGsjgi0yWwXsudLDoV
48gYrGNqVHp5FxUucksYoWE8cHtOMtQu4hE1Cu5tOK8wbJeUVyeb+iosueHK2nAfMEe1DkGJDFHZ
ifmjsBC9Rm7LO9wedOVDcnHLeoxEVuiv6ITfIhA6p84Qpgjq2WE1YCKGV5BfGdIkqGkR/9oIC6+I
uOUc6bEDN4JFIvkHl+s2ATzOC3XCshn08aChd154GP7Nheoc57rX5sMQxKJEdzmffiLKYKEtj9wq
gr+1lKMZqJAOO6EmyIGmuFq8A58tphM9US08Dh1S8jNaG9871cFgFuk21gjbGHt+r2ihEuysJuzd
A0rto7hP9Lh8YuJhhjKz/mbOKHvFIN8hPfJgOuiLslMRlU3mWB2ifKhiflTL4T4ckFvEQ8u5z0ys
FN68itDheG0CkrUomMhV/m0VEfbr2yzLTJ64nffVFU74WCJQ8M3Q+3kjzV3ZMDDoXRijgAmgjyyG
aocanaWoM/3ayN2PyMTkD0K1irM9InR4e1YrB0I2sqjK2CQnV9ls10bwyTqGohE+PpBcu74m5ug+
yWjQwbvUH3XMjzbmtxLJSC7pc/IlaaGZi5UzZr1xAiTJ/Lywi/exE99hY0ES1gwg44XYwhiuzfH3
4RYHosjkk5q6hj/jd+WdhRsiuKbOmCXuvJarqqdDihONWamH2x93bR2RyEQzgNcnJdJFjhkjnYrc
IEXeYRrVbynVmq+1GtafszSfn28PJe+ZxaGnw8ILwQRWBapnMcdWQ/UkpEXn19OsHigiYubdGX9j
soOJ16jo+xIDmL/rlgbF7YFXPi4DO0A3WUwNUs7lsbASdLT6oNX8VDjo8Ay68gnU1N9lp/bvRgGu
0p60YuO7ruwfj8IPFV/67sS4xWQHt0I62WHMPmhcLgoESp5yQIDJrtVxaSom1znenuXKSkITVyVg
hG4LBdrLWbbIgnndjIDpgBbSN00V7bvJTLDwpZW38b5c+6CSxM1qEsQpc10OpWTQw3IkH5AdFSrq
oKIZXPHeEYVDH0To+l5vXPd5qGALvX2OUBsNAw0mMilLfvXfAlxcU/oxSCL9JgiwEBKopH6qM6VB
Xs3Lm41kZu2DslkpKMpsmUhwOVjj6CKNaa77RRG4X4xyKjGWiDGNsN142sgR186GJa9DEPqARZaI
mxT7PoEFjOY7XtC0+MBp/UOfuRZqXTxEKcfISEDTSz+gCtBtgOZXElQPwA+5BtVhRl8kiMTWOakb
E2sDq1L6u8nJwrMToDW/r6cQnJjIdPNDHhj2p7y3ur+LlvrU7XVdmz6VSomipzPJL3L5qfEFdayh
rQ3fTnNk2rPWSsaTWWbWjyxt1DsL0/FDBPLPbyceaRuDr02feg1oJ8kovcIvGPrYjaU9GIiFRUV2
mBwjrBG71OuPqQeU1iyD9AHDANvnudofoMJv4b3WNhrPWxQYpKoQl+nl7FO67o2C6hCITqNACFeo
u7jyzLOCPMd/ECRgCEv0PPnBVYIeaWkSOeiV+/kQoecYud0px+P1Lq9wOrm9pmsRkCEAPfGAJ7Nc
HB89LDRkzhLDx6/eCPcD5ZOXYgCSvMPbZXjosWt++5BILXB+qDGCS0ab5vJDhlZZoRXWzMSloX/u
4Ewe8O3EvIZ/O/6oAnTLbs/xOhC66FqhLiF1kqTEz+WACIw3NkKBs59pevIVvAYqV4Gi7VIVO6cc
v8QdMszjRvR9vTsuL1LIxgZdHCn2QGlkcVpGXcUDOu0nFEBDtfTHftQeBtMKfgywyj9mwRQ9irBF
EXuqCvss8mR4SnE8Pk29p/51+wNcb12yQNIGevrQ3a76qj0qp4hEKFT+MAP4pEIj/lmAF3yqirr4
cnuo62NKFijBTFypvIqW6YNu0BtOmmT2O9S2D2Oue4cIv9pDlbfWJy/o8oM6xM2O29U5t/kYHG4P
f72dZRJKhKDDSq60hJ2HMKVtymGoYiCiWKDakCKRl4BqIDnTm/qx771mY6FXdpdmSOQEZTBQ6O7i
tnNhSfcYFk6+JmkZfWY3B6NTvAM2LfNPPJDqU6o7729P8zoSo+BMld7lliXTXJaOMSnTxq5GorBp
4/hzluvPbeCWH4iEylkbIjRHefz7LsnwRrhY20kEP7DCoLB5gy4mG+aYdnpRqmK9iv6RGPXwQcnA
9qciDTcu9musveuSuQCtwO+HnbQsrLaia7LBwuDCABQKoHZIUJhPMRJ0m6B8x+YZdhkWs36iD+Od
o4XTh5i86xNyq3ihiix90msnPN/+8GuLTdOSaj0wLDKAxaHGXSzBzIBQEs+QDTAFdQGjY9wU7gPs
LTBXQmj4rvAsdN9uD7y24qRSVGvgy4Gg1i9jWFJi5pWMw+y3VTU8Yhik/4lba3bntkb+1zQ26rFE
8OCopeawsb/XjhThC4S4zvuYEvflyFqJPlZQo5tMvV+8G1utZK6a8gVdLHHfRGGwEUHWthiHmDNl
gcWl83U5Xg5Qd3Bi7Cmhj3bHEVXqPakfRhGjW25cDHK1FiGaWMXXpONOvFpWdMscI17pkIlE7ije
06AwEZwXw+c3Lx31Gvmmoi5FPrw4MzUigJPbJhPunflY7/ErdO7qAsEcTUmrI5KbVJHaWOAuCstD
2dg3KxuWTA32LzkyT6slDphybt23VKv8OZwr3LPq+s6qBv1dhzXZA+XybjdqY/n2KEw6wd0uwUrs
ncUSWrT8rTgupIJqi6eraWK5gS/0Ue2tz24a66fbH/gVL7BcR9C65C/IHljcupdbxkDNVk8xd/Rp
lKZ7xJ/TA1aV03EeLPt9ZXTldw3lZ3/CM+UwqrgiHppGtU94aKaf4q5Ctx5FSXPv1TyKNn61ld1M
u51oSxUfN/ZlQZJUjj5mKybfLh39OfWU+c7pu/oj0LfiZ4gr3EGdkFNNhyb6WvFq/JVg+aMiGmmW
Rxwv48OMf8CjIBad1TQZNnbHSuWf4gl9K/kKNqn+L+IZhPBqdox+9AerbJHWqYYh82Nkdr61qqE4
R0fBJ/XeRiXj1wD2P9yXYaE+os2MEsHGl1qJM5xATaVxR1MWENHlIuYJxeGopP5v9bhU4q6XhscO
hecH2WmfD6i5GPcTdmtnG49kBM+94lc3TVV8KNEq82tHKZ7AxZqn2Knyx7QZMOHrUsXa2Nor+Q1R
kEQKTUrZLJA///1t29cOfC919JOgHCnRz2b8oE9l/sBd6X1H2h153RK1dz5lMVU7VUzBn7c/1MqJ
luQBmgWg7Q0i8uVvYCHWh2OkyuGKLaz9Quyy7/E16D/bmUvzphcIbx9w63Pffg/AuGJISVsEuLK4
BxJR6z0de7z6lK7CbrTBJvolagwFCrUO/AGjdyfX7948WfrjmgndChSbsXz0WoGGOVY8qD6OQ031
PVSm6JzQ9axPLl4B8S5scYu6x+lmenNlkWoiYZvKCUGM43b5lQEhmtgiFVSGmrSq8cHxcGox0jqD
xRwo8xnHeqPcChYyLi7iGCgzqeRKj560Z3HJQ//UoUyn6NeXNqp3WjCkWAx21YPXTz8NMEjHRO2e
Ry/tTyM6K3sawN3H2x/8Ol5RnoBgxz0P6gQ5vMt5m0YyDxGVWh+kmf6FYpEFm85CwKkt0PK+PdZK
9AHXopLGShQGzd3FkY883jvqzGGZ9aEtH3ICVOEbWeR8M7umbZ7yeZrco2c2k4kvPCTHfRugwY1n
TV5u0bmvcwHAIM4roYv8Fl3My4kPsYG0CWQMrNkJK7u21qLTjGXOxum9jnKXw8if/xY/xFDBLXGN
zgfe5oY4k7rdQ1vhbICnR/vDS3rzePsjrw3IgaVyBG6AhthiT4nE7qwxT3u86KBMuiWOQViZQqLC
AXEXALfZyJDXviOIebmcFBRQs7ucICabGoCEtveNvgmfyrktPunWuHXlX4dhShWoZRhIN5ElaovP
CGbOG4q867ESqNsjZMzU3nlY0DzTqWqeZ8sLnutUMZ7KKsx9u1fN59tfdeWYMDbZDQmqJfEml7Ok
tBGZQ8L4Ud4WPt5bOI2Ltn2a5qk+3B7qOvOn6mUA+SAQkTkt2Q+IWXf6DInGx9YpxSKlSpQvSa47
96GmYe1NOx4nkEIPXngZpFtVt2vRPllzozSE/hD9qqt2QK1gNRDqgonGmFvscQQJHpyhTR8KVdg1
wkco1r5aKn6N8EreB2bV/Snq7lceCeNTG8/ZIa2iEYHB3nmkRyQ+3P44a/sAMi6QWckvhW1+uQ5l
NJpYCuU9reyuoqKNyNAHxS6j06RUhoFvtOugd9cPSBglhvoRUXdrI/lc2+/kAaikEsR4Ji1+g8At
zKDx+A0GCwfWXRTkAHYTt92o/q4dYzieQP/hm8KnX4SnFGu9XsdlzlcUtf9cl2qK0yQmrNPJm+f6
2NM2vrv9aVcnRuHMfuVoXHft49bESaDgIHMxf1FHPXhn2DxSbo+ydpAQCEGDiaABw2cRLqBzF2UZ
EQ+LTKgHoQSOH+c95mCl8nb8DkULUPFUTNCa4/l+uVeCOCLaRg6CGb2bnMph8Hw7UqNDEHrVRq60
NiuEg6iRUIpi0MWm6EqtzGLD63wQpSi9dp046JGOsXkUbVVk1jaGQ1yXIos6BajlBxSicSuL+D5h
cPagqyLxMf4uMHtObOlyMbwZ6E9WANZL4lQA3y/vSRobRdXhR+QHkIjQ+s6bUzPWoa9h43a8vTdW
Ip+ukmSDseCBQhJ4uWAAoIyEelrvC8dFcjaYvX1YKAngkb4966HHI0ExgWsOabBxqFdelCgTEfLA
Isn601KwOtLBN9EG6nxTidrPRTo5sY8pp7PTYoB557rytG/ITOOAreKhNu2jgXIqr1CzkAbrmFKx
mzvcyrjBzmEFGdG//WlWNpjEr1LhpKordUsuP005uVVLM23wTZwOTnOdfauwB0Iv3N4IsCtR4GKg
RdxpA57wQwSacgY3MPqoiGBZYgir3aj2Xb9qeILCbSRtAAdFR+JyQh0G3EOnsI31eVZPXt83vHw1
5dCYKAm6aqG+U9AT3Bh07XaDS2nTGeA9BeVuscN02gKd0WJU2iV2VO5nZcII2EAzdO8Ohf5TqXIV
HQtVGH7CS3PA6sUw3xdGVX2o6glFaiJHl5JFBeFDwrPzxIkZv9xe6bUPA4pedt2IKOZSgCfFjtA2
K5RTEk2xP2WYsh6MuFMOYepRWklGx8dM296IymuDShwgXVXqN1eKnKjq47/qBL3vspnPSVR+z4A5
HQT2pHeYh+H3GkD/vD1RGRMvHz90JrgFLMKLRohe7LQgaWfYNgqZhhcW3+yy/5oikHmKK1E8KqIP
7mLNQSprasqHNEhfbg++0q0hO+Y4gn+UPihLcm3lDoHQbHm/Qilo/bxtynfx5ITebion6xSXItvn
gTocx1irhnOTARca2gKwK030LYbTSkyXbzD6NUBeJSbz8jDgc5mFfaax5nmb3RFix3dDqP8QTjPd
22Pdnm5Pfi3Oos2B9YvM8IBALYZLcU5Uarwn5tkSf+P0A39Z5JV1sIYaX3YcTOOHEIm4d7NVeRvX
ydpUXeo+tLRpGJGlXI49G2pSYqktfK2evJMXqThFW+ic7DyvyQ9NPWx0TuRclrsMLWAuE3m1wPy5
HC/Nq0jzOsYjNR0PWY7nsWI35TG1nG7jjbD2WSHTUvYFBs//WeQbSTFPaY6Zqh87+hAfWtfCh45i
KPZdbXvmoSJeUH3GwxSYtv7l9pKuHGDJY5SgXkCK1z4telimecjYXaHYx04R0oEM++Anl39b780i
EfejXbuH28OunGHAOzQ9CR6ygrBYzciqM452AwM2jO3inKrqgGWZQg0hDpTxw+gYQ33qdcX4OIFl
R1ehNbdeLCtfHTQIRWBbNuWQ8b5cYBszP3dWgtZXXJEevSn76FQ99taz3h3VyqvuEN+P/JbLe+MU
rewscBES4kqURyNoUfQOYqfxBpEJX0li9zvetOYpm/SKJlWxJWWor04SmiwpAIrC0J4uJ1mosxvM
Kr47w+hYPxsMjO/pTOmnps/6u1l0kR+FdrR3tLj4s8MS0YYMAUxjVk08kFI36MMd9IThrh9Hwy9C
4IgE1gJ1Z5Dn7de6MiI8kwr7jyGYYwPB9bn/nsPmHvie83DfZXG9J0xY7o6iFK57iV2foyne8tZY
nSW6ibL4B4t1ict03QhL23YQ+FEp5SdlHO4zVNkmKKZ6s6O3Pin4Vo7zEzXXeuPxsxKWQC/x9CE0
AV1ebmQdd8OocVrhC+yqvhE5P9ZGGbaAX0EnWJH++fa5WcmyqIBJboeM91eSI12duBF5pPDttuIV
DV+x03d5saWfsrZFARAxL3hsqKUttqhTt0FfRIrw1brDYKNI8xgDuaqd7isXd8/bc1qLBUBq5S2G
widd6ss9iutrYmX9zMtOMafPjWs2xftZBFDKu6E1ngbqUROWR6LH25LX9WFIsei7/SusEGbAXSCk
QOcSgXGKmpe/g4LXQt8bGvxKzapHhP1RjkUvomqDR3suwLs0odH8iUqImT850aRLS/A+RDFEaL/S
akpftDgfft3+pVZCMzku7SASd7COywAVtV5WZwYuxkAth8c8wb66F5Y45mExHeKm1aMdajpbwmUr
o8Inluglj9yKftTll4j01MN7Uqn9vmrtLx4cMzwH68D8qFa6Oe1omngPadSVb58sfWMgqxSwDO7c
xXXbuE0PbhVd7D5x1XafwhZ6TEsaOHsPJ5QD2tJANbipNo7v2mylHCCwZ8qDXEmXszXUWIvsYMav
vLC8L1atjzwkzCCBFtCE1VEVRXe0x3DcGPa17LjILkCdkEPJXis2jYtXjFpoTerqCqj8lLP1ZGgt
nvS94WU/J2roHxKvMdJdBs373E1mYe+0lI6CHwxJrYN0jzCadZHG9TVUv1FlhLaAhpnAmmw3l0r4
cnsfrgSD17ejbH6zNMtMSLPSaKi8AaGrptBxIDYzL56ebQNljhzbxq7ZCghrAxLGaTPysCa0Lm5m
EGwVRXWUtVSnAutPGp09NFkV3+cCQYT97dmt7AAOF3UKuQXY8osd0I1u60Zc934QJNaXtrE/l9Wc
P7k4Cvtj3VfHuA63MoCVSwOdOzK91+o3G/5y1000Ks20cmp/KhXsYZKsdfATVzP0Z+16+FJ7w39Q
BoeSDI1cPhRkKeByRNyRzVmIvKGQFQ0p/IlkFufIHWniprGHXtqsKdGTE5pDfj/Mtakku6LR9R+3
v/XKwsLyRiCbPrfMqRffOqb7EORNXftaDsB4chpjp4QOcSzC0O54e6y1b4wcD01w9E9I8RabyMso
CHCcaz9Kmv5DqGXT51Tt8x1Du6dirqKNSt7KPoI6iU8EikukAUsVWsek1AEGhRdhptXvkfvDKXRU
k2hE3lIkf9RVQIbn9v0W+WYlI5CKNRANSaTRIVvcnkamJZbe0hqLQd8cIjQhfM3lcXz7a66sHNKS
lK/pLRjImS7Cc6x6seOlVetnaVdCMTen+wTX933kpfXbPySdL5oI5FRyzMWE5nISeW90wvcKq653
YQqwKy1D9wNf4AVOkXOE4RAe3jw/D2tHaFr0F1E9W8wPwLRa6i5KzEHRzM/9hMstUqEKWEAt2Yj9
KxsTiRCplPWvq30xlJumyPnXFSlcJ6K/hzxvDlqiqo9QgJwPRalvkYHXxqPbwPNOZhFUzi+PfpcV
TYPktfDr0XTEgYs1mc98Y++BlEr/OLadtRXfrglhNB8gn0E8hi1Fi3QxR4iRcdZPPUU6PUPuYHAQ
eTgO1MHzZBf3Wpn4dasan7XYmdM7raeoewynWpzCXiXRNGs1MBDrKi39Z2ONTnMKVSt5cQOrmY45
GpbkA0OT5O9nzqMUjDCC57Atwr8iUQns4BSvBL85u1+y0s3zvRcUenhyMxqBG2nj1ZnnJHCDgyQC
Z071eRFVebqNnRU3TBPcy/uEK8ofjUbdZZU5nxOr/8V3+Hx7o14PCSGfsoRUd4OLslREiWYQkGlR
Wn6dtG7/ACiJ55uZ4V2/o0bQzEclJc2574DybGWGV5GG7im9F56u3CA00hbRu01wuZum0PLbBI2J
Qyid7uOADfDWsyjHIZDyHqDRjgfG5YZt3QAPhRobGpRNhmk3ISW+H5TMeJxGN/95+3NeHQ7GgvEC
IlGSeb2luAo6HYXToc/uJ0YQnFyjcr42jfHcKVFwKPOOa/DN48lMEwww70WVUu3l3HQnbzC15BtS
UMqVblfbgfd3FMU95tsZW/ijZxToHtwe9Op5LDG4tPbpPoOQvap0YFTdaJhDMagaoo2uJq0/V0nu
N03c+RNwnb2F19AfemhsOcTILXGR5jIyTBTJR2PDoRx8Od0Sh+GujRPbb6Na+dyHANXOCdIZez2s
Ns0oX1O15WisJXKmpFbsz8XHbfUuU/GDh3biocu6a0VkPtYYlA87so7kvepCctwFeqjzPK91ZK6t
KFH+0ErL/YCZTP63XudIHzBibvhwZGYJ8iy66C5NGtJeD+uwJzWNNGQqgmi87xJIUztdqMAlnUCU
yU5VEOLbs37Jd7tMp2+3V/G68kzDQ7WB+1A3k9CyxRvVjCwSNjzS/CqM1UeoAvqw80YrL/k1m6TZ
DaPbWQeedtVDZzVoZTqT1SQ7ZYwdgS+J4eTn27/RdXVJ/kaSCk81i6fqsqmutmbUUJ4skQ0z4+HA
oqbtMTbCWTmgwqjT8Jhn3iRFCzJhhz989mLy3kEeMsQ+bz8nqt3uG7zam50KBr7Y2Yhyl/48qqZ6
jKEhpPu4TZLnolYzNNMNe/pGvduqdgK1+vRQYnLyadIdVLCy1MQdA4NmcRfPgxdjM2BpkHsg6v+6
PefrHY1wBxLq8FeRZKESfbmjp6yGcTUVlQ/7z95PpZ6dm1yAd5iHrU7XdWyCgUQ7h6cQrfwrzmrd
wAsJUSTxdbfpvkW9aUPgsjWMedD226k8BjfixOoOo8vFG0GmCgiyXE4OT7owlyhYXxfJcOCGByOb
NemBxAhOZ180vlK76i5KZuswA+A4F1MQ7COnjP8F+PpfF17z7av3/K+ympoYvffFP/7PH9VL8VE0
Ly/i6Uf1v+Uf/X//6eUf/J+n+FdTtuXfYvlfXfwh/v5/j+//ED8u/uFQiFhM77uXZvrwguG0eB0g
fCnlf/n/+8P/enn9Wz5N1cs///Gr7Aoh/7YwLot//PtHd3/98x8YOf624eTf/+8fvvuR8+c+lPmP
Iv5x9SdefrSCP+z9t9SOYU+QFkN9lWJEw8vrT9T/BreFyABgT9nbl3yDomxE9M9/mC4/krhIBNRo
jr/iZVvUBeSPjP9G8BmSlbTUAiEFCef/zvz5X4H1X4vCl/j3P/9X0eXPJTT+9p//4MK8CPfsVn4H
+aRFk4NbTluWDd1SSZHSVPV9hSlQ/eDMMXupqmRv21ZQl3nuKXtM1s5p5zD/UHHrZe9A4ia6ji/T
EFDAnWEDaX9FVDtyNIcCLzlDndQ8mBNaji1zGCOaOYRJFMAroXB+KN3W8n6MUxZLw6pQq/9wZjgv
jwBvZ+UsknzMkl0XNmH0Kc2CTnniUje9cGfkWVk+WqkZYhcbO9r/Ye+8euPW0nT9VxpzTx/mcEtW
UClYoUq25RtClr2ZwyIX468/D+Xd3a6SRzUe4AAzwNlooLG3bC2SK33hDRd9Wkd26/fVgnvTh7h9
UEU1XVVuV94jg9bOu6TLzM98cqVejfS8os0UDcWtE7bCXXWRM4rJF6VWFd8sOWsI3EijHMLr0AFh
rGJzpY3qozoZefiRLTTVWzAmpb2eEsQTfMGFMgSu01rmykO79smMi9De6Hnfjxcl1nIesgdeHq4n
mwgXmyAkbjgmRTMT7C7Q/FKDzRS4iqtEm8IeImUTRQiir8q2HaKbXHreTWGMxb7OsF/ZNKIdrtV8
qPCUT9AWAMPoJl+lnOXDhAOQ7mOyNuLF0eNkOzWp7a6LQWnMjZliwQzs0tUw6IS/hSIf1aI+vzH1
avhSp3Zt+0bSOMk6j5pE861OMVo/guv/I5nk9CkDEYDP6ETkQT+HYSP7Ph+b6nq2C8f0G2lHYSAS
LfpeFmaWbpVQeShy1ZpWudm2z2Ee5oHHFREAEjKvY4xpP08cR47gqrOcqL40gWKLoO1FczWoCQzY
RJ/DR1mG6a6u3fyGmkx3D/Z43ID0O7jCVj/nuD19i4wZ6ctkzIO+MPIXAAwUuUVRFmOQZal366A0
M/ohEr60H7XOulLTMf2atw2rx0nHcAxqHGB4La7gvwxgLwJzodk5dPGEJniZWCNTXKp87sYZ9VVT
5dW+6KtYXTe4qW8hI3CWC2IwvhYr9wbXuV7zcV9VIz/uBYFIbamdshGRbuW+pWdDEkRtNK1nsXAS
VFPiRl1qmbxorM7oglwv5MMoKwJMYCjV504K5J2yJJsfzSFv+mBINFw0pdlniHUg9vWxShRd9VUi
iHnjxn1zKEWSfHfhYkh8KNP+8xAjYL2StTEdutZ2cj9uQlvzByGkcjEl0gJgGDbRd2pJ8WPDy8cr
PRz1ahuOcZeuxmGq0QKIcndVhMRiJRV36Ud1q9yL0kpxtxvN0PHd1sZUOJz6/Gno+6z1vbRiKiiU
aleFTNvYLyMl+R5WuoTrEGeD7nuJYd9raRY90mdEfLa303BLI9F9tvrc8yC+te6nRJYtXDfofQ+q
Gyn9WlVEeptHTtgQlzTltyJWosZXOn7mt9in8sWdfriOQGUdkjytHprO6aRvOq2+g9iGGqPVm+1n
BakAee2IbrroKxMLBwSZvZukyK0qAHuejiu16Bp1bYqs5y4tbPXWVerQ26Qyy3oMS4e6u9TFIuno
dEr7vR6U4Qcm43O+KyXmmHdWLYqM4pw6hWsPvwPxbSbjaoLW0suvEc8w+6XdGfO1MhdKGIyT0mhB
bBTZC1e5OW4a3JfsoEsU51GOfeEEuk7CQ0+somkuei171GxlCley6IrPo2f0SOrOqfvSlFN55w4U
l/zcElG0pkdukKN0cVii1SgUBg9N4mgvrw8OmksEJIOr5hsskuK/UIwrxZoWevXFxja1vZRuLwuM
GsbwuozgZ21qS5uRrIbcEq/bKVTdjbQzyBxtawgXJaVhCn3bHt1HQ0dE0Y+IydGM0friY2xkKDPH
Vq9fhGOqY06mjemdqB0D2H2Sh/dhruDdZhqluBNSRF9sXVZxsJTPogsG7cdgUs0w3LWxoU+BxbTJ
FZX3KVkL+jvxyhRh/lyog+EEzcC5txJsbhOHPTqjG2cYQhHYam2NK3jl7b09a2nk92FlN6sxplAQ
mDikAf+qc+WyNqt6XEwb5hcI+O5jpXfyx1y4801Op78IWhjHX1ug3CikV3YVwqrWeHa0tWb8gIoo
27dg7LpVo5t1s5o9sLFQC+ppP3SZlW4HC4s2SKsOgRnJSIrwVdMnFtKgZVhsDIof9DEg1X5i1vom
sKIq/O72qFQxpzPdqwYrIi1weMrHSpTNVZe4E1C5cZ7QgBjcNN7WbaY+RHPpjmu3MJoSHVaz202D
o1crG7vdh5m2a4PeD5gcEvU++gwiI7p1pmbIEbrXiVMbt23cQB2r+dZsBw+yKSKfXLraMH/Po2i4
TJxUqf1uarURn/pJdsE0F/KeeEGvURg3nS+iHI0nYnuskSyMECY/HpAF96l5mJ87eOgPioo0LfWP
hOXq9LVzMWjkbX6dWoZYqXoV2ZtYsXMRDJ6C1ZNaGuozlYdGQ4JlKDvfLQv7rpzQxvDnTpjtNToJ
teEbpTndKRmPEzRwtjrACnr7iS6Vfj/zH5QNt5qaoCefaI9cXVV2ifuJzr3X9PMaY1CDNKjJwtov
i7ZT/ZYbud5UUTPFUIC1jj+IqNKX2e0hO9e2qXz0cK0oUOtzWTWFqIdpRRvb/Qv6ZoVVhqhmxTfm
TiJ5pLTdC78jzNdkwvpThOjKXd2pibHOhxo9XFpE2iXO2rEI3Dp2wlXoWsnem2UcsuSZkbVJENEA
oivbqzCcbAOGjAfHPJ44NP1OU7NvszWmH8WoQ4w2K2FK7gtmcVVDWrrXSrOaLoEV91u6FwBFJkAi
AFbcyeZCpnda+W6qN2MA7TP7ohnhmKwUWqvXeTd1EPidWSZBIRUO8InM8rOF5jpaaklrPFaZp81b
Wiez5ZdSmbtNO4xNzundIkRrzgk1obFmpCCL00r6nTmV8wWuc04R2GyadkUwZR3sZK4MX8R8fxS6
Y+8u9YykXzt1l5jXo25H4xosgd6trUZxJ3+wiZnJV3v9GzYbpUaMEbrPbRZFX+XYaeIS3A9dmrrA
Jc3P3FZ5wEe4yVaxG9sQx+WUdHBqU9OlWdp397jsNdHlLArF2RVmZ/fXzewuW2nSaoSPqMFcaxNS
vn6X9AgUVm4z4f8z9doDJTbjgSZK9nVwCkf6etWmWwvlrHRTFy4iHkldsVpR2MgIOFDLKjcFGATC
XIRipHVDxOqaG8MeM/t6TvpyujXMbJjXCpwh5xuM/oTLhm6P2+1nj/gIm4SRMtx1FLV9/ImAOc23
oRqWw7UOhsG7NDGKrh6QUmyHTdKpg7YTAzTrTZxqWvhC9TOLN9bYue6BtNgT15YRTuaDMYWGHkhN
nc/5DB5XIckxFq1OJgYF6qUSecq3CpH2s+u0iVYFP74xmyxZefDJzqT5J4yj12EQnaY3S8JGafcU
OOM1ddkqUmSr2hyxKPOSfNxrjuTsJORMDWoNen1t055Mg8kgRAQkI1ahkzSH1/TvjzLh/zS/PcqJ
382X/wdmwiDa38uEPz2X3bPsfs2EX//Gz0yYmflANxMA8AIaQH6K3/UzE6aD8wEgHWJ0rA3UqZZG
3N+ZsKIZH2BuQY6HBUKbjjT5P/7xdypMePsB1gypFC0SKK7oCfxJLvzqsfnvWiT5B2Qj5LdoKpOT
U3g9qROlg+5k7Ndm31uj/dkNzSkQimpu4SWW6IHJGmcUw7hu20zfJU2XXjVlpj9z3OvBiHrQWlFa
cUNgPN9GJs1pgxTlVmXBblvXrNZzOstvv3zd32Tvx9Wmnw9MyVTD/4J/MJM7rv1Es5rUVpy1+3AK
EUAZZ5i0FYa3ld56Gy2Pz2mtvKoynH4hgMOAL/jq/B9z8SvBLW2tzp1ztd33iad+MoV3a0Pj88dC
GdZ05T9nuVldyjJPLzyHOnXWDaNfmj1epqD8fZSNbjJkUYI0H8IAell33aP4um4k17wKjd6vvNTZ
mJPpbFMQIDsj1qcz9c/juvryyTgcEJGEawV4E1TW8RuQ5eMLPOHmmlpQ5LyiG/wpjZLAM1p0h3Jn
r6ZNu+Oq3r8/VSd1uteBQaPT1saDgv7aqfKBMqZ9MZejXDxHu8uJjsKW2mtyVXSyu/QgttFxUzos
DhHsrCdFWRWz265cgqbgz5+E8an2cE4C3zptR3EKGnWYi25vlVZ7keaVce3Gc3+ddEJeTJbZ3nWu
0DayVZudY6Vyg5JoSDiBGMaZJ/nNZMByAEEALBkM0es3+4UvyTGdaWpZz/tsqgghwxwznqEbHvGD
TbfOlI+HZmwdLjvVDTQKuB/ZTdm6SCwT1WkR7lCPc++HbMg/cwXpN3nb9Z9cJc8/4vtubM887NvN
hqUBgEwKZouG3ekEGoWj5Sjs63tXDAmAMlG/oPkQBVaZtDdYec+BMTb2tguncp/WdnNp9yVLjO63
tkEjdSS4R0uFHyfbEpjgrZIo6pkPelzoXtYYLAv2JSciblW0xY8XN6mwMKMyNfZodBvbtIbqOuto
2qdedk66/gQN9XMs9hEnMmclbfiTjYQUNlDy0dT3vTA9eBRFgtAn5LwhITHNqe+nilIc+lJaCB5E
qvqgW+BZCUemNF97ddMIP9YSvV3THerGjRMJy75SEk/73BvC+P7+5C0n9/G5tTwhNXIkkpCsO4Vu
tbRWCKM1Y58XcwKQNpw3sUkVR5UTYNc+1a9EPk+7RHFLYpRQOzMvr22eo/FxILaguoOhgQPxhnHU
mXnd5Sja7g2tt57yyR7Dy56wV/er0oS5GEaT4bflmGU+105G6SnHYQm2MgwNP1Vb62vh5WivyVrz
dlpYU1EalTF8NMzceaH6mPvO2FpXWaGhlmZnEzlcbLtjiZNU7LwkDTxzv4sjN1q3hdvdMLyB1qs3
pO2uiWyyHa8TlfCHOaNyU4w9UjQSYuoctFVJN56qkHnoPUEbJ4osgYty3mXfqe963x09akOqPyS+
getm7cGxYrYCXNP5R0ZEW/nRYOuCkGxyYfSbMlO3UzoQwlp1nfcbT9aevpZDUQMkcDUUmfu5Lpdq
WEG3KTeccU21cm7o/jVJtpo6LW43EbTYK9VBx5WWSmPkfkEzJrtJqzRrgs5pjYwmN37a1FLrQ2o3
CbDQLspWptYYGuVRXQ+3vWwo9YhsTpUdPiDpblAlVAHMxuJbTH5dGQz6QJhftiT4q/eX40mkyuah
44k2LIvBez1UTrAWEAXaIU07Z28Xo7emcqD6RWcnm16pza9AKIo7teGd58qy9rpuxN/HODfPLMo3
5xkka1hwJo1JmAQAOI8PCw1mZhFX0tljH5lt9Zn8tVQcw++jsrpAqGc489JvDifGI+gD0e6he44g
9vF4Tp3Ok9Rjd68oyXCRx3m2sqrI2bjefA6M+JtXg9kH4wvjVh1p1ZOhOGNTxRpmb99UMdWXmMJ/
plAAH1udWrvunVM3/82rcY0ROBIXETaeIhIwzeugp7vePputKACKZ7Npsx+lirnQ+yvnd2+2kMUw
qeTQ5c48/ogYx2hmWKjhfqi1aqcOi1derYQXPRfCamjC8c9UHF5XKrpUC9WVgA9O/glcpqgz1Um8
UtlDxa4usrYxEGvJs73msktLe3H+ljCjBRZRa/QzzAsvS+szK+cE6f3zIQBgcLGB2YHkexLnhhTR
oGwp1n5KFI4+odAJ3WVCqM0K4ws3XCGCYHKUhebc+qEBaiigfWJTLSsd43GWVkK7H1lA69yDLfv0
+FwHFMadi/4SKFSazMfTYSC8nKUi9PZW0tnB6IU7CsXlThO2tgcU4lxVfeL4ngHZTlWciuh8Gj72
dmxv3l8WbwNz4jmsC4A1Lfwn1NuOH4TTT9hV4mYHSh3KSxi1yRer8sxbERvye8fHQMFukonqizQf
n/WKYy5QuyRC7dT1FO2L13rZpxiCi58aVvQpVRJaYxOGbdpN1tYqJV1ecJXEDvhBUjXK/igb8Znr
3ARon9Q1+fb7r/R2pbPGF73ppUpNB3X5+S+xYdfUcqzbLtwrsUFZ0KYw1M22tmlj4N0gts7t4d+N
x3djnatwIxHgOxnPyHF1n+1w7+nNRV614SrJsgfMNW4bSTn3/Zf7zXyBRcD8h5QA7CJg0OPRdG2A
CtC6yr50zXxfGTK51cMohvJi11DKp2gXi1aBnao3q7iRw4oy/HCB7u5Ly8l8E0kF1tUU9tuc7tKF
R78P204Po+EijKzWj6fW3TlNO6/zWsxXk52ILwbw8zOv8btvxnJj3QOlW+zpj9+iIHSgxZVEhHlR
CQ46/Nqn8/eWelxu/plK9nIG8MWAsqP9SNYG/P54LEwzdDG0lrI3hkjiG2F8BeEOC8oy/gyz8/dI
QMtZCkiKgkw6HmnoWllQ4IwOVSzkVzFV87NhTUPkV+Y4oIchLCw6yxQPPhJtMIt0M6T9ddAoBPto
58n6jDrEb6IFXh2kANkH8pvc1ccPhGodTJW6jA7ITzoXjlINd3KarWBonPQCZJhcS9A21x06TWvX
C91b0pJzogcmYxyfdGiGA5kk5F9Aoqcn3RCnyF7kcXzwonzY1bkzrK1kOme88JtRgLKA6KdKRP5y
CiMEdITSuhiTAxZy0NwIwFa08P8byxZIJFAIm0yOQ/NkKRVNhda0nqQH2c7CL5V2jx/TTlZQxbVu
+nFmqy9b+fjLkXtyhVL1gj8IffB49qbS1hW3qdMDNzZ0PLWMroexs8vATqZG2zaxtD6iAKM7K5rl
RXo/67qSBk2tTXeDGGhEYro9PeZ67d31rlJ908va3Nk03R2xNQq7NQiWSyWhzeI0F+8/+zFwddkJ
VCyWchzQNfRAT1XBbK1XEKMc0kOrtpcoTnD1Ou1jlZtXqpW/6Fp7ToT6bSC1DPhKsUHh9c01ZqUx
Hm+tkR4Gd0wIKoBGhHmHwGzYe2fOrt8NRc0RfRN1gcCchr95aUWF0WnZYagnz49H114NWmP5EzDE
M0Hb74aCZoiaEMcXHMCTY7LRU+BbLZcz8W+6mkUVbe0mU3axrp3zHH+1WzlZbRB0AW8SIAL8P/UB
wzwgzQxTVofMFN29azf6l2h2nW92qWpPnTYZ340eSE2KL4aG71nmfIkRvkZBB1E0yNl0nR976Egb
8JNO7A9NVL2A/kN4MVLoMwS1kzb6qkOYiThwHuR1iCzRvGJJGhiGtEl7V8L0M9lHZkoPLZfNk63U
9rcG5AENG2PsEbFr5BxdpoBeATqq2nBLzd7ZpfFU5NeR3Y/XKpgD+h0RuBasnhrbWDn5jH0iLaEh
KOZZt4PEG/XpSo2gIwVcnu49MA51Dno9LOWmSdV09k27Fk9KYdaOr4dx/FWtR5At4AKafC1ohva+
HNPhL22IDK4t0W1ShYopaCIPTNGighcFxTRVHxuFjupKsxuP0D7q+8YvXrl2Seq11wZQCrqochw/
Zpp4ROImTNe5M01XuazVr+9vx1ek8cnkLuKE1F7RIUHp+aRArRu5KTKtqQ9FVCDRoLFWBwQJe1zJ
RguezoreTbpgMVy795vRzb6FdjNpgcib5r7qaXdsDUM4n2di9oU9LtWN7oo0phc+tjsUe41dOUX1
JwQKLLrvZfIxa+KqDkAryI89Gh45KhFGf5/YqfdCh49Srl4MQ+/DUsh+CEtNEr8qct0Nhlhq4xpL
mPRLMkqMJd7/EvpvTibSSb4FpvOUME9ZSannpRK4QHMwM917sUrJNdy0XQpXqK/rnqdAFdqf4y7K
/Umta3VrK4OUvkGRn3a/VoCLKFxPBotpgQaIpgpfFCcz3FXVCN32E0N9kmNuoOojzPKGV6r7wKyJ
4f0UnGrkZ0pGDVsCXzN8s7DKj5IJ8EWb2Oekmt6+KqIZiyo9LBdgY6fJZY11jhN2Xn1ApUnZaOAE
LmOtf5GKUa9jd3KuHCiWZ4LvtycWpXHIK0APKXXSEDm+s5A6bRAVaKuDRtUaMEUTbvTCdNZ0zKb9
+1P59sonq1uqiAt9gPFO1nTTo/haaak4RBqa4rbWdmtvHOczC2YJkY53DqMs5UrUGvCSOaWqUkC2
pBULcRjNDIEA1b2NO0Wso7CHDyWnh1KQZFh9Nq7ff7vfpK70pRB3YeKWOvfpeTxpZp0UjtMeWsIO
AAyzeuNUanwzOSardFa0uxpJ87XN4bfK7Mz9SK3U+5HGsXORNEV45kL/7eOwZTB5WHppb2502cPc
HnJbHsYaiW8zKQ560xSI83fDtwkhmgCRsukeIcFy06BZtwVX0t8X2Kxf6nVSnglsfzP1mEnrAE+R
O6e+cJLi2SmscXNU28Mgeh3wxBCv1LL3zqzl35wV6PRDptJYyIub0MliFpGrdUPSD4ckSbUbNeqn
F5lVBM1ebsp1WtlTg+cbusFqZbaXBc86raFkxUkg1A5ISg7sMgc1CbUZuGbXuDvAVSAK4jCZX7q8
bTus9RRjCOxIxPZqnvT2alQVIJPoOEz6So/7OgNx3lgvOGppgS7xQwhmUJrnJK9f0/xflzlFCJba
IrmJthXaMsbxvu00tzejZBoPHh22rd633JoZ8KydiOeNpI6zLZEnuWZGHueyTx+LUq+3FWIqfkxX
DJZ6Cny2FxUe2GW/qeJWuxwAyWBGpp61UDid/eVZF6VZymVIHgB3Pn5Wb9LsRILJOkSqM33KkagJ
prxDrCLJcm/dtKmCE6Z6Mad5FmislQcFL85d69bVJdLv3q0ee/IptTq5eX/Lnp59y3Mte4MtCzcU
oPXxc9V9F7cWMsQHUcaRX4ukv+p0KKBuN8X/jaFYj2C4ccogDj2ZrkgZDLuUOvDMRHhBrQKEHYyw
2HZGfE4f7/QWWd6KvoeBXBRHIGv4+K1UqSqhhb7GYbkZg96J28M0hG4QpaK/KfPMvQFUKFbvf8rT
+sAyKPxWWEy0PACynwyqeaJLbKdnUGHmfqSPht+Yo7JGE2haqQJf0ffHe3O8MSCrHuk0DhVkLU+z
VGAouWw7qR5wLp02BsEJ5r5REl/XfWOu9CwUW3VpJsyjRT2k1x77puoea6PwboYy+jPzCHp4PA0A
fgMhyuWzn7pOdjXEHzJD9UC5EouKpBsfUKQ3/GHA8lw06BZYYGzPfYPlo56cASAsmGoAAYvY1cm+
chvTyPTanQ9WqChXs2eVfmYmYlWNkdy2+LCujQbFlbop8406Z+qhpfWGQ0wPBWmQNwrtjiurMdV7
OHZyp6j1fE2kX62ErVhnjubfbDUaY3QhwFsgj3Iaz84ZfZDMqeZDEyfFp7SCcUR05W2avq3PbLXf
fBWiDGJng6UBkuSkqFNpIwewmWsH0+nmHV2KaZdPkY6nIYT2aEKU0smrcT2Gmdy9vyiX7308H2w3
WJ9QgeFHvwnagZIgiZB788HuJ/VSNvp0hyIXdJL/c8Lr+JXH8fb1oF9ybiFpDdnsjT7RNGITQjNQ
PZQ1ELOef/1cqiYe5maVbYy2Hi8bUfQfi0j2ZyKcVy7yyfu95upLtGhYbxx/pj4SYZEY+qGezWkl
XQWjKiu00Ur0Or32CzPJwMEi/PdcthGRs6y6cVhJz9G6IFQLZ00PU1WD2gXQy8aM60e9ja0L3FLb
BkX6md+Eh9pHw6kadTWX0/zXiHVlH9SKO+9dO+n2Q6U8Wdac38G5csWGZRBpAR6/xl/mbFVXHliS
+VImTjRuwjZLvoIYT3ZNArYhMGkxfpKTBeU/IUG8zT2nArAJZEWcWeuvxZKj77T4v8Ij1TnoaROd
0tXdvF86cXb2mLaquMqQ5ehWqVWN186U5BFGOrnQbxW6FoVfOmZxXzglnihViDZBYCTt1AXjXFQW
TGsjUvxQKqXEk1A8K0UHmrkYddef5zxBwaAsUS0ue0SAaMcX1RVmicAmpjFK0R0qBAhgjPqijadL
63Lywkj6mqWA7aTe017QSXFxIi5FeqauesI8ZIcvYkuwnLj1Kb+hpnt8BVVKMVSDIcWjY8TxVV0X
3YVmpVUSpJFdRpxAFZrvGFqKj6Q16UU05HLwRWdjRmgKRRF+BXIfSb4JODmY2ry/iEYsbvNeoIWx
OLnCPqbRceMKl1Yz0geQaVxliL+Z9KXk2m2ydNPP1E6CsHSa22zQqDEW9mzKDdoG5plkfclbjqeb
Yt8iLMGYJBynCiz0L+o+i9zqsYfasom4XUC2GlF8GSaeuWWVVOvCctsLNYpN6c9Fdk7l6g3iCI1u
CGcOLw4qEj+Bk9vX7LKu7dykf/SsbLjIqkKsK0dmF1KVFo4hVrdThqzdVq7OZZwjeD9UdnofO8W0
ff9wOjH7YeY9JEReG1RAMBb41fHM9+qIq1pZjY9TMcgnRxtcEHMytjKoOiD0g6i26B+Neq1/mdWZ
xChysui2dHS93+RTLu8Lo3cCNZvyn5P0/5Ga/4EC1S+T9IazuH8u/3HzjEtW9StY8/Uv/Q3W1D8s
ZYclkiAksZH7+xdYU/+wgGlU/qEksUhO/QusCTdxUUeCnri0hEjmWXL/pi3SmUTMjtrB32THk+vt
Pdria8vj37sLIR7MGzhBsG6gMGJwXB2vKJlapW4PJrREZ1roNGOy9dxp9K2ypYQztd5Wj411SPni
VumtrSaSnZlKxKF0WqSpvu7KgZ5t2fvWGIvrprI+GcDKoBhO3Vqh0cFxjOxx0xvNzs5DZP7MMF+h
JVtt4ix1AxqjP3KI8b6OIRqUGPjlo+r85dQJUhleceF65WcHPgI3sTv6dqfte1u9UOC70bxG364v
+DNW+1RH3a4UX7sqGnyaSMVKMUMcHv/GX//RMiew53+nbNsjNPJ/DbO8/VEtvNf29Ff9D4Qrs9be
3wRFdUzbXf78z/Wv0ET/ANyBXsSCIFnSwX9uAH6kf1gwbw7oGc7VxczmF7QyCIUFIEtXF128pa3w
T7SyZn4gDeIkZM2ydrGi/xO08mty+O8twBO9+rQsRSUegn14cryzZ+eGS9441IkQypMSW95tQoxP
fVqG/S7Le5SD57B8LvusrqBGCmvTIDqQBw7iad/rJIzX9J4sv9JjhCNdVTR54Gr8jWBK9MzZlb0q
4A9UdakEheO1CLgMxQzVzrbvTCuenQCfK1rOUTbRvEoxytmns/KV4F1FiUofqm+qMWeTXyKJOqzD
2VAe0COYkXMwY0SdYMpO9bpTrfh7Ydeu5Q9lCbgjjWFdbAqZ13eJYRYbIYeetFjvx+5M5HocmC8f
kL4cJTD6TICgKCIfnyENE5sgrq0dcjUJA5QomqAozHMqTMc58M9RkHZGd2CRYHoDEcmbXHaiTrRD
QbKzXuzIQS+03UbR43ht9IVyJtH5zbrgVailkgESbAKdOH6tTi/K2Wis6QDjbULat+qfRsNVjE2q
2dNfKM1w7aKQ5G1FBDhwVyJUCA/UqOG/jpW5NmoZpui6luYL/vDyR6gCyvYtoiknkBT0C7KlygRh
ulzcOrC+xw7NCmiMhjFV66QuCV+noWnXXeHZXUAdMkMeYtYm2wcOPssgrrFxpGZupret1npiZRqw
zgDyhR/pNnbayjbr+koPHfGQzcP4rNjg+gIQ2cYzcujNX2YB5CZI6esUvtljOnkmUH8zYXDhDTJ3
igXk0HzE4+83YIInu9EeDzIq/wrn6ipS+DYzluBKFiY/Z+uPTub/2rH7v44qsihN/yuFfROA3FTo
Efxommf5awACsONfB7Ctf9Agg+DqQVaJbdEyET/pIrAIIZJgt+YuXVUmaTm2/z6BNfsDTgnGIv5M
Ixm0yL/OX36C/rcKxQPLAYQVMGD6gwjkFfj2y/G7ZNqLghQgPFokcFqW+P8XfFLvDq096tm46myj
fUz7en6Ks3EL1Fctg8IcqJxS3rsvwGX9GOfRvkuoX16WRgrFNBq6JzvK9Cvo3d2VnpvRjiM3f7A1
D07Y62f9f7HC+h8Ntps/CAzr9h+brvz+LFHC+N9wzy+z85+vtX39nBwLeix//uc9b34wlsYAawll
R+CpyzX69yrT3A+Luwc3/WKviGkl6L9/6nMYHxbBDjh2rAI4m0sy//c1rzsfbGIDLvqlDEP3zP6j
ZbYso1+WGSt2Wf+qC1tq8Tg+hT0NLlKdsUhKdNP7olmo9IiaY4dnG0GHSNR2jrJWhTUxaQ00WrTN
VqO96PJyKYfNWnZhjpryWPBf9JCuHsUWYOeczYnbrBMrdsygmpqwXlWqU9QrTCdi9+GXb33381l/
LU1x+SyhyNFLcIxS/lxgpBTWySeO90o9qS1F/f6vjpSjJ8MEeg+PepA4v8ENHnynmLXYt6dpXmsK
xPgwseatO+jmj9DT8+gpLLGaBzMBYAPaJcrrnyNHzNqq1WFYrCD70iHoDaN77shOOr8RGsoaDfeR
HVi1A6O1z63O3mjJrDd74LLozZkkvHcE5Bo9riKxe+hLptVu5x4Qjj/OAvEo3QZVFZRzYaNekSuO
tU5trIASiDl4I2m1uOMO99wg1pVJo5yNZqUfozJBNp+GnbkSYa08xvaET29UJGGzla5VIjUBiV36
tp6Kjyg6iCcXd0vtCut5bxvGFL2gkpde4Tsyr9C2CNMaj7Yumbt1AvQvX9WVggU9v+Qa6QZTX+fl
MD0Mal2EvjHW05OiVyoqqHhfKPtZoBS/QdTOsy+nEWG2NdIZySHR7Hod2XkybONyYR5AZeU7NkpW
0huVoxi/8reVxO9qqACH2Kts5d4TY91tmpAmf6DGlfqQFkKzbvokKqi0y3bIVv3sKWhwtKF4kqqm
d6iRtGUIGLFvvosiDp19XJZGgauKVc8XLuydMUiHcXiCQpPnG6o+WhTUYxTPdx26ztnGxY0CrUCh
RRHqUJqXBKbU4ktr6OX/Ze7MlttWsm37RXkCffMKkiApqrckS3pBuEXfJ5rE158B7TqnLNph3br3
5cZ+KIejLIEgkLlyrTnHxM9Que51rGEWuXeXdky3UZbyKWRmNC81Caj+kQm9cTfRHYF+CczoopHL
Eu+scUzmUPmqszZtPM7ttUwI/Qiiqad/6cV+W+4gS2vtkUK3rgMTWeiFa7Spic2g8J6Hnmp8O47r
idC0h+RzUrnoYQswWdbOjqYK+1jck188ZlXZvkxpmf2sAX+jH6xoTH6v7W6+dWWyZJthrCF9BUZl
fdFbumcXnJ6niCalLL0NoVCp2jFdzFo8w5gAmE/acfJIHtD0lYw0muVMFyRvUkHTBLVqBGbGjqLB
uFk6dsGLeNb5YVZa90oPOgUJfteS6FWuBDtYZyFOCyc61UROaJvWmjw9rHyfkDW/1fRt606j+MSA
1LOOntB52aTuYfeuy5IfOqA8wRDfzfPtbNCXsSif11eRvKIxTYIsG/kRDYfx+RVlhW0dEqGWLKMf
ac51vJEwG8rvVm4WIE6kP8zEwIgcC2UW4Gf0/SeyQp3ZIqt05hcv/ty8eH0ujZsiLwki+udxXSBc
28+DPvB7S5GzNPzz0HUTmJ4QvYYG47FfquoS5gjIbdMpcrmBwPjFJTSMXmEqWh76Mbafjc6rnWMF
0cWgunXNTWNn/R33xOQ8nyjrRcgov7QLV944+kQnssgS6+ssJjp3VVR/z/JCO1D6Zyes891uZMpy
HPqaV7lqZLGNPYNeZVn9jIeZVjidizh0RJlfu9i76UHnWpqE6JIGYOGRRKREHM+0Q2GqfYYpM7D0
kweWLRkotcZzr2tXqx790SMProrj+nUqNP9UqBSjlxIVEikaf8ZmgCcBtaYunrSo8Y+tPdVXNuGH
U4A4NLs1J9lguSOt8BDjL3WDWbnJYzHbn7xkRhFTEwkXowYYpbzzjGkYtj4/wQm62M1gRdm9q/gV
AywKx4Zca9QFVoQ+MtIFKnKcrogAmMGN7qr7HPIkZBk12rcOwptLrAN8B6YYHuDUg/6JetrQ7ozU
pvOGOmgkqs/Y7tJ7BAn5zD301M1SDe1lPNVwzWwdl2AhH3NXZtfKUD+1bOo+e/hZAJwx88o21H+V
OI5lHX2e8+zTsHTxUbZDd8mnL7ajNwwvs89IPx3T6Jj7U46Mfaj3gJZQQoHL6bdumlUXqN6sHawl
utBi9vRN3fiNuYHyyZub6cihdkuO8wopZPJzqFX5iRUbJQ4OAEYWWUOMqQYrhL9wsRRNfuvnu6ml
F2zHfemzXjhLi/aEKeIma8vsEjIGAnAycYdvoAGwLC0EZYut347Rl3rxzYPOtP51QEaSBJZw269p
KhxtB3NffWqn1tmDYW0FmBDDz7euktLb+BatLkgazvVSFPlRw/y1ZyUZLssp5/TeW/EFUrP2UFTu
8joqBgrxQOBe2CbNCpcgveUrW2MGp7yV6YFjmDyUNVQTKEd6EUjS8YyLlPLFPRRlJupgJG45D2aZ
j99FPVs/nGT8GWlLdwUMI95KqqlHZfnRi6fl7quAZJ1urb75KqupaoJMcQrvtMjjhOmOOg6u3uZX
EXt/yrIm808anf57y4J8Q98SNgWJHM0Ppcn+p5f17S0rPOhhj3fv2jYd+U3X8TYNyQiKZdJFEdTR
QkphZQGO7wqj2JAW4N01hnK/lJ1q7zLhpPcsmOWuT+Plc65P9kl6ic5q00RXXpEv33pt0T8PVFyh
0ffybh1yAEyBXltpqmaSQILfi4yIMkYm6Xf9dWkky8MCnY8WIbkclGN914yHHIug/7IOM+CfEMWU
7LJcr3KwTxD1Ay0b1VVSR84LuktedmNBEbOYdjXtBEfWbuPHQ/HTkxNZM9nU9E9e57D3sxx4BYmN
y8J+wqkVq7o0wiopxwHBicVmjOnON2mVVqYbTmk2zyG7Qf45d2DQh5IUkJNlV6O7bTS/2Pey94gt
dUe72tRtLbU7BbbtIGVp/yizuL5YEhb3AOLi7GxgOBbLPqGjlnBOVinQN4oxLIcz34H3OMKV7OG1
DCV9ocKtWebizPaegW54+WYGE2xvS8ak1iFicldsBVCLfkcRlG9ri5drq+tV42/rqBI/DHdItHDy
gMptAQz548YWuAtJl5bhNEOwo72AN53trmHt1oXrjwFxGyXGlzWdoIFZkm7zCKkg3VzDEfek0ev9
th4ZiO1oqOmwdBy90F/r1NJfB9NV8+3g0x4rIX9A/UophdgDtFELKvpSya5byE2+daiU0ks9mvWc
918Z8oLxij/zTUgzv/RRij6nymru2JG98QLuJurTiKoDASxRgqzDTIu+D0raxV5bxen7fLaGOnRn
k+2jQAl5QLhYxvtslFpgJb7bbGAlWwh0J6RHdG80qlYiEBz9jllXoQcpIWu3NjSSNljppyhKcv9U
NoPv7QwKvB7x56Qd1HruYDFJnZPCVKpt0nzODmYUZ/fGMLOvWo1l/6Q4unbKTG+5h0brXuhmP0eB
S8YGgNXG72ceyVSUYKTm7DTltXkqUelYe22IhnxTxH1unepy5vkXmjfmgS+mLg0S6owXt4kjL7CW
qb3O2UPttQV1Z0UJECRt0BjrmY1G0TGP5gzmW1CKIde3lLnxcsXLXnB023GeoVhfKAO+dFUsP4HJ
XwdqfZdfdbj9f8R4YkMlErWJbKqt3Zw54jovyubV12Of01FS8O8jBo064/KGZlgqxywPclUNwK1A
YRowZlLky6suyDowyBrGYBpT0wvscqrysNSWtt0bboy2Y1hscalVmdfCRbSFfsHBRzobCJ3pkz9m
pKzGfuU9TyU0FHzsSM+gtHlPraklJRfN2rORDkFG2ZiYaO48r9n4mDGHTYeCm/OFWRtPHjifS7+a
uf/KlLTz3CFzL51xPd/F2mA9ghqsX/Acj/tc+tmrBdWIlwF9w3eyT9o7r4V0yydOIus4CAfRr0GH
9qjRucg3YGu01wgFdh9Mb4eApNBn41Ll+RNJ3F4E/m5pFwapU+0BxZhgLlnCSsCuR9FEE1ePfpr2
lJ60VJuP7P/eEQ2+vPT7ii5eK4oBDGtiLuZ28EFArdVfv0kWw1w+J6Cwn5CoD9ZOd4blkzt2bs8g
pjRPhZ2n3w0zAh1EaJl3OxEAscrLLX2jrYuFjbHX2NQW8+vOiLtPlN9jIHj9A09N6aGJ1gNhUscA
d0qeCwa2NSwx0e0a102OSZN8tx3wHtqSzkdeuknfFF4M26jTSr5kKZxDkkZ5KOAy3VkpXPOO/uXP
YbSBHfpp90q4vf8pVlG8g6Rpbg1XlAIwwIIrS8ODeOvw+v6IphnXVsOR5VkOQGI3dbIkJDSlU9Hu
2065L3pXm+PW6TUViPX85U06AZlO7bXqZjT8ZGNg2A293K2swC/IDynmUeTAyszxMBpWdYHFb8b3
nwG14EzpFS4U4Qi5QBM42nyrUXnsiSn5nLpu/KgLwzkZncVigdH0sJTzgepN3awRDM8AmBvcTEgy
T3rdL+aO4qTbO8qobgn46rqApz2P97M1D0dInqCFlD4+zgWwE7R5/lOrmWFd2uNNLw0klFFv+pdL
4X6vZx29fB4lGq8o4KyTV6XwQseFdySKB1Iu4Bt5F2k9G0d2nx/JFMffEaaNB5Xo5s5jUa1gBwnn
UsvcztwyeE7rjbQzX9/gXkzuWSWLKzzu5W5qUp8louHpZK/3KwCiBOSFk8qc5zpFzD/0cbY1G53S
libfpuTgt2mzsbst07TaQXQYr6al+GHjngxHJcURJ0JxsjJhHMYICwIbmrVrdVH+8LLG3KVu3974
RY8lFmpbZ4dZVzJ6TPJKXlt1399VUZTv3UYXF52I4wKqP4NFMbhYlDmFoMHsZNvEAVIhM4SHR30d
4bjaZF6dXWiMdO6IjPiyxGh5KC/kIVdOB5rL1QIPG9uNQZrg01iCntzNXpeuo1DT/Txls9onNrKX
QDek3HSen06hWaABNHg+j1HTpeZhrib/K3L/+r7qNcmXj2E1aLqkkCd9KiLCANJW83e4V8afRddy
cNGpalgn/RxYXJPm+0k46qs7WcVN3zTwEW3HHm97V/ASEbfKci+WrPuuzQlQMA3gLMWsND93kjOh
1Q16tc9dd/4a5ZWnBxlVB2+vilHilIIDCo/xQk3eWdjkpxnBj+WV4kgx3iPe1pg9mE1cT+yImr1r
zAriWD9YY9hGxovVtvqpWkUmZaXL0G6nzAlnIV415rUIZN1qo2fZfEoiER9nzh9E8ohmR42yml8y
OQZerkfHVoHSZEJbqUOHpPVxlm5abFgX7HznSK55dnT9c+NVEcS12QeKN/r5bTzX7asdV07B6Rwx
vZqjh66P5U0xO253nDrBi+Pm1pA9MMkrGWb7gyY3g5NNt6k1iuhG2aOHX2b0n/CSdzvP0aa96uN8
Ced4wmVOOaDIiMiKe+rBJdQn02gDV7e7r7lddV+GPO7omLXjt3mSqLCATkKvFcV+LAuwRlkivMDz
J+tiHtsGNMQortkA26+DLvJbXPPtpovGmiPYMhlXBkf/GhZSFx2nAg9gzSHprhzH0HWJMti6sSq+
Yixp1IatF0pFUp7wU6hA76LkoFslC8WwJAe3pocyUawP2McH70c3aarfIF717K101UAN4IhO7mfN
We7cZRyeW1upA9rAXt6CZlXIkuUr23H5KfMqGId5WdyWKjkOfNr9IAZedFRWww9rcib7Ysnkol3E
rscIsi1n8bp0dvvslfK6yYxyV9O/ZXTlps9pXGn3XZeVG3vJDRpoWvri430+iBj4XeYKwD2w3zJa
ZepAzewr2hiCaptzch2IySkvx4FkDI6T1d7E7vQqylTf5rGZXGV8S7KGcrqVTjTOQbLY1ZFeD1zk
3lDHIbHEPTmRfAYUPbwK5r3uDsMFTb94s1Lpwk4I6yqyAKjWqSuSnbFIsqf83iQ0dQHtSwmAdeta
60gujgYqu6mvu2g35AL5Wz3O9Oaa6tVNTGq4Qv3Uy3kKW6NInwzyqiisIqAtvp1dzH7SXeVo7q4N
t3hcBNV/NVbf3drTHuyewVjYl32FSm4KLAZlT9KqkvQSaop86i1bXLRwM168Souwkpl5bdxm1BHz
a2V7MU1Yd9CKrYyGbNhyHnJod0040JegKckBJgRjAv+ZLiXNVLdYzQCJ1sITQaE1EkXI8QViCZ2g
yEq1dp+YI41LBFVUqb6sNRGkhdAeVWsN23ZMGuTGyWidRKXxf+Bg79wqcpIe2HG7MXSqlFqqnuqY
6Tfc4/g4chgpt3rTtc1JyjpKtuCOSIROPLi9O3vW5wb43+ATgiI7lhkMTxy6+E49mk9JCRf2703z
P3XMbWajFJTIKhkCvO+Yt7UVTYT6/EDsrC68kin5QS3w8qHX43626gFRvhF16trNRfP899/928gB
6QACWHy40MARPqwD0l8mW3jH+lbH9OzVfXWV+uawj5WOb5Gm6zbV2+FQm8VwL6LcKjfZILQPBthn
GDYCm7FpmFwBijU2rt9yrxIIMmJ26CQvms6MnJRmlwain6bqW1Ra9vjQMLvVWPl9voJZaNrXLMus
PgRiTUU3dQP9GWr+NtsqG3DiEYS4Kk5obCJjT7pjKbZW3rfzbb0g4cBEl5nigzikN4TWu4EHdQdR
KEyVfJv/ORf2iwR1CNafIjD0KHf2SZfQBye3xNA2IJIHgDe5rheUSjkznQQcFIV7oa+jGoIwnxBF
l+V+6SBKb/W3qY1oQaHe/v1r/tNFArzTbKoenjGu8/33zLx+wDPYYm1pumzcR6Zw6lMJuHTvsnHf
SVBOP/xcMqvJ8oWb/DZF8mufg5wB1drZJYDTaPe4XQJaRdnE2XxwhetT/uttxHCIVAYV5WrGgMpw
NoqnsZ00UZungRwKf7z/56XrjT6b93pDj+qadcPuQyelX79FH6ycYzz3S3HtV8k841ZWUud0POeU
D0Vb8bj0s8mTErWzrk5l2sISCOQkHe+DkKE3WsT7K4fFwVwYe7mNv3gNEPj1HYJiuxR+0uaBgbrZ
OphIF73XIm6bcScUL/aXEuFJsZ0EvpurGFyrHrBcJtl1rGBonXDOxPahKJqIOZaRpEXICKyPt5Pd
Q4+2u4RFM1unQXQCEkAAUhlPNqLrLvC7wmnogmW5FbbUzfO2LDlqUEu33l54dVnzA0vxkxNTdm9q
5uqwb5mZIC72xJcGSu90N/WJ8+DPJmocU8qm/uDtOEuashETYmZcwzFWRzRJGWeL28JgonQZ6gTk
lc7JtUg9jjaDTJdok1Iz1bsKC7F51XdwsXZdmuL0XdBFg+rVKv6M8sO9ofvfo/mrGNHCJbat5sAi
mkOFchQoVaDd9krPsIwexNPA6IZoZP6pMXt1SoVUaf60RS2eeV8ap8yXI12X7JkGv6Ye/v4Mv19M
8TSAIWUZsdaHgXgF7ewRTiZdKStHUVMSOr9W0PEmB1p/LLWyuXDSjn6AhgMNTq80dkr4xNP8/QLe
AkD+/ShyBavtHCsKnBqULcRmvn8Ul2RGXJv19JOTtK9DJ9YtisjFo6fwz0iH2+xaRx9V1nMqaglp
OsF5SPMuNr7Zib3SuBo7xT5DczbaGAW9yrA0p+G1ytgEOX0C5hYjjO0dzn5rbw85wseWw24aVPYi
yjEojUjsbItG5f6DD3d+e5mwm8hM0Xo4povfzXj/4WxAvlrkyO+cTNorOi0VmqSh4OrpEPhXnCKH
KCBa3rwg0yH5QgwZ7UTXBfC80zwvMneTD1wjqLEP3ig6o9tRZdknY56lYqak2598cHUnZ6hYU7TI
rrIN0xvI3URf61fpjPmcljBtcw+eLNhZkocaenl2vyNppru3Ig5DHxhZz1TdKF85i2osK67Fn3E7
na0shahdSPXFd2muczWTqQdniLpfe2eoEnAo0noaQ56x+qoYY3Sxdk3flZqcY43E5fqRw/VsuL9e
ENlNNr4axvtwFNyzcqG0rJQiQq0LKdv5scY29CnL/MolRUKPWtLVHPU4tqPOJJd4kHQ32cqLLn2/
SoFWDPi14M61tGb02PZ/ViDbMWWWmnPtmjm0tgFDy88utRlV2oD1r4axaotPGoAIzlfrgJOFpnkx
mt5+sAf69di9Nbp3b3+L9LehWa+Nwt2oeEzHbSy8vAj7SPCI1JDmA23sOb7ZfZ2bEOlKikVV6n2z
mRhjxxtEi2m6L+u554mGy0zHhaI84UdOwGFLVhH57Fc1P6x4m0BikjbjA7T+9oA7Sw89xv4cJO1o
IJrM40TLmDPCZmRmRQsMxC19C8c9tKVgEEZ+qYpGf8S5RkfYrjn7BCuFoUAt7F+RkkWMUGXoeCNN
WVK+2kXhMC3j7gqgFQPjprd36z8SDv2/iIb/f9QDG7wtf9EJjV+Kr1+6778q0vAR/o9UyDSRxOsA
gaDton3/RRGsa/8FjhaJpwE1GGyKy472L6WQp/3X6nYxEQMjPIPRxQr2L6WQi/YIA6yBXGgVGfEP
/xOl0PuVEHsFUniU8HAFV04AV/h+JRRIfxakQPpOuf1EQJqHLt4VWLaCei5971JvMUKH9LyECupU
K+SlGEvd/fzLDfuT2IdP+kvJ9s9lYHrEhQaOGcnS2YJcObbOA1xyGR0Ehk00z5Z/rGH8MaJKp+iV
ARUtigxH3PPQOgYw9c5H5pA5ua0OQ9NGN0j72I6imFu3sZK4v3By1q5AU3A6+YdWFd9+cM3rHvzv
HXINt12Z02A1PK4bIuP6mX458GTZ4pPFU9NeTMBIaGal9mnkyuva0ZoTAXg25XqU3PdSZjsxZA6b
t5cHWWvpp3gEFtJlUesGbhIxvvvg0tCR/XZpXBuBABguVrX5+0sbNG6dDiN7Z096eXKVMwe+irPd
zPk37OVyh1+S/j018RaWgH5IF2amhT5Q1f/9St4fSP+5RzTtCFADigWj52yVz5lcK719g/n7Ike+
G1U/FA2sW7sVEwW1BxyI5DjO6IuKPtjzzp+p9fvheLJi2XAP/Ra93OGz173I5ftxzEVjGjTHVpCS
5RfmozdngYckhvlui0jh7x/6bLN9+9SgeXSbgpX3CgLh+9vfD13ETkNzF6GFuSsFeoVA4N069F7m
Zux4ZXfUKm8Kummw7idkMYFicHbn5pFff3AX3vTo7x9TPLJgm9Gts5PjSnh/Mc7iQbEFWrYzMOYS
tueKjAwR3WQXq6lfjW0smbFcdCjxh83izMWXBt2OuYGDE2OD+N918f/kNWfV4lSDJBJVC+/POWmY
3mO1RAS+78Cj0Cpl8NKGjMOjK3r4MXEYmGZeUo50m3hqiuvUiigBYAo+jLYWFkyyWpwzqnlZ3eCX
c5biP/ZFcmgXGX3++5X+/ty+rYuQtyiAEQuffYMyzfB/axOQVZUM5urSsTetQzeHWPIrg3SqayLs
rU9KNfHh77/594cH1TICUIf7RBcDi//776tuFxJcOKWE3qJpoW40KtnUTL0YQolGe0nL3visD8Xy
M/eT+TDXXnJinpKGuYfO6O/XcsYb5EHmCtamiomwnarx7Vp/WeJwiGbarDDAEhFVUFe0s8OrWrOs
XUpUWPcVyWbqwmCFvlkUtoKjP7YUZoyTPH9Lg3u564vWTE9VK/Txsx7F27qKbRH2JA81m6Ue6KqZ
mtIvhW2ScVUb5YzZvKJWJX+pKPxNrmZS7//+qX5/IyxEpUQJUHnqrJLnpSd0ZMdO9XwMLVvKwzhM
OEorjgATrYstGAszpIRUNWaU7Ns8juLg6TP8pr9fxbryvXstuQhSb13+Y2fiD++/ZpbkOHXqeQgN
p5mxx8i2pmTTQI340n2s1k7733/hH75MNtcVbYsEGTH7OU/MHLq50ZUPBtNS0wv4nDqEIWM9GFpR
eduWCnXTYPm+bJe6ufSZ61/QnEE2aUj3jmL1e2/MjIoWpw2UMrKnpnaYW472KdEVktOk7MuDTbA9
oxuCSq1NivotcEzhfvv75zhr9K0PJZ/DoTJi70UZfH42NoUJFDqPRlDzOA63MAfkzqmH/tmCxnKq
9dE+RD7Tw1TEzaFZYrXty9r9NPXNnbK6JvSTeAiKyHDuLbY9eIQ2fmFmDjdRzhi1YQX9YD84Q8m8
XbFDiQUDHmAJh+p1u/71NfIlCaeym1CmdulP00AHSBt5uLFVoe6SKDEOdBj84wDB+d4V0zfOBv7l
mgazBbLgpGRAKHEJFQarnufIG6Om+w7IqcS0DSrm84JoCjVENd+gIn50Y5Efxy66EmZGKxqlCrMz
MY7Xs77kH9RAvz/E62sE7WmVrZOpcfbBDIlpOqv0MYwGTV32uRh2oznWN1Ry6hiZVvbBM/z778ML
Tx1HD8h0sF8Z72+kPWDqyCJ7DjlrV8+mFN8pOlKaNd30VYtTmX+wef7h98HDwTLKPoAp6i0F85cv
DtkVga/4j8K0t61HD+vxD+wY7onswXXM3tofLLhnzdX1ScHih5DLwYnFAfnc/k0rqvJiLVZhg7l0
g5CI2WVbl5+mNG+1jRrda1p/1qd2INjOmlyiCoehshHH1Jp+O7gyfjClpW2knJ0P9qXzg8LbleFN
oPe78k3P3zp0n77o02gO/cLM95Hy9ac4SojLKZzhepaevysxN/6QEo+eaVT9B667P/16Dw4Xpx4Q
Rb81/+q2JIurr1W4aPn8qIlGf2UQsRdW6YFk6qW5nYX87vV2c0HSs/vBh3/L93i/WvMMACHwgSRZ
tCvOHjzPkxVeQHsK+5qaJUBQYD90VtNuilZhksiW/sEfUWxIUrfThON5p7njjalspGqIZVHFDA0D
cScr5D5l1vj49zXxt7tjc4LUTUg9+JMIhl3LmV+eU6cY0qnUWjN0KAUOHfrNmzquk0vC1dvnyTa/
eVPZ3jP6MMOq6LVPf//tv5csQEr4jz1V0ziqnte7aU9emclYMczSzhD3oh7qx4nG4nSd9bxVBLjW
dCHi2Wnkrmc4mtGwrbuDric06eesl/9x6c8FuT5nHHY6wPHnp9o4WgatBBPDOjFZwBlBZwU4EuUV
YdITJAF5OYjKOv79NvzhSwDVsrZKMRDzMJwNRkgOjIhV1K0wj4kSCDJ/1H9KACN7VTru3hqn8ptL
5xn1U8bf1QLKyd8vYPUWv68pbD6riZENnAulq3/2GMwJmQnJ6KDLjEw6awgmmGnl6ZRWR2Vo7UVX
a1mJZwybA2pGU10mYqynW5Pg3X5bZW21PrxRWX/w7q69j9+uC0MScS2ENYE9P6ummbojIDMGN4zy
lhnvUrSAIn0XMSHi+3FJdrAg0Asobky1rWqnNPfp2CN6G1PpHGcUbMh0RsNTB58Jox9WueL0YI5C
Q3e6JPanNJ0yxCLpsET7fjLI0awYBk4f3d/1G3y3CpDf4tH7WKkgHoDxs/vbAanUG7Sp4ZD3WXRY
uyUAvrKWlkMyJgyWoyomujsxe5ltIt+bt3VdudoGsQaKD0Uwrtwzu+5vdMTppCZCYiXvSan2o3jv
3x9FUAdQXOmw0mOltfR+PXBrRxZpyQ0XNH+2eaHsoxy0z8zu/SsjVcWBpB711W7qvXKMf5lT3wV6
/+rc+m3TpMChQMMziVOas/V6cb8sRlaXJFGepm7oT3i38yoebx1CXy5zncOD1kXtBzzAt/Lp/dey
trQxL2P7hJtyjp2kwdA7eoI+OXGr4WsjzHlfcObdiszSLplPkqIVWTb5SF1N4Gjsa7t8zuujUbAQ
uUKW1/XikioRJ/3JLO1mX6q0FbuqoBtSQsF9TtzGCibVU18Rf/tBiXFGOWHLxwaqeUTvQJpk4z/f
WBO8XwKmvhZWPOHXZuf7Dzq4vVMd6/FTOXPmLRAAlpuICMpLf/VM67GS22ZmnhW4BPaGrZPH1Qc1
6xkTcL0sXMxgDHwXXAdd5/Vb/uVb7GiZ1M1iLiF+saLfIj0mjbM1ouYxdayo/jxbiVYfJ8VEdWMZ
owOXZuicS7mY7oW0o1WKJUScBhiRuitfGXEUTqVQ02lqfWTQZpeO9mVD/Pb/zYVju2ShdWh7uM7Z
hfMkGJUzCkWHf4ZF3GJOrHb54Pi3letEL5VsJZpevahoH5qDp+9IN5xeh75CQ8tWbWKcESOS9LSv
9DLA6+cehmhGVDZra8Xd64O9ehGF9tGF/756s1sZDnecxQX029n+MTXSRQ6pE43RAtENYlOXX+zc
u9ELM76rdKTqZeyJV6sjSTkmBuDBq4tsM2lzdZ1JXuz/eDNZna1QBlckAPizswOqNEdOHdT8oeNO
KowjcwwGY04vasfur6LeIQS7T9wLr578i1rI+brQl/KKPxxdQ8UfBYr8vvQyv+LtQHTAHcLZ/f5x
VEWN7ooxPFP7el8QPJlvGIVO92iIo7UNYZzMOO9CKVsNGnQ3PM75XGwHqx93C4Gzmz7rllvGw8SK
92PxQdn+hxWIExD8BHQb7HJvzf9fXxajqmK309A3I3xDclXTvg58J0qbWzGDQt4UJhkYn4UScm8b
YtJCTyhzfkVOSgFUlKUAEDO7tX5F/4xecmQ7jQMGlPT4jQBtXl4sRmXW28ZtJRMlO0rqsIB4Zx1T
Ti0f3eo/PIfIT9ZqkuYIC8DZrfaaiRjwfMTXV4FwSBOyJIhv98I5i0UUdHa/XOFZK4/TGD8I7skt
KivnYPpRv8eta3+wPhp/+OZZ0uEhIjlx+Thnz6HDt5cMnAzChNDAY6ZV1XUl+Ta2oPPAdUtT30ll
9psKadAuIlWYjlKv3XrlXIVJO2q4T6YWwDNrBSeT2Ld22Ak7DZW2XWwI6kDLgZpNPLj2aAR9mWSv
rdGS3ZvJr+iJs5eidJ2nD94tk6f1/Y7FEdbg0wAbACVyfpzoslyJvHP80OAFu0n03LxySJgPfZCa
X0aXqXucI600tBRhtRb5P9J4+soX0WyXXiX3Uss/DGb70yVxwCL/iNd+HRK/f8GgKEojZ94SxjSK
Ljunby5TnteAtvKyNUZd7Z2iGJ59dqVr1gW1nSniAjLIHfxsnXOzaKjL/36b1m/2/C4Ba6DzCK4G
BPPZNz9CoJ013cW5qWzns8rKdMugqL6iph93iajFo9W75QdHvT88b7R8edaYi60x8ufIR9K2CWnG
o8bDE1t7Gp/GAX0A0ZJ9iX4oKcsTgon6Oe2y7NT0mvNzMvMvhJQvWeCgQNnnnuyuROHnVWCY1ck2
egdCyYQzZNGx3mCWBZ5WjjoxvaI4LlUTPdSjkT2w0Vz2YuncD+6i/tY0+PU+gsOgcGVfYbIGd+u8
654XnbFuiRoWtZZcSHNeHILagLA+ZL6h5q0Ym24JJBOJeMsi3ORbEmP841zKHpeG4sgZ4IFtF3Bz
5tQ8VaRsx1ujyvDdYxjXjGulmWIKNIzZ3eusF/NuZByxB7rY9RtS8qx4m1fOg50n6jkygfLi6sqf
6lkj5W0AHt1i+a22otUlYB+/oHrPzBZrX8RrkgeS+nigdrOm25zgBfrPiTtBHUys+dWuvL4JljzV
6WrmUXFh9n08kZc06kS3l3m58ZxWLP9N2Hk0y4mE2/YXEYFPmBZQ7vgjrwkhtSRcAgkJJPDr76r7
Jk9HN6RBR3S0UTlIPrP32iS4rVacdmOACXIIfSkvuW+bR6RQ1phs5Bi/8NXdEg/rsfk5Ivyp0ZWu
mPHRQhTL3UKVk5/dRZsxbd1Jaz6gNTcXKoTmhUHO+KtyXRMfNj5c2pptlynrARMlgyOJB+/18Ai7
CMS+VLr3kn61cD/NJq6WwyCCwUnq1ZL0Ct5m3c35NHzOc1+FCTlAId2SZTA497kdd8k89zzsCTcg
VxsZ9HjWwbBcELxN49GL0C/seSH8zF5G7ynWm2VfnZ4dW9bsEsQ0SX6DnZYDQWAnqPbKOXmNlq98
eRyHY3P7ovKmsBPuxmZKiakXP1rkb4jt/35f/zGA54LkOHcDqgqIcHQov581aghH5PaBk7VO5VzJ
POuOlhi5XwCuPXh7K/sDaFJ1dHiIX/3eay70j84/2vU/Zm28ANja26YF4SrF7pt6y/bHXUd0jNlW
q+kim7y4dnVgZzKqHovZdBevCN9FGujnwtl8164jaloRWyeWInFWTKCJornSP//+5bztnv7fu6LG
QcnMbuIt3FYNnP7DXmCY2lrzUzYrmeazGJ8XMgk+Bzhij39/vT9qF044OjUesG4MShfN2Zsfo1nK
LhwXkUXxGt/XJm+uI9GQX6IFunoVDNwbhd894pQrLnonr/Ng446lzXJwi4SNg9xvqcv9Izz09hWK
X/0uaJUm40uED3Y7c0aQlkia2YJ12re1Y//raoKD9uZB4VMYIiK6SYp4VPDM/P0jxP4aKPRbeYYr
Zw+z3hc32rocQshksGt8GCElBE3JgQbI2dvfDVx/xQGkr42zJ3DMw1qg9D81Zt371FloahM4F/2X
StdGHBzRXqaya3BxY3T5VuA5rJOlqxqwfNHY9Wllq+nj2KEbz4mHOeXCBOV10HrssEb25fpStggI
4S5AJT3sgKw+l+FuOPgmrboTwzu0RIWysTRpUqp01tdrLrMFzsN+KSLZTc9xnm9jUrdRcL3113Hq
2qMTZB1BKzDb9qX9rlRdqSPJ782e5XQS31ETdfK86ppYy5BgBpVKPDP6EFbO7l/rPXdH5E7jdr83
jMZwHPB7MbQbf3BAyOk9Q5jxezl2Ib/kXJS0U2XrtNcOMgKyXUC3Xhq1XvAoI09xI9gVoox62c03
n4g39+ivdd1ypIWOOc3hbcGE0qUrLp4PTzcJWdv6mZyqSSfNEMv5oBDDVth09kAdFllF5uyoSnZX
IWN/e8ATNWN5M7s6GdvkD67L0b7BmL591+5r3t+SajftjQ0oBOn/xwEUPQdBjK5uAu+Remtnwc6n
h8B12Xpn5mLDO9+bOuuc94BhEq8OmgDzgdRPxmrJtAR3piGoxLZfp2Vju1+iyoqfdQ3HICmdvrEz
HkXxyDGs9/cd1lRs/TKQzyghl5GifVkesEdNY1IBOUl6E3b6LNea7Jq8F+jNUZeHa6bxMrpH/m0c
H4KSwfBhrmELvxNjWz1S54vyuuIoPAlnLLp3FZ7lNttXqYf3Lhxk/SxE3y2nwefBlG19af1oanrX
S4H1Zci2XfthFubd8MEqyOU4xkMHk69v3VFjZpokjpKFbDLWtdV41ysFiE1ufijo55sSgUSvY6L/
qjA2w7NHfOMNKLzBkKiZLt0jiW2gX5PxMBLtV88neMLjdKhGP5pOqq7Nco9m3eFfNs08MtUr+pys
HPhvx35X8rXjMbukXldtKVjmpnvGJhLy5I9mSyb26rhdytXYpK6ZRfHQEZZVAwNcq1f8cxUe9jnK
13tXe7t6Z+0qhLXJvWku1YjR6uDuZrNOKwaS5eBHs2A9tjY3WMIm8injBm/51J5a5Wl3G1me8Esu
qWGg3/5sAiWrg23s0r+2aglZpvDfD+d4kTeDVmXNXuJWA3yNW1SrD/ZTNXNiGMjuT1x6eLNbRH4V
dmsJv9caNnEMIVTcOxqAxbm18oFDna6FJs/EX4EV6TBpsYCnZSXGe35IzZ69mdcLLhzI6XlUkUfa
sUZ+5kBZthTh6VrAzLmtYgxb0PfSuCNPr0jrtChmATHe4bn5oJyggXRXUMoeHX8k6H2/EZARNPoA
SPNBK0kCmHSCpPK3+F2L9825diTYvZt0ZX4E49xzvPWICAk5jzx9dI1sy3OLnahJLKaP+jCM+/jF
d5UMErXIboBgopwOAy1AC8yaBXiWyY4dLMJuPc+Zwb/9sTGYt4ywvY9+M3YDPvwANqAdIAu4G2TX
+oe5NVGQFVsH26CZQQElGJHBM3mirb/nvW2mbPd6/TFk3TueEG+YnXmete/pUlh+dJI94IzMkcWE
GY0rBmecD0/lRZR80CNiFypGCGyVzmqxrnfwNeR/tRNZbTbFfVAjdQh2/8We1HQ12GnQRfmEmbFt
G3X4UPp1iUOrQcXjzhXnRB+UVCss1scpG4JQnnHqCX0o5MytziTbxGmxgE5OAhlNL/YwTx92PeL3
00sz1Q/xUGsEtswL3A+xp/1ffLtBd9fSYLmZpkj6aG04axO0Tvu9MVr/9LyR7DaC1yOZeWKa7Itl
7ZIiuCrH8BUtrEWuaRAY97SSxjGcViriJSO+s/gAXBq3YMTWzruEJM9erLqW86UhxPmdZg7gALsh
w/BhrcAmclEGYYOj1DGAlfHcNsB9Joq0yNbuzSPBcyZgloY5dClxEDBDmsShHaO1hG/UB2nTWENx
ribbxchbzJGd+l3EBVzqwr96uAm6q0V1mgREKfHdd7uaThtKWIOxxHbfA/jX1bvcgm5xmaWJxyvW
qn1CJdtMVGzT/F7FUt2xfi5etoZ7NNvC2nluyjb8vEyiX0+NbW/zw9br9Z3wNJYgDex+f4JZYcLE
2YVbE3Lic8SW/h5aCZ8FmIwcKiNSXI8ltd8NrpPsg40yo3YmApRC0Rqe0ZX7qZznfAQnHlfeHdeB
RqgbyOnVLFBSk1AIEx1Q4UkyQdfVEZmzegpsiDOt/XF1VPyzrCO+l8gdGFEyH1Zkh2HFBGpeOvwp
wdSry7oE692+LGZOo9vpdRj3gqfgREUA93IbiR4ybcXwLZ6ZfW8GSR2JK8NWHGuwIf1x4h/hgl18
SCDxWDvX0e0GXBKmlB835UmoC8y9t8sYCbklDakXLU4R/HXVJKl1Iul3wSUPd9Qf1iwhiEBBmQ6C
r5XQMssBZ9x6LsUPJdbdJnpataWGs5HucocJMQLEuAN7QbTuDNdqvVcqYje7y3E+qiraGJCtDJiv
eQM0MyNwl7wwHjdb4uk9fEV2NC1JGMAoet/K0tiPLWuz8m4u5vA72rWY7PHencgrH8euZhZRjC0y
52H6Vk5ENZFI5/FqdPn7F0z1QmXLEo9LEvW7BuG0Gz0lHix4yEnrsL3WW7hPmdyt9ce8CvubcORL
wd3C+xogCyScLgyYZk8up1D1zXywe9t7ybcdM8Rtyo2kjw2U82DVdlAdsJxYD2QrMi8XMU57XiO2
23OzQKE6rn4PCKrCY5+C1N9uGehRdJ0EzIRz3Um+G9tpiw8V09cD881mPhtfl8WDLjokBy5TrTZx
VB9Xh3pC1XJhJrNe+r5wp9d97ZR1EPvg/xQ4ZJwjNZ9lv+zWKHpChvIwx39RTi9+zCIqWxrNlUpJ
QXXU7SXlsNZ5HdOp70WfEGEaX3mu+lOKTLXtkOM7znLuMNUtR06NUGejXDCgQEKu3EQsjOTOudki
xO+z578MeKTGA+/fOk+BGeZk4CDH7mzMjUulfJXmAX68i+hy4G0Y8CwWgtFknecx2qdvDD7thz7U
Fhp1lpa4MqNd989FG875CUl7yVrT8Rr7oAMHo4hHyBRtdWnFcIetFQigrCYGEJpEiFOu/LDNLNai
9YUPGOav/Vy7FwRo+f4wmM2UT0QXBCOyPseyT1CJnV8MnTxzXZW0LWBWiugZ6bduJqaVBSUhMd1H
3KSTOHcw8Vru0cr71tB1zIm20BCkRMDt46OxNirLXvnFcMabN0ZpPjiiT7nZe5H1oATaYk68rQU5
U4al/Fbgb/og46gzqRvOoX3ABTa4z3GnOdPZo+niEFqr+NLUfhE9K9XV4xGrF+cQaI9yOVfDHBaf
bVZlxTkwXfk0za073HGCM4cRpbs+mqiNm6tnfMjOHSvCPREr3vZjsxdOcIiLfTb3IHIjde/tjDme
jPIrealauDmZy6bhmSw0KoxSjZF7gErWs9euotLcE9rhl3dDVZoaOTT6plOvibaWrq6sdCC+WqQV
sdevXPIoWioksWiu8LjRhFWD3x+dHq+l49JopkuwhaR7CGXusUHSRPAMdpyHwthLzvTFi75N5Q3a
lW82CLVc4o6oo1Zd8s6BvQ6lHdiKbTfB6+ANZI+XPoKxjIYld84lYCMChwe72DHwrkRQ+xMgQbyI
YWOSra3373bVYKswVVlc0ZuS9Leqmq/QGnhkm3aOpsRG4TSAVuosK6tYAWd4tSrqnakYfhb+jUGw
ShCuj5ChPNBEe/vdWw1d6WpUhFBq6usy6ax2+LmO1G+XvrpBxAJogDT6pFkVB0OghcosKy/aY2xh
djt0/gbWJxKCGA89aD9ZmlzDEOmmfb42+00XG7T++P52N5hkaLHHJLUp1Ef2lcM7hyu6SoNd1RL7
32o8zuZotUHs0Iod7Kiq9aFx4JNAufOm09SvVZVNJcpA4zjFL9OMVXM3zEOjWTd63nWSog0z21eq
ulp1bPCE4y3yUz9CAYKpcnFTkHcdirXJmp8Lg0/1iPWk++bUxKicVOXb9R1n7/RiaCXCbKrb4MfQ
GccqUnv37Hfx4rd3FRzlM3PuLqE+IQLX9AQCfYuD3X6sVirvQyvH9Vj0tYnexxNavzTaFfsKbdMq
ZEz0df8rXDfdwUJ0oGhWlgKeMUf+/n4pZrVc2Cjl960KxzCpXYecpxIZrD46zkA/OxaVjLKwnsUC
FGkX9bEquB7SPOrKb7NQQwDzfBzjdHX5f0hO4kO3IgLGk0eu/6Mi3vrj7LdLeMPmre+Y25Wv49Db
/3FVNA2UkKDvDhh81H6hlJ/Kx0INHWyyYJE/tFPqs78J6YFjsagPxFb2W+oLo9eXnNrCTl23nxBJ
YyHvk8AZHPeE5QEIXkMBJ+5L3GbRvegG3g6hBkucVFBg4nQU7ESS0DXFTZ1CmfpEEHCM9Wza6oXK
YyMKZWVs9+qj6Vpxbu+kpnG75PDhYu3m7TNVUHPf+cTZ3ZcCvE1MHec+4AgWM9UzTJtny7iTCxjL
glfgVq55HeyKgYHnF3o79TxaxAe2PN2YxagRMWYUVjxlXrEO3pNqtuC01jOIEFLH4urMHRN/8dCB
Zjlych4CFC23EKYG4mrvknmTDKBPiw8lBtnDjfiqKDFbcS2BdN6CwvrCJ/ZF2zm+e9fpr35Jeg9w
wz3meGKRd44E9lXGwkyBPGhO/qPu975P6gplEgGp3m6Ovo7LO3sr7W9mEpGVzFQ6V5RHtgGN2ksI
lmyy729jqeLgmMrZsiFyZfgab0z4IZwZ1CrK5dQPhNLTXWBDxjjtyguBUhKolfmlY+5yqFgwdvvZ
AWfaydvUFxVlKPC+LEYQH+tH8LtQco48DpsIKJtk9AxzrN6G5qK2Jpa43GKbMXncQXztqzx/GbGr
Rce8NMFlNGKc0jrPl6/lznzhOLDw3+B6QKx9KnuYQO/jYbZIS5ICWiqjasGsHf01T8nIfBnjjocV
NRZVAwRZkXblXNDXFHKZDrMSefccWRTMl7HucvciNl/qxNrw1x4GR5fDed1vR6aFea2j+qBfvkTN
jB35ELba/rjSym7ZZKh8ssVRaj8qyHbmoFWTfyM/nGNwbWmnWDkgvE+tKK+hTUJZPbN6duEK7NCr
cK8wNbuzgsqzn/iSxfcS2nGehCTrbgl8hrV+clYMHylJwM5/LXgixHv2ti8vucqrEvMwZKxzLavg
JICR1Zd9NbceUU/yCta+cQ4OexOdjLuzfq5MbMZkxeDHY1AWKAfikos1UU4ZJwZGWpnOEFK8tBL+
+GkPy2q7LRmD8bDqgaOhDxS964ywtjyOaOR4NAXrPD1OM/7vBF0NiA+3t6qHVSwG0lJURsNFjHTD
T520m49r39TfvKUJyEMgiLc4u3UYLQlG5HC4LLpyC6hjpvzMagqyjBcuvDxBJ+/3ThbsFWi61yuN
zswCDyZE1q2956UMqsprFavFIj299LANDoOC2FaAU7hRHesHnDr5HQAloe7tdqRvz4dF+deA58aX
iYVpdcAJ7n+PGfgVWVvnnXrwPYYiR1JAiw30Ah0+tKxmZ1jHdHK9Axzr7y+qiVGlC1y/bqIZyIM5
Iy/6jgvTcB5b4SK+eHpsPztbyUKy4xb1nyqrJso+n7bZXJyi7x+a0mqjjyNWaYQeYTleZdco6JtU
snCYF80oMAyLBbogGlFIhYvC+rLqXv5cRCiwRvlR/Yu+vu9OSjV7/hisGyvYjuyp70u32gAXAid6
LGP+2ANvzY1OkBd5P1VRNjlExsB6QQHojycmR1XGgjqnaFulsR+c3Y62lB+FOtwTlvcC/UQ4VMdF
/BMtHFyHwrS1fb7hKvVpWYR8LlUA/HBlYCxpDM1MvbvPMe1Tt9yN7e4y7hJlyfOMIK7pCClxgAnF
J4L+1N94pPmAOuzA5lv3eE9F+xOhzX6J5Ox8ZzaIjEXmERY0bMhwE3cgdTXUjs8QsRuXrgmk5jMM
BfdLPa5hmYboGVW6zhpo2Jy300qDj7eDWsvS+lra2q9SFepfjLqNeIm9aoVWGhlrfPV4OIXZiDyE
YNhdEGqD9dYjEkezh7/a8w6LgFI3ggVoRW354HUG1K2RY2GlVkWHc+C3Npcg5/kFqSFS6MtJAd8P
K836O70xz7hG07C2V1UO9gOA4OqdAetEGUAWGO1Of+Pt7JZ7GoH1wjetIirMLZAWs0O1rHnqFw1d
JF1N+Vwo0boHpeE5HhhjiAfChKrhyno6BFTm2Z15VPEoxkeCR4PgIOdtoaUBOD19m60GtsIWmfHU
lyjFpbKtr21IQDqCS1OcqBC7iYmIUg9oU7f4kiNLrakYrC04wveTfaoliCxu/WnxbzMLESUM9/bg
NCC3Fk8g9nDhTHu/AY4R6xZ+Yoap2mzwwKUBqmmH4cwnJjx9Q8Gosxyf1XIdpBXgqs49myA715mr
cyWbML4Isr8xNUd2zgii0pF1X+llbI6BMQbCHyfafrdAof7pqWCh0sapOlBJtLN7srbezRlWxOR1
P6mhtC/UlaBuJxjpT4aqyTmb1hUI2J2YGjxm9Km/DhrlzKORnpHXNejVZ7+pyZZXk1smZTeVxGzL
wXmfe2PxskBxN4k92pqWgey17Q6T59SddOEFyTjyTD8MtkK8tQ19aSfQbeftPqDa+7TbIc8mctlr
N9VBH7FdDnc+Icea36Q+c7MvMAijT6JbbxL5nAlU2tIQQs1z9JY1VMPf+6Ytv9v9XHwl4llvZ4Lg
cjQ4YVv9YMQ3X3wzO+II0WDj0oyHvSGusJ7fYRcCxUHBF1aJ4Zdh5FsSrBexDYKCmxe2JosuGC9u
7YhPQ2PvP5pqnMaLhixq0HpgtT9yP6vwVFRMyFNnmbz1PDSNEXd9fJt+Mhg25QNIxaXPSj5VdOqW
0f7JkNXPP4uBOOKv7G63/J7u0SfAsXZm59h0kNFeFZokj0ZPrMvP0AV+mrpVEXupY3yEqzVXove8
D3s7Jo1XMQenmNP+sQ6FfNDNwv6P9XDzrY9L5EbBVnapXH1xAgMfdcwhvdGDSh84J74MXmZwclp8
NxgZJYwqxqBQ55sGOc2PIx9LEZr+uLOT/rqsOCuecQrBlLPE0og7Ssk5DXnmZCNQOes4MGczhGsN
eR6eA7J/fihXByVhV6qbfmz9NCPwMe0GomIsFuL5Ipu+futaqHWMAZr4oWRw9ZJ3TajYkaH3SGLW
IJ+Au1XbfW4w1Z1Xaq2URxRPBMOkzf/ecsF+1Lkzq8zGbn8mBTKGVjxPrPe96obqLKQ/uykWe1v+
WoO9bhJwLK06BkEX7nd1FZflnjAf93PESqM5Vz3LspTIPMKT/Kre0s1xrV88jemnlDVrKG+oFe13
t8SA6nHH5FdzE8fqXFVQUO670UOytA4M7BMhmz5OWtnaCiTYpN/rDoz/oQXBR7RAqaIo64GyxGld
5S6c+HIFDLiCrUDwGHntfLJg7y0HJ18MrljU0kSzt4N3tVrw9UkFB8I6cGCPaQDdyDuBU0B3aqOa
JKepZ/0Na5G767MZ99Kl4yy8/AP7t/4JtchEFvQ8Ts3dvCgP7i167uokpyZ+wjYW5oe9CF0rMVMx
zhn/QB9qXMP/RViZYrhmq39unMH6ZAYOLsBee2NSzug8p+1yOdSYLZOpACyteS1Kds7wF3LvYkkD
ox/jqBcmM5nVj9XUjoQ1bnoyJ5+VyHrYcqeLeRjgteMGi5jOeWGh9CVfVgjH0t8YdOqwQedi5mpG
+utvYZgyO7Rq1kRI4tOePfCc7uHIbG5xVmCPY1BVdBpj27/gdnTaIzy3RXxbnVC/Hzj6Po8O7JgM
B+HgsjCavIfSDaC6y2jdP27lEDlX9MBlw0qBGDiUsJ5tkZ9EtvIlmlXZphOYM+dMylT/H2MGvitV
TrfbCUB2m0q3UubUtjI66ZLNXALhT8anCR0z7VRfFQA0dL5+1K3o/8t1YNinsrQUwCxFfjboi0cC
uFzalSESIyRLE/l3cPx2NrEW87IDNHBDISeg+Zy422covIHCZ6eXIPxJJzSst4yBPqDjkCa6YsBC
QpL3Nfs20Ks9M+m6QAqzOnOdsVWKbmNR13mSiks+Qb3JQVmFJSKDWwP0AKsNGrkyTkFieqy2Yynz
pTys/CcvbessxI71sikvppflvS3gqt8HVTz+XMGIDYdlkZa8UrlJxhbY8Y8NJ/F8JFMgqs/twvyG
yRpr1LTcjemeSmGjU+r5nOFJIGH1j5FkB8gOoRrvWR8yJ+y23P1VFw2Rmwdx49oT9Et8E7AY5AsE
i4GgrGa26QfLY36djNaW2ykcZw+u5RYxiAFq7dFTQS3IhnnlG2/XIL/qVdlFpofQ/kp8oAJ4u5l1
+Zd07aab+U3oBfcNzf0tzBexI/SI33UQRWPTszlznPU5MyXNTCWdlmC+2la14B/six9gb1Y21Q5s
YwYfznHtIbZTh3nXLYzI3DC7e533PST3k1i3bpnKD4p7lgK+KL44tgwyX/fEjLS51B/+LkS5vbnf
3jwYCsA0sQv+CklK+EbEIdtNhgvbEsjpMMql61aXUoiYtc7iXaSWLFE6sTI3ZXn3DwmJeCt+xIt7
U1oGvsN2mL9/89osqfbIb3r4xIGrn+YAiVo++Y4LKzi25THkibWiDmf7XZ90Hpk8HcNwC0+tMJ53
xNwAwqFy2xCOsOrsAKV7xGifLhuJnAFkzbFDkV3d8aArXrRpzftauGZ/dKoa1i/1qmko4hUC5tUB
+sI+I2wLCj1GdETvqGU8lkseRQeX5Q8LFpY0QTbma6seoZmXnyBC3zzaw15dVmtBHr4Rf/ehwpzt
EUQz/fCQMyUMdLtPiGDnZxYdIyCjeiXfoFwCtCd6EoQPIC0lF6S0+ar5kcLqhRJlH76VdR5GqQ1M
zRxwMdTf9nV3++1AsW11nxk64wy/YRxFUgZ986PdO/TpzubZz/OSI3thfVsvr2UxLvvJ8ZFdcULn
/ddgjXAc695YX1GuoC6/RdrOjLJ90zNklRYDba/JnWO7DMOXOoRp8S/F/R+6odvPTuSSewNE3GyN
v98vPrNepu8Ce6e0piNnbHRosCNdXL7+zJukkxpwOt/HuPmyhEP1089bceyK/QGKH+tmUv+eTMV7
/vuN8Icj5HY1kk8KBMAHLYIG//e3VTIzcRkdrkdEKOqRh5n9MS7r6eQDZwEnOugT4Q7sF6N4BIY2
597HIDQQtRDtJq5bwkp3Tev9Qy73VozLm+LW4DtyYYPZoEV+f1OTq4bZxqR/tKQqrmMM65ZOYagv
JYfiwdB0XgIUN/9yIdzuvN9PhQArHwlmLm5YAI1vpIIhycNa+SyztGKoXY2ayrPxx0e09MhJ8Duz
QaN7fmcNsroO/vKJPwbSaNTt5yIUNghUJ34OGltn+9hQK/39p/q/3h14D85aOGL8YG8uIAcxdMMW
1Dlywj5BcNX6UDXt8KBcOS/J31/rD5cl1R4J4CGeLqhwsAveyKFLlsylNxcc2tbkf5/14Be4bzed
TYsN5nyjVhuq3s0qX20P3S3OKZJKsJ3O9+zvb+XPjy3AFmH3RDVpCzAVb64FInGNbxOHlFdmem1o
3Rk3VXGcRMNe//j7a/35WIhchJDEg7k38/Hbo5nh5Iy6otyPnlA05gJ56KFbSC449BirOHia8vMc
0fHPFAP/eO0/tJgo9OPbN44wEue+ePPz6jXK2Tpxzc+Vf2OEswCI3KUFC6ilzmBjAmb/+6d13bfX
O156JtoulitcD/bb28yZSxB7ygHCO9eSXxDAUcmhZPfZ5LXU9F41L5e5CO0F8V8zADHvnP7EAIsW
n5bIvnSRT0XS2XP/v5LuKXi2rabRCQB1xpQN5QBXDZsAYo6pFdNcSlq+yp9GfUVGJq1/uUnefodg
TB12EuTRoPnmonnjBpyalatoKGngkTp/p9/ZO/h+2Kc5/ru7oQjMlyEaUFm2G2daK8oOxVjMNGO8
GWR5/AaH2VuYBpM7+jDPlvd1FUX9D7bk//Umb4UHfkX+Quv95oJGH962rLlPc98L57jJat4+2L0l
CC2bVkdfMb/N07e//9Z/3NB8NVyiLjGCkHAifO2/vyryJXv0If6cFMFjFyY/isrMD16p0fJsZ2H+
4MF9Po8by5OD6W4No4HweWYZ/S+73/+ak///cza0PUBWnC832+iNPvv7eykst+pt1k+n3LGR1/Wo
A++gz7sPAVxnca9Ct63udnq+5pE7IndOOPBqAdsemWTaCLYYhxhXPPkMlR0v9wheWWKgIRudu0XB
a002EPfo6kbNMW41OnhkvyL3Y+hFergYl+PsQNqaXZ5drcD8VQg4DuGuGRur1a3GhxaRg7g2Pufc
tXYaN78PdgZsqTbMdw67b+AjVEzmXPYMHhRgGtBbnI2hx7pHfK8/B6Bkti/FXtv1Uz92DHRXve13
ityX8M7zR997dCeETOQ02OF9waUmE38u8eP10MFRccxL+EHg8c5TE7eBeUbaVq4J40ucESNG2NM/
Lo+3R0HI45Y83jjA0k9J/PaUJcCe/JpxteHNs8OCMRCTE87cE5tZYQuIVt6A9y8ZAjtaMD6VnoUg
UEYmifNqlnf2GpEmOg72uPyjFHh7/HMOu54Aw3RDQSCff1OfYPO0ga8V22knOiGdpkJhTG24W4ub
U/UfBwgP0jdHIvANvCgARmhtqD/Em+deD+iw1eFUnFCuieEmAHP6p7wfml+tZ6kt8zBFIOWqUYe9
zORCfoznqIquMwPC4mlbMKScmrkI7K9FNNNvrwFioxfmb+Vj3CKrS4q4APndoElyvvRWJ9f3Q1kN
Mhsok9dMKT3aWUBWlJcGxqbc1xsspIe8Z96OkeV/v/AeCNjjbufFksx8+3UmVgMQOW+M5Rb8b0Hj
fJyB1G5nrX25fxAO8u+DGXyPvR5AE+ccN3F38i0sbeltPfo5dvLoJ0RxpiiFIwDZFUzlKOy6abMy
OG3tV7ctnJPthHl4lc6GCheTVk4kX4NvCaM9RBNqf08/IeEeA9bn1FYnNmKgKnW5zSH7qGIm0tOz
lvyDZml/Cpm7yyTY2v6/1bOX7ogGaSTHpFTD+3h0MaQMgzX/Un0rDmqPjfyPpwYTnxbWd/uZNY07
JFNZOQQWVHWeUA554yfVBMWloH1qL/4cLK9er0Iea3ne5xdP5OsPj5OVI77HIp94zTy/j7wuNhfD
9tBL2VLrz7eHVXwYUJiWSVAbEkt7v4zgT0fS++VIl3Sfvpq2nx0qyneebEbxo2ki5OhWOYTw7mcC
NGqc3WSCHCrt1CwhuFjuNwaSDWlmZg0PIsJbmiG3kQMCrHw++qLt2K+OK3NFlj90MUh/Zitxo8qG
nta0BExu/8PcmS3HrVxZ+1Ucvm6cwDxEtH0B1FycKQ7SDYKieBJIzHMCT98fZHf/ItWW2ne/w3Hi
2BzAQqEyd+691rcsIq74KxzdYhvljuNf8aXYuxxYl0g3hvKzr+gDh14xmvSz3Dr+wga5VGvZlmhy
XynCQUH7Gs5BKDmbj5hncRybS0/Yk9GmR2/UFn+Lrs/HR824jvVskLV/yKEdFRsn8bs3JUfmjoUh
OEc20By0EAEccweEa/10btiAEkIfoG6FGuff6kBfwivPyVALMpecuTnRY/cwZKVeosLKStKvvSxl
jdV4ggFnGGlRRFlrVEwvxsVbItZs3oakdGykxGS/mRvGl+LGTBG/09chc3CjWZPstlrhzHVkuV1x
DwKXPq5RqvTsj5mNfaBxnbdFklrJwEMnq2iq4vmaPFWGvBXLqn9NjxwhjFi0G1V57QunfzdYO1Mz
T0DRfbWzxTF3lFGcdTwc51Ft2yqPZruoPQbEyQjyaDSCyCwLyqcpiU2xla2VnlwjM7Jt2Y/I7bSi
/BS4cj6WyAi+oSlpjm7mp4yFzQwMdm3BSzmWFu8gAJMczSU+Gb/eaJxjF4LEq9kPmRRaF6npBOzS
Y4kQuHe6GqUO/liKb9gKp5G0yEfasQNpdn2t7nQj92BaFrVxgaRTazdz7zXlBY1LeJHe4nnx3WQu
SXCWY0fAGcoWHlK/XczPMKvpqHUpBsKQhhq3u0S2iKfMELratJSxautmSjG8glTXMvOOsxstz5P5
MCtaWwjZpNkj8qLTgYUHnwKhf3HP3XCWFKFRIFiFglXO48V2d1HW6TxtoV4S9EJkYHmLar95tmmS
eWG1OM5dOiq3jSxfVOdldc+HOiWCtfEytCNho7KJFBlSLk++P9qbEivAc0FNWkYzaZPLpqylUMdR
+vkzPS1dRXRfbEEOXFEWZMyQeYFVkYi72aQlMNXmmkNfpp/zDMPLISia9DMmRiw0cSAmQrTypX4U
El0g0DZPsfIxTSx5KnKebX69/zClBG4wEIrlEyE72PSQeat8u6D82S0w6putV2RE7tLK1mMC8GS6
oLY05Xzb20UbbOPctW/KWjDiKO2kuuti1zE3rV6u8pAFrXS0znJ6eN2BkdK/N+3XOqNu347F4tVH
w+6X58lNKEOIQSNxD5qX+5QjyEdugmRJbmjh40o0e/IQk3FigF/N9SwiAMPmbo5phUaGCpytxv9R
RV7tIchNdKd5dROHGkkR8GFtEM17t1OmWH7KpI+/FAWz+mgAUcTyAy39Grmbg8dklsvDAtmrCJXd
mvfUbSCq3ZFOxBFS2KpnD/ArRYvTVhuVMEWkfWVqZqh0WytJ5tG9/MysST1KxbSUdVyp5I6UqOxb
Oy1kyelVkxzcEgInC5Y2kMyoYsN5MpirAJlvoQSd4C9o+CpdwXbEdO3JyEpc+iN6vmrLqNPd6DOj
HtINVP3U1ok5blq/RJXOMsW02YZJCN9jDuzlpil1sdMChEvRsuhpeph7SqUQIbeh77TaKjicMgUw
9/mIzW+ylO/uErtPXLJTDSKZk86s3nC8dQhi8pr7nDRoIpDb5K6PJNHbYmE6zS38BdyVA86wxUzV
2sOumlefIaxOy9e0psidFYmWo2vF9qe68y2F3noYjRtlLr77ELs8ehHeXzY1UE70toIxBinvIMDY
SBmLO1Ni5sEBPqp9S/XQsZBj1Vqj8iR3pKf16dWkSN7kzP2ugg4B0IZbO3yx5kyL8zAT2ujtUlYJ
fmYyAhh4Qsu3rafwhurK1Dt204YUnpEkn/ScFLbxYExzUBxp2+P/ol3fv2botEq8F02s3/o6OVXe
EIDDQ4yUkBHA3lmGBFg/9U5KxmlSImbbGV6C22P2AWGhb81Wh0dQMDzLhbjLWJVf0X7LlJto2e5+
6vBwIN8t092cquHRS/T41TGWQB1i3tJtkhX1S8ZBcdk1aVG9ecJH5NfyySyimjQeDctCVRDVgre4
ZHHK6IVNU+rpqD3Yu/BhOP0SjRg7oYNPjTp7HHmYBhvLOB008oFk1HP45TQM0OvKzMH1PIDrjZnd
aqrxdv1Qufd9JguSdm3JOpa7VsfPk2354C3zROKQDJaLscrgcwIDKo9E8dpkSoJv3bd9KVC1Vo57
UcewJCPdx/Cwixcbz6RKfax+vjKRPmuyl6B5635ebjHz1UAHu9YmYjZVNuG7WTEzZ3cDSR4JIMVv
qhWNH85pbdp7qTKv5TnvaOovuoe2s/d5DgJR3xuFNAVytKF7GOs5X6gYHTsqzLVDBO8+SSMx14zD
C9krdGe0zkqy1BrV7HhS+AQJiyMfoQbzeME4p3kBcIXzwFD66FxrDJWnyE9n42pBUMfSsxi12pSl
kSYXZV8ObUiWZ/zFIRb5rWE5ccJxkk51LufRvMEMx4AH83OfuUTrWKXayLpR8uSnoD43WcFifQEX
o65XxKmst+wHqb01J8OOr/jQLz66uVFtg55F61JjBn9p1HPpnIeaYv7WrgTZRkYCzPPkl7xJm/Uo
jYwk8ccisnSUZTtTtg5JPPoyb4JMt9HhyMp/1oRKdBYnJBBhCRjGPyQiS3AAz+miUW4AAyJcAXVv
GXqMa4KrJOYcsTFMY/EjNWXNcp05rqqIUosHf0tVTUQZBXpMTmhSDfj+QT8YG2mibtiilySXd1Q5
haLQMas8Ex+M/CMfq8Zg29I0a9OZdn8JUlorTiR9pC+LPpi0gYcmfY1d3usId83QX1QGMtlzU1i5
ew3yyB3/7Jx4HLcZMv7xWMrFvtVkajt7KqqOVR+FmxrCGe1HsaW0CT4biV0eVJLqfshvsfE4dUBv
btIu8RlBjGapb4kT5bulpuFusx3Zi4vUFoG8y92JKFWX1Ws8Tn4ukk8eZszVDllbYptmUi+u0wU9
yWUBLTbf4Q4R07MxiprjeDf7SYkGGvSPlyfxuGeIV4m7HDw29oBmtIyBoY/bzTuXdFqJxFDlPqPZ
xFgDr7uA+GCXSOoJIb823cBnbWlp5bK6FX2HjJ1g7GaKrInZFanP9Euf7MSublE/4nVfEqQBlJdp
8azPIg1+l5jxcw+JSh8di+F7rhVA0XjfQSlF6iAPEMMeqVp1BQTiS42BbwqZGeubOlW/g/OujbMf
OzaQQ5gTwBHxAXZA3PrQGQ84fOfTPA97OWfjY0fiQMROIO+mpB92TCviIQrK6RnOzHBJvfs73/j/
dnkaAMDFaB3RqfzwcgffpcNM1B350RPypaHSQFx0tt0+THbSPQZGJ/7M+wrlVJV2F5ql/fnr9sjH
668TG/ojiLm5EfRn1+7JD3wq2qdz22KW2tOuqfwQBxddGOqxI/KnfgvFo9kufjWuajw09dSWzebX
f8DHtsTaBWE+Q7Fj0JUmxuL9H1BTTehA3mdwYajJkVyLk5bW+lPAS7/w3WH87LAX/6bz/hM6Yb0q
rSBwYS7jSsr891cVWPNMkvFAzWvZIxOb9DROJImYaFXTjS4xOQjp+2dpANfIkX3fgZYoftP/+enW
Q8FzvsMTQBiTOrR+/Ydb7/sTZmHemX1CGVoR2gjU7axPwzhFABCb5dxAjirvksZuvxWB0K9BqvTd
7te3/3vj+Mfnn6IKqAnoAuawLk2yD3cCLktZGQYycTk7s805ao151dt6Wr61TjONd8hWTC9qaac4
q0eu/9OkEk93ObCm/rKXnZFf5vZkajdZGVTdn1Nf55iAU9cTZ2F72XKgBJjHcAx6CDBjveSEptee
YvFO0CPZicuCq7XzsM0aZDGR1hu5fl6Uj6BWNUk17Wpbd+ODBGZVPGC/sKtndOK+eeXLAeOFk8SD
ONADrgFfuOCpDrk3THaUkUI47IYqsHMs5DgOCSuzS33CMOxUTwzeZ2M7DGbxDesocahTi3yQPHHD
+ET73eC4AzUlP2ckJzu/6ZL/NJgkqQWX/srzh43jeN/jq35443VEtLOXTTjLwDpvFMqYXVwR4ug0
ZvooEYJcOKQFnwbiosKK6voamjzBhPU6Ox/mNKr0ujr8+jEwfnoOGIQxgPMhXxL2SHPgw0LQL3Up
NDh0u6Dz4TxNOM20U19KQ3vs5wIugB+POCPRUTaRsIKl3A4eldFVS7+Mz0gJK/RRkVDRHpG1zfoe
9Y7RhPZI0+Mb3uru0cc2Lw5zTMNoO5Ua8dPEPKD2VMp5rgfHd6ldveZJ69qcKESJAjgHlNvsRKEv
8cE2sRaEQ2OuoeVmiTgDTgaKlyKeqQ3JqS+3eRrX6AaHbPTO2DWm8kT3w7FvJ0uqepfb0GXv/d4V
zZGykyTvoK0Sm9w6a9LCXpP+RQb/0N6AsneezGZpc4S+jWpplg9x+bk2POIx5t4eOOkC8Gh3FcFs
uL2wwnFEJuyHOrPvHTQXhtnLm5lC1Ttx/GHgDXh6kdtZyXa4ds22pINYNu2dLWudDRV5znx0AQG5
j4MBN0to0kI8hT7DfRC8UY/TWFkvneYM9blTtF+2pFLaCRJYM0525cJ4BYV0hy43Matl2eXIy9Kr
qW8nDsjd4n+yR3t2oqwWy13HB4tMeSAi7kZSGyS7ItboqnlOMaWc54YAD7HEp4CYgWEYc8JgvHJG
GVQbMA10zOFDtlvehSXe4DGcs13n+MNLnQuywHuQKydlCESxQyK73aBI+42o4ngJyZC4KJgmeJ0I
BOwuDOLC0LYdWPn0epQgbk6VXvCYk5brjpEn6mp6hXeKej/kAYDNDG21X4PBFdLvC9EG6/nV6DSu
Jdx8j37Vn2/qrNPrMNW87pkjGYUw0heUcF1mJupadEHj3hlDlZ8QMxkox32XhF9Sm4c9oqfK2MVG
JpJ9qSnDOeME5EWnQOJSYlmL+BmrOwz0IPPtFiQDNKqiNeI3O+nxQ+XzhGBsgtp46nLldadZa5Ey
aW45PRZZN3ghnWB9+M0u9rFUAnBI3eus4TdreIr1QUsA8bzWk3QR0LWA4wkVtLdLS8oL5cxyLHnQ
/s057no96oQV6sX7YXgfNiyK0WEYTa5nFZp1D7/4dcbnkkQoTr4mTjt9/fWa9NMQl+uRmeYHBEeg
W4DB+n6D9LSgzoHE4IbzHIwzXquuExHsWnyQn2UBWQao1Ui2ZDBWYZBOthH2gan2zNr9z6YrXjJP
Lzkgu/ZmWjwQs7CjpR+V8ZTGmwClXEQ9VF1k9VheJNii8Zum9tOvX8PHsfv6EngFJimKHv+uf1hV
OZ/FyZBB3RMK7AtuA2Pn4YvauN5Cz1WYANF02oAXA7aE/a8v/SF6jrk3ASGI6sGvsbHDYvswja2q
AV3kELu7MsVyg3wxA5DbTSUOslh3huCqNEf8RMiNkbp2rkDroU1yeVZ94wwbs4cCHlE0QnbqOGNj
1LMG88AhE28D+K3l1c1dnjV3oTGB05NDTIS/J0h2vjMgZhZkc1/WqReAzaH/9LuI1p+efYYA3FtU
IyxBhvWxbNHKMRZlNda4k2e5cen3/CkkPFfDwGiKEl2Tv6lTrXUc92OhtKa/rBB7VGhUjNTM759G
AWsQ/JBo9tOs0/WOBXEzJJ1DqcN5yUZgt1N69mhHFHtTtK4ZSgora4MDyBq2ep9mM8mxOgYT6BwB
cx23LR7LLrd7FAgppgHOY/iQvcTCZLQwrH7UikE9CLNJxREpEc36tEqinFOxTryZU3BmtWV/zNBw
vNacDrfTOj1m9e0evz9I/1YU2XX9Vt737dtbf/lS/+e7cLG//ydI49eqJlKK3Oi/X6avbYUptP/4
Xe9+qPv79y+Lt2rz0r+8+x+MDRgz3Q5v7Xz31g15//0C//zO/+sX//L2/bd8muu3v/31tRrKfv1t
Iq3K9/FiLJn/k7yz/iX//Lmrl4KfIw6gX97a/KVkofzHLzx++9tfmZ7+dyjZGj0WQMhd0S1U8Axz
//qX6a3r//ZX5w8qO1ZmjvekXZrfxT3/DCWzvT981lDOWmsNuOpM/yeUzHb+4FxC1BI6jzXtCcbg
f7/6m388i9y4f0mQBr/27pn1GFtaHPD4K+DmYKZ0PzyzFltWY6SmiQV+SZ5pWYB7ZVJG7i4AlirU
GxwVQba00YgkMhyZC2Nn0LwbuibxMQHZsa1RZYa2ITp6pX19n4BbrbuhOhIkbVwXqgrOmZYLgMrl
eCn8vsKI1MnqEuMB+zDKgkuAEVvH8cxjLQJ3QXPUjSeVLj7eRdFtXbJ4YMCMuDcdSxv2LFfZCQBS
vzMwkX5WnjQ2anT87lgF1Uzgl+WcGT3ec9TA1cdP76lHGGuWSPEpWUT73JNrscUmBGmnrm9z7AQQ
MgiN9BDo+JFWJGLvzdjr8w6vHqUdsR4tKQxhm2BZbExroN5Ic3VLbWaHnuviDwaREfZ2Y+9J4qhP
wGKmfS5Ka4dBZ3ydcsJnWst+a/ELbhlx6hFnDuBGWSBPLnJcmnF5v9WsdrzkMD/Ssm+wvpWG4R2n
0fQKPrf+WIeGRbQ0TKrkWS9n7aupLSxmdQANpMgJJDTS+aS6YiWHAGH8vLSG+RVUlHfoewtme+U2
wWeBrfjUpnN93w2W2Mz2mB/GLsNfIUxxyEqwGbEFMicZ5sNYleUxqWJE3WVp7XuO/Ae68PXD1HZL
NLSOuBTW4p27xGlY27JuPFRJ1zHNYUR5roDsRgO4yyNtOO3KSvU0wIVa7QnQIPgZFfsQplbBuHTR
UpfUc4CRDGK6zeA4f7KGuuexHSYGAdVyu4y2c2uWJsSPuvCP1WAFe7/R2j1d/u6MrXtVLmXuyc3G
nC4f7lIPXTDtxrJ9MEEEbOLOyAh4wr3dACWKYNDJjePHzqaxNOMTUtnc3NhAyJmrQX5wyMKrlbef
6XrQ5l3Kq6mo912feV8nj8AkEygCty4HyqW8p8Asmt3Uu/gjULpjQ2uo6cVkX5Zd7EQ6Edns6ZDR
vHjNdSoc71j4S3FMiqbHRAy7COfyvhhH/ZFtgErcxWY4BYahRczHkm3uYo/v6Txuk0raz1U+JIe2
J38npAlWnmOSlGWoM9qPCg6IFb07aTwneULwgRzHVwQXWFKEZRKlMZk02GtlHNm2+ybUyzTZi7yN
+YfTc+DyUnLrLRA8qQf7PJjJaLfMzNoORIbm4cx7OeKTN6EAq8ld6SLqi9kuetT1ifpamonzCSrd
l0wDRUZ2snVltOOZlKICugyKCIux+HUAH2vb5SDDsJiM26qmw1kW3KJ+dI3LplkHimVRH1yC7hkn
t52jQpxICTqIOR8emynACBYj5sEqN6CE6JcHcwTWG4/2mhhSMH9R1QEijLExtVaPmEI/V36nbyfb
i5/4qA4X+Jzz2yJRj14cABx3YFa45vo0cmCzrpVN4zXNs3Cm1NtpaZbdxACISCQngScEWzhcNYwc
h21QScqzEnHMI/NgdbB8YoZAeXtvjUqM8+wPjAQwquD7Mvs0wls1JQwW9f6isHXGAhNCsEtz6Nf0
XTF1xLBSoVwlFGDnJCmcONQzLI42yJF4WL6CvZsvk7pavjW4NFB6F+6Me7ZLImUjX8ZYyL6Oo/nN
iHNtE/D79lo296cyL6azmfXrkROnYJ49ZJrt1Jt0Irg0dBhrTSfQmmNwnVYzw0ytGbKnho/6VUUn
UkaSCfItUp1LX8BtYARtHtnKEly4qonxCXUVTyiRj5+wN9j1UddFuSeToKtpxast+w3hUIV2Mj0x
bRRIf8b2LHekUtQLZiwzxxulPeZD754XhvSfcOHuimDy6Sm3AHbayoSey6OL31XuMTdtELOIbjMy
hoFvmAwXYtRdaAV0yMy6tzl6ja9WAwYwGMBmW3h2oUww11aQbMMEU3qUe10AIQysJFjh5TJ15bgd
0wJOMHOmwC5fCbP8nHfF0QvGZ4LRrlDf3rtaCgYoEZJ2b+kirqOsHiLO8/Whz+oXHFLzJXZNcYFv
mT/WstqDnqJbHSzQd5y6mPfXCysl7YUrYsGsZw0WD4HydnFK/NIMLRXXn7LUm7+kTeEzincV6qIh
jxp86D2BU9VnM2+eg3G+yqbg2u9ZoNqx/da3DSB2E+YFC+OW1WICSOWpqwU2TiR4W4+50517D/Pn
bPu3FgKGHVD0r+WkxU8QMeGHZbAwKOsXtm2otwC3mI/7wcBiBgqc5j97o0Zs3R2dBIHYm4iZYcz8
2xxwZNgN2QVpgjlkMTZgZjPaVBzsNNDv69HLXgookDLMfeFFcE4Yh05A0jrEAKx2Q/40w6M6tbib
9747Y66ik4N3zqueh7oqbXITByzCXuUeDbO2vjLPhlLrlin8td4iF2runG9VgjUWjLF+y+Aa/QGD
Hf8anzEdBLc7mb6cT5Mn4sdqVI48r3P/G5xur8aEO7aN2cSIhbsVnmHdc8Dx9jAxq53oemAKjP2P
AXkuG793ks/NnDroompL+5wRdXYsnViVWx1ol4eFa8O67PMPx9nzYOoY+KCJOVjvrrNZn6eIo019
yxTdeynN/GbEITHuKKsWIyTJrSQvuWM83XtzeTMt8/AIbOmpq/hEKb8D2IRIgJ67EiGtzHxXtbXY
GiA6H0jsrg6iGR0YN5SeXpjZeoOUgyIiJEAq3wB/cp/hf7EP1lZ7jvUmvnTNvL5KWkwirejU0eiy
ZpNozQKRx0dDBIyB3TtQ2it/Y26HBspG9pXR965EExOmmvjaLiATg/EDnXCnNbeWKOKLJXGtfZJr
8CAnE5BumAUFgfFNvOyIh9trsFcP8A0vJ18aYQZoVJxGG4u+Nia6EdL5cuEP2hnUpyQLK/zR8XaK
B/tL75PqhDhEUyFdRtQ56J+/lWarDn4ZzFdVXCf7BWDVSbVG+0mO/sAWAoQnHEmkiCZDb25oSNY9
/V4X4AofdueQSJf2ZAqk6As5oVkP8MqYIpOD2x5Ln0CS42v3QDlZuKrYpe03ufXj0srmc2tx1rxA
hRi/0eEcjPskLhVmzNpDuJpj0YRx730hbWPJGUWltomBJdWiDtXRHpmN/2DT+6af+2fVu9b9FMQ+
XFc8hwnbfhE6fV28BBajjo2ey2afOX1w1X4nXVmF/4gGh/MqX9VOHOr3BlgOKpKkurftrt2jrnd2
zZgtdw5eI/yGaGp6NDtyWCUJcyt9ai3RhxBJi43tEHDR84ZfO5r7ZFNL7hS0FIRoXgLzVMk3HyXN
xkeaeiQSwNjAbMoO+pDUW94JGCOosh5KBcdtLL40dINCuCRZ5Om8N14KtSagEivIQ1pb0kbx2SuJ
XvDS9MJ2lnuOvX1Y99r4InvnSmZ9e9MhNTpSp9y2dkP2aH3FtOnNrIguncu7Rg/eSvIvGdi/Av/Z
a5XuHaZqMS8ciqXJn+CyeTfYio2tmo2jWgrYSWXNgKyBGMHo4NgKl71HoXlgIcyiFrFjNumwJpO9
yfD+q5K0OGU2zZRoQS8lIBe3u0PCvCo70mqqj5I2u3Zbeb3j3WpZ+upRwd6amtV/8hB5D6t8ZFVD
zeJWE7BOPD2fIuJe882irOI+LpDCortYNkPT+yc44JzDl2m5DuBD6CHAYDT3QEbds89oDYVkC/Pd
odF+O+kDjogANNomcVt5Jwa+JUb+3RrzpT7V2qELZHrw64XTQgKIjTaonRw1kWs33oJSNiJqYLmy
8zF9wwwG2zWFuZOiNVrH6yOEjNS5sc22Re8CV6tU4DNYjC13P1DlqJRwn7wDsenlGsKGoSkSpNlt
srUwylEt1ckhm2Ka6rEc05CwePyirD/svVZzlr2J5NAX6rLo7Wie0meXTBCaS6XSSFTPqSAKd9/G
AwDgofAyTlgwJeuZzVWa/h2cdfKphueyEDTOveG+SBcm5cNSHJD9tDt/ZQ4Ix4Oj2k+nBNfyfgKT
d5s05kVuNzduAw6bhlXzpNNmvWuyGXWqKcnems3k0m1IwkLHXkaezIt9Kz1xRBUR75FELlvAvPE1
/ArzMjGUuWugS+ydfCCMU3rNrSx4vBeTyTjKUIBms7ocnfSWTAvjwu4n7Tgxv7qMZwYkOpo1uXUT
ZiO7Ph2Lu6UHe8i05jAN+oQ7XTPBr+N/peImJe3C4WPH8KmjqZYmKn3AuMhHVojgzpin7GlA0GBu
+3gU9naa9O5TCzWD4wMZ9esvKLwLgY/9gqATcYsrvVSRcktkFW2wbBKDFUFbDDcSCfgBRAnPwrKD
K0OzedrAuY4XTpn6gG1r7ZnwJgzFRc67Fec6WI5qOYGo4sCaW4eMocVNM7Yex0gpbpYpDrascADJ
naXfJa2+RI1be1FRuuprOwIvkSjtqpUh3Xyr66J6cnoHf2OvWIdCQYvBrtauFYgu61Fh2d5X0s3u
x2bW8QQ6DigOxizKW7LLVKL3Gj2Kn6Gf9dOidUCa29ouVs5/Q+5WnG49fa7YnyXvb9KgTeL8Ya+v
JQk1os6vC1Q8962AYc4ptfOfCx6Mczcx80FuVV+C99Rx983zJ39xoAAMSvsKRWSOurJL/zR61392
tVkecbmpT/9ROQWByPRWcTIYyfrp6gD2xdbBQRYWoZV6QaU8nf9j8OQiaXQ4IUl940FvgjKcRaCu
auleyXSIIzS3gmohveXYKa8MZcw3/36D7lNFamnxsef2f+vMvfuu/Vu1dr+6j7/q/8f23SrW+Nft
u4esfUnLt3etu/Un3l7WBp2t/7E2dHX6uWuLzF+nC/9o3ZnmH8Y6BA2Yq+ADJ5fjr3/5Z+vOMf/g
K7jooDXwxXetO/sPLGc+o4h1oE6AavDvtO7sD407OoacXYLAwgzJCOzjqKVgQZbm0E5o5M3gBHjA
PtEu+1148v96FSyQvETyI9CIv29pe2ntF2mNqlUjFU2ju5H1BwW6+DeDnPdDEI8z49qi93ymv4hc
oLq9vwynQnz9bjIy9aiGENhNFcWF0A5ICNMT8YXdgwb+/VxlhvytCXiVL/y/rv0/rs2gAIsNtjkd
XNT7axfYfHM9r8ZNJTi/fYWd5i/MjRofJSZQyGLZ9kgC1R4Vfa42nh+Ix95ojc8ljZ94Qw0PjQtW
ea4ioXnI34tWJzsEU0XCSPKHp/Of7dsfA/9+fjdwbaPA4CKIcX4aaUBPHRF96+PGSKz+zlwMKY6u
PufWb8zAq6Lm/S1xUJXQeuYd97jMh7cDo4E/rWObDXzingrVMpVzbfZFM136MPRbUgQGYniek4Ao
YPfffZE+pZvpIoHgvzhC17nOD9qHoe+l0VjS33id5m4Qk3lnzvTt7te38qd33Uf8S4LrKqzigxx8
uEpjzUiBjQbNoCc7TOcc3EfHqh+BgTz/+krrb3p3M9fBnguGxmT+So9x/Ut+eD3OHNQFsyJjA8ue
YwXOIA6YI11VXyntnGcODv9fX/Gnx4SlimfZWhVTcAac9e394YrpMADOcSU2Ko79B+QzyIXcSvuN
SOWnh+T7VUBJML5krPE91/CHqzg4U8i/5SqWXsd3EhjzjkYn51+VWoyjmkcL1Ow/9rF/Oa/43TU/
PJhkotizvXBN02/WEhLYvpE1r3Xhuk+9n+EXFp53+vXd/PmaLEm8VozYUP0Yk76/m8CqWmQLYEc5
iManUS79jWEt6pRpFYUXPikOkQRpTPH219f9+blxddslL4ZjLXObj2uioEtD4imMT5TD+d0IxfEF
5a8bsvx6QziC6PlNuN5PHwlWQP5jcI61mEd/zOOqYJl3eeM4G4JX62sjqJt6M+iFxMLhS+3461e3
5q+9/2CgqETUx4UCG/e1Qwrm+xsLkh6RU5ONTJbpje8xLMvyVEutX55k3xIWIXiRxKRB4Sv3Zk8n
PDRBged4ld3g4BhtY7yoXOkOymIcIO2JpAVf4CDwZm1Ht7rx6GhArguVqmH7Ihoin9Rondjdlgw3
xj3LGvPQ2euUdRiGdWAxtri26DgMaRsV5ALV121H3PCZPHCjPE0LJ40nn1zyBjh8HnWLdcRgFhhb
i2AJ9i2IFeZBJoHqv9ppo2ia+/NUXUzMXtwD6o6ADCY31l6NtuAIitmnfq6w0ThH2pALjiEHMUro
4H8tAS6SaBsJvXKMzTyS5huObTDu07ydiS0sUHiHVl4P2aXUA7JmaAEJcy80R94Q+4nlcfFMf7wh
hDmxdrCS6mfgpZq2oxJ16h3ze9u/sD28yGHerr4wA1/Gta/bhnVwhd49xjqiWBouAj7/eqCexSur
o63sbW0KnMFRHHcNt7aezGzqAOZ79kOvK9I062omhMhEFwb6GfYbEy9aCRiOmMA+zoqJzz7gIGOE
QF2B3goTg815Qb5yMBVW4K3NGIWOF1Sv26CGyLHXZyP4QmewH2omRCOTIZ05uEcQQq58435iuzBu
7QY2JgJREnH2S2ODTeC4g5F5qwVZP8FFDRZzl6hx1C6mRHFe1zS8gp+8ClAvLitByAbbBIlmVd+7
QKIM8hoYNBCUcmMaXQk8uMGeFAHm4d/jFsHiZkDQQ49blsaTlBraqhif37nreN+JTF60uruIgZR9
ol9WQX6R4NpR5o/Nox+3po7HrU+DSGFiya4ctPjzjoZLTFwaG2DI9CMnp6yv3fsWEaoKYxwY1Zl1
nWKjqOnBAdPtTEYrbem8tBCVqqjBI4P4qSb/4Lnpe/sthn45RwXk1RWbkRdpZBY6hGElVfMI9077
RG9dZTvLwnUApnv1DKFwNnBgC4mGHAv6JFeps/YnTz42JbcCWRpaXRw/khfSkO7hQiJDU6nAdC3A
d5tNGguCSxeHYYca+/q2HAx8LqQaxM0G2wxORzxeg7X3iKl5qvKy5ZdkGiMs0ZmQ/zW8xF8tgaPw
KpXVSuY33Zn+sZ8RQy0HQDDhsiTeFE1TbHwLtIEwAijqs+Lxgpgd/Rdz57EkOXIG6VfZFwANKgDE
FchEZmXJLl19gVW1gAYCAY2n3w/kmu3M0JZjy73shRyj6OwUCOG/++e8zvBD1DZTKboW2Ix6l1w6
mRO9tvTFOdyX+e7K9ZxnlnTjHra4ilcnINnJGH4b7xUHK7xuGeT8o7ny3DzXBnHWRzbBIo8Zw2Uj
arbT3a2JhJ4FdKz+GNPZfDemrrgPcNu4pzFfyAzisihz2umrecEBaNjBi+045oVH1/xAm1tTrq6G
/dT06Sa/lzZA/7jLgPtkEUwyLb+jC9TZg0MgnRnhZDUbf05tlj0DI5WILgNN49ZAWs1Zv1kk5/oH
xx91fw0YcnyanFRkV2arba7a44CNmbF+yaYcU4dtMzyxqz0J2GDCu1HY28tY22tvP3Rp7vePs9/a
bhfhrAcNVG8d2HzUgVL/LMrSWp6NLi+aM89mUzFX693gF/jHPIlJPYBPtceEqMe4Ggu4wXne6EFq
VN880ufm7Y5Mt4rRJYYFvzANXkimgLoCfLfRanngx0zRl9+YJNCFaiWqfOQQbb5mmzuA4AwUOU0f
8tzBxDR5CTzL/Ghra/nljdX6u+EU4JyE7rJ7tQS5eqCAqvtigqW+i9aZv9mlktAh0y54McdBvJp6
gMjk++kewWBdBNzhB49FJY2fSrbbez8TOz6sXBGLoyJu6l8IiXcn4mnddPBNDpChNgUR7dRJYaCt
1F+dHYXAbhB7PzSkbrcooNZsikFjt8uBqidIsYo8BB/hYpOrVkGibvBD6We/TFmxJgq6SrwIm3vE
+jx7JIlF/TqbM8sqoHcq1wcMBf0haAWAY1FN469ZErSObKmN17Qr7Qc4jIYTwncEadJrxwbfxgwn
trvWGS5kPKdzkMKUpimk5WlPhqA6g7FN9BW0CO9zLgNAKzghx3dM29C/apcI1UEV63I3umr7ht+W
HscxIyEWpsLLjFClME+PFB2SoLMgard83UX7C58m3GSgojlU9x7hrUMn7w+VcBFHJxCm5qkysSCA
fCiYTOF40M+zOUC/toCQfO5f7Q9igQ4HLBR4CAwG75T8Xz7np1WU4+3sM5yIgGe4jJMaZ6DKrU8f
TBBJPraqNXtfBe8fFZu8C0rybOLlW3Rn0zGmyRCmSNYPm7F1+jD0wxqcJ5qAzDCRbscO7iscY8OW
G18aLyCpaaOV1mHK5sw7lqvTfB9spsd3VCeWRORc9pBnc51cI6wpr7pt5tGyCO0FQI3NwknOPqHd
X3C0aUFvMJ6mkdMI9cPbC0rjciwMCWAw9X9DKNPGIaHLAl3Ra1y+UaY5RwGRITktzIEUm+96nwQz
M7TOl4xN5LoCEmxxOr7ZhP/6uEmkmA4C5mYZBgz3yE8PHJnDYrNEFltACuuImoqkoDGlzR8WTfga
1E1rffYpfENGPrmJY74s6fmyNyP4rPBtv7fmgMpVzq2tosRdnJdttoyVb9aCybWR5fs0YIAzc8I/
XoYLhu81HPKFbK2n+4VBC4bjWMtcP6aFv2UH7i5qjIJStvOpmZnPR0ph+D8IYdNpin+WPGlvD2PE
E9JdGKLX61Fbe/+Ty5HnK2dRfAzYnMHKMiHfwimYIQfrpsx6DJ7LMBwJsLFsWvRXwBkJcHDHvbuZ
w9VkDH4djUHpflTBREa0BIONxwD45XjsE3CgYQIQhg1cjZQe+6XdnxemFM/kqQqT6otqJJCGYLAc
ZL4p825OuwaMtyr5VsthyB59zqXGgXJHtdvQ9UrmkP6qo6MxYsY0101fRTBRqJIybgLQ4hXk7b0B
Iwi9855BB1e2SSr3auaCxGzK9K5wyIGcB2Kj4JwhVjlkbJR1lUO75wypSvKG+yTqo8pcSg+zuqag
ZAbn9ZhQ8jFcyDUhtEqyQq8Kt+cWBosLbNywM+e+UzQNnczZS72z75BXPDrFTgjKrT5/mwEbf2p7
LoIj6cPAP7hT7v9O6kJ5Ye8kWRZNLNO/J9HIJ68a5cWcFWnypVf6FWxU+TrYqaNYTYBzQB6trdMg
e/qKWuknBJVbz1ORO676FSF+ZI/3R/W1tIy0Gti4L71WRP/wdqiz3w68aa1y4UWlCKge9AF6YyJy
ZXDYapfc3FJ6zbdmgSQcdQ4QT8J2VvcGVFeBT13M5tIa3kYv62hBo6GF1381Mly9ITThQNMeAGTj
uJPg9mm95mwqkDdwj/Q2jFyXwV/Gk4b/++DT0jiGtAT413bNBQnopeXcwuMV5HrxmfmMai2xRpPP
VTgkV49VYhhMSjoDAT7iQraB9KBFRvkJxKJbniiPa26xIm3vmhNecXQWhrv4eSQHOhvBGzl66+Yr
JqPNW7ImBieitq7v+Do7xpwF4+nIpnDmmzf0K5UDjWZsMlX100AJ7pNtr80LO1BNB9M8JL+IvXYM
PPN1pOaSURmDwlIb/NbW4C5IBqpyoeCkr3LrYDOkWLJkxBF7+TFldXPnOst+5+CLnUI4Bns1Lwwa
DsDpIkbOilnAqkW18ZUKcvrJALFS+6U8w2Fw4i/2m+GOgiEM06eU03HBhz+BgL8SqP1UGXFg/bax
Qmp+ElNbxJQdJU+rO7KJAA5Nw3V17Y4WmFH9tviPSbjQZPFF5HiaQi9z9P1cJFwJFl9i/Or6baYp
apBkdW2AwX5LCXFYjRsnkHzpHU1B72DmUb548wdjJLWFsunELeEWh1qcfm6fmLYbLM5UqHDPYBin
wy6h4u9CPwY15gtL0ctEFdBXIBu1nCvK+u4bBr/ZNUtk/dGvDk43Gm+CJ4oUvCA0lnb8PmhP8I/p
7BDPXgST2LZNXgN+COWVa7f1mzR3j+KQFBb5qsE1blS3sobWxSwfq5rb68H1ckgoHGwxCNH84XNq
IgfKA7uACw5nL8+pZzcEXghdpda714O6FXAwCsbUuqVBrsKie1y5LP4qNDctUBJcXI9LasrlWFg7
V3OzWnA79ClCei3V0OK24SobTnjYaKFd3IpbkL/UZrQx8d3hvxmtm32w7Lka4WcniPJTwjjUcjDW
tSzOgpbBD84trn2wRKHu2wT0Fv4VbIkkpyHChjYngWs8QcyOCqqxKA6aIRh8w3Vm1rigx/ljwp3y
DG6BVgr2ruZuhMLR3SELShYYbXL20MquOVHhQ6Lamisq8SyGsYzBae5ZkIXa7ntukz/mnUmou1k9
jJRsFDPFoWIM6mcLF9GzOZo0QQZD4DxlZVoGocVoc+VmxaGR23kvvdBdx/wzg71BcklWGy4XyfUs
qAOW9FHwSw/zRMJKHOFC//YWkfHNUfIQM7Yrv3cin34xfFqamEwwWxPfh0EVSw+tGvnR5VttKe8u
yYlQd+4VDLPum9UB5NJNwOzB8YzUmSVcWuFEU1xYx/s7/QXiZgIVU+AJgDzTUsDbcKilyIwGoor7
Rbk3Txa/cvqtd4Y1R+CwtuyNTrHULb3I7znbhzbBmxtnIDs3jhXxmd70jQj+NRfOLPDsT9uqjZtJ
L8PHlJr57s5iOQFkUwyPzLUJNQVETWBC21ZhHkohKj7IFR5O7A0q+eJ4MNLRy3iOu6zh8fco2pQi
O1PzPIQAuoI73y/9J0M0xsvoV91nklQbOzso8GcKkbnNFEkLXNXQifdEfoZshqxpzLmtIcc6JzmB
J0GVLlEtVi4lP+3ezd6VMBXgbDtHzyf7NZzTkgpAOPWbpfb7EzVK4MS24YpLKsdLbeuS91Fy6jip
eaifS77omjJgIc7gUNwO24okR2MO6XC9dwQeMrhg1wwliK/bK/ncMyvqRjEU5jkjSjEuPc5eSSSd
or/JDddGdI+g5km5V64DY7ETNdaMdKNo4eCPLu3ja5dyAIUjqL+RlwP0yKVtbTmosw4fDVghKqyN
SaSnEf7NvWsY9occ9lm7rQwOj6zLXkrmYEReUmgoN2O9tgbdvYzODyMVOBSXUzaIhqDpS4FckeTB
Z8Ocyz4wW8eOsICvegMuTSUpfZ+4f3DRZNh6HFHcL2MguiMiFgHNTg7UT3Z1La/ydZDeQQMgGLFQ
L9Pr4FMtFLrDZH2OnE8NbkHrRsUv2Jb2QpG7BVhPMizF1G2URMD2xJeRr7QMkW8f1DW97pr/xc6q
CZhOvM/A1cmZ5MAor4T2+Ts0jpF9gsHnZRpQ3fJa97I1zrpdsr0twOOH5U4jrzCvKtghSpknzk6y
8dHiCWzqEDj3kMfcCPvbHIdufTXDCyEFRlijDAeomzIcVLbi3um6eYt1PuBHcVMRUD4lMU6nfH3U
87kdRiuv57dyNF1UhHcTsYo2jCZjZV6MZQjCBbSBFxGWorPOp6TnRDeX54VeB4qERSuxg4Ndz8sL
T/AmYgcH/TeABqI4a65QBHPqhAp6LZQ5Y13xll8g2Rxi9dO6slQM2w938MTFtjxAKV2feu+CPqs3
Xdj6R0qIhI5aN6PQyVxm8Qv1GN/F4KY5XndOK2vsz/b4c/YXGOUc1LsP2XgW9kJFcTTNBcELu1br
Y+3md3qapqn9xozD9G8D7aqXwakTjGBMsx8qLD7v6BoJvR8Gofhj3/WAGfq9kggv3b7vG0sAsdzp
LHydghJB2k25XfzYyGMCU88YY/bUahMFXNpVkCwyUxVPQep+OYWZPNEer7Oo9gkl3W4BVTIx+ev1
u++swOot0vlIDXpy5nOpyyp/ILs5qgPsfKg6jt/79jkf8IGF3l4KMMyOasRhS5qC+RbP74O92TwR
Y+mp3w1lehPZGSxXIVtqlUcAWcivAf2c6hejLNqXtWOWQ3BhWJ7J1Lj43ByfU8MguISeJx/IFA8R
cQY8R4W6obiI5dydJ8mqMDFhQPdTdAV4orM5AaF+3owuaHVkE6wDh9TAm777xUFCeyjnoTumuK4H
Kyk/4bXbkPF5CEED56KdokV5wZtZS1K/IDwlFVFtOvHCbbFyJOjJ/6xbELhnypKBMGiRpW/SQNyJ
RrpF6EfPWiS3Pvfdn8watHWoWA0oYMVSsddIV8VHDp+PA2ZfwMLGlYCds7W3kv7JapveAyweKe4y
0XD+NpGewhTfMvSRpYHqI5JOvYFta2E5m9ZT0QRDcvTGbObLRL6KRrvvXlgxpzt78gXdSVw0CUSx
QP92qr78soG+cRCAc5ie1pprz9Gl6Oud2ndStCPBUhhGcz7eio4SRsrfCW4eATIhnRityPnzGFpC
azLdJLkSSMCoXXVrUJO7lgo7rOGk747TdA+yMjDEIAkklNs2JKsw/RQPcilselNlY59Tp5xk7FpT
fYeluu6p1rYSsPtuErz4xQx9XPdOF0Q96hX2/6Gyg7j1kj6jp9ba+WX+uAYxt6rkJjObsY5ECkPj
UtSqfU+QWTvC7nb225RE/WLgJPjeF/p2n11mrnxphTC+J4MgQLzxIbSxQvpLj/5cEUB3WokXh+aw
H7N0JnhKNHi9mThUkoOarPIln1oKfyn4Zl7UL1PtR9T3+S/TUnbs+qwPS1w5VvmDYTMiUkH4waD4
pRLbTVuWAsqDsJvvzbo6nJFy0+m+JuWS9Rs6CF4hK6VMH9pJmNUVaPH5lyPG4afV0f9NP0umR9pt
mcqEvTHTFopV17p3HepH6BOdMeQLQITLoeskxRI2qsWtZp0wWBdJnvguzukbMsn9m0mFxxy5HFeu
HLgHA4uHdn9AVIQn1XUJuq3hBc1bYcL5OiTmGtwXnhKPK0rPDxMpDD2JNPBX1rfclCgmyYMTiIMB
icPy1W+aF1r6j2jluFvYMJxQ9I59ZqhdqQto8gD21thBJ1SKU+qAdPtLys1gfRqN+sYAS5lEdV9h
fSaIUH5hWi8Wnqe2Qd2HwIZ5C/YZwV6Zc9KeC4dlduWIOEXzMEBb4d4GzR4LdDucW8fzLwblPD8L
QWKXdZTZAasm1PNjDX7RimnQEE3UIJl3HHkTK79e0c9sCsr9/APfOT8WbmwQ3TnE8xSTRRnugRKu
3xcYF1z1HDBH5JZGjGCo+HtAgGEtLSTYQ58zZbu/7GajJ75Q/XJXdQ5xTJNqVmCX+d4c0hHreHQy
ak/DxN162INrNiF5pPwsQBUmOTZ6xplruHLRLq6Yson72RkmQmGzM6F2zCiLR08HKAQY+Db7yNlB
AS+y2Tf5q2RzGtGOIJ/nuk6TiOajvZ6aM6N3rTydi8MoaU69GvpA3AHFMB+s/bfNEYsN99ANykKS
reAIMk+qsUjiUBQ381INjIyg7hn3jlHbOBfB/NIGWa480ZVubWA6MAyZnmkjCU5ZxpgSx3KSsDw1
cPWOiq4o+gKgYDLLClpdnJICTeOGrjvEwsFme7wt0UWNQ4v6th1qb2o+APIaRkQuiy7QhMvmN84j
RnvkuMnpyyeO/AIzQOzEPZHsF2qP3I3Fk0KPBCGB6mEmzzkfA7ycIqLWGPDgmigEkKRC2okxfVBL
OgaKerkipTIYUpEHn3x/UCg/MDAfEaHZRoYeM5JXxP9L/paS0onTQEEzY9BW+1eEvLipT9xNb62W
9B91m5bP6qVWCmxre3KqU8MIRB8mmUzXY6m8kQYD27hHO6FoKaf1I4206SRtJImW/3I3XfeHnJHg
ziHiXh1z88SACrpcw9MjCACxUev1mee2No5A+tiUx41VIVa+mdznlePema3Tfk0MA7ZoQbPxIwAb
iptdspTMfDeOQpFVFR4NjzxzCSkSZlKxTJSxssatyaOoEkkmrMvKfRUvWodGPYerqzlJkwCGs/gx
Rxlu0WZlbMaFY7APZmHKzezZRNAefuQmx7FYOWvG77vGCI6+w6uW960C7XrisI9I36J61tegmZh+
AqvBoI6tv3UJKHEti9Xc6+uAsoc39szBZiBAYCdqcs/sY6b5VXEmYDXeW57YPba89e7RLCkdheLh
oaulqT+9YwlARd4Yg5E0tKvAogGiAPt/qNil3Thn5hAcN1JwMcf9xYo8s6rJSjTG8IhrKf/et3mO
LFsh14a0Gc2s5jmn1VHI+qkepLzF8rKmt27qKrUfZzMj7pkKAHqwGq8kA9RQg4UBmru7I7axJJo0
KEKBhawSFiPblaFFVJLMU1aTHQeCWH8Yvt+bh3a0DYbo2+R9aEXIg8lBbg5ER1vKTyloo4iLV64+
5GSYVOH0zGdVaRa/5dqW70uOrw7ebTX+kGJU+ie3GMxYcWbmwv1oWa3qjnwBAnIXtQOeTrJxYCLe
tsqlk9arFktFkiL59YI21o5HDRmIdhG/qXruMjgKQn8hb8bYnGliCCQjmH7jac5Y3HqN8EoWJk2e
GUVkA3eqWX+SGWP9MIi8pqFNNYd7mjPmMiF3TfpJO5lsIiJJ5J5Tg7IAlGSZB0dTY146wop1nxp6
1FG8NmO8WqQP5VaYRfW6ZTA8D/jh2v46YODvHOVmdXlEO7SzPa255cAnyAIe+ySxiu3gbgZd7Ybl
qezSamaRB/KraYZ2C1b3oI3OLOOyGh3jSs1CPgQc9moQaD192ShjII9xG4upSyM75Yj1KSXVl68q
pVLxqvUyvOMYCxBOOafbiut7EkAV6wpQkqbPs7HL1NRuhlInKK7TVqOE6b4Blan8EQxQ5nhsK6Jp
jS22AOdmu8TkzZd5HhdcFnUpY1A+BoHK1CU/3JXEG5EJM5JrlSHb1mZGuI1X/EvDPJmSIF83oUAU
4YNbicWHVMq1+zJN6ODCx0VlFymmgRsNXUlI5g3DglDRifhzYJt6MvAjcyc0nHWKYIYrN6pWV1y5
yTz4R2PoRvTFhjqXg4XWqxFyTeILTm8Na1gCJUXwoH2rvxaNDuZrQ9CqEs1yUNSpjHkhLxZD7ttt
HSANF35lxU0HCTXyKKKQJ5sSL5vyuTHFD5xRusw9skB+H7Wdn3Ahevzhe/PNi8KhXZwz+oDoLrU6
qRGd+V0uV11ZeT/IzcofVjfMVH3gWaAMbfKN1rvl7kDMi6QlwpNUpg/oCI2fLsVyqdTvoAGGU0Jm
qyn/YwRwNaGX4gpfmAkcB9fP7pGYoHWho0Bstwz0uhTkYjU2ryvX1xaRfOt9LNRNvzwmNsS9K4AM
g3tiNze9ONfYB44LqZMsGkbBZHePedk3VupwlN/Qt8yTw0Qxu1907spj5vqderfZFJsHx5CdQUIM
60eEdIEK6ORe91/4m/+PWIE/mZf/I6bg/0sHs/0HY9W/AQhemnz49fN/XOdN+rOt/2xk5v/4LyOz
9Q+8yLuDDVfy7hneWWb/MjIbwT84/dlYnFlbpQdCBffz/3Iye+Y/GLNigMaZJfFn7dy1nsRIhjNa
8l/hhQ9c6e04KPF/Y2Te2Qh/MEgK12PL8H3KgajigMr11xaerU5aN9jx13HxVN+q8C46X3+7PvyW
h/P8N85IruL/9mIw3fAx8zfno+DN/dl0tlFCullAlCJp+2tHMTLHoSBGguqnsFGGNE5rWSEoEeVp
D5ifrFcLBnIcGMq9qszE34sD0+B3UrbW76VvWlB0Xnq1VqtPd7KfP+MhUse97VY/bdu2YHTp1INp
BN61t9ruezN3xHqlYkxK4itJolasGCCWIf/uWQUtGLMilEUjUpMcArfhlEm4GL9BB20dFZg9yzl5
s+E+zZDV5T1Qq3afVBc7YhQ4MAqCMwHJk2lN51hdFsG7PQZGg5XInvQRm8RGhjWp5S9Fuo2pYirS
lguowf1arqYFW5X9GAm1D2w70hYsGFbxTsHY6qhXuzJ8dwoebUkJTcjEf1lYWmvfJ6bY1+UFxbji
4xtTWhhrtrGmngP5krgi79mfu/SMULjyEnKpP7J2q+7nbheOV+4G07kJ6LLebOq8DirYjWm1WkFb
MhsronlLgXNXNdvDCYpmckxscK5RgwPrpmj3E5aFhFxFSzJ50Mq5OJaRpHPw57DtkxKSkKs4qan1
9UOGcWi4WgsTm4/b+JLDrLFWTxRce/e2rZb8uDRteWvDFt3JcZwqME9IgylT7jbMIUSuLlqy1Ubr
tlGWxKjnyxpqj0ysRLeMB7bcIhI9iy0DZ9uOi8qcm3AoM3Xvo72Oz1uLrBYxPWy6I24W2V9xujK/
TGtcT2R4uWmKlVtG1JBLmq91oYOPzE39MsKwPJ/MrV/TM2M4hvCQ6zuu7e3wbZoVUy2YuvmzHHyN
rcU2mh+zEvPPKfO6d3hI5q2LI+rcidS/Ho2SZuIRsYgaV0mNapiZHoXvlTKeS9nXj3KZuvEwr7S4
O3XWXSNDFTD9K99+UhVgs6SzKVwbKCfceUFp+doy9X7QLZxUPBRzfw6KCaG9p2+NaNw2JZ+izpcf
bcfOE8mg3070v5hJyMi05s65SA9hmXhVFjG45UpDpzmTlaI8e4XhvHbWKAVc7QR8dCK4/qjC9ya6
oWuGtHr2P9NMYLZxrKT9lqOVnjTwlO5o4aa8J2xjr4TpzQ0XFUf3Nhw57KfHpq64co5OUnwGBhnx
U4ZTKNbzMt/Cg3Qe8DI1czyLDHSRtnIS8D2xnhDG7wieGnkS02YrqltjIeUbNzy2X94KHAzEw8RB
9A9r+t/7/jHKssqS9YDEaHpkVf/ilK2tcjARetHW9KE1zbOn0/N/8Qq78Ze8Jn2GcreU/8HM3ZME
1iigiMic7zb/bGJp+n97hb8svFKNs1MrXqHeC1DNsz/0/80rcGLzeawoT/ur7d3a0p6fC56ukWoC
4Z67Qv/NK/yT4PS/vfzBjlLDrSoFmDO8KOLfCE+MuIgmIDAAXHWX22xU5tPW18FbnrqGdW3qjqiz
z3iIUUbQ3DZunhxt2J23lkhFdwicvvDibhnrN/Klrh9hulkZ/VuTWZ87cCXWKUFpW25Mg9vSwapK
Zf/NT+nPrnLeAb8eSxIKIPdAeaW/749/+KI7VLfO63zQ5Zt1Yw4/A1le9hN2CxDzP3/hf7aT/+uV
YPgLx3SBf/MPf34lw0X+56ZthfaqnhNg9Ndk92hkr7fDf/NCjvQ89CyC+n95oa1q4No31H+4o3eo
cW47c/uay/n9P7/Mv39ytOPQJAUGk+/+3x5CEMttsFqky02cTmhabVQ1wQfg0DNA3r95rT9nDvbP
zt9TXf+MdknOX3954HMfZIeZN05IYzuY6Zja6XBRG1L8debH//l9/aUd658vxpsidsXMh3+39jf+
h58E1hk8nNwUmFUxL/ZeaVlhj5D0I3TBp7+zAi5BfePAjf6bF5bun5Mq/3zpYAeceq5NskL89dc4
u4owJsXLYWeL8dm3psILCaxWOPeDMb1vZrk4ETES/yccn+qSDs326AC7BCS5dO7BBcnUMt5Y8/ui
xQwC0hWnfwS0CBUdicV4V3NdnSbGZ3RdsCWC6x3VC6UR/FoEHP7nhAv3R7L1u8Mch2/YBzX3UFt0
SX6gYHZkclWPOJhzx5vXg5sq/DIFGZGbQjE2boP91tp58/RVqbmh+Ti15xdP0WlPK4jlHeFvBI9i
rOf+MR18TK5p5xIdwS5pOtdYPs2vQan8oSqhUQDaSDoGrvCVLyZmSTd0wI48OmP6i/0hpcyF8QFE
80UqZsYrt9IDc3nraabuy75GEbS9C6Og7qnbZt1eLUroeFVG/5MGqeFBNFl7hQbanGsfHCV+Wtir
WbFmLZO3ydanafScW8ed+4k9mBtmlPlBa4bB1BruYfB8Kh4XPKNfxd5qEG7jpjh4rtBv79XW9Qcm
mV19S2Zi+kyCsb1mjg3ZruvMb9LpgwdL2+2hJUZ0Q4Sdad3EcSpKwVMhBwuzvbclgIh4mgZzfAJF
jnmqQLqyQ6/EOnvbG306X6dePxkI+km/oH3CY4IAbmd0GtWl768HQPPzE0RVnAF9HpRU0MtLwXp3
pqAsibNAO984GMqnuWENP1kphuU681Gd8bsDhcAS5lnJjaFlN0Q1xOAblZfNfOHLtOO+w51ISeEE
cjelkd7UUF0wIxbN88xTczQQNhamNywfNyMUmhYLbuaLG4js1WlDEH5V9gbCS440QU1eARyoXT2d
PXB48KMOKmoQ4wRE3RiwhdyOw0R83TCAmQ4O9UQ2dQLt4zisJtkNTIrjdc1HeS8zmnQIYLN5NOD4
1+eS385uLio6dPrMqkvOKiR6Avk8uHm1+2K2a8oTvN2kN69n0bf8lunTbYM4XVscEJwQ4SgN1I5c
ADsD3RHdNFPIg0Zs2vRupn3xYzIdz6IGLRmM8ypkNT+Btys++xY95xqUjX9FRqJBNZRt5WEuo4HQ
KwEY3gxO0+8YTsZ5hw6gwXfS04UaDu7Yy+QwsaufXO5ktF4XQ+XUoaV9WAHa9MZDy/nyDXTkLn/a
/cwIwRlismDyKXNJ15Nzwy3pmfbwaQN2iF1jpIVinfXDYkqP47OrftvW7J5h5ttxTlrjXGg9fgad
OR9Fmvc8XPDvyVW6ldQEc7pxJlKfTGc4+sYLniQAec1c47Qq0jH7SaF98JgkFHwgXzXbm3YcSqt9
hR+I/lg80CKBK+rPk7j0ttowjLHqxoBehndUn+BzXTuLpoOFIAQMq+FhGgv+HgbZQ0Y7XX3JPW0Z
nxSDOwjUWK6PuNGgZDZ04qGp2ktqHD3ARHOEr2GcTuVW9Tfutr7htM8+a103Nxbxmx8M1BlrMFGR
7ZGrcAdess7M+bQYdoFQp5L8Zc116oR1D0xNwPnVB5NFPKdUxKx/z6jJh1I5uM8mNAPvZEJbFdcm
sxH7PvMxnh8th/Ii3D562G6Em5sIzka67q30C82SRq6RMRm5LN+4Yc7drd5jNa/1KOBGHDoTUkN+
GHLlHmCRkTMaWaLjpEALw5pnL8/8vZuDSxb10yyWSX1g3ZXRWLssHfgw6ZUZJvjn19QjNu45MziM
hbouplPTWfPJTmarO/l+0f4EPVGtSHa2vtSdZp5IOmE7wqHJ3XAye+MxQ09jlC2b/GVLavHSjIs4
rkWjLlJZWYqujezaBcP6GijH226wx5oQn7ZlfO40uYoox9HwACE6OxFDARM3WhSJjZI6ndgrN+VA
/csC56UKQIE1S6quK51q/9wOROSuQOvM+liSm8Jflm+rmp+4+xXbpaJkp40x/tvugz+4fQ26sJu7
2M3tMf/mmdRGmPVoXoBdtdZ3yHBWcwhy0bkPM+fHmw6V/hs3sM09W91sJ2esizT9THZ6Z7mN99io
0XajzVOrTdIrmXAJ5pDlmmO3LrBxPc33escsdqXIqFqXIKb4D+/OMuNKfB1K0PQnpF6qX/SUntue
VNItI3pGrlzD9dVqG+1TrSYces1MudZ1KtChsX63GEbS2ZbHxSZgd0EXrNLI9SV5CmtIGZCPicZA
gk0MuglVKlRbFBiuKT4xg61Eld0ISRToF4+T5Gk5E4m2vTN7gz4LhJf6TiOtn3LA3m91amMIKhAd
ZsjN03DGt16/Yefc3jcWAD9OaYyJeyPA7s9qO111lWfxlOxlHiFEaOuUmnp8IAkw+TcATxi2uCR3
rLiEst2RRpPOoztsDZ/sMp8URK3PdMg10v2a5E8OqGmuBAmAucKmZxSbIfNRThUnv96DEVAqOY4w
ZQd6IjLBCuZjvjxl24axrtp8h/TQZFFfJr2ZFLbVJs2j27q+OpK+Mp/qTBiUvUq+d2w4Wvp3Ajvz
I4Aq1h4oJO7LlmWPLNNWgU9tGrtzlyxj8V6WqZzvagMGGsGE7q5TBmHAPO1NZCLU+xEPK7eomAQx
IsHQYL7nwstYpejMwEOWKYwoWYvlMpllFbUbRysc8vQkGktV8dxhxkfT6WnIxKeVQw60SmKDEJOa
4cswMMPVM5oyQpUyzy5glfKGiS1kpjxwjPJg6cJCj+5SiWEH6XhFsrFEDxclgZ8FxqWy3Ll4nQcr
ZxvTlQzuPGsr6mu94MWNArKGRMowQOIXNPkj/idp79kbN7Kua/+hQ4DFzK9NdlK3QivbXwg5MWey
GH79ueiN991Sy1BjcAZe9swaj4tFVnjCHfCQM19nV6UO4YRduZUoHaSctU2KgQO8DHMf0uIqrto0
xUmuHjq6xHmbhvcCuXqoqRSDYEKhDejnShFu0GudiaAqFELQBJEPqml6Io5x2AmhkiCcHPpDqO9q
1YxuImNOt8GA3jENi9oLBHCZkN1PM75HOTRDa2kHQEVfZ47ZzMgPWM4xxdqg/YO/IAhqiSrgAIJg
22bQK7hr0wRtzwAG2EnmQ52uA4mE6A7UbXcTuYX6DR+YKuUg6au1MsvpkKP2CJ6xQyDGo5o7TpvB
whXzdaB+EuGflGvtqi0ncdQ64PYoohjyqMJW1K5d7F+Bc/du9iPhciUwWCT3ChwTgAClg3UY5WDd
JcGc342TXTowh2QIclwtKl9rZzfhSrPsb0GIVk+kV/MaZMJAMKGo35TRcBzsHd32NOpaAZAEz1HQ
9MKh6OAk5RpnvJz2WhI52sYJsIGLpmge9+jn5/0GYOJYXNETC37kGsBxkWuF8o1cqp/pSVST8mAX
kWNTc8LVig5KNL11SZBOvzS7COofoikFND47V3q6wHGTPwC35Qjp6gpUFHh9Yi3KuD5caIHvY1y5
a00vJ9pQkqbHqLX6Yz/l5Amg3aYrDPaCvSLiMl/hBa04R24M6UEIDqHXGHX9pzBABTtUNldjku6n
ND30NNZw1NKNNTJZUetPc6PsEaFJAalH4S5xk+B2jNXssWo3HaF8S2UIng2YdDB8epffzmZHpVqk
LjRg4sh59vU5DEg30tk+0R2t9dUwt+D566RYk2WYN706kUMZef8ni83siS3nbO0qdQ6tW2kbxWmV
PwJKL6tcLaf9oLrBcIWmfb1YbFQ6UeNUhD8tiDfbep4r0Ll6qo/Ad51A80q8AtFU1xt1I+Z4GhE1
Skz5XGFVTRbmAm5Nxw5vNFNpacXObePjY5oeW7xEnTU9gUJ4XV1q26AZg3kfz/MU7jMlMmJPtLm6
zYeiBi2TYXG1V6wBieAmqcPi6GRYNwHWaarXuKHBC++T1jykHwxqjzB6hkMZafq051iM9iRVSFUi
5quCswCw9ZPbICm8dM7hNWJLpV2F9ZJ3AZhj1KKLNlYm7V0Sdsh4qRWQeBwUo+Ee3gwMA2B5ODck
Wf2jtrFeQtPEBF6buqCyXYDmWp0G5bFX4uFVlZ2k51yMQ6+hZWV1HJthN9qofyHwdiypottXXVAl
+WNXOJQnkRHr7TX8lfQViGKTesQi8n6UmX5SxqD97rQI8q3pAM4o8andQZqZ8TbmSIl7oZGrxfU8
DCp6eXHXRHiyqJrFNWnEwC57ZTooMsRmsjbU8Sa1u2LXGrIZltwEvT7kds1VXMnmJ0Cn/hb/tqLd
U3VMfwASgDIigwXf6FabeQKJCOYumr+ZgvgcpGYD8UCPwZ7gV5ZA3BcaymJcu5knqdFnK5DrICA7
7p8ObSt05BWraXwLSjxXQGtXRz0ZBmufuItKVmsSM7gAByZk/TdgFeQmTmW3wRgju6/EGK5VtbYR
1sS7FqNu1QH4HYXfE6prjxXuQGyuAOm/GrT3qWxa9blB7f1HMavpLTg1ZZ2NVgs4C2m/b1pT2RTo
RH1wcL2+iQBUZD5I44XxEw3yxbWq+E9WZjRitdEdt64RTTeWnMjLO6uhRw+VCBa2FXe3U2loCPZZ
on0qDXO6orsd+7NwNJw2YhNjgswwLC8frJ8wipTrlNo6UKxQLU6EpOW3XgrcLmImv8pnIMieoQdh
zzERVrACOpNMk6YQADgTozFLju0xjdPsyIoWi9twsuHR65OuleJxMLKHoCBMMKlurBIdi3DWRiZa
f1Tr+Q8HDQoE7gD1ObCiYU+HHU+cdC6Kl7bpUVPkTzNuUswyAYY0AILIZPWfjmqn66Gpyz0mCYgl
QucdkG1syEUCG4+zBdKzK8eKGpUytkAA9FbhysgAXGOlaEQV0tX4U/k158EzNmfuRiOTfLXwzy33
WqsArwCQWFzFWuX4YEwAPMvQSk9K7IzflCbM761ahJ6Jidwho1lzHJoAqLwubHFTOla+k5Oe3jcB
LX6VhpJX4JV027Wxu7NSFwiDQ/K+asn3ct/qrOF738O9AYDUWrsEFTLKOqI2+w3wr9ReVyp0TJ0L
RVkNWAmSidRF8ITPq7OdgVj5FtA7un9odVm1hlYv9im7kCbBvhlBjgE+1zu/GGR7lU/G+IjGX3KK
hKDDMpgjwhNxnIM7yE1l9iV1+Ic+G6wthEPsxUdL5piMA1DdlVpAxQLCgVcHfWutyl4MG2TXuXjs
qcTsk/9bpn4eofttNCoM+WFyE9J0dEqQ4sPL8wThHHnXoG6OEKo636loH0IDj7fmwLlmiqnSV7Qc
+I9aN8+fsynR0m3K+TGthJmFG72aXH/gRTiok2nyWAgXaJjsGvM39qMl6qdV8R0SApBSJ7kPWqHL
62ruTX8Jnp+wfbEfcKHNe8JWu09/zo5bvUyNYsgNTssqKDdzZPuMlQSqLMayAlfgZPw858qtmC2L
pt9SGyQOGB11Cz3KhrSfdOp0LLBxfitjA3vqhrqo3wA8NTeIaTSAs5oMvYkpVV3sO2qs7KImSOHV
L+BYaNs/ZWAh3WxYdwbSSbXXVmRSwCEGeewlW8dWgHBI9tRdW5jOb2uiMjXlGjSaTovmV7cIjNeg
nYZ7imDkki7U6oPD7hKUK9sea0NgkpDLeo1mHJR1EMkY9D0E7pyg/x7ba1cUQbyp6Evjjp6xCNZQ
w4GdOnZUm3AghH00gXtknqM34clqJkRYKzrxRL+sPPgjq1E+BBBHqmflSCMvybeqqNR9W9Lk36Qp
iVp7VLMqXru58qub+gAQL/n4b+xUFbFWMNTxCjFEGxMI5mFo8EEFW+6o0W5ATuLNNnLYoHZp+HVf
xrgZd4Khh1aHgaKosjnhHCluRyRIUFrGqwaZ18FXczjZ8Im64AYlPxfAf21oqqei12Xi7tE+llX/
ZjuNBLmvTfcG1I/jjIgPpywQ5ubK3EanlOWH71OXwVAziMe3doO89xwXiPmoXT5y2gIlv6YmPxEe
liRNcIujPco5MOPxILOeyQ0BHTkFNE5EuuUuxDXiFx6zDohh18l9WbE0VgJJTd+hOgX8Hwwi5ZMU
ugpx8I+stPgOjUXquE47HWRV5JQg6qE7zOK6cMrC3TX46aL2WY2AKwk76+tocDh9CdkQ80/mqXhy
kTJH5wn0w+0YSbdcNb3OwYEeCaRHTGGlfaPrGbbVssMaFY+MtAZ0YA4/tB7bZNys7H6vRVnrYmif
dG9wwy2s32T6pugGhtjQNcRVgImyuiF5mIZtXLu3bMsTygIWUCyAeSbaE8HebXoDJGsbZwVeIiQJ
G7DG+nWVQsldhaCmgfmGDerA0vCatqUJnrl58NKQ8mDl3TsDxC4+2bNFEdamU5S0On7yNIsDmRh7
K+f5N+oARNJHWpawSZcapr5xFAzwr/ErUXY6KmHXGKA4vyho/i61/BREKTr97ehot5MJ4Xwz04rP
1iG6+A/QzvptDFAK7H86oUvQBgSejoLcR2GXdJzhf7r5cUoQM2ArROEMZg/ChR/CJHsLK8Cy2Fr3
47MB3K9eBQ429EIvEOiAyyZQo4KpjXMESDzpOSA087WRW/2CU++x5c5CJCWA9SOSAcs8pz+JzK4M
HrFaaDrfjmFgbGgwBxN4TzVACt1Fr7SFed1u0wKqnBJ3mr5y83Byd7j9zuNNJDBNXIWNOdZ0FKb4
p6A4Lr1UyeNjYkA19SGTTvZOn6ZE2YJTQXoBeDMENiIny3fDrN+igj2nJyTKnMfKylUJYyIdjr3d
8xx2Farp3h1SgMYN2nn4LuYR5Os75Ajxi6Nm31P655Wht9rWw1setYMGM7qu3yRluvkXXkYlWtTE
vXvsx7VxVwAYgM1TadpJQM1GzCYtxKOyRLu70NBFu3NLFI67rijWsM7yW2h47UMvUpO6ea2K33Os
R5uxwHkComSB/DOiSnD8VSCIR1xHMZbQG4sKNFbRxCbxtSG7YN5mSticIN/3aPqaCWkUYqW3XaDG
d4R1w02htxAbbTEiTAMfkd9ljcGvYuoxxlUSM9U9erUhLIkiQRJBLfPBOOgwCNHLbYPnQndUPw/A
8h2BzYCxhdmkzfc9aNTOi1nEz/kMRBH+XaQQGogwf276KZ2wGewzpJCht7OAQuqnq14Jk2doUy25
BtV8+HtZ4M8W7u1hhyQXXn3QcovMoQNUjm8MhoQ1oJ8aQKLSPGUg3emscWP9NvIkuYPL6/iL7UG3
RXjOAcdqQTvLnTbKkTicqwf8inEBzhZL8mNs9i7+nmSuAPJ79FQjFGKHLaobE+hnGJxwe+fKkauw
c7PdWKRgX8rRjvZFnqJI0SB1tYXLWn/Lzcm8DnoFmX7grQ+qjr5/nWQyWwW/3apSTjnGepvE/RXb
2Kqb8IFodFI5GAlAEVQv1BJ6RirU360Y3NqTIwhnzHyDRD+kSNW8oKNcNeu4z0jN1Ib1TE/ZfaIq
eCuj7BFb8hQ2lhUhdo7ndsVXLEGQdGNPolElhzyaul1bWjYwFdwsDlNBIeSoBoYbbgx3qpsrBGe6
at8n+AfDnM6HG6OrC7kuQPnC3w5Sqa0abVbCgwpIqVznxQyHJAgo8PHFIf7STU+zW7UAl1IVNIZ8
MC1RwENGIQX6ia4ViJKm2qn0DO/r5dINO4eVZ7lV2ngOu/s7jT6RIAarNQu5H65R3KD0TYY/a48Y
bhe3MLKJBFPqjrwqsrfNSG003QIW5V4ooCpB7Y2ROr4SQtqvItXiA6L57XQLObtHdmDUa+D7kbhC
32CI/Xwoofmn9CN+YJWIl3fTAOt+qSp6FitkvqJ421Q6l20T2+VaKsFAq46qzaka5HyIXEysTwXt
OWbmIFh2JzrTOeHn2RVXWTJBfckLW3ma20q9VcNwrldqTtnIxARcRbpkVknqNEsj0HGt8TqvZvtF
R5Ma+qPSWWi/F5l1ZC0FG+IodeNOwEevxk4YP4g4eUM4m1bNjl7XE6w61AbwBEEYoM1be95queN0
fhKGifZYE4qhYaMLgeonADXGwyTco3EUIj2nWs60shyF4zqzpPK8iPCg0MKVCpslm37w4cQ1qkVJ
+j1l2ogCxpryQFM0o7ki0whWhmLrD0PnoCaJSnvrp5DLM/zFmyFZek9y3+Gdmu7msKqabdia82MC
TzsDbj+OT92kxz7yZ/pxolx9oouefMfAutlB88mbvQ1hNd1FTQEKbDS1NdhBapRYTuKBaGRt8lCI
Ce74UIH8hWI7uA9IcBndddYpQ3bflYEdevB7ZnJjCdB/A4QBCkUGn5VCYhFmKtGIbf1RAL1ke/y1
4cznOeejp7tZu4dl1JY/Kpo40xNOgiK6b4M8hTjjwl300EygpI9gxvAkJewuPxjj4qkdRpcYGY7Q
IjWkKwrS3ZTNN7N0lejUBYt0Whyn7Tc9DPM9nPxoZ0AURHolyebnuNUNcI9j+hCZFXUlkNWBwrez
ACdT51DrVVLHYwM1cajUYzeAM79JEbVS76NoYoUnrC3cG7iy93k+Yaqb0GUmJ414+6jlaf0bcNHu
RqQDrgQ6hPtTDEsYva+6y+8Qd2wfdNJ+Y2VBRImvgs7CWiEUY38cNK1AgaoMv1kEQu1KjgG1Rnhh
OglOO73VCFfbXh+2sfTChsvFgy/TjQdlDuPeE0Y4tpB4+vhODzMd0yL4i+UL3LrhJoO8QTYeptlL
oYJAWKmi7R4700IUxrJ12sBWpVDsj8srZ66bCBtMRctXro6r32qaySG8vE6haBMI50cKetmJZ1eE
bxiiM36mU98cZGE2d8IiMNGMGnh+PUXXpQk3WKfl7kO4llcWZROMsEw6B9aCkJ/gRcIiRUoaQgOg
ebgl9ngP5JzOp6022ikpeu2XoVZu5EexLiEJAOr8FhMDUvucwEXAWuvsXct+2Tdm0h/pudnfRdU7
B90xTMrqDY4SCGME6XZAYyEnEYwhzBuJepKlJrdabOGZlMeT8YRwJCes7DmQ7K7GoqgnJ6Zrmbdi
p/UGSVZcuB1G0Qi3rBEhmv9wZQmAq1Xj+AicZW9t3zTXQAuju3JMQRWyrAp4ddT/Sr9QQEKuCgCz
/X2t1dpdC41tE+dyvFFdVXsVTSeOMKDNdV3xR9V07wM4N62Zr5HLKPxMw5geDa6JVWLA/paDip+S
LpXEuaL1M75QKSo2RM4o/uAxDbdfj8Jr26zsZ7VfJG0arb+pht7dxWD3Jx+755Z8RYQU8GmMFcSk
NP5/sZeCtaxa9y5peipVWcADhZa+CXOh3upxD4QSsTXHzzlOXnqV4F5laa7BNDoj9MJIy/9gzJrx
JQawjleho7WRH2ScxzuCdBCw0YAGUTYE+UMi2uG7XsQh/izW0BLVh26j30UY3LY7cHzFFbpP1m50
iXNRChtLVrSq5PcT+AbamUmd/Fa1YP6mtSadEZVOW4P1MsdIPaudeh3RAeRdGHkV7Ae9B3GL/Jb+
W2cb4gyJ5pKvdwnSf4WSZvdh6FB1AMgi7gdqmERSVN0WR1VZbCKFtqebw4r1wlh3nnIMvcy1JXu7
XrdJDMhN5nnv53Bfin3ghkrk571dKRsiCsRgMnqEuyIL5+xximdUSJR8OGrEdRBwU065TcmVdgD3
14ttNufFnekQ5EyB0KFXFgKpLT5tQNyyfLhN0BJU31LndMLvchEDUMgzl+YWXQQ/zGV43cctYGl9
Kjr5bJWEWSgttihW1Io57nttNqg6OxTS2OI1SSSK+r7NMYlOQIudY0RLF7N4ubamast5gXfUaKcx
utwdQnZ9QVueT3GAHD4/0W0P2xvEB4KE+qEe7uh/ho+VErOvhj65CYVFkRqgXgiihDg92diFQgpL
Us++mHlhvacQPfvjrMBxm8ao+dlItCVQaezkdxMaKQKWdZTfQX11Rz+lv4VhE46Ta4euRHEPB5zm
5VTkB/yW7RtSGOu278bmhI8cnHxNLehYSPjObgDjNXC6VHpzX7lLTJ8Zm6RsDXsdaWa+69EOspBq
UNV7GmcUfmv+LJQ9TSPYT1w28qqzrP52qCX4RoTeUH1rzEWrEikesDRYX6RIwxh9eacnhnY9Fkqk
H8DWleNet2JKXE6jlndKV6Q0dyRbhU5/TK5RN7dhY5jsjaHYJsQ3BxFE81vQpMNDA0mKDjxClEf0
Jud2XUErReTRJsDaVC4gTwT/M7mncq09W0TeL0DO0XsITJ22g4GybF8GSM2y7YLybqzGdG2YqXQI
0Sbjakjjxn1BerY5wi6F8BzxWfRNY+R17jWdgjCU3Sd0vdQsvU2g7AcbwgSBntVQtBY9Uwe5KroQ
0fQAkiBrXgl74M8reR3t0PlN/7Sq6ihbuHkyuiOVd1DHJZ7x9Tazck+VhmuvGqN08vXSxkVO2nJG
qvTAcO45BlKQS2rJ/YH27baZO+3JFrCxAgpba964+g1oH+RFbCu6UfPJZAj4ubkHktjZpBxBzzTj
WM5lEtAfaunpuiXtGvSfFIvSOgFASqHvmMSacYQtUCcQm8LqSYfi9Wzoqu2nthb9QvPVbXaNMVbw
a3ssJcgWBZUpnniM8EdrxxfM3GLIRa7VqGtOXBcgFpchIgVO4/wKp1lL9wVeL+Y16MSmWBPAj6ln
VqW4nuCjARdwhum1K4zkRzwW+luNoBsSfGnhfI9ANiF6VUNWpZsfOr8i2hcuRzz9F0qog117Cphq
ji6UQfdtlOS3SYdazVqAy8BhxZ6qeQd7wj1RwgQGooVO/CDzRq1u0gD5WbYhmi+IAAyVvM2hB19F
Qo4/Ve7V36hGRiiApRrnTok7IOs8ccZXrRLGw1QrAl3XBj+s3RKe2XQLKS1h7g5IAXJjIZIjWDSU
EILcEci7aW732pBNHpIxSmHstYtweM9BjYCOpJkM0UJbTuoQf0wo+aGL7otRh6kHr9pM1/McUPtO
0bJ61vvR+AGdVU7wtdFk8yKu1u4KVRw8tuidj6cuVfpy+3+6cS76opEc4XGql8i2GvKP07c6bD8q
0PdpXzhbgdTncRrD4U1LupoarKp++xod+hk+jJeuDe5DWERR6mLL8B6VWg5CtlE/IWbZ3k+xdp2z
cV17viBD/Q+gLb1I1aERipmUYZz5G6hVEihTl9CNxyRNVe5jF35neUMvtzIuaJf/A+vqoo/igrE3
EUJ0ziYEPqvCWI6K7hyRsanBY1oGp//8zlxbRTTf1pmPek5uMvVKGfuUIfTqVNmPBWY27gWw9WcU
tKMuet3gy0z4X3/JXO/BwnCuJdVqg6b04NdojcbpVgUmizT2BXiwwwf+gLW3HBVvDW5z13aEuZDW
3i+AosbWGQMmsCTIFSaU9YYYKryDN+TP3LmKMVH5+uWJ5VufDwitCWtdBxS5tVDh3g9YwoVtwNka
qzabPUnxUBVXRbONIUzH12G4lrR7rQvg68+rfIE9g2HTTGTe1XPsuhbS1HTBxmF7dg9peSeLboMZ
9Ncz+wsX/zgzV6UCbvG5xOL0eyabjwJGCZCEGLryBw9L3a30R19Zof6witelR5Dpux51R6/2pdet
8U7zhcdLX1Eq8RCzXAVr20eD4QJD4POO4LEEZQDQ37ZlnC/XysnQWbd4LOHejv1z51xwKNC1T1+U
AXizmoa3MQr0Z18U22Gq1A60nXq9zFv60tc8zaMWtELQ4f+fN/w1jw6pBz7G/59Zg7X0Qh9jHt/x
qgs7SCxv+8PXWMD2cHrsv74Cf3mV79eZGKoMlrVANW7a4y0sQp+OJ8qV1kO7ETfBTskP1qrnCzxF
q4dfl176X/+Mr4Zf9t27HSzVRJZIDBJGRSs4btoJybRi//229NCGpKKK6s4+2FS7n0BZVui5r26m
1Z9hhRnohc8vFhbDxydxBAcVhBQA7BYn/ccnaSm722ODGpbR9l4tVMSWXhJEPpspQvgAaSWlQm5c
vmntc0s9hZL0Pk7sC14nn44ZyCkwebhjNMsR6HB9fAhR5rABXFSDJ928LaPF8qC7nxKr9QZF3Gk1
YtNdfvP1hvxLqTibOXtehZWomniQWGcb0spcILuRoLeS4PJXv1QDQWRrDKdWKY9Toa37wbqhj7uo
NmG8CvnrbnR0r9Wx16vnXRuG14h03V94qn98D55KN7lDeBnQTj6+iqZd5PNhfyE396OsjINK6G4m
Bs4o5bVj9WijIl9Z9E+ult0i1EdrSf+hGeIC9+WfHwTrJEwvuJY15+yD2Ih/TeEI1LrOQeqa2Nki
YDbU2JQ5YpdSuQM09vPrmX+KApY18G7Isy2BSi+4j4IhGxa+SaEMlYeBHm3fDHhaXzjyP516Z4Od
fXvE1gDGDwwmAVUR59H/tslCv57Rp3uFQdhZtokCia7xMT9+SnC0U9IX2IKiz4VwHWbBKdhsUoiv
h/kUDdiwv20I4JzfuDZZZzs4tJWuUzo9INlz7qZC/WM5JiW1vH1CyqZ8/nqwTy/OwaJedyml2Db4
QHU57d8dXJrZyNZMUqzcy2+6ccCX5L//+UROLH9eGyfC2fKvXKClYQlmbZrLHx0ljXmwL0zh0/ti
Cu+HWKb4bgpKokjwLAyhAqkiFV0lg+3Zvd8BlPh6Mp8XgGuoBLZET5ZhEXJ+HKnKdQwwTRuh51jd
ChKSUJfPbPkLQe3nzcoweJmp2iJUJOxlwu8mVHahJrvZDVa2eO5QPgSPgjNuDQOgf7Ur0/t6Up/3
KcG6gKgGN47XeB4wDBjGdm4dUrJm1JUR90gYyXU65qcU40ZZzBfG+/S5bMbTDPaPUPn1/CiKERXL
U6EFeBT+wKD8Jhu7e8wrV0YRHr6e2aeR4MKxgZiUy0t0rbMTCMES6AaJhTxga5/4nXj7SvR3asS/
/QhP2K9H+xSBEBFpyBISxKPtAA3041dTm7FBQm8pIvReazwI888A16pQ6bDb61y+FnJYfz3ip+W4
jGjYLBEXJQnz/DzqUftKQ5URMUtGTA4pAvN3gEznfx6FFA5FCZ1zDz7o2bwo5U4aGpYAOcabsfpm
NgF1rwvxwj++FGM4fCvkxcmFzk4JmsWVAx2fxEc5OhTKjObKzl4wbv56KmI5zT6ECKQEBhEi3UoX
EVrzLDOVnT45eDCQy7WKOML37/zarsd9NuoJ0m/mH9TZ0DkPqedWsthhkEL/kw7pGqmi8cLq/LTv
HNJVi37EcuoSrJ8dW0NbZ+5oCxNvVmMAnAOmxckN/VE3ZLanwESxz+iLC9E7++vzK4DBuFC5Qaez
Ts9edQ0aUupI7Kx83z/4/rV/uObvNsuPzWa12e9XK3653mw2/N1qv9p2q/12u7rf8tP/95cF/eTH
6n615V/v+fWe38fvXS//np+85YfHX/7yk+etfO908nf8OOwYy19+4n8eP5bfsvzW5R/8X4fn0/Ph
16HyK/7pcODHr8Pyn/Cchwu79fOK0w0VsRXTRpPEQY7l4241ekrHtFVB+HTuKm1+auq8CdJjYD1+
veQ+f2Xd0C32DuxjYMvnhO1wMuu56UAN4/6ykgi0d7GJGG+MZ4lXuX++Huxfk2KTGqpl2Abjnk0q
11HvFC6VxzSr7iCK7+FXAzIejlJTdl8P9XkZ6QZHqqYyMYsIYpn3uzsqRRpdzmFhr/Is9VFcb2tc
z1u6clq7LrqfIBC+Hu/zWaebxDnoNFj0rNk4H8dDZFmv9CTCC0AazUEN8swHolBejVhOXThWPx/k
DOUihYxCs2USwn4calF7NjDMgZYonXQvaDasYomT9ThZJYZJamzhDDrJAzCcZxsUzoXz9u+r+3hI
geVbwgwOdbwN/1q8vXu1uM8X6pghlosJyer7/2TV+i2gqdW05lG2cgMP1c+938MGfoG+Dh5gtW2H
A6ZEq+fKV1d/fjkepuv+dKVc2DXLmXT+aDqJNiWPZc9oy1d692iYt5BdtqWz6nXcqzVUAfRLMdbn
IXSTjbLcBrZmfNowo5xQ5w56FD4lHh4KtOD6gvfg55oU6dj7Ic7WUiWcHkMRydqNRbErpTL55lT2
+waArVdP4Fx0UfxKcZ/ysGO61Xu19r5ezf/YqMvBQ7aKNBP58dkT5FkQRIbkCZDJRoMZm+vSKony
ptcMv6//PhaILWSgqMeSip+lEzAyJtompEZZh+CwcqW613lOtNX+P46z3L3v1ga2VnDCBeOAMPAH
cY0OL3rJjldnF4KFf60QV2imjnsk16d6FtbVAd72vQD1UpfiVFfhz8S+tM7/cdpAbCbcEZRQlqX+
cS5DlIIpziglYDVWrVpdeqY24tlq1hc2u1je/scdxYd5N9LZShiREHCikrfWGzAc47uZhRf97hQD
xDiuQg014f6tBedvKZeG/scRztAm9x+NAP7mbJK4cUwdEEaOFfEYh7dALQx1V7d3g7ZVATIY8bGU
V+q4reAEN/dRcwRY1bsbDHjn8u3rNfq37vz5Nfzvs5y9BiPpYqSveA08y1Ruw+6mVL8HaMLo5hHC
t2Vu4xHbj0OQSAApayvdTNOF0Ogfy4rI0NJA9FLe1M8jAiEtvbQaXkfVqILuWsV9DV7t64n+Y+Nb
wuDCRASOEt15YawHkI/2BP0yuIZ/tNLcwJX4DUl5XWOH85+HWqTkdI4ZjdzH0D6u4TocaqNKdQzP
7OZFxtOpas0D2NqfuChdOrQ/7xcyBCTnaPZwK9jnfSUsi+oaDSVWsa5s69r5qacaqg7ut/86JYYh
IdZUej5C/A3v3x0xE3L+1YST88ru5DFCcRIK0DoupzW1hwvVxH/dwkumv/RLKJf9j8rKu7FcAznn
SkYU5ygnOKeKDus+1HRleEEAuU42i3pss6YT6bwYejcmgCtmbislTofJo+OBTaEyWM8ZIhj2ddBU
w2+U7tz5CM0L7pENECL3y9wk2elmmrcbkAvZnwljNLAec2w+a5DS79Qmc69YMiN+cXKQj1XUQBkc
daugvlsV2dbQkxEQYBQ3T7Y1h4+o9CffaBx3+6QY+9+BnXR7+GFj8p8P+6Xt8b+BwNl+7WY5DBAJ
Hfi/uDXkKWr5SakOuxn5iHVbquPj11/+HwcEXW5NEJhRp7Lpkn1czSXyy2nvFC768Rg96NVVlabY
a+Jdgi4IPIwDuKpHRDbuDeTCnQhuUlkcSqj5NqwXoSWnr5/nc1hv0XBESAAre6om5tml6jZzksWL
BKsojHvDCGEpN+gRtLtkjl6dWVyIfj+fTcwbkg9NLfI2luTH2YdpZSlaj7J4bcXBMWltzEO7+cKS
/7SJ6essicrii2wT+Z7NqR67ok90NPFIiXzRX81oy9rO9F9XztkoZ8fShETWLBNGkRNco8XqAW2S
ia6ZrV44AM/nQ5V8SbtcTVAAsj4dSjJPGtdBPBtB2zsovWl96i8N8ant9HcM9OOWtIT+83k/FVye
Ukm1Bcr9fUQuaVUTnW+o7e/Cre3S/5rX68EHVuDl/qUz999jc7Djhmag83lemHEgTGIh12VeCh54
NT4UG9eLvGHd8gE9yN6++3u2vPk63Iy4sBwu9bw+bcm/c//f8e2zPElN4ko3YCJ7vRec7L2FqZeH
d5xXbof1fvYGok3v4ettJ8733fmYZ2s0RlS5jwzed1Sukn28Sq/sVzS1fqRe/RMy+eBHa0A5L9X1
xb7asi7fRyiUaIApUSWlZoIMnnWW8FY0kvHEBQRSxi9YFKjxvpa7MdyaTrgqFaj5KZL5GNGrKygs
X8/6PGg4H/rs7Ku6UXSxvuBP7HE/ivWACNYo7+fuwtb81Ds8H2jJjN/deV2McVkxMxAE4l/NZn7N
r4y9ft2gvblGJAgm3O7rmWnLGvnirZ6voaRrQUCrjIgct/G93I0+yL3r8F7uAMFej57woJ6e1E38
hGC7fVVdeLP/WE8fvup5clQkAty3xfjRXrl1H8LnbF8/J356dB4xE553kJIADD5qN/Ol8Pvz6fRx
5LNzUGTYp3QigpCOkoGVvmBhs+mUC/M7L2WcfVD7rCDUBPGQLFKiHjTbVdGjTKFV960LE61Tn0PR
rfJmWLWDeyG9/dSKPR93uc/eLaSReaXBsmLVLeoXyQ45eC/+jdkaElBIXvnjlXZwNq6vP369nv75
UjGZZpsifYe398dxq6FFk9TgpQbYG2rJtin/L2fnuSO3kmzrJyJAb/6SZdt7tfSHkNQSvfd8+vtR
B+eomsVbhDb27MHsGYyiMhkZGRmxYq03V1vZ08XTCBqIvgIwE2seduXCQyRwslFYenvoNOtXNEr3
tTAw5WJIu/+woL/G5uejtZSIxBtjvvJLE7cjRLaeurKgs3rIn691YmQWVA1f00gMMII6oqtuWv0m
NJgBSgBfylcQUo35T1l4v7ywlV00Zu7vh6MF7QE2rUBON2Uc3mrQq9uo1wrbTJHbldC26BgnS5w5
BtyAaW9kIQ6pPPruAwQYTbZSVlozMfN5BoP80fACPpX5w6TDMEJGtsYou3ywph4kpJKM9c07kNqo
ampHv9bRrFtUIcbiFixXze2voB911IIXAzI/Dz0GhM+1ezXeUOiX65VE8axo8cdhTn7F9HFPjreV
MshudPyKvjyKgAlJt+VyayCn1d9DRMacwUb3t1a7lm4tOs2JXeOzXR+lGylnKMkZwmd5UrY7jHmw
gZ/5sm8uHgjM0FUj34DcdfrUJ+urxibUmMFDtgNVVFTvRJsxkoPrZhsGVnvbHxKH8cyNUClXfvlw
2fjkJvMbEa5gnjgTR6nxh2v9xDZMuIGuiBlu5A13ilAw/eSuhOdpm85MUF/lDT3B8qzZNV8Erjbw
JEI1qjCvVIpnMXoiXa980zPj6K3d8YveMpVz/8ccOMfPu9lDkpcNcgTXOKqmxq+8lzYe3d/qKTeZ
VU+Z7c9Q9+uOJIyXt3LJXU4Nz+KaHojVIHsYTietdEU/ekG5M2Q4zry1YstZZ3E6ErS1AThIMKOd
pYdxU/VNGmCL0W2PwhGS0M3IeA2sK7Bqa3m/nf77slLuYKM64Hyb0Vypiy5v9MlvmOWJ8CvWadzx
GwQjdF9KQ+iuE53BXfokrZOKOcwmgjfuQRwNVwwol/dJX+5r0+xWKmn/n82YmiiSwjty3iZAVDyR
NIUfIvL4dutN2zBc+FOod5EGO5yd6UCs2SREp/u1CLn4zTVxQoAZcF7NX8oyYuNJpxfsQfDNhHxD
+bBgqFnDTCzFehrulkKOQeF03kQNBWb8shw2IQaJrho9O/gww3TDj8v+Ky3FAn0CSVDyIhTMY4EB
6YSEKBSJf0uI7V3zjdFSFJJqmGTdJpZfXUXZhTUaTujX/+gRv6tAOhQqQxlSory6tboGTVkMjSgA
iZIi8qMAKn0+zG0scDGVCbGjSrau4j4FxnioUQ8SunoTucGj2iRbrU+2XrySMSzm6lMZBGiFBWDl
7NNGSdcqAhNbUf5Q6j3cBuqPGLhDUj+NUr2RPP+XGfEstF7brqHX+rVGSGbblfKx0iISNcaH1wqS
04maR1K+C3qPAIJIBWcRZjBoe0LYjxZwH15F7SO9ln2sISvm9ndZ2tJR/tfO0RRnTi3O8qa8teIB
KBVPtJDRYoV0rRLjrwFij5qQrcTPJS8/tTVLmiShHnu5w1ZENj0JPBv5W94dLjv50mV0amQ6Ayf3
HSxmfiVZGBmIj2FY2IG3F6wrl4f8vzZ253s3u9azuG58wKiRU9XgldMtEEgj+OZG3kbmnTdAD5U3
KzF56QFGe0WRwXMRjZTZVRt28B23OqtDlAxLIZRy8nGAH7jRrTvYHmwtuY+E8f7ynipLz2rgfMpU
KiV3n5el4omaRo6JT+o++KI6CDHZ6U12q9ixcy1sBwc2k5t+ozr1Bm2YzWi7L++Fox77q+DFfS8+
1JVvvBTHDOql9NMBpNAi+PyNEQPVBl8iKFMvQgLLvAu81Zxt0VkB2dLuoD1NlfizDQbHR/Sx4Wlw
H9Unacek57a1wJ8jXbL3dtGGCWwn/g+J1PRREb8x6W78qaec+C6SiQF1/JoEQ2e46SEZ2i7ZRERN
bRPAXY6WYK09VRUSKfblD7y0WAR+GEcBI0hRarbYMk+460V0P5PhPlJ2dQq0di1LXLpJGavhHqX5
QaNw5rpi3XcweXYRwrDfhfHO818D61U3d/9hJTDL8cnQTuDfPn+20eiHmOuUA8IwWNO0byGcxWY3
bi+bWUxJwIkaEBPhIbyePtupLdf1IOskCbVu0YnUo+su3Q3lHiZaUdtm0pZGmazfSO3LZcOLX+rE
7ixew26LPK8/TjGU+mwUHpXiKUuElV1cuodOVzc7YKEXjB6C1zwaDDVHeNf4NRk9wMWcOjL07bsg
b5D0TNNvl1e3bFfjpWQSZQCRft5VDSpJ1LVZHcygE/vLdWvo0G8K9wya26kk7HT992WLS6GECPK/
FuezZW6dBK2SioSSzHPM8M5q1kakFlOcUxMzV+GFp0L1jgnTdB1apZ279b0HD4oQ3UG7WE4rctqV
A710T1gkeIakUl0+uydcLdeqEfIdB3LAral97dIMAmA42dv6Lij7q1pNbsRuOF7ezBWr882EZbmP
2harZn8/5vdh8yD7b6XwUKmHEpo8dcVbls7CySLnXWJLsZpIYIKSiennLL6GUsJu1gYBljzy1Mbs
vKE0mOmejA01YvZXtTXVt2XI36BXG+ot4lKXd3BtSbODNyTIXsJLHDmG/z1OkWXqt+Ua9G2pLI+Q
HPc4bk8XcI6hVxh1L2CDIRIPcRzsIAP1viIdoP8MRljIoG5Ln/vMjO6Mvi5HZyg94T5JQac5MEJ2
N34Rx9dw1NCW/ue1c51PzXieWSKNkc+Hn2ZskMN9xuEvjq53VTEUa7buysFYOo3AMcBq6jTxybBn
IaaMRxSwWgqFXVdoN9A/yQ9Iol/HMMCiN2Dth1ZmwCzybmkNIVEbZmt49YVPDFDYnFgZJ6jjvARb
GkaVA3IksTCfTfUhMw/QdV7eSWnBaz/ZmIUcpc3H1KJmDvFj6EQRPH4w8cDovTHcclsDipaBO/kt
TPZS4USKhe46UtKwBEdhf4DVadMrsl2L3wxqgpd/ms5HnL1wPv2y2XkyIeFymfuOnNLbWspb13CG
rry1DtdCVMe5maVkYox5sXnBTW/jijICr0q5/B0hnV2+Xl7F0p+vMKvIC4CWPYWaz66qZ7zhdQTW
nZF9GrrU4cK/bGHRTxkEndBcJLpnKRlET24NBQ/9Qf3aqg99tTURMzK+qgwmA1/qET0JVhDkS/UB
6k1/bU5udZJ/lr6mS62Vchk+W5I97DVmMNWv2d66G+k5v1U31kZdqf0unQZmnwwwUjKT13NkHHCW
BIbZ6bkm3MT6HpV3G+qwy3u5cC3ppzYmnzxdloSSD6R4LKvYSCI1os2Y3KKrAfCHgatmLQVdPH3Q
suqMKpIYUtr4bA+ONUNC+oj46rQb8RXysdamDeIwUbQLbsx7kQ6+cF3vANmuRLfF3VQA0kzqmRPs
4rNlhA49vVF4pwXSlepf5f03M1h5Cy7eHsqJjZmTZGnEGAH0svTiDDs4eFv5q3vT7Kw9ak5P3kZa
qV8vL0knYlO3Ms7GopNCDXx/ZEmmxK3ws0tuh3rFhLJUCtKn9/Q0sMRzbz72X4fw3EaBEKJ3HBSv
MBFoPzQR2lHVTPJDg2zSt7hKraOLKs0d7HH1VZhIyTaE7PngZqJ/9ODZ+arCZvUdslv3IEreCFel
5lF90DNln7UIGfUwKF6h4NhCLmCk49doqFVHR0cJ9+ihgLKFwkTAgJHAW5Q48JFKz52gauTbajCE
+xJhiNoWzWHcF1LhQekgxbd60uSPsAn1N2oY1A+xUDZUpfwclaAosfpd0FQQwYnyD0Q5mnCbqpUr
wz2e1y9NEwTcCm1wp8Gvgyw8yLHRyRVQIHbqG5UJKHOo3mo9UvdsXPfEleIdJQ1pCLjn/RHSThM9
lxxWYFpTMBgHijL9Mjc8tqCHNzJSEtBeqX64Sa0MZLmO0pWIVliyR3q0OdAq6I6InAaeA3uZ8urF
o3nV6Uh2wKGPJMXWRQ4mt6FMV2/kXHQPHjJjoZ1XYlVBGdOqO8ixlA2aDMLXHhlt4YCUeeA0htZa
u1Bvg32CUst7UvtgDkRReAm54r6NruneI6ukbgXJh5wnoNSCAnNtDOpGiT213Q5iJH1RRijQe6/X
r+OkgWUmLuVf8OaKD50Rh9sMqUnelK7MzAD8V/GXJNK7wpkmRj9SV+uvQkVI3kKpbY9ZKo2IXw7J
Lf/35tY3zdSpY0O5hdBCogGr+EeUq8JbGUGYTZmNAUJltIW+WIWsP0ItZ4WoUZVKbueqGSOPksA8
tYcDXD5mclU/RqFS7KAUgCozVBTg+V3afTNaX0RbvKSpZAqZt+8kFV0WFVkBdMehM4rdIswn0hPS
HKTInr0oSZ/gMdUzCGd9yBuzovjqqbpPk10qu+9qGwpwz0rDqF3Be1u/h5Eh7MIxzq/cRlRe0iZX
3KMK3c6hieTxUeqUFFXbAa5kVzAeNaNwj7VUabTuVXr426JBSwfSMJonjhpGQwulbtU/xrBMtxAu
W+5NpwnJQXeF5uAGOdqERl9kP1KAOi9MY4JrLfxSeIZgGon21GjjF8bV+mfZq6VvVm6FjhdbYg2r
PrpfqdIW37WYyqMtp3pt2j5KEl+yLrYe4bGCtDvNFWXfCGpybXYQ16Mm0u9iOKVeZPRz0B4Xyux3
33b9VgLx8CLrQVI5sUlTGXJh2NS3CVwk0Mq54U0SaD5slLxfX2RkdXaZ2yiwU2Qi9L6+23dvsEV3
Rxf2NGZjO12/7nLZvfOUmgOciVrPKRrUow9P7HXXReJXmJ9QZYzgIUTpjhHHDXMExh3abb5kS3gZ
ikQToX+LAtCwD/KxvFJLIUL1AH0FGx784lggG7CDkI26ujb6JVVKrb8RyL0+ZORZXnPDgtbTjC0A
bTQL7lPKGKmH3PImL7Pyu2e6/h3RsNkIZTL8MBK52EGtJfCETHvEbIyJSn4cBu86aANed9agu5Ao
h8lzT7jeiWElw/PIsO4RJeVixwxsdKvmWfgkuIN/gP9P4zhEOQcJjvmtp6Twxg+Q+GajHn1FcFew
1cFvtgkzFAcGsdve1j2t3ZTlMPECSXJV7IyGtrQ6GOZ9qxbdNghTdZu1kYbKD0R8lsP4mwbrKMS4
lt1lQVFvZL+KfeoWJfAVLQcZareqkm4bI6gVx0C/d6tLUfxihgqlVGTWhZEQppWDM1bqmDuWWEW/
fT214CLNivqtyCx3Oyhl/tVQ3foAhSo4chgloWUU6kOhIbpcCk29LY0y30Cw0L36qTB+UaVG/N2p
EfRnRpQ9AhMzoKi1qmsGy8ajhCO+NokAIu1yGrSYek+FMVFXJoTfPDnQxModKm7SxNoWhV1DVDYg
d5oKKyn+0o3NMAW1WehSyENm6Q/6JrwtIzJXxb2ShV9FuzfXRjbWTEz5+UlGJ2pDEXbo6DiN+Typ
BzRooq3h99dsTP/7iY0sKlvEWclMzew3Oj5Rdt/nT//li/zdqbPEFMamHNpR7l2imvbFzL65idOV
a+XdpefK6ReZfflAkn1P17CTNlea8hq2/16IgYni7zpmKSHiEJ3lqmxVkWwLP3Yq7U0y3y7v1drn
mL3bw0hW2jhnDXV1FTZfSus5WmNmWtmmP0+yky9uuakBLSImZPXdjwu86t8hPSSySKlS3wAQPe8p
DGKDlCQ8o04iXQX9FqZx6KLXHnHT8Tp7YZ8YmX2MVok7Q6wxoj8m34s77248CPAGNTt4dxsn/y4e
Ln+YxVfj6apmXyaKgazK06o6R+JuexgPD+010KsHZf9qbcSbtUfO5K1nCyQoTlOpdEnnzXJI9+TC
qoljiDwxTf1gCo+NduuZ96CTLy/tz9zc3NTpu2BWrVDUuC8hcAevagNh3ZXv9fG+23qmo+/DB31j
OGjndO/1lW5b+/x36nBFvKqSfYCdd7UgMNUULv2WWVj1A2GIFBPd+lZ5GoOdCBxEMr7K1hcR1CBL
R0ctgpu43V3eg6VDAUTZAvlOd+jsMVs2aNJKE2JQqPYFsyFxWa7s8uLz/MTCLJh7TQ4L4QQXtJrh
Wy59xCDdLHTndYWOV/DTiuMHte5XLsPF+grTP8yrgYjQpHnLq0IuoZLCP59WdmIgNRQeDtCL1w6j
az8u7+GqsdmZLCojbHrEC53IpLYWHLV213D4TSRR/EMffHHVj7D4vWJ0cs65w5yucHYuszKk+J9g
FKIm5VB+JFeUlR31p7gJt/0+fV0xN63h3ByPjYnRhj7f7JJRxaLwXGEClzyWN8omPv4IHO8WdQ7Y
Qx35AQLyI00I8867X+tWLTkQuKz/szzbXYZnfA+pJGqK8S4/xr+9G/Fn+RbujRUckrx0BE8NzXY0
taLARS+LZoBmW8/Z227co6piwy5t6x/Jrfbk/+C5dwffr35Xvpor52SxSgFcw6TgOM3FKbOqY8Wj
TlZzPuht9lTfmw9qbqNbQprlWA7zUt+yh+GaR7W1Sb78l297YnkWBzULnTh/cqX63dTse9Jiaa9v
YC7KfqIvMOxKO9hU18GPcN+mztqw0lKvFVa8v+ueRb5AUISUxBklhLeON9nhXmL4+K3b5FfCHqHA
lW1eul4AWMBqOY06UkXDz0+ygKDyY1mfkMSZexcEdse0ao5c86271lpaymhODc3iHvNKg9VOAF+h
fGnKd8U7NuLKWpaC96mJWQ4bFrgrmh/UqY1jnwBckJT/kNLQZqefBEmNacxZajIGq1V5wilaEAYM
DCltLW2lRDxlwfPActIwmQPkERmsRETn2afRvOnM+KoOkCDNoNcP5c1lR1/69lDd/V9qMfskBc9Q
P/Wn1AI5K//glSbE8Y8ohGZrFJ2LVwJYGlWdSAngZprFkjBONLTEMOU+hveGhMK1DQezEyDZ8OE+
XV7Wkqed2JontrKUu0UaYquVNqZ6N6q7tnu8bGLJ0yBmpopPAwGyyNlyyl6XY4lJeqfObzVElepk
ZQ2LXvDXwJxqJ06hwDX9qaXTvqbdTvevM3evKyvJ7OJOAWFmNnSaYZ/j4Q0xSIuqmVoFxr7zdkjG
w/61ciiXVgLtkSlPKAfrDL0EhamJtAHQEd9PIQXeRbAKx7Aah9vLn2Qxbp4amnmzKISlmtSToarO
bygIR1cpBcmtUVfVg1EydVai+EgJiWFDEflBfdR2MfIBTqMibnz5xyydrD/0jfghiKw/V+tJVI1r
ZcxGhDcdI9qJMoNY/pMnXtdM3vXSSodiyRVPTc0uqzSXC5IFTE1DO4Hy2PlrUKZlCzpgehIdhu+n
xZ4sRonjxAinNktdIQF1p7Qrh2nRQ2hQ/++fP09oUsuUoP/iPZ1+hE248VIqnZaxVYI1ntOlgTn6
VKT10wy0ygn+vBQcEchGiSmz1TcM7pCNCjsN+eOcenM9GmCtIR73gq0XZTcMJd0N1O1HqEBLnpOh
klC2FO2gQ+FYumtci6L1yl4sJXenP3DmxDUyWWMz7UUjfDH1B1+/Svytn8FxflXkB2UNYLm49Sf7
Mbsx6ReQ7AR0tyLwHky/23o+ODJMbxR3L5+IpVBzurDpl5w4UWqFmhAPLCxkYkF5rYU7UVyJAIt+
OpHTkI5PnMkzP+2EFPYDETxhKN/4kUTPfRXctLxff03MXHXQM5UGBvvVMP3h+AjD36U7b4tE7gap
gqOwSX8HL82zuZITLBYd9JOlze6bdjR8AeFCSlpQGN3VD7Jg03ixP8QbeSMwKJw7a7x1ixHsr8Uz
Gqc0tiDVwWIciCgVv1TGLo3f4+oGxqjNZdeYNu004wG5OFFqyxbITon0YOYaWh4PShEgSZQUPwI6
GqH5UQQVuJi7MDwa8gqmeL6wP9ZUk7Asg8CHRfGzI1J0BgCn0hwRzPGgKO4jqhG21LS3Krw+yrgW
POceM5kzptF2qsMwN5qzAy3SCKQdZNGLqSSbCr+mdDtjdJgUXrln5weMuAyjBBxpNPE40fMJa1i6
3cxDMImBq+9BJiLAaOwEJXu5/K3Odw8rOjBQThgG583+KKdZ2Qe+5+SV9LPO072L7nwvGOjjlgBD
pMrcXza4tCwF0hKmFijHMKH2+XONTTq0goSsupG9pDmq8oHhSPra5p1NBk5k3IY6MQnCn0jeNf2M
k/AUy32ZZELsO9fvCXBvz4ae7+cXZ+s8rhUs51EKS0w4EaEMdPRoTMyvIHhtXJQffEfelxuIAvf7
m2oT23D4Xd64Pzvz+Vh9NjTzvE6RezSBXZ/QwP0Gy3rJ36GjbxX+SWGR098Jf12/v29ure3t/c4+
9tPC9w8/VftGtYuNts232van/cCYJM/+2P6y3z47h8ePj+u1gHN+UD7/3NkXQBs48kqPfRGMNnQC
xsH2qZRnWyByT4bWSSvVjXNHnsyZTJzpOlTsyiyS95ImSx0jtA6lqivEqnZiYVyZXXHb9zXN9m7l
s5+7MSTB0NEx8mRCdiHPzOWNnCJj7gcOWnhXVSEicT1017ksrIA75vnD/3jX32VNyz71Y3rQtVmw
LN90mW95R+RuG1UwyzT9QYGnWKc9DGRC21x2trPlMcs9sfqiIkEo1+bNttFTK8WcMEAeAEIdUj8t
0m1TWUl1l6xYfDaeXUBXeLd8Xpzs+hZ0oj2l9+pGK3NbBjotBCvn5ux80jCU6BfSzCMcnEHqi6jI
RSUFuG80zUFDi45QePjn3WIJzKFO0VpHLPnzOprRa5S4ZB2j276h8b2rIPIVY+PffY7rjbIOLZip
vjMLnaqrVUAa4IgJzcjW0H9uxJtoba7s/PKe7tC/RmbPD6TDhyGGfsvpA/ZM8kBU8MpRO+5vyKxi
97ffl8+Xt+9sUhMnZzyR4RzC6MRSM9u/Nsg7JOr6AFq54NHv5J2KrHZfij8lyXskwUdDUvyCdCNU
tMUmUKMVDzkLHRZOzkQHXgKs8swNm4YafeurgdOJLY3lzvhppYb2vVAayZEgod/ERTq8Xl7zgutz
sERuKOCXk+9/dpm+QxY41KkClaFcbHUtiw7wJfFO6TjUl02dPZIk1jdVaUAmgxpGDeGzLT80NYRu
pMAZvN0owZaZIr05vrlxe6iityaGZcS7aQ3h2o+nrXYSlND6vZ6EuzwSj0JzV7q/DOOodceVH7Zw
NJFlAMLNQI3Gj5xtwlgOHQgRPXDGVDJlGExDsigrrVCC9ABF3UZDFugOYAjEUQNBb+pDlsnaAxVO
YSsGZeMeksD0/KuSm2Gwyf1AVEWF/NihmgfWoh1ycScJvXBtUhhRHbARteBkHQgFiP8L5R3gBPpu
qA+EzUr8PHdpAujElyiJIhRcHKjPe15qLjL3KYXFEHlSRdpIvjPqRzF12pGZ63RTNLltlVs/XTG8
4FfYpcBOPowAyHywZyz81BVyClkotztKpG2ySth4FOhWPt0Uaz4lI6yPuwHiU3JhuBdmPgXSzdKS
kkpTG/OxwMEIwaNlvqrlFrh2CSliHWwL90rx9m32xsBBbz6XouO33/P8Wp304bZ9cw9l3eWfteBQ
5OUon0yHCrL42a4jtV5owYRIiLI9sr62RNi6bOGs8Mlh+mRi+gknF3LTF9SMK0zkP6EZZ6AoyKh8
Du8MHH9dw4ksBCbKTSL+AxqFRu4sFltj0Rdxhi2zQZ4cAdLqvpYZGK821Rrl+JLfwHQGy8P05gAb
/nlZnqHrXmBx4SOSekA2e+NF2tHM1ir6Z0khfzw5E8PBuCd38lk6I7e9IMKglEPEegM14sgkopsD
omzFgxR4+srNvGiPnhcXGvTFZ5d/VI6tVOnIx1l+fCXXX71A3nnkhurKI3Rh+wBATUMZoMBxgNm6
ghhpaC+oWNdQ3HFj/azdYu8J5stl71taDokMeS69HVR9Zl+JODj6pM4AfcNvkvbRtjtd+cj99/9i
haYyo+XgiudV5CAQJb8JZKCI4rEeP0acz+sfgvbjspmlPSNUMaNKx4Jdm4WQMK5Jbl0rcEIy6b0Q
aMnVBJcObCsIs5WCy1nvc/LrSXWDbJ2n+9kdGEI8nhkBE8ey34lvfWJYLUDhUHrsBxGxywGtTdkW
BVn8UaUdpRHEFl/jwBtvEvRQjYeyj/OE2M1LeU/vWER8ETjaR+WW/Qvt2/gnYzHawTBT5ECH1jS+
qmEmff/3/YK/VCRVobKKstPnI1o03FOd6IISVoeN69O2tbKD5a61dpZ87NTMLMtMZTeiXoYZZAN3
Q3/watHRomgzum+X17NoaOofMUVEvJ5DGCy1kPNRJd9vEgMxnLRX1S+SGRVPFG2Un6Pukxhctrjg
cTQUqKUQf5A7mL83cjGRBjMPYlSGo6OAYqk6hju3DvaXzZyl0Lw4IMOYIjfLw/E+fyillF21rgGS
uWqJNHSDJqgsXw1WY8FVgZQCSM6m+f1fbCJhwEwYz9H5vV+7pTt4BjatAFr0Frc95tJjmfFoTB6i
NeahhYuJ6uX0TAAMP/EDf14hpOcagwFR7AC4vxZJEpPW2OjN76CmH2OsYXiWPhuVFbJzGk4Qjc08
soDNI0EENnY8QPaiBsuoqW3laiVELLgj7I0TeSRzL7yuZmtqmO0WLCGNHTEDHkURIUxyu0t8kLTd
ym2xsH0TkdIkF4Ak3ZmDVBbdlz7uQwcWV5jFxFa4JYj86NMK4DfCudsOtuKV+sjC8v5H0wjSWJDB
fxLWk7xFcE2hgI0A6s1OuQmLzklEAanD5OB2yUrNYs3ULG0xR1h4i4jCb5S95QAs0M5FMfjdVzeX
fX7BLz4taXbOAlGsNYVGhIMM7carKjqDgPhH9d+jBo8U/qKgLfM+nN3tYiCWaslkCDtnbhqpvHOz
nLp9ubu8milxnGXUqsVbQUcjlMAxR1cqbZmFYUOBPgu/dIyxaMrzZQML2zWxaJkUDpjfhPH/86HN
3Tzy9awBWel3nNRklymhjf7uvzv3JCpDj5JbVjxT3BO1yvSFiUPSiLMbqJthvRevmvQDDQk7CP51
6pZ7/dOpnXzxxK0DVQjJnzm1Smm9xGXOPEyujcOm1IdyBSa88IEwRXhQWBR7ONu/oM0C4gemtEI4
moNxP0hr/ag1E7PVDJrfermLiTLvrafRK0PKip73dNkRFs7np4XMHNofmPwbLayYnWCPxB6VDsaT
Iqy9lRbCHHYm1SmDcVb0UT5/m640xDFFkdYJCvV5kndoLfcwyv62GKJbRTDX6jhL9+6Jvflo8mAq
fuy5GXcgI2V2VdJmZXTNsD25+Oq65s6DS8fPopVzu2gVANFUeOZhM39zdrGnVV5QxM6YxVf0hfL4
l4zyJdq+iSKB8F8xt/QAJXn5a2/yoROPl7vUqIQCe14rM93OLGbFoKsqOt7w3Gn3CXVibdha/wzH
+HPSTuzO3F+Vck8UmZ6n1TXuFX+nFo+D8tKp+5rVIlKQVcyZBOmuqY76Wrlh0ZNObM/OBcNUSeMl
2KarhOfoGlN2wsMQe7eS1qEonvx7YfrTHs9OiNpbXPzZtFb5xpMSu6j8nd6FK4W5xXN4sqrJs06+
5JiHXlNOngNL27bX6m9d1SDS6zEnGIyby2f+vCE2BUoqrOj/Ur+AQOCzsbiOvbaaqKJrDai135R2
Xhg/06nWF7gv4SFrmFi6SUvAtuJR1PZ++N3Vdaf13ttsJf6cIXsQ8eG1TIdh4mSixzALDKKZNWHs
djBjlpbylI4SLNFDp1332lgiA2XVdpONEHm7MrdICmCiadzGBkoCm7cSmP/lY5sgmSiSoqU0vxdb
WaqNJoe4uw+qX4kZMJ9ReXZseisX4+LnPrEzc2LFLOhAWHwBQYZ6cJQdAd6tdPzGHNxKxrJ4jUDI
S4cK5nra8J+/tVeQ6eV9w3ERIBlWMquwEytbMbKQTvCWmuBygIgWBEIUsU9Ev4PvvKen4uU3Wswg
db02OLO0azxpYEMB0kYJbLYWI28Fn24+3hDq6YsuDvGxdL3mxodX6k1Loi8r52ShsAlHPrQLuAJY
8Llv+m1ACyQYYmapo01bHymDZO1XncfccNUIsV0Yt3G3qdzdZbuTy8+yv4k/cXpV8c2g5v38ybIu
1dvGE7krBWbs61zdR9Ug2mKmVQ9mfeXHb32TlbaxKjUz/cGfDaO6JFGkhkhvqlPPDBfWOMCmDkut
V1mUpMfauBH8/h0yV3kbUWm3k8b8IqBu9qXu8mFTh4PqVFHw5CnKt07y3hSzjO4EnbnuCNln20Ov
daXtde7N/L4py6O/BrfKvLYWC2IlTMq6dqG81PmXLn2/vPXnF/jnP38WhtOk8tXEl6irSvtIeDPk
lz5+jBOo7De5twbPPj81n43NQp/KkOeYUw6z3XgjwrsaTzOgurwCa16KsMwu8i9e6JQk5+ARpqtb
Gl7UipHHs1XjTYu+KcqrkPY2rDGR/Fp011W7E91bOVqFXix8r6nGCwR90kOnsPfZlZlpzuJCqTXG
Z79K0SZ2OTTt1lB/G5oDYKasOkfTuq3VvbpRtXOt29W+8h+47syp+QnATOjO01ybu4ygA7btW5wa
HrqtlMPEWdhFAG0UKm0IDQr3jR/Zbcgx1p2+kJw02/Uy49NbYdx06oOcO5V/KMjABxeOjc6pmQww
XtL+uSs3iug7ogC4UfN3nQmboOuiOPqsljDPBHZvQkBQfUe9dRMJt3X+LVF/VeWzZd6r1j4El+2B
fKHAGCfPjQGede2Rt5AeTiHk79Jn3hwEhjumMUsvvGjj67Hd8wTzoAJS7/tmozT5ZgiftGYNFrVw
iD6ZnX30sGc+KO4w2w67pqN5yz4+U4PD2bwbSmwrqdN5uPy0yj+Mj6epEzPmZuVhLhtSux4GW4yv
or6369aRJZg8hg/RXAObLhzd0yXO2+/QTrS6kLaarfW64+UjRFrMBo3eytJk+TwiYwfqswlJMIlJ
fj4/7jC4etRgZxh7+PkSFMOf0/iXpV1JzaNhCLDCb0YYHIcvXRltdGknKx+ULexOg7Mv6aD5suxc
ue36fSVGtiDk28vx8s+Ve366/v7AKQCcbD40DqqWSWy+xqhQbV6FIz6vJpjjzBtAU37Fg2SXsbw1
vIcx+JblCG0ldi0CA+4tZ0A5Q7Qe0UxEzPDebOGBNu7kSl8pl58JssyzzNnNRh1SHIaKffRGQJWG
Y0WvgX8sAGqBRwotb6MaTyYtWCrpVvGFfmzTf6iZubJbi15zkuvOzqMM74kRufwKEc4q1f0ogA2m
TbKSjC2k9xwIOActE1AucqfzxYrWmKdSr9lx8ZjIO788Mv1p+0FiG9amsd6N7KvIhvMy5u/vWp9t
RetrV4IfeVnxjoWE4tMvmS0YkCn0OxW/pGpHOywODXDMNCquTfnKckl6y42kTDnwvVg9ieLOG+/6
4VUV3I0XHhoakCG8ZVDNlPSvK3ObQOUbBordQySRxO+GHvDWXNU9OU/6pt1D05lMVkVQdTqSJx4t
RAwdW92gAep8d+W9YXwVGGkvK3Xfgxtw29GpwROg5yatMR0uugefzBBRIQajNvtuHrj1rA1GzW7i
LrObuso2idB+qDU988sf5jyRntb419Lsu0CI4apKiSU6fjwMUFP0d1BqHPVGX4lga5Zmd4Gc8NHc
CEueIm5crsoxpQ3BGGyzkjT/QdmdRaK/a5pfA2pamMbgE3aCwt2YMBPJ/Mf4Km/GTRI8NkK4lYlN
HsoQwp0k7mXlyguuVXShmrfYelfyN8Mc+Ydv3XBL2R2p8vvUSpyw2GbyG6nmYD1e/gbLMWmqICLp
Sqn3zzE+cTRdiV06hfxgXXDveh8V29J49CSDZ3mv7CJZ3fXiSCXH2CSW9S1yf5YlCha5G+xHq91k
9RoH9AJOBa84+UEz/xt9teiB0GpINY27bMgdAPe2b91UvuxYQk5F57qCOKjW4YbeXN6MBdcHQsIA
0VQFgOpz5iaJnAhdkBAo0hp1jFC4ddt4W8f5SuPj/5F2ZcttI8n2ixCBrbC8FhaSEqnFkrX4BSHJ
FvZ9x9ffU5oemyxiWNG+bo/b0Y5xorasrMyT56wNEXZA0QbGQgByeJSR1KaMywAeeCJowpRYK0Qy
RxW4qjpgZoNW8vH/DTYBRJQdIFbR1ARWH1oM6HX+iwEzwBNyMHDTfIUpALmOXaASDcamZJeZox8v
hVd2IhDMWXMBLgGCZMZvO1wAkWnBnEQ57CRN+zaFmos2xyetM1x1Kh27JA8BqHwsOd3b8uDkenRv
jMptrOs+GVJBUW198o++hYsV+tTOIGqMRe5ZsoNsBkikGIdyMakd3qJDvpHzK5Ps+1xw0tjfy3kG
8GuzWYB7ABaI29cZSh1KzOymyZWhhI7dCaoB6yM7ssD5U2XQ51guMMu5fROaz5O2a/NtOj5r031e
XgG9pqv7UcRBvxben4yLOzSozYeRbmFcxPyuLM+BFGwy+Uoq7pr4M+uAogC2RZROWj2o4GxXcUeZ
rAR7ejuSDq9WY8ZIdWh3FIG+zUFIVRa24NHKJuxsyY7McBPayE00m8zMFOZONW6i1AsKT5u+lZoB
9JMgq/B17C+Z42YSUbbaSRVuqbS8U3JfSg4Ajcfhr4wxh2leXuBmdMripwJGjHzc/IUr+D1WEP6f
TmmW5JnSZXC7WgtNBlu+HbTyMGSW4BRcXrkz9ZwlS5HjyjDGCsTr3W1ivCyi5tzVg3Y0Ei50Aq1c
JPcTVi2FJpwMIrlB+vb/myvOnaUQZyNAN8CFRNFGm/C4nMIru2y9y2bYLub3A1BpwNqBVoNhkU+X
JKwnKQeFCOLWRvPiOqGBdVDqDsDGa8kQ4eC+4jrOGmIAhjRAkgS9UmzljgKBULdAcZ1gZWrlapg/
SaRuC3BulZNjJAku4Ft56Z16QkxiZpAs3shmu7GmB7vf9uSnrd/I2s/S/Clprq7e2V3htmXp6uO1
ZL6BAtFJO1UQ0625u5MPZkHf0QeXCSqfFdtKoDJqb9UEfbl12X1oNijB8QdQGqnz+CkMk+I6mpcY
AijyrRX1meg72GqfTRw4eL9ex4Bicstk9qUS6JFCaDdVuRdZdu2qWiPvlaCM6EBCm2bFODq6nTxE
WZ47xrigYyYmKq56ANkUU3QA1lwyYGW2jKcXA6d8zdzRzEhYtMbsNEKX7NXOZEqKlzCFlkYNeYBd
PUHkyXyQdOnfb9eT9eDmASk2vG9LrEdUIwWiGp2Mx1Y/7NIcRWNASioadtB5unxGmE88m/yjXcu5
6DBXrbiTYDRfvAIptLGYaRMXHvBhTp/oVNa+W2YhWvKV1xmuHbxuWTZPVXjUo15OWmFMOJkE/Bmg
z8osOBkgOl3rJjNvi7n51I38W2NIu8ujXcuiHhu2OC8dgowqwyyzR/VjP74q6mdoy25lPZbNrvti
dLivzOu6n2hPBJfhiueG6T/bnJvpSO1bJDBh2oDufT68jmiNGQqBZ11BRVonVrg7EMj8eghmWAFj
IB2g1BrPT5Bfx23ratYb6CMU9PgjR2qW0HKVnSWN3AW07uX8UCXQN4r9sntRbWRKM7osL4LZX192
VtBnuuPgOTz1OG1RVHk146SX/fdpvs60nZb5A9pepmUbzsBeXue6kxaCRV9Lv2FO/phVT82mC/pc
7AIPydFGMpEx50V4U8Zeh9ahpnUtxQK1ytuQbJSogeQ2qkGmA/QoBHM2mfQtV6Geg9Z9J0EasrOu
W9H3sYU/O4JoOUMoJrPrij/3kKSuIwmzYuijm8xgyu0GsKzeBeauTV/nRbBFztig8ZhgoNnf9riN
CArWrIxbTEcST1vkcJR4pJHiV2Aqkq7i6vtgPRBy6MZtNPVIPR5maAcl4a9kcmPl3qhqkTNg039p
/NyWNRYjB5sKWx7yUvTLDoz4vgKX18ffVclJ+6dZByl29ljP+CKBz/0frv73ZPAIEx2g7EnRYFxC
BFyRfRZUvhEcAhS+cjyfqp929JGYgiwH7wpU9pBDSyNwe+g9ADX26YYsVcsaIg1igXXDDmPtEO25
S0WNI/y+4q1w93vWFLqcTrAiJx8QOW17t44+SOrNaQ0dKsE9chZN8Na4XUwktOeaKZrCpaGls+mQ
7k423Xjo3b6FAKLbk8o3u6c4FCWvRZPJbWe1r2WJANTpdP1GTa6n7NcUiVBcoqnktminzaWS17Bh
q1AteBnzXb5sLLxlGlP1F0OQ32B/2/GB4Kbyq/vrKPwgcxP3A1u43PKk3ot7Vy5+SiCyXtQByJLr
SaSifHZr8BY5x1xZlRTHDRYv2wWQOr3Kgbnbd9e2By7qQ+sntNWcb7P/PdsMVyNFEU6we/gnB2+f
89DEXgLIlmHEUgrqXbDUdoXgyLHtdz6nBBVSUDQC18U9OYZeAugBvBAgT33qo51pX3f1U5R5piYY
isgQG+rx4k2IHvMAhqrZr6Ofi3xVoOYzur3RCxwnO7+XhsR5EWMAomnSYUkuP8qRGqaDCJKWItnf
9bWxWGsPXjXQ5T0d0JygxSgz0tZJUOeAHIxj6YILev10/bHAneBZjtTFMhifhJLQOa7pGJdOYOr7
AbTWAOO57WgKcj1fDajnk/fHJneiLRJFdi3DJviVnlPVLFGLKGqUULJ8Cz0UXUM2CxB1GoMQ/DXu
9ZzpQdbXRgbRUVqAAe5d7Zf2o59Kad8gfQPxoqn6oaNH4NsgJfoBVVtkGSxwAW/zpe3AZG40aBHs
rM8MHR9P/SzP77qqRU5VT7oLIk0JZbROQsO/EYbo0DADPwcWuqRWZacHcwiHAzIp4S6Wjekp6bpD
27EX0Ay2E7e2tfhjsOZqZ6U22S5mq/+KZLRIqWOa144hESgDTA9yZeabtCYP2iTZWx19l14jxXel
HYvC7NUzgL4WnDN06ACefrplpEI1G7TTt06ovOo1WnGgrKhRPd1PpicIKVnAfraOR6a43Wk0o21J
EkjQ7UTdGRIe2ta2sl8lPXEU8zqNKirrXibiYV3z0EBhsLZtHWT9PFcAhGgTqYAAkzODgLRpMx+N
oc5Y9ruGFJsIZa85R0dfJz9fHu3avFoIE5HfR4Zf59tQCiBu+9nKIM/V4rCb9wOEsrFB2vcEmAtZ
EfE9rN2sx+Y4VwbVECLJE8yl8v2YtV5rfU+6fwszYK7/2AjnxczGsqHeCyNh+QttW2DSG7L7ulHA
QHatBobAO589AL/M4Qow0aOEVlfCmYuzZQQQu2odIwVUJ3gbAe9tbFcDKmR87HH+0LBh4w1szx0N
lPfL67c6oRBaYtbBLMCj+DJJrxKr7JA/UH8C1e/EgGDVAs+25kzBWvLbBrdodQ4agXRqsGiRCiwD
SONU10wQQbyq/U+9FeRc10eE7kW0+AMOzj/kLS0tQ4jktU6haVSOTE9/n0gpiIfWbiALqZh/jPCP
9nTUZV1KS4TLZfsUFcQvGtv7m5X5Y4ILgIxqkYpewjggQ4YUlETruXMMUX/k/wiSf986/EjmYDEb
o8WtU4SeVG30aaF50iP8f6llakv7pfxuAuk9iA7Z2jKxC/yfO5yXkymg0aD2JUKFIgBTKtCdAVxi
agoCEpEVLoqTzKyAcC+8Yj17hPSosvtR8OvyQq1PoYbzA/wgzgiP7Q1rW0+LGUb65AFa3/L4fSGb
FE/zINzksS+17w2EPEXcaGunCg1kv61yN5ouqWULOhDmed/i+ilWElcfrqVhp6UPKcn/ZiKPrHGX
WmbGwDRosCZJr7H2oYNAYhHenHwy5ivmPjLCR11TmYSBDSMJBD/6W9W+mWTgFcqrOXLbENmh0hkB
eatEagxrlxiYbH8HB2wXHQXIVQRujqXDjW02wWaZJiePo5t+DG8ac34z2/wvAn+kctGyAj5BgJo5
c7bW2XGMsimoRp9APKdCsD1eEhfJegqpFsH1srZNjo1x20QDqaQKnQZEI8NDYNwpQKyN5N3KSpeY
u6j7lzB3toKYR/SpIBSAz+ecVtAXlRkofetoarUJzYYmE/GKVHBpsW/mI6xjK9ypTuSEALKMS6uE
oHMK/kFzk6p3SSYwsxZSHZvhHmj9OEFuZoGZcCm2Wadv2qGnjWaBsQTZH6Sgi+lWhgr6ZXey5rKO
rXK3pZ0GoT0Co+OE6qvdf6rdlWo/XjYhmj9uA8amrbVoSIDD6iYInNhzRCtLfQUM6bpVvl22tToc
EyB3lmIFgppzHIWZ5d2gD60zYieAq+1q1Mlrgwb8y2ZWh2SDjINd+Wis5cxUXZnMQPC3DsHTDUQg
9l1f6Z9aWG7yadpctrXiLlAlABUTLnkwOvMQiyaJ9bpIwfFPrO2t2lTOONxosagIxdaZ2+QnVriD
W8x6iQpU2zhZs62WjjaisGxle8MA0rugyDNBE8Rt79mY4zkNYICkrZsnJl0U3S/7x6UBjjCQPqI2
p60VCBpUVvwRGgGgY4jmMrSt86llO4gMLWy6xqlNRE2QMJgM/d4Et0tS7Lt9RZL7y4u1sjFO7PF3
SggNzECCPWnwtZ4mbbnNcrCzirhNzgAxcH0nhrjnexEZRtZGMKTUu0rfEdXpDPRXeKn9BBSOiuR9
lm6nZEMWCCj00DnUF8EZWDlqx1/AJ47xMCIQzMIXzPMhA1xZtbZpsb08nWfZaW6YPAdAHvZ4HbH1
S6XZC6Yc+mQ2jad23wLUlpqJ18ObRMr4UOLJIxjg/zAOZl+QrIDsXubORLqYyzyqfQM+/4WCzgp0
nH4WPxf6QyuVFNUJ1MJpIgnMrh4U+49VzreA6Uhl6lqNY/a+ErqFCj6i1pfBvVLSKk99EH5cnuT1
hfxjkNuzY6AVubRgmE17qK1be0KRXvCAWZ1K8BAojLYSneA8lnfWzaAKqxHbVY67m8mOJleu58AL
FC13J7uAZKGh9tSO1IQSfUHlTi+1vxgnkC2A54EbFD2K3D2UG90spSPa8UI8b4NQddTlJhI1H615
62Mj3J6RMnQmLRAScIo6hL73S6Zu5MC1TWhICe6FLzIR3mUfm+I2SifbTRNAPNkxJi9E00d1H5Pn
qHqYuo09oZBdeVl6iLJ3Td4s/RZdbYuGbnXU8l4v7581n3f8Hdz+6WJ0Y2UNvgNSsU6lPRXy7CK2
poktoixf26loAcJTm4AvBt1wp5FzirIRiWoVI9aIM4PKBeWxqvQvD0dZHc+RFS4kiuwqyvQMVhKS
uyBhn+Z3S74a5Ouo3gTkejBzP1D3cXpQTGfqX0n6GSzv6Ka9/Bls1s5W9+gruN0Knjd57EDN4EB5
05yxnKXT14CIRCY1GuQtu785HUAkgFhSB90KLxuBRtsgk0zYWxa7cqHWjPqOqb6RjoheydparAHY
NiiLYEbDOp4uY5bUEWQGMcHAl7i1N7kAKNEZHLDpDQqtu4XWHrQDr/qEZp9oQYJCb/L8C8qOt+pN
7CobXGbPmRPt5e2/bYdht83Rh/HYa+RSAXwY8WG1BS2zCFTLu1REELrmIKBhAvoAQGbxGuPWddFG
SLwXWuPkzVMtw0ck226+IounqKLC8to8H5tiG/3ooRnPtjJBDrtxutaTUbeAYJvgrhJZ4FxQXnfZ
mC6wUOYzbZWapqJq0urNcTwIzrugCyuP9QEm4mRHmutI98b8LZK3ie710lXQ7pXpX+JU2C6AzAwK
1KAusZApPZ22vikg+auwXaBDytWr470tMvFVweRPN4Q58CK30b4OxsxTG4B74eUAyhwHGLOr1m83
tu22H/HmeYYsXEVzN3ACikpkbtJ2W3qS4D5ec3HH5rmdIZU5QT8Tm9SqcWT4aUTGpn4VL39jB7G+
Jdto+sJ+Px2mZYxQHY0xzHm6jQ1XT96N8paoD5dd5dq1wF4U/7XCOWxZlUbGlAeHncjoQtgaIZod
RY0ZZ+Bati00dIYDoAJ2KPz+dCyjmvWsDRSpDSu/keRNg9486ykInyD7ppHyOrXvctjXLd/OPFt0
0tbMq2hlZnTceEJB0+XUfDYbYaRAANpRp9sWOJnJvDejZzJ9qMWjVNNocVvjChyUvXarinRKV445
Sx8BqgacCMjmuBPRmnh/gjm+BbRd+mlVNZiJyPDvXYmqoqmMoFUcXG06N74+Hdputg3kTisA/ZSZ
+MRMBa+zlTsVMFhk0RE6oPrAo77lUTHSZog6h0RQ0469ZdFpY332sddC5ToW8ZqsnLITc5zrMqI5
l+MF5qQRnGySBZqPiTYDYnoybS8fga+riXMoKujZQKQIGh8DqY/T7RFZ+tAEdtY541VJ0cXrBG5J
SURTt78qN+gOXGjpvVtuTcm3wYmo6aCx3f3I3XSvOTI1X0XcT2tzffRB/F0q2Zk+Ljo+CKBfNf41
m5ELlx1B4nYID1UzCx76aw9iTABEyUD6D9ILPjYcQlLqZgF7ikJtKqEJBOS7zkf7Em3tlL6OOS1N
UHIIoiaNnfrzef9jlvM9ajMgPdnC7FPuTTLUpmm/QUcKhf72XbxftrY/XKNhmUKF6wdS9Dl9s3dv
7TYIqUZDv32/KRe382cn8C5viLUoFvNhokMIT1cNANfTDRF2sYxaJT4s+C751T50uw8oC1lusA89
BUwpFDBXJ9+JCGDWXMWxWfXUbBBmkrJoMBu2GlW0gVrPlwd21qqL5T0ZGOeHNXkkQ23CwvQxuNpW
9+Kb8iZ5ab/HTvBAkAOm4YP+wtRGAEdwryIvpZ//z0/gFj2vUhJmYd45s9PS3uvelb3ult/v8sPH
K8S2NuNz4GClJdeixJ2vRbKDa2ilkyngogdbDUPUVjEF0vYw3eafgG9uibG1dh8v5QbAvaCg0g/0
qj/YG/N+pj8vD3/t4XlinosepgY4Ij3G8MntLRNeHd4Vd6LgTL7/YDIvnac5zUQFhdazPsOvdYec
B/QvIFKAnN7pzrLTKq7yJe2cPvDaygevOrLjYLgxwAftyN1BCq9QOpQTx+oc+UcceZOoELB6BzN2
H4P1DYFsgpv3uTIrwxwx70uHx7XW0RSsF3DKjl5vNA2y6rdWS8MeKKHiZrFuKtH7d+1CAY0L9APR
YGHK/B0pTepS6j3sg1jIgghVsoPwOfLBT5cXWGSGO8MjVAHUVsb6BiBuWepyryrGh9RE35QuEMTa
Z00jX6sKZDL42dCgosucm4K2X6cQtpfs28Dp3GgT3FtetpserUdlo22H6+mbdCg+H8hPRB1QllT9
1p3p5LTPolO17jGPPoUbdpO05hhKmN10xrEd8AbG0zTxcweNMxPoHxxo029kf7kyd5fne+2Nw2Ie
MIwoYOxH8uJ0a0+zIoOsJcEkdCAcM6cNyGGcrsHSTvmCjvf5FgnWt67TQBEq0r5bc9hfms3oJAVH
D1/KyKRGq0Fe1zlqCNDvr0HUS8K+nb8gDciJML4bGY8pLnaUZ2KPIbsg1WieJ/Cql2boT0qYoRc+
D2vv8lSyv42zBnA34jukphWkfLmZBFdYVJgyarp5m9FOsh/qxnJiklEr/jFUoiw8czmXrHGOsAmU
BhTjDHtVhE6RHfLGCQLTLY1v6djStD3ommCrrFtE4gVIeVaM58YHzI5epC0cnhlnXtvgnag/JxCF
6nPtYew/syB0hlRUVFuLrZiaEmJLFFuB9+Ku3ERPhs4gAIcoHZTkQWwRUlUtKJjx5XGnZqCYgZyG
hKL5G+lL2qS7WqQCubKukGf/s4u4UDoJ63auJ+yirOt2RQMF2FbzZmtAG5RO5+j18i5aPRMwBrQn
aEUB+Tw9j62phGM/lh2ukhjQxHY/yZngZbw2pyoapplIDLJ8yIyf2giTcpZlreqcspwpiDgpGKIh
n2B5aVBeD0VxFYwhmg/irdmABADyfqWSIYmsOSoRNeaoaw4f2FYT9UzwLJ/V5tQhD7WhbzqnkCyv
mjq0mqETZc42UzBtlUz1iyLzzfFBKQ1w7GqbrJ93harQ2qpoQ5I9ugGdSCp3PWhy+uBHUrylKFaS
HpyyaXaYYwsMLl2GwrkpCL9XPSf6DfHu0QiIqfk8SqqrkRTK+HKlfjHHPdTu1e61sjZ9dEcqOhXX
Bnr/L2+ONQQdI4L6bZM79UZAGlluYTNk9K9AHRSa5ISjl2uSL5e3k31Qsgz9K0An+v1fpIVPjHPb
JsoCdUpmGO9H6XvXohPcemyVzoN6LZ1ACaXP74Lhrh294+HyR6+wSDt1bLgVsJbI8UXFa4qEtKG7
RmjQsXa1ZiuD4VHTkXbpaCZvYgne8Nc4X5v2L8HXrL23jr+GOcijnCbqYlkoT/gaE52A9gQBTCCG
CWgAvCVIPTO4q4sXGSRGRfpcZ78k60FgfwVuq5pI3oKTXNdRjOdcIUmVpkYnG+ZffWwQ5erRE7Iv
qrojBvpafTsF1lBUm197Sh/b5J4beqwo1aQP8L3ZQzT4oHOcJYPamj9MFS1DgWdacX4nzp6zFs2j
JoU2LjXNLF+KFl1Rdqc2grhvZVOdGOHuMT0epRAEgUCfD+EuDGPHIPcNyPFRSfI7/S/Aa7CGsh8T
5GHHh9s0SWfm04Jb045lz1QXx4qflTh+7ErLnxMECEq1u7xP2PefRQZ/LPLayAjblGToGWITeN5K
zbYBVBTS7C8y/BgY8Ds6oh606XLeQAIV+1gmAPNKeJLRSlp+yPLb5ZGsbL4TE9zxD1StGlWGPZWT
YovEKDUmn8EOwAY3QStOlV4u21vdGaDxg4aGgUoxn8fRphgAsrLGkAo6SJrfBrdNvLHAhl3M7mVT
a3cw2P7/2OK2+lDYM6j7YMtcSvluhlC2HRv3/WJvqgHoaE2VHlQ9bqmCjDKd2my+C5Dv8UCTd9Vn
eXLbWXn+XfBNKw7u5Ju4k2EP1TjYMb4pyJMnrWx/5HJ1k2XpRzA+5SgApkHgjqDIIGlCFx2dq0H4
oRqhyOeshAS2jXQsXrvgWgQN9OmRqUINMPEa0DowSI71W9+5dvqcg3xNMFx29PiDcmyHe/8hj1EH
cgtNo84FPVToxdvA7VHMpjolmzfpMLvt7eLlbvgg7Q3vsvG1Q3psm3vwDfaQzGbJbKvphmQJVKzs
XQ669ctm1qbyeJdx8UJZkj6xGOK+LW4GRnnXgipzejL77d/YgegYWFdB6c53eC1tUaLkBztx6Fjy
xgzTXYkWNiGg9Mur8GuGUsBvQ9yx0ckwxVqPLTpYH3LUb4y5Q3Y5ML+HUbHVslcorW8Va6La3Ll5
+9yqw11P7OcKm1Up0ptklt3YzgUed9VPHX0Ud25KYCEmcHnDTzHGvr2O0AxCr7kJqDKafqZZsKhr
e+d4DrhFlSSplxoVk93PKCN0LsTZSkCT/mZFsZpAMqJFhK9EjvJUNFMC5GRdOZFZ+UFZUAIcW6oI
ruP1yftjiP35UVRVJkYwzEmLnonip06WOxNMY5YPmcB+/tACkUje+oH4Y427jpsxamOgdnEgNA1J
ACrb7UaCCAWICC7P35pzAX36f+ePv4VLiPAQSLq1ThS/tihAZLKbd7nTkec6ck0rvZ5EJDhrWUpE
GQgRLTyYoUTP3chpABDoVx/Fkk/bqZ6oAmRIEVc008ubVJscyah8i/yEWg4pfqnoRMbji8qF7Rp9
vrk8/LU9evwt3KouRK1BUomrux0TsK4AiuGOtRa5ehyl28um1pb02BS3pBUpMyvRYSodw102KDSM
+12y5M4yqc5lU4JR8c3Bc19N6oRuBIco0qGsUTzR1K1h3l+2shobHI3oKwd/dCSwa7LSDGAmkLJN
H+vPUgnwPOk8KdRoBuavVAEocDQ2k4ny9pB4JgjuW12n8Sji21w7nXC2Kpi/iIGsM3dHWvLYSzXB
Nm7D0clAmW10ptPaZD9277ECBt9iEd1Za1EY6F8AUrGQlNT4avOIgK+JLHhTbda+200f07ZMMhgt
arfWVGjThIrgsJ6NUgE2ECVgpjEJ+AX/shrkEdLGkgVtC3lHktkZoVNA9pry1AzfhD2958uLCgLT
sQQsWEYehu+iYQpewyKVkfPiv/u7X3cf3s1D6Iqosc+oJlihAp1bIHtnEjXQYj11rKFUaX205LHz
RCiEtCndQ7qaOt5WUB2xzw4gq4iwGUTyE4lPm7uT1UDNSjWsYsc9QLH75fCfH75/8A8UZvETP7x/
/offbOiO4ifktP/5M+p51Cvofu+42/v77ef91r2+f7p/+vkkcBVfJIgn4QOKs0z8HWVCkKAgzj+d
E4CGiB6UPbRpndbxfT92vn5sI8HteQ6yYYYAmQeoDbln7KtTQ/JY5mk+Y/Lda9f1XR+D9qjAG62t
MDjuIf0AHWYDT0vO4Teaned1XMeoN15fP127hx/+5vlDp8+eYInPG7/YcI4ssQN05JHkIlQCO4Kl
68MBywbhd4HLO7suYYDVIFSkAjX4Gm4ocWmjQy4G0dX1wXVfDv4vusF2cLaCg/6VhOc3wLEdbiDK
kJdRWsLO4ceP98fHx5Au9BGq7ggiAVNg/zzCtLf3nO3DZ+U8fD6MlP3zOaNoHbF/CZz9V+3w/IuA
xrMtdHOA8uR0agFuIUXE5IRddlx2tztML5O7d7ZbxxEM/+svu2SMCx1HswB0vmbGXOx+6n/b4GTC
krt1BaYM5l7OTOlQrEP6CP1RfMFQntpw7uyWmTqwE+Dv2LFnjgDDw/hc9vPyLlqfyyOb6ulchnY6
9W3dwWYOjAN+QSEevz5htKkTO782z5u7/d1+7wkW8Tz0Ytv3yDB7WR+dj74e1EhOYRgesKS+/7h5
dW5ETmX1vB9b0U+tmKGiQkyDDc89gPET3vNug536XbRNztPM3HC4PWnEWcPA8jD04vq7Db0RWTjH
rjALhq6DiwrKINBePR2KlpSFlEIqg63UtUlfBr/3XH9z91F5H1+u0tmyMyB4a6wf/yOz3PFPtSBH
egxm2f5I6UvvvDy13ojrYEYWoPUG1zVxKihuSp12+CfDb58BogGyAEwi1KDohcPpdAUXk32W2+Xm
g7svrCKChI3+n6Vl16h7+PoFB4cdHnaj4hplh5X9gl/xY49/fx0mHCf8cNkxvnyeDHZezs7wn+ni
HzFSHdS9fPJVX9/mu/+5vdlXsG/BT9wI7IfoC87x2pgXQHCBvIcIJ+IYbl7KEoS3egOVCWYYEcXX
D7jIb/QZo79xrpibdO99UVBzFtOAnxUcE2jnY4W4M4FbrWkjbbBgd+jnhvYGeoxs9IikxNMykYDc
VyfRyTRzxjiv3CWFlESWhsuvpLchDSk46pyB/sLvFuC32H9B5OZhvBTD3uzvnG+7b5ud52H4n5/3
PzEtO58dpKf76+29e//0dH2/7eln6I70pyhtdhaeIz5mk4KAAH1JUOc9PbkkHfMCFBl4kKCnDSDi
GRlTb1E0JNTrKejNDVqX4l3YFJnAya4sCWgjCFAbANmhXsg5JfS21fOij6kzKeAmB1oU7Fbl8kJm
klylBUgrBJuf3/vA2SB2xu6Hvpei84+wpi/NZlgm8AQCz1RDkd32VJuJpXqX7ZxjP5ghVD5BC05M
tEJx4wrHWEaTFwwpaEdUDFR3JhDjRHSB0ofmR9JLGHxvC38qnlVzA62MWX3IJM8yNoLvYLcHtwtP
voPfhelky32A7zCSgFpq4Ge2b+Z3wPvqFZqzgOzam3CcilcXgNYBmS4J2K2Z8730AdzOahf0n80q
PkBXIuBPrJASGeoOBJLwhZx6eRh4DXhzLg97ZTufjJq7EQKt6kkywmg3RV5SXTUglckiXxq20vT6
F6aANoJIEPpPVL79og3sXoXcfQom+BLE6ZtK9bIGTVGDG4iwTWzPnE0lUggGlMBNBc93/PlRPGKl
pamHDfTeJvt26aAn/LyIGLvXTUAgGa9YAGx49FQi60NRq+DRjOYaGHt3Vj6z8OXyjJ0HIuxsQPv5
v0a4gC5qomCB9mjqyC0UwiH4IbeepIX9Sz4A6W4g77MN00V+KCak0LOqGvddBSZXb+qleJdmMRE9
hFYPydEHcYEe6q9LFYPaz4nA7CI7TYR8uuWS4NoE6UB0b8e72vbjHik18xATp1FEH8AMnK+siVoi
0IAWHpinK6t2qb6YKIawIrTTKU4ueZq+M+QDQb2ExLSUXBv9myOEmD50shOsx1mY8rUef6xz6yHN
+kzmGlu4lDdRd7OYAVXjd2t2x/FZRodq47eNYMTr++yPSW7G7TGth6LBgLXgR5Z+m6tDrn9eHtaq
DwBX1n/nlIury1pelIqZgLqO3HygyJ1bt8MCkSqR0rdoMOzPj86lnpeoMpeYPy2Zb8r+h2TLvhr9
a/JJbpU4T26n4C9pBmYFsL4IqFh9M1qOCepbs/FMW+C2WQh2aUdybru0i5QAlgJfs9yNI9XtG8PY
T8UmhlBYdwW1kMuLdV4C4kbHeewaeqVJL8FeAWaWl+Czpdp2ec/ew125S74BFbRJH7Eh34kgGl5b
Ow3tL5CBQ2If7B+na2doddYEpZ06Fbpdx7cwgcqGiBdcYOMLc3S0P3o1VXLUYEEGngaQOEqpiu5Z
yFpcnsK1SOpoJF/ZniMrKnRqRqOGlTzTHtVR81BilYcxBWhecHjXrnTE75CMA7oLyvbc4YWilt7Y
ETRrIFoVNn4OYYz5pY972pPrMdhcHtbq5B0Z446xkhFjGhQYG4PRM8L7RIdw9fB+2cjq3B0ZYR9x
NHcBPCCiQhgxce2pwyE3/AyZdzkQudrV0UA8iXUco2mdf/lYXREuc4srvAK8p/yYhpHOJHeJ4jW1
6lnRQwY5IKXEE6Fw+sadtdtoemt6wWesDvfPV3zlOY+GC7jBEEsVvqJI9vn4NpErLXsIJMHRWrPC
2vMhR2mAm/crW3BkxbZxhxsppKa75UZPXdu6kSbXEqkErM0owmtG8wxdKiByTpfOqIaoHQHORS1j
gnj2awv90TER8AKdp9jgnizUEqByA5K7s5fjPCqQUGdWFBn6OH1WZzrUmkowVKg1NKng/8HjAz3e
xgtTqz9Y1lKhc2Ccy8NkmC16rq3Mqn+NEnKl0FQsQ1t1liTqXSvM1F9ym5EECnYh9BVLUsi1384Q
8PJ0K++6/TBok7zJcjIhMmn0Snd1rQhFlc21xUIDNaC4GlJ7ZzjnDOhLqY8h8FsrqlsEXq5ATsyi
/fxvwWBsIglwqoC6KYj0uXulqhStlkxMZN2EaExNzM+sIiKiDeYT+MvLAkkAhAaYhBAP+Ql6PZIg
lItHT9lex1AQDYtI4ANX58uGUhiTg2V6aNy2G6K+XpYYWrTAerjT9KNBD5QxETAV1CJY0dpwUK9H
ryaDI6BR49RWgLpDPYNqAn0EObXK+yG7u+z+Vg0gY6cAHaUC/cUNBpyqRMoyDAbN+bicdkn38TcG
oDUEdi34Ap51xQ6TKbT1CIwRo/nTzmTHgo6N4Gn/dcHxq46uYHRYY+0J5JZPp6ls1LxuEhQVpzbY
KLFnq3jR5q5kuBp5CpPRraV9YTFWQIHl9en7Y5j9+ZGjG6oQ/BxZmjlmXbyBUdTRQ1VwbNa22/HY
uAtKaTMLQtIYG1i10JnsatP/kfZlTY7iwNa/iAgQ+ytgbFe59r1eiO6ubsS+SgJ+/T1U3G/GlvlM
9NyInqeJqLREKpXKPHnORnHMcDRXbts5Wp7t4YwyMCxbw0NT8gSMkdsOuuy539pa5NPm1zAPjYi3
lqf37gBSEKPMDyrwsZf9Y3F5EHvDpKkBH5G7mgXaj33EYXbkFgX0Wg+y1P6ZV+D+UL4um1p2E9wT
M1k8+nhyU0pFsbi0Zt16Xuu+FR3s6m60bmmyJ/rvqtmZ5oNCnm2+u2x2PqNnG2vh4kA7WjXwfj/1
ESOpRiQFWKHV0nuCgc7yq4H4qJNtDRFeNrV4I4Ld5psNwABl0KmphhoEY90I5Urj3oqE+JrQD32c
bS6bWfpmKPT/Y0bK2PPOYFWPSVWI++rc0wVoB8H5nECyLGX5yu6t2ZIueSMDjzZY8PHNyg8nvy6z
m7y+ZWsi1+fg//lyQtcVCEWIqJ+JqMRFMnY6bmMfj5HfrEv9RmWenVOUig2voO19VuZB1fxM2jVB
6MUQYn2LF6AqCTW2029WGZzaDYF7ND2ed53WYqB3Ffa9ZkR656eqXcIzYCQR2auI1GcbrPSXnWLR
zXFXYaRyzi/lIWFltN1hUnCTjAr73cTJvhYjsMTuzhGfTctXPH3pIQJw1D/WpAXpKh75gCvnPtMm
JNIq26Dk6sXih0OVt4i7t5r5dnl95zAPuAjm/CHsi7l/yJRLh8u0daVIFJisaP0ggEfS6uTFBgU+
SIo8AcFys9SCvqxrL9LfdXcMCDMC5tQbu10jUVje639/inQAI4BN87zBteOawm8UHL3bvtkwIIry
tTnRhY2GMJqGojluBryUJffsWjI1xbf24wDB926b2gE1gZECjNb5VNYmCNesSZ81YU7Pp6LEMcR7
2Zpemvh9iAn6NHgyuVfWGifcQnABZQqgFoCQAL9nScGlq1tzIoLh+jbtLep+TPky+0dnalYuuYW7
1UYWhwfEjLw8G4oyBnDDtwXP/QyqLO2zJXamclUamIfqvBZcZaxeaYwu7SPYyQjYCrEy3KunQcUp
GBSPI9x0+XQ/ND4th2uy2bN0w/tuhS1hwRcxLoAKOKa+XIIlnppSFauN1Rp3Tsec6wF5hTcwSKub
gCJGmX1vGX+rtwhAFwxi2E3XMUQIgPupwSmuhihTEKpTQbZMcbweLQ2Bc3b5vC/5xpGZ7w7vUWrX
dqQ2+9lMhGdR2t0AnxvVJBzISiRbykpA6w8IGeSsMAn0/f+PDDWuyfp6mjnV6haqshgbzry+JM31
mBsPytAlD04y6r+ixgI+sayykKYWo5gWssrGv7zmpWsQbVkX7cBZSgygqtO9VahDit7BdOCUHmoM
oJsCA+rRnLt7uh4qKgIa+ilu8+Oy3UV3PTI7X19HWwAdvGLglCB/H5SHpsJBpNZrRZ2t4k73jZ1C
SW1VKnReipSWnSxVyqvNaIj0rtRzvya/h3oz8C0x9rF7sN29bdy5/QsrwgbTvma6F9HKE3IpHhxv
sxRUMVSm2aCDxHU8fCbqpyBhPs36ylem6sdu5yVrRda1DZbi6tRFTVJZMFiNCuSf3prppQBvCKlS
XxSfGt1d/p6LMcGxLAAWdXemGTr9nkz0UxXPQ6a9isHTbtfbGDBzfJXHnuhWytXnTApzPEBNAQPh
GNfGKOWpsSweIq4kWJtu1Spq4wkAIGKEIllhYJhZi34ZcVpvMirIFZgAnxTwRAbC7i0fBWAXlzhd
Gx9YWj1ABlDGQVMbT2spQLmiblKzNOBZkbOxzfraSLdpFzpKtm0gdXR5q8n86WQ/PrImV/SqVI/7
GmPpGKO6YxrYOpoWxDH9A4KXTysjEEUalC25aWhYawHx7b2VPNfpAUFaKR5VsI7eD4ESaOnKD1tI
OW18GfTBUT7D+JocSvROQUkNuzCgL5o19R2uhv3ltS+FaLAiYeoK9QUHk5SnXx6E0xTkhXO0yhI7
C0YMWrWQy8IceTs1SZgMbv/09xYBvgWoEWRrKMlIvsYbdMycEvp1U9KmdyzuUCdTp+ym4VoSRHHf
eZftzSuQPy5eI4CuACMB2mZpE/H4MBUgmfEo75QgYvsJHkt/X7axeAEdG5GiL4QTOlVQGOGK63pD
nfpDrGxyUw/6VHgVH7YTKill6j4MtpuA7Opr5QcsdCHB1PXvd5y/81H4N1ifEeTzSObd1K+aH5y9
WNNGaABLvA3kpqB4SHxctrnonQhM8EAcUkOmXylUJc7SFq6TCxAsFd1BRGuj8IveCegrCqsoSwHQ
e7oqLdKyCcAaTNp3BzW/tsE+QraueLi8kMVggwlioPk1MH7Y0hlwKr1trGoONnF5n+nKVUObp9FJ
NjFjtzRug8vmFvfNRlYJ0jrMwshYd7WPRV9ANNmfh7auO6tyD9bkvF42suT1cId/jEj+AF0XiDlx
GDHNAbOCjaekWdCQH5etLCY738zuwDvY5IycMUcyW6aZBb83iodWaH7q1vtE0J0S1Qgpxo7V7rUw
f9vuf8qzUG61ESHhfLojnWsQYFA3Slw8PBhOWfKhYQibtiTkNAIPbLEtzE9RDVugtFei8jnmFIRm
3zbnmTvknfNZPDpr2sDArmhOc+rh7qoS5AKDHcTJqz6SnaJYV1393Mb0Gq2VwDXAHEkMaGlhyjBF
gtLbL0ZKdwYzAOn5dflr6GcpyvcPQ6lbm2u46BCc/rA2TnkFOHMOUTmlCxQWZ1fUrFTi526SvpJI
nT4cN3f3GBcUYOwcs6BlPfrT4A3P/LifIq+BAOtb2dbqfRmRNApAemvO09IZM7xKDD3E4zASDHlW
Sw9sQusvlvJYBEQphq+8TKHzFbVJ2BkDuGVEYpGfYAgw96UYs+sxdtjgR3E7PTK31Z7rXs0+oq6Z
gXG0C6Ht3BUHqN64N5nKq5Ua/dLOaKge2ngdLAHKANnkRQc/tSH+tVWsiWzQ7d3Xddvudb0qgtFx
olm9jK+8Is8O+0xvPZNUGTYmTwBoO/0kg0PtdJogN9/Xz1GJMoO+Bj48O+mSBek+FaDdGdOCFihY
1sh6Dxa7itb0es4i5GzDQL8aRTYMscs8N8UIPLsrUqxCO6hDwPgHt0M9249iJWx9u+jJbf1tCU00
8MuoINaSIj7TUzseI2QHDIRyfTBD1e0Q4csjT8l+8usHcE2tvCTOq1KSzdl5js6zU5KeW3gz+kNo
/MmuxcYJpm11yG+bPWg2QnO/9snO3i6SQSm7zc2+tWwOg+o2fixekkO2Hza1rz5ejgcLTo+v9s9e
ymmtWSfUEu2clIR2CPrmLjSxHL6SBqxZkfwvLSlq83N+NfyagvghOoDvVAn+mmnpdMu+U/jjbxST
COTGsJIeIjA60rcu4JsktFc6RecXmmRHulWYZvRot8GO8aCFfNdftxvEhfd8u5Z0LB7bo48zB46j
BU3ELpAfwJCl7qYoiNt9RF4uf//zrBQJL7qGGp6QiHo4wqc20GHgaj8lKLPmHzXYmZHKVHwzWo+R
HTouZHP+2GpY2SvVrLOk7dvq/Jicz68rT++YlEUWZM0LP5rlrZPeS6Jdg0ugWju3s2dJsQLLA/3u
zP2HOpbkeVrO8o5gpszvLLap9Aaww7dKfcet70GHaONwcIZ3CtsC4RDE0yr94MIXRNLjgOoDAirg
yZXM10aUukaFFAuKaWJTh+WuOuipX19Hu7neugXjUbnVnuK3y191YXtPzEp1iDztNYPW82O1u5q4
r+hfwElAJnrl2XSOKUMygQkDDBrMiwOfyanzoOjLe3TDUCDnLZTZKaX8BumB+JMwlCNUgwGMbGX1
8NMpDXZbDqKG4h7PUCaALtmVsIf2Mcfcagzet6l4aRMju29yhf2sXWVaud3P6xf4rahjanhQgont
rHGSFLU5o09ynzywV9crNjrxaKDup6sqrLinPne7yx9h4Vo/MSh9BChQzWVjGHS7Bx2EhPYaGcbS
Vz5ekRSHeiPuHQXJmq/pG9BYVwpaIonqp0ZweSFLTowiMFAlNurOZ8MkSsMblmjITxwL3Q+W3ZY6
aum8XYEALewXnsdI02cWQNAqStd6WfAmFRiT8JkjgkRB4jn4lxeylKJgshc8G/o8+yk/4gQYGwVv
sRAyAmK8IeWGM+J1wOW32pp0ycLHQa1kRk1p6Gahbn96NLhq1DnHIDqKQx4vP9vhrq82abbm1YtL
OjIjXRFciAbkYsiFxq37BEoZ4leP9nV+F90nfv+njL0s8QjEsJWgWQmt5xUxXIMOxOABzcHbHpR4
pys09KyPsgwr1J7MJ+PK2Cib9Kfx8NO8Rf0RNH97p/QYVGU9P9nr/rhLoeu5EoAWXObkJ0hHLDPd
hDjjvMnlh+XcpGuCSUu344kB6SumasLNxIUB85eeeH3kJR73jCAhEA7dsJ/WWpF1KVE63lPpc9Ik
pzyl8FC6ZzcVxuZA/jxtDeZNV6WnPSjb8Q0SVf6r/tyvpGiLGe6x6TkKHCUbipLruUGw1PYdJLX7
xAn4m+E1lafNjuT3j1n49wHyZHPnI3RkkQIRyvNkjitD6anKJh7+uukvuagUUqADaPXFvKaSZHuL
p7uqXlnD8jH/9xDMH/RoDQ2EZ5ppxBqaMg5dHXR6w5uFCUgtvBy6Fu2AAH+e6JuVrSRHNDkK6KAd
wYSb9jCZaME7P3r91k3pSohciPUQDfjXjuSAFsQ1oUGCl2Ks3I/8phNvClvztDkwSDnZiQ3J0zIr
Ih36UGAaiR/TCF24YlOi+RSLXT/dkPYhKfeq+2P8D9fliVnJ3VA+d5XEmYOF4TOMfbBGhRTRtb72
qda2UHY6WmGAm2F5kfNk1nctULN6Flx2hzUbktuN1RQVpIeNNn6cnF0FEk9jdW56MbpimBOED3i6
nxUhGeY4YwNoX78BZTUzAxdMX6Cgz0vfVl8gH2ckr23+1IG6PNKgwpo/K2uZx+JTC1MDwAuBfgL8
3ZLbV11TdLyC27Mm1CEeXoSlBi7iBlRrLkiIhKcOh3xVTmppd9EoBvoeJ2F+Ppwe6t6kVjvOZcM2
GIJoX/+cMBLfeC4mmeM7069v1EfoEa9JGS1lqHN/+h+z0kdNFT3FLoA3z9raeFcOYex57fXgs/fm
qblee8YuRZRja9LDz7ayaWw1GxXKYlcbN5hJdTrg/jeXHXX+zfJZP7Iik9K1buGALhxWzPa9rANj
unGgFQK2524Io+L9srHFlOTYmpSSaEozTA2BNXC6b4cgxidL7+xbpECpV2zx/iHvMepF9PFJv4Ju
ZhpA3o6v6Sks1X6Pv+P3ePjRnVANrO4jSAb7091n4mU30w50Vk/u5jfZd2GEQZsancPr67U5yWWv
BW7KAmgavOCS1061llWOilQwb4O2bVFG9m3l8fIO/3989F8jko+KCaDvdsTa+pAH5o7doqb4oziI
IALTutixtQxvMQNDDPpnVZKbMhB9kE6DQbLV8jDaDs/xQ/U+TL5meaq3VsRc3ENg9DWk7iCGkcsF
GCcw3GbO95ISyfOhT3di7ZmzbOKfaq8sP1+JNhXJgJBmFKkHwPaQxV7HV67xhdB9UvaQEmOeZari
JCh7VMnglc6ttpb9L0QPlF/n5jsBdBhSAKchMreh/SMcFHA6BOFM+TOg7UZv6NoFsLBZJ2akdfRU
75PWhRk9PsTpgdOdGYWXXXpxq45WIl0xE1GcJs6KwodUQyA61avj58sW1hYx/4KjeKC0cYt6BBaB
vgvwdX8o7z2z/rxsZOlkWjPPsYY3ujNLPp1amYB0xsQRrKSx4UF4w4toDp5rryxvUZqBvcEMpm5T
Vy8De4nWJjTnYyjF+RPrUnKVKTpPMVyI/JSn2861n1QOZBUksGPd2oCYLUgBaCqdbnt51XNMu2RW
inlJnsZ4fWPRk/7YRYfcvBm0D7391KeVA3X+DVE4sEE8Bgpp9DBlCGMBzlmrU20IsVcqJJpYc1tY
Coiz6Uph9HwfgeMAJsyAYAeKBmd5fs+avhwtzBiWmNtmNzW44howq+l7tcdg7X0pVppPSwvDxPs8
FGDgFMgwv6EuLAyA25mfA86uvWT0Uek+Ln+kFRMyxM9kVulGFUzUJtu2xrvOrKBbG+FZeL86Fvjv
QAUFhUrgHCT/jzS3xxMJI0kTxFz+OLVf/HG9+hqaRn3r2Z/KjfWUBdXu8tLOg8epUcntR6W2hRhg
tLExOwl+c7EWyRdyGphwZsgi1A0way1F2qbvY5o0EUxsymce5n4Rptty7x7yfQe4rg/+1vLV3tb+
g/DcQ7p1D2vj6+ex/vQXSEG4MBSrVBP8ApuDsHpvkg3XOe6s18t7uWAGTDVzgRECDnMwOQ1gOF5g
J2AJFsheTPdaH0JbfWZrEL1vWNhpyABVGjzEhSAt5kO/s7ejaKx2xG2KvEBG6hWP2avGvXiTaj7K
Ol5ylWyjIPf02E9v+CYOiyd3NTtcOA0n9qWEpskn0kEJCt3LqynUgjw0PrTbMSRe/uLcfNnbH1+X
t3XhYjhZsNziA3CqLVIHBqNPU/OE6mev/BqKaxvzhg2h9gewT2/F5HlYRsPDBWAMkPa59indqak6
Kq0J+DAeUMpTet/c8icA2q2DVaN8Nm3dT80H0iTyoQm81tBc8iJnpnhAK3+u9EphwFRGS8ugaYYh
7Sj3piZ6zFV2Kyal22sQrV85/0sLPbY2/5ojZ8psM50UHYODZdJknlH/GMr8mcQfzkR2Y//n8rYu
eA4UXTCLgQvCxESkvKtpTaOmwYd0K4jQqj+GkXlW/XTZyEJEc+YjqIGAEZpVco180Ia+sl2GvHRG
Q3loDtoPSAGdFa9cMmPpyFbASAR8+dlnSpwitRWBJzYK/RCEqZ2/T+UdFC5AwwxyRIwqyiiBxE2U
gmQAukxlFxD7FcPFHl0bq1v6JKAIBQp1toVRsNPvb9h5UgsHjTbFeeBdmLMAcL7LH2QhI3AMUACA
1RXTS2cN2pG6hdbwHrCUKMymd9oKL8XUD9q0WojZMTQXirXj+60OJMVI3DjokmBYC6uS+3p0UgqX
xpgP0YFOnzzViEa/iNToftBt+LlNUUnDZtaGbzucBa6gwms0B9gVlL4groGdVzrfEAoq/snUib0Q
ivFaRB1eI4nK611a69kUcB0JlQqVd7plIgfXMUdydehawQ5oN7a3jTbG7Lq2E+PemizcPNM4haQf
6bVFCvWTjBVGIRKn2zMcxMTXNExwesZkaA0GWzKl9ZrYtf4UajWEk+GMPxNlNB+qLiqeqNJlbzUG
ya8NkB+GJmw81E5sXddlSWhQDC6/MnLLeufA+W1JNtJ53kL0Y6DFSnlbJQ4PJjWHQsTYqvwH8m4g
j0msQVDHgr95rQAFlCjbfroGNk1E966i6nfp4EL/SLi620PohlZ726Tja81aGtoJd2Ov0noMQYjM
2tJEnxI0q6saxL1sBEB0gm7OXQ72sPesmaKHqu8S4MZsswFNkZIGdj2K9oob4BNDOZqW12WdVVf4
jHq80d1s/E0aUhXeJLLiOWGkRvnMVNWw7LrkT9c3UAxS7LZEEci2WYZyG8iCiCH6j2qKOfU4ddKf
WtzqGwyVG1AOLHP9YNAOVfXeitbGfecigux+MK6h8ohBPUyQnp6qBLkqVZoKb/5i8g0ophCl304p
VGr62scU6+9UWaszkKWAhOEatOqQ4CNgSDZ50TQ07hH3lCcUqMrDewWJCa+4MUB2esuvIXfyZN5m
myZg98VPunGQhpFZEfTyYV/8FRhCBzktiI4xQHu6cjOKbaMscNj1LLTAWs2G1fxj4YJ0wMTyjwnp
ytJFNFRODxNuFJrMIzej/xN1ZNsj924Z6A/NPjm0nrtfu5jXliald3WZ21UvYDfWAf7JMctX7v9v
myfVpvpRY2AZmSMlzleX3A7k4bKBpVQKKQXyCgCAv4Hpp5+nx/ujKvsRuWNFlE+b2/ZHSWMUERun
RNfHnbo8LCIXfAhGYfHJ62mUkACw6+KrjfUU/pt013Ui+Nrk29LmHl+nUmqQx9EgYgPXqWAvClJa
i64055e85tjA/AOOEh2n7bOKQM7NbwR5zUi5bVzQuY/1VUn+g6XjK1V6bbhFiYiSAobZDZ+ZaQUp
q4O2FACxrFEVrl3e0qapFatqoeDy7sad1l51eGqvMd8v5IcYmDCQj2Jswjwbu0/4SDiiGbLRrAwL
swqLrfUEdvGNEWnby865Zkrat6FSi2xUUPuO6mQHSv8yByyxD3r1hv713JGB1OpoVdLGDZod8yxC
owIjgkFvQXDPCPLq1VCboFQs//K6li4DCO5BKBqyrBZUVE89r4krzjoXWyhqP+kSr6a+buzcVvfM
YS/SNadYcvRjc5Kjd1pmjCWksP2xQLefB6P6J+Iez18vr2qhSTDLTaCxBXkAwzLlsQWoyrRU1BzP
wA3b2Dv36Td6yL9w5bToNSWevlV34trd1e/CDdawpUuOjyQfZdtZmfcM0GOxgZm5CdtU6T1gux3g
RLSp2lxe4ooV+d05gkLHSkbcqCktPYdiRPXRYuFlG0tf62glcnGkmDCBlI1YiVmb1laAvw0NQu0G
vKoa2spR+vR/MyedsWQ0mrzLYU7Xf+X2L2gsYvhs8Gj6dtnOd7FWzoCO1yU5fdoUjqbMr7Dkh/us
otboTQcUzXB5HuwNGlrgXbl1wuTnitkZaX5mFmkH0iCgo8CrenrWWoSQNmKYpeG4QQsTc++PjDxp
I8q4SUCrsB/XkQ1L53sGSJpzpQCT1NJSXapREc+TNXpV1n496dcVY09M1AVEz285msyKu4KaWgqV
0F6wsETVtQHROl0mMmGh2/NcqCIMBmLMezNj4G5NSnVfO807FBDWeumLFmdsP1rpEH6ThZ4s1htd
k+GqqcbcBh5AS6ZdJhLtk2SRQv3GaKJ8W2AkZaUrsJAXYP4EE5Jg/8WzQkb34hOXmQXSBL+k5r5i
N3bUbC/7zMIph3IvwMOQOUCfTh6dUwC4dgwG/LCaZcXGnFQaWG03AIlo/75s6WwPwZ4EBC3qHzOV
AP6dfjUMyI2acFnpG33vEaicsq/WeDCTX9Yaue1ZVJktzYrdeP9iekj+Wixlva1VvPQ5KFRTtQ/0
ZGehYhatXAJnri/ZkVaUdi5DRRQr0m2ItbLsl4PJWhChhVnufpiRcVVna4DBNZPz5zzK4+xSoGI1
wSQeGSBECyh97EYoEFfgTPhFoWl7+Zst7yRwgiACIudkHiMmN3NiixJNKXRL+G0tUo8nD2b214nW
vJUmPGMu9aDlIxViJohhEbWAoS5/M4sbJQ9b1BZKd9OIZGVNi1t4ZEq6BMp6cO1Bh6lRAVET8UjB
Nnl+FYNzKMsO5l9j2KSVSfFRT3Squu28haCty2h0HQuxu/yVzpMRyYbkiAW03RKDzbs3fpbW46iB
fGXwnPGqT6/aKcwEaJy8vN6hH66Yo28lL8J9tPp7NKqAnn9e+TXzBp7cQtKvkXw0JayqVAO/puWg
aLyGeJ2HiqTHgROvrWs3aj2ihhiLpOVmVaz3HG8wG0dNErOPmHJHM/X0gChWk8VON5ZAb5GPDGkE
6AdvFRBBOFq2HV2IPpdABbWfpZsjF42KtU8x//2zxYPQEfVdApUj+TrEa2EUiTKTU2oWxs4ATQbd
YsleVAsdikLfKcB58SL6YVjtu6GuXIznTTSsHqryqLzgqiIYdT1dfaUzbuUOVs/FmyitICKgyHQK
34yb18gle7uyN/UAUeFx2MRm9i5EuYms/tAW0Lm77AZLoeP4p0jHzIxMHerh2Ajw1dYx3ajub53e
qE38X3b82JB0wKAIquJJDkONXft59qo7W6LWUM96tlDbVPDU5Z2X1vc6XdWlPsu3vrd7vjrB162i
pHC63S6oannjYrvnmoheb0zrS1cfwBWfDuYmS+/oeFuQzX/Z139tzuHt6AaYDJws1sAmqCqmZkNA
epIHVlqIbZsnwwd3a/F42eLSxY2F/u8qzyjv+NSy3EASCbpzaKJHDW5u+6ZMngq39FHSDS5bOyc/
/95UDCBCgAJZj6whlYNwpWKqir9NHY9Ovqo+mEbu1fazY/1MZzk2qLcb71V0x/6a6OjUtDz12w2K
mTkjTPfNEIJupGAsKHTUwLO1GLnoObO8nAW9eyQJkufY7aBMLYGlonqlUdiOPolvUGkGF/EVcG32
5E9rBHuLoRENqH9sSp5jT1NeahVsWlDazewwVw1fiQ5OGirmtdVsp2hjKUGi/Vj5oPMBlEPisV2p
Y5pwR2G5BrsYEfFbd9/2t6aFQOj34lAwIMf7IMpDPE8wzBFZazMAi3EIbzH0qEDcCgKU0/OidemY
uYVRzjJ+L0ykILGG8A19zZU1ofj5L52t88jS/EuOTmY/8FwdBCxVYDmrKQ10noS18tc01nDSOWUH
YfAsCnIGQNP4AB4XDQtSUGK30zT2nBgxpzSMz0xjKyMNS9uHGocOZWj8Z8iO6jRtoSmqUvoKKX1w
AXluT8G+3zxExpp039L+HZuS/FNHFybW0Z5BWaNog0wH1SokLq2gttZIPM/f5/MeHq1KckkbxAKc
FzBVldcd+STuvQW6xOZA61/oa+kQ9dZetWhH+FuVPWoDgPrby4diKaYe/QC5uFIOgCNh+gtpQvVV
FFeqc9CM1HfIfZGsdfPnbZPd8tiUlBPwJjI6N44rv5vsPxl9zUoM91s8qNGEcWoaciNfWdySRWzw
P9eitLt0SuqCzxeGaXylynVWe0pUeXTwdfUmzdcO+JLb/GsN8fT02EVaM6akxv1vl9VVUnW7uouQ
cP6+/MGWrEDXFicOw6gmcCenVpTUUrKOR3DO0ty7HXthNQ0aHm0um1k8bkdmpKxJd2ieaAbMIIu8
7isjnGAiGcxdW5AVqNrCV8L4PaYqAV60LIylSCtK8v91QdsV3SaPDDcQatFiJMG+T3tFDcx2oB6A
ou1KPjG/RiSHNCGiBI5rAvuWTCpT1syiRUErdGES5VFnhQ1iVIevOOHsZLIVqDjjPYmw72Bc8HR5
U6NHVaHjYVw0r9BMUpPDOHld9Om4o4fJZU9bAwaftyDBso46NyD+4M2dSbZOLTYVB8lfo1Z+4tSe
jiG6nHGPTbY/MpTihLlzybRJiOFlprLXmebZdrwx+2TbTyA3j8VtUgKHbYnNZNnPaqV5jpNvczcL
UzcL6tL1MxBpX3a3BR+w8A10eDWSEOQGpz95ylBPyBUNujw20uTca5yNFW0a9hHrDfQEVqydj4PM
sBRAW9ELQOEaPH6n5loHBQUym7MLzNX8FJjnRjvKMh/saaeJjWBbxfQvr3Ah0CIO2SABRXMPc47S
68CsHMfIJ6PywcgQJDGafPamim9b59AYycr6Fg4vHMDFNQk2oxl9c7q8cRB5M9RYHrryQR0hX029
PP0q+ofLa1r4aiaG4dF1wNg2Zp7nNR8lGjYvlSTjWNPQb02CWh3dx+KZZHhh9jsbkf7/Zm7+OUfm
Kq2dVHvewiF+qVzqae5tyu9o9FIK7hX/5VGF1WEofW5tQC1R2sWibpKhU63KB+lM7kBEu/fSTAs6
8po4Xmfup+qmirzLS1z6cjY+G84AjgJoa0+XGBNmDjQXlc/boAfZYZn/LsdnobYrW7ngjSAz+NeO
FN7jwoUCiYagZDo7DqZWyzMVA70bP69XUUCzZ8sBEPcUeLUIQEDovJ2uaYyHtjUS2LK1+8G4Vwaf
oBwBbT/Wc890Q1sLqjpsAdxK9a3Df1/e0aWzDueEabAB458smFdYdmoV4/DtpL36K2s+bTMkfFe7
vmoCyMK2+bByLuZodbbiI5OSo9I+GsrOwle0ICgxTe5Toa8N0Cx+wCMTUgSjlj4Kk8OE0tBDY7ah
Ejchb5MbM8vfOB1X0N1Lb7bjXZSx18TKu9rpsYt2I75aemfnKnTa4jtUFK8gdP2kxE7oouzbG++d
s5ZZLT3FT6xLx8Kt3H6sXayWdvus2TQpGJ/qR4V9RfGrQw9V/QRdwFZ/ro2VV8c5UgN36ZH3uNJB
SRRCytGB5bZJA6VF/6ynB9NK71qreunqPBzF46jTrRJzMOE/jTqAwPlKOF/dfOnuyHRrrESNzc+a
rzx6YI0Ietcv0jve+DnflxNe62/dGvBxMRbNXWWEIoCo5MRlHGN1KA1YpVpQ9k92dx+JMC1XkrCl
OwQMTP/PiiFlzVkasUoxYcU0kCEx5CrhpO2I+Ulm9Nvz5WCwkIuhbATllJnEBeMX0qlJ7LE0NDB+
+a7zopTZ1qpfR1d5alXwcFbWITWBnjbXBEhWjMrFHDDYaIroYZRXoMR5gVhdipIDhX6HerDjxLPW
9MfmgCqFH4y4ohEKtjzwkMlPBAxZuTFpkf9hxrvuiUfa/Qjs3eWtXPCOEyPSwTALq4h68Lr703Df
o44DpktIn2D7Vm6qtcVIvp8ojlbZ9WzH+QnMKjoL6LCu8XYuRFOkn5hcQRUDA8qyq5cNJhEztOp8
dFaN/NWtNs60gbApyrVrH2dx344yXWk9LsEARKXCVB3dTfx3I57s+MnsV95USz4HIh18fEBsZgT7
6Z3rdLQikYNUqSqoV2V7V3uh1bszDJ7Z/5qAvkTM+Ht/QOoOQA+ueEAOpaM1NlYO5RZYBOLWU/oI
WgLxQQPbFMn/GlqD7P3IlFyzQM8hM5tsNgVCezAA7RTyBo5Eb6qc+8uLOheH/TaFJ9QsOIeeoJTh
dqACq4fYrPyxb/OvMoqrn06tKe+CdPVTZ5PI3IxVHoN2kuaHfJrsgzWCknuraS7dZ8yuKs8ZEqO/
B7paY5tkog0PVL3gKxnHQhRFI5tArB74brSbpN2vzWHo2GhXyKkgqkVCq7s3QUaUYyZUr6gn2o/L
G7N0YIB6ABSAIEtFw/7Uv2KL1bzuYI/2jZdVQAZ/DEggLfXeSejK9be4NrR90bRHJf6suaEYbcX0
eW1T02ogmKXjhtj1TRvXmLOc6tssr5IdFr8CeVh6RkOTEi28Werz/MVGc71JUNSsMXJuRa8OZCMe
7djQnqZkIJqv87z/EJae7YhRmH8ak7k/3IHyTcdBLOgN6PnsAaI23/FgiUcP/CHOo5NmZrZVKkOI
wGo4pZuWW9mbSSG3Vlh6F6RKq/2JJx31Dk2LtdVUfKHaD4ZnzLRBbwvqUTIgOqrBoyIygJ/r6oMY
N8SFCob1UJMHQoaADledsUFL8rKrLHy+E5tzQDx6tRn21HLD+R/Srmw3bh1YfpEALdT2Sm2zebw7
dl4E24m177u+/pYM3JsZjjCEzw1wzkuA9JBqNpvd1VVNaQkpmp7pbGfT+1JXVdOUtoDvtmjnX7e4
1n08M8mc2nEaglEni8naEcHKRTzweC89WEnflBJI4sqtGdygztRWbl7el+bL9R+wvmSQmUElCTGD
TTNw2YKzKe3AsijelIXdtA9Gi74cOJLRe4AzXLe2lqNiuf9njk0wEowMlb6ErxqLwDTKm8I8Tv22
qywB02mLAICvvZRg/kOTR/sz1jwNt7UX1pl95rKBpirYGQIsN5i3MeSjo1/gpA5Ea4qeQ2Uzqq9l
EHPWvJIVnJlk4g80u9GUWHZYlu/D/q8I3cLu6/q2rlyhZyaYi7rs+3QeRexqCJHhAvgMUXJVtFfN
bJPNdr18Wee6xZWgCvYrUIUoYEgDHR6zj8IgmcOszCAzNneTAUlQg5r1R+R7OvebrZnC+x8CJwRU
q+hBnB9Ks84wihMACTsKv4vcViHGYyRgssvoOPMgNSsZDyZ/MNuEvEoyL2oapAWbDoh6oIOboYuZ
H5CbOnH82Veb69u35oeYKsFbArFtQRYzx17qRc3vU6m0SKcCv5zrpEspSUloD01bzHRqRDmkkFnP
D5pgtIOdxRgXsqtgzDjY8zX3lEBeC4ECSF1ejKD2Qegb+RTDdyoM+QTgd8UAvW/onNx45StCE0OC
bgPGXSW4/PlXFIlotNKclGik0hSMyqL8iMapmXwoPAbRtcMAggxFxOQYSvQsf06fY8qIgPrQMsB8
mb+UU0zFZgdivUwYvawIt7j4OF9z8XbmFbNQ3oHV04RwI0o354szhLouK6nA9St+iYmHlJZKXUQx
o9+PiZuYb0XxEigvcc6jZV3d1X+GdeZFOpZdIrYKDBOht6oOZAeCHZt3qv8upz2tBjfyd2blqfMm
Mq2G3NX6axS8zcWx4TL5rBSSTveAjQhjO2V9p+GnCEJtqXDeQQKQCCq04nusN5ZSb+TsEMx2PtFA
AHbZ8vPxP0RavJQJxlVwmV1MHuiKrwREqfBPG6YTq7dhCL6U4o3zsdcSE+D6FhpXHTkIyx4g662c
+Rqs9OhGDG4qv/uZZyyOXLvxtKvj3tL0jrO0y7rKIngh/ZNrWI7xSWpSQDpZSDOwtARC5pLc0+e3
wD+SyWubwOnqe1l8MpQvaIRfX+3FV2XMLgHzxGxTt4qRKQDTqnHhCqh5auNPU+bFAnBXkEoAqyrA
0OcW6kAKlKbBfNECL1QkR+qfY8EjwqZLYiuNeNNmFxEe5tBqwPQuDivwR8zFpc6gnTdCwL0l6YA7
zIpbYjXx70KIOEFhbedODTHXflOqedDomMUlZf7YzfmTwn3HXoTuZS0gtdfRiwST2/dI68nHiYif
KkYPTHfYvhoQWK1AlcEJ2xfpIWNiWeWJCVVs0yr7lhManqGaoUegZCSq1QWA+9xVPNjL6sc5WRDj
5GZiilXk4+NMyU4CElLQSzoYeKHwoAQ8Q4xbjwIAl32CnYv9nWQ89+lN3Tzo4fb64Vn7PtBNxezc
EikIi7kf49mYtWVmKEgNMKIKb2VZYUwpv79uZs3TFqgJOGRl/MfW0PxQVGeiIzQYSUz2oi91NGil
+Pm6lcuXClwBQHQTrW8CwnsWFCS2sZ4DL4v5jE743VWKJwsKFUC+O6kJHcbwMDSIgYZdTbVrdoET
4EgZZWClnfFfgiEGxBW0SJC0XFDkKaU2YMoIL4Z6bgnNo36kCaZGa1JAgqGwBsEECRTI68qINvFs
FbPG+QVLUDq78L/34t8PYI6FZlZppi+jMBrkQ/LOTfR9Dp4SyK8HmegAywsxKs5JXHPZ0zUzZ0P1
B7zvA6CXzHp0o/ajibxiUOy5/eB85yUwXVsbczbU3JwiXcLaJhWSFjl4SssBRBZ6vQvAAU/xhLT1
9kOZE29BwsYy8hyFB4Rdve5OV8vkxyTpZWNYNrjBSFoqe2TIKDH+zupnpX1M4U0LWGVCvKbjNI/W
4h1qRChMgeUXKAhmlw1lChMooSOkSvEm0E1qFmDujx9bw46BpOzt65t9kb99+9E/c8xeVwXUWQSo
H1tBOP/Kp8rpibYrO7QTFpFDyfy6bm7Vh1TkLQvdNOZ5mSQco7ixifIGxCI7w54q9DKPs+jFEy8Z
XF0WxiVBSLKgutlkP4zmoiMR7FTZ43Io+sobpcA2qhuDp9G2asoElRNQOSLgA8x9XtZZqNVxhVAg
SpYYbBTBzgp38t8jhVNgXXONZTxdVWV02pGznF+F0WSMbQdJbktqnVa1Nem+T25FbUCv+NC0nNO+
dnWcGlt+zMm9K0UJ8N86jOV9k3t9LIkUM0ftVu6UluODPFNMApYkc0UyCaaU4ahPn6lwB9kxjo01
xwOBCzI84GUwGcx8JakB4LyI4RBlhxpsh24zWDxKWQAykmNpdTUnlpbodrJxMbSHZrOApQATU4IC
zJJ/7Pu36+doLfyfLoc5R3HVExGTe8iKSUQr0LBVEZVUVNKfsqmizXhbVc51i6sbaBIABEFBg8c6
43y4bIIunzDnP4ZHUriluI1AuhNzvI5nhfE6vODMbqxgBZQgJgXtx28UQXeRJN+mIQ8+ctkohxIo
Tiwea1gPAtLyJU++VAjcoBQbmN/PkCzUOSiZzJJqVUo78qWnwhZk6zKuH3UXdD1EQCTgP2rONb5y
pJexE3GBl6DZyh7psUQbsFx+gk6+ZN0BkKVUt31RU1H/BJE9xzVXQtUyDgZwHVQL0aJhDhrqSgXg
pCIWrPYoOAouClBPRBs3plDsswDTdtd9hmADmYt82ViC+wxy1hdjirNUj52i4GvOouYMmuFAlvO6
hZXDZsgygabJUgcEeej5JwRkK51qdBeAPv5dBkdAV2iccjj3eTYYnyRpJOoZcHZQiq3Bpvg70YWD
ZIzu9ZWseP7ZSphvM0SJqgQlPKGOUf1urBSUIMqj1OqcHbtuB+Ma5zsGYhnUx0ABb4mkp4V4G0aQ
TkY1mkf59s3dwn581AQAG8T/TJ0lVZQh4VwpNZ7Vcw3aV9rVU5nQkEim7Usj+l6mUYSFk3WV6fig
etqGwzhsxwacEEGk5BsSdcBOThpqk+kQJvZsVIM3h2Hswlr3NxcTMaI1SoZ3Rmv6mZPUMYQIo3EO
dJpNiT84LU6dvukggytCd61RnCQtZUC35vGXP8ziWxw0wcGMyun3GKS6f590svJG0Buzi1CA2OYg
6oFnpJL2x4+S+U5P5Uy2BaPPvbIs84FqYzDE6OjXne/Vfqv3B7NOBFBmN4kUelIQhL9qoI5+CXWl
KFZeFOFbORlSRIXAz3LLaIGrgupy7g5xHZuco74WWICiXSgcAGHA6AHzmUtcg5mEAW8/Bx2F6tVI
X0uyGatDSRx0164779oRObUmn1sL4i4CnBvWAHiiwFijp43ZPRQ3rptZ891TM8yt1yRgmTInmJGU
P1J2n/gPffdZcdWTl71hPRedKDC+IUc1kW+dr6b21dBUQg2pf/VZKraceQq5TcIYxFx7Ifb04tas
7jTt/vri1l4coJD9Z3ZZ/cl1NLRhkOI9AB4A5U/fq7TIHtImoVrvqBjGFMltIzhtZAndlmN45euZ
S10c4RPUwgBCnxs2qrkVTNKC712PPknxe+5BzqXeB/1zB8EgLZgcAw+CIFG3Y3ucEwB/NQA6w2I3
Kbp3/bes3FBnP4XZg7Y2Uoje4qeQQdLQjVdtQQWBudKCCx/IDJBpcc7JSiKFheOGkoAAFzFqdL52
X/PziGRDhkEj7bFIgWUxysRSM//YCcUXdEY3zdQ8loRHxffNjMo42alhVn9QzaRkAGkQCvTFvPXF
FMmOAUx9K5D2BmOn44AUKIn38QzgwC4JBX8vgvcusoAkCL/8SREFq000CSKbWX8nylO8iUFfUVAi
JKlMp85v38JEHV/6AGLcNCZhtQuHXt1NopjeiTEu5DzgiTmuuTCyUnRZQCkKFkMWvRoHc9OG/Qhd
M6HvUQTvbkSjUREVyBuw/olT18kTKjJ3auqBQkShUOz8uu5Al1PVmLDCsxmsNSI+J2gYzj+oHqh6
M5pdZmnTs1qKbihlL+aQ0z5OH020RQJDxAxWb0lNTaVwvIsA+W/V6LGVH0kX3/jS04iJVEHh8bmu
7A30usC6qOOcgbWQ3RsoKyukFiuIfOQgnauUVrYifb5FbYn6ReiUs0jj6WOE2kLafPqV+nh9Y9YO
OZhvoLQJelARD/7zfSGhDs7MSITIjZD9UgDCNBv9RZPSn6cXIPlYqmIow+CtwN47QzxqagW3noaZ
ahB9XTQ/Qi/DLPf19ax86KXiCKJJsFJgSIBt9zQSOsCSMYHAR34b8fImr4AM1pKdzbtefCad63cU
JExKNdIUaiBgAkyjbRhsRMUCpxbn11zu7lLJR1kD4q64dDUmRxRTMJLiYKEcp4L+PQTCBpN+PCWt
lZiBL4fgijaXgZKutuTbJzeEkJpIcEPo29ruze3T8ufBo9TaWY8T3YR0s+Fkvpf3LbTUVMxggBUQ
55pld+7CXlfGCjdSAIFciICPAJrKL2PLAb1cPhPOzTBBH+mjUjWLXh+4WOhAjpPJ4166vFYWC3j3
LFRWIrrd5xunplMkZSosYNbemcTnfLaTHGM6s+P/mA/vO/7gWYkOIBBYbDdJ02YfroD4k5hxe9fm
EeS32+zn4CSYOY0mzJ6B2UPttbaG8Gtlun2FVuskTKC4CY+z/1U3kTsBUkhnvCdGXg1vbTPRv8J1
iUsTQZ65MovClxTQbSLC4skc9TdosS7JkT/u5+THQMllmf9ssejFaADaLIT+sKXMLcgZDJCf7ZVo
b/BeK6trUhVU1oCZIzJbl0xCDbVtwM7A0NJSSSwouGG66Zi2v3PB4wSuy/QSazqxxZzisScNqFNh
C49X5OR/RQk5+UbzC4voHzMK3BFxC8Xtx6frhlfWiKeYCY4N6EdgiUyaJ5tG1OikyK0h+wrAGivn
uJkJFeOdbsbOf7CFMsNCMAX43PdleBqphjrLwSGYWyaQ6RLxZNkTSxUTCR1tf95QlTDbgd40cg5A
49n0tWynSg6mCrYaTwMNWWKiACZhVoWzfyv9p3NDzJkrlanW0hGGumyfhDdz6Y3KH9lwQNCYo9/e
53v0XET5pSi2RuN0CeeBcJmqwjxBLw+3HgbV2FpRrpppgGQUJCnqYAtZY7WRZg1LP1R/zIHfk5U/
CW/meuUGOLPJ3GsKopmcEdicSeqasStl/kZXdmrL66jxFscElbJq1bgcazTggQcFMz4WNVGQM0kq
yA5Jb0WiGxlv15308o18tqHsNAXucoiLy1hcrqPmtmsbeya/54bgkW+Ncb39uTWkpSIIwfDEAsPV
+R00jWJfo4yOh38ROcpUWUl9EFDpS8BaUXUDBZSGk5SsHfhTi8zHU9UOs6k6KBwEqfSaEUDSxBoM
zY3CDFywvOxk1ZqMFyzaLRKIVZjMD0CVOExqrA+DT/aU61SFVkc0FbYcvOQC75F+8e0Aj4P+JQbV
liQTSdf5bvqDPPRdJwlot1pgvZbAdhhqMkCdN0Z8jxfb9W93kaEs1iDvAkkIpHcX10MYqXmT+rAm
mO9NFlgD4aRA3xfZ2XOQscBcCn5I2qqI0Y/QvPkz2qRbd978VTxhV75E1kdPEwtIIhub6/5Y/ASW
NR0hBZhDJEffUhgnobovGj2qUl2guYiXEKoP7bEpXmKA1hJMQGSYzB9+rFvDmGQ+XpqBuryX4R7B
9DtFlxMTRUVM89QtpffewNi1zzl7F+k5Y5DZXbmb2z5H3ZaO49GQXQVK6FLkXfeRi1DJ2GCuV38O
5kwPYSNESPahSzl0FFD1inDWsuaLeFyhUoNCJ7yRiSOA/TehHMFOXT6lCkikeaJG65v1zwATNrSk
neasWAyMj6hISNJ9OHLSA94azPPT26qTEictTBgh+HJBAzkTno9xTLAzmIUEcqVs2aYGGDwSvIgm
5zusbxMYA8CHAOE3wmQD/ihrPYZosYa4WWB4df0gaw/Xfeo7jLFhQcNwM6ojBkgs2dxm0EJN0Hqs
QnuWvVdMTb6koPX3JC/Z5l6z4aKCV534xB6zqCpXO1EuYa93pUfptX+VrYfE8qHlcHcYDvJBt0VP
tzmLlPG1ry2S8WjSzkkIgBl2MkjsoFKturZnc993UNXWqabfhouqAOCsSWOLPCrNVT8BzhpgPBV1
QJYSWAoSLdFrrFj3b6rs1mh++oZewsLJv8+cpqDv+xhkGbg6Js0iSu9MBhXnm5QnisFbB3OkKk0J
1GkJcUWd0kza+CIPEXA533W+FBbrW5NOiIcAJlDn0AP7d3Q/H/rNJwhyw698n1LNzdzymSd6xzXL
JBaRb0bzOMCsKVvTw332JVoRzZAR7oe3X5OdbZ9NO1M5udP3K/bCKfHpJKhKIs1gXzCd2AkiekkC
nU1a7dRP2Zs846b6au2nuzil022IsxDYNY2fxT1PNfcSnb9s9Yn15cicXMrgeQcmwseRmFQ6h07x
AnXjmo6+I3jyr5Bzc33TQV2uFfQuKPUAwcJijooskop5SQHiQ/VVvcgWyuF7bSt54wNUH3c1BY5m
n4iU57Ory1wQxdBSxx9IIJ8v04jncR5GLHNMCqqpdok2Q3ysFUuZtqVqx/6x4vU/VxcLnlkEOVCM
oB7L2GwSv+9KAYvNMpCAi07e0crL9+oDZgEPk4vJ/PthM3qx82NsA77pqWEmtmpN1Va9CMOJeWxF
OklPBLjFSt1cD6drgeDUDBNN8S3RJ5BhRpTfML+G/tHf6wZWc9VTC0xIE3Tfl33gPTGgZlVU3pUu
uWspDQ5NYGvUoM/NJvfula16xzsXK9eTgnamSMANg0IGO7Qij2WozvUk0Kp5ltCrqUCCvx15E2kr
Nzus4DJYoBKYSWMCjhJnpprWM+IccXI0T8I6QfuaJ/q98p1QtMBYuIiqJFAoTMAW/VpXuhySxrH5
bOr3YsgZ7PseWz471ahAggMYs/vQSlqUhc4PVy9VKiabs9Daj7ZhBRvzVqGGF9u+W9HWjfaJ0+6z
e2IFzmi11vxyN3jqUcNLI6fZXXOLWLP3HXI8zh4Y17YyDezn1LruShc7zfzEZY9OwlxoRK0AQG+I
6ZFjMuwTzVH8nx4HmMA3xIMbVEIYWme2uQ8wXQwi39Aq44OYPhCF8+8vx4ndZQ09HQ3APE0HDOV8
CUIvBlE2FKHVKl9S/Ti0uyF0QQkVRhxDF76/LOTEELNXgenjXAQQYpAxnTX4u0j/TVKHS3YjL6eX
XdB3LqQoyGovzlg6oyypFB0WZGsvIwX17AHDbsffpQ1ghRV47SHa9Va2DWl8VO/TB3Ob2cgAPOGp
cHhNs4szAsi6iA4YqvaYzkcX4nxzlSwHt1k+hJYkf7WR3WHg5boDrmzqmYFlM04cMGtjSZsiGFD1
29l3w2xbApHKwy2s+Ai6bvA9FW0BSLozPpj4meSr7WKlukn9hubyZqG4MFJ0VOzrC1o5UaemWOlv
aTQLRRphapzvSOF1za43OBnt2mpQDflWjMSoN3tpp0VIhq5V8FHIJymhY7H3G6iPoaWacFx+7fOf
WmJuzFzWZuCLYKmAJl6co4vNHce9eHvAw05NMB5m5oYoFiXBfrm6TKOGyo5vl04TeBOYGRA35z/X
P9Dlk46xyLhcYALjlI6wWAvuIrNAiVVZ+T44VEi1yKdqWDww9GXhmjHJ+F8rzLgiCEx2u1y4KdEy
tf6a1miJr5AQUCcqZbZgT971ha54IirV8HegGgEuYZuH7TD0CWlU8I6iQpc8E82Jaw4g+ruZxsQq
2MDkEXgHiIqodX58FUGb+3zUQqu3q2NAdWrs9NvsAXp3Fth3vjQb6m5WS5NDfvxSnIEeAXuDiEdG
3wcafFxf7+WLAROkpz+G8VajzhoVMo6hNVkxdE7N0CYY2LfnA7HCj9bx3ZyOlVXYviVTraA+575f
CWVn5hlPxnyWb7Q+9iJV/hqEBqVKq/ihAH/79XVedqGZdTIOHC+aVM0MQ5Oj0Iw2x9qVnfQJDDoP
7UbazN5zbxEXgq4Osduj6Zm7boPmDGfydHW5CngZ8EpCJq8z965hDCaobswQ0552rEDqwNaM25nH
dbMSgdAtBt4ZxEBgRWNHebtIkSNt7iJLbYFpeYqy5+ubefkawWaeGlh+wMkFVAeo50UtDLSfDYKc
SdNttA8cYxt+zEfxVvUCKwsdx9xKW47ltfN5avni7ESVXPWw3DhFSvtX8tV58y3kOoFzvhF+V4cm
wr3Oy+B5G8ockl7u8hDkLpFVJm6T3bXl1/VlXbrFMtyN1vR3Mfsi3YtCCD02dQDUaSy3G9NvjwaZ
m21bAEhbjSEPPnb5FkJDYOkJoGeMCAS80fn3S9O5TLoeBZFQsQYHaH9MwbX28D5Tw24zp6aTG9OX
5Aklg8D6I6LLwzmOS+w+D4H4ARjiQfzGDCshzGckxihAhxM/oI8QbJZoR26Du4FyiwSXX+7cELPS
isRpKkcwpD6mB6ByZwqkfLmPtpn1S/6UXcOkPFK1b0zUtcUxMS3J8lltNNgEePVJ3IkWeeuwn3+N
28gCQJdmHzzhj7Xt/JaWhRgTjh5L+tLrMiRyl9kztVIpiZ08tEfzDhBIMbahpEh9HlB31YNwTZog
IANi7YJYV5x6LRbmEJOgB8WOt5kzOKaDmwPdEQiSxV/Bk37TG9ZEdXv87MBZxHGglUt0gev9+wHM
h41MDfPVOn5ARhVX2EABVToYX+3h9Y/hTrvRDvbjHtMJDjDcBc33yRMBntASd8d2tiqfApfB+UWr
Z/jkBzFfHW+gcTbjCMWFydEasCjWboRUGUP712PF8u+w3gU4HnqVBrJYme2kNOnc+V0HwexovJXC
BnBfdyjvOrlxy+H9uqk1twLHLIiZ8BQFczNzWyWVCgQmgSmj6Mz7JBfH+yFt9vOU1JuibyJLnoYP
pZnGfRKNn9dtrx5cUTN1MGBD24QdcxkCZRRqA9upIjb5eu40vKnp5cZnNxJUgMtjHqMsgF+eB8Eg
Bp9ZrsWAV6mQ1ROQ++gtCMSjX60+WT2QOzrYy//Dok7iLhP2YqWLwrJFZIiquxjMze2PkchA2J3y
ozBZTpO2ROwVEfKH4XjfzJ9F9NpC3WFKwG8/8zL0C49fjJkKRukxFiliRO18A9GXDeq4AxkLXt/I
DHWBYLovfy1M/VVIAUe9vncr1ha1XbDmLPkT8CTn1sRIB09ZEVfWaGS/jLLtN3Jk1E6Iq+y+9yce
8OEi0QCFIvjIlkIXQJIXxywM+siozKSyRIyj065KoF4jyQkdW7xIfr4ykJMvs+EL8IhloIvSoDdD
sa4wIFB6YZ07ed9vx0jftF3DyT8vThVWtYwd4eKFx8PzzzexGwaQrDcwZcTtJtNHL9Qb+/pq1jYO
M00IF2jNLz36cxN+KIho6+QVKCJAC9gHzR89FDpbnvW/1w1d1uGxGGTR2DMcYlxES/g6yUIrZL9l
WQ8V9Eug9CZ2e4hiOGbvb0tR98S2PiZytZOS0pV8HhD+IjJiQgwzFrh+CBgK8IZjTJvKFMwFCI/E
TjkKqeFIxZs5Pujyizx3GVU7cDpVP5/uxoIx/UOQJorwF/aaB5lzFwMRXVmyPzmtPztFm26lrHe1
qr5B1xWUZw3NBMXOMtXLpzDmfNqLq2exj/YDIMOAHCpsVbLu8lapFLGyykEDPnmcdAy/9kewP4cO
iYUM83+d5Fz/ymvudGKTZT7rhB4nAVVhcHTZ0MD7LYIIKU+hp33dzFp00bGipc4FkCFhAmem9yk6
BHJlRZHpicP4WUnqBlX7DSpK7nVTl5h6bCMQVWiMI2jiJchkClFtpmQGetgqICK8TIySntgBJLSk
qLUT6NIbXWVn/UsCgrW+D7z/p3lmqcYImaGggvmmG3Uny8BwTqIBSQSBKAl07y3cILfIWya8xIMP
XY0PvlF/cH7EChsQ0OBAleHsoJ3ANiojdCqgBaGihhTGd5oK0foB/AymX71Lk7yLfcXroJDXhRg6
QMzi4JbWPjbUGlUgFCSoxovM6c2NejJqU68scCLdDM34UAbzgxCIr9Vsvl1f6Jr7npj6jmEnMWqZ
k4UIigFTbdnZxZRnt3GPKoRWE57kwVpsR78Ak1+ogat4XJ3HJHlqDQUiirixoDugVOXbQNTP66v5
rhyc5UxwXRNAwGUWHR0aNrhnmDlB9ieXYFfeVgS4BiSDf7pkk6YKzZvXsNX2WvA8lVt/fKykP7FZ
WlV6I5RuNm/03CMTVLycMvDU0h2U7fUfd/lVMbULwB4GeZAXY5zjfP3NqAak6KPSkipblmbaAfI2
yZ+x+fAf7Hz3ZkBACLYL5oIbzV7pQRVeWkXqUxVcxTEwU6myIzlPz3p1RVjSkgQDQss2fUOhrP0h
SktrwiRDOz/o5HXyb8eMk+ZfOg6kUlFKBcsrmF6BJT/fOHNUyWD44Jhrh1SzKqHVLN9H1v/zbcNJ
QAsbEy7grmbcs+kEtalDkC325ZjuwdAn3BS1rNkyBLIw7dVw6JEvD95ClYv59KW7BQpb5itJQJKM
sw+6sVr3kbR1ntrpllbwEu61vQMQAOkomq6XMG5k80qSLjjmUd9k/h85fb2+a0swPj9wWAaIqrAW
zMAjpT7/NnoS9pOW9SWG322lpD5mMki4l2QVbYUt6f5et7a+mn/Wlr8/iVaS5EdKmsBaNKjOLAYH
LeXhppZTeLGg/8ucLiSUlNSoNHSVSrANbZrODVVvEi1hzLxIg1wE4FKA319f1IonyAoqrssUm4Tq
CBMXjDGMzX5UwIiLho85u8Is2uDAuW7ksuiDg2OCRGphiFnosRl/88ehmMA1AbZ+NbO1YrR0Q8AE
Uow3cvxrirWnvnjBU9ZO/HtQK3xOYrmHOGZtKnYl88bZLjkimB8jn3/HZgA5pb/k4KZ5L8yIuK0T
QJY7wW1EW+NX3hX7HiIL5iw46XAzjhMnoqxsOR6EAKfhHoIyMttelkfUDeICfYMsMJ7wbgss8IY1
VtKkvGRqiRqMOxGo+0BSaIFWIKU4X2lRSlGEmaEaatkEY6ZCCweaxbtKDz5VrbtNKlBMXf/S39Bi
1iRycBWsXhgWRMX23CQa87kx6G1t5Qf591IxjZzPt9gG57CTWKFbO6DfcLrN80BVev/zAUIDk5gS
JkYAV0f6wiaPxBBCVR662mom2tQ0OOZ3M8zaqhPc9JbyoqQUr7pj9rRJqMDLXBe/YZYOtiAM8y0d
dtSDmN0OkPYLSgHFE/mmPACXsTO2ifWreC22icuTJ1tzYtATgYwB5wFPPLaLMSo+yJBa7LPw2Fjz
BmoYHshIt7MDYMcm5lwXXGtM6AtTPZg1E0urHG0X7ACIvk3tCNINt29kn/NeUitvVxyMk8UxTqSb
aSVJPRY33YM9BYNwFKCF1Na9mF+PXu6Ii692YmtJM06iuibFOKodbA27zvlAsc7rXiFdT8GN5I63
vDRsLRKeLY256CXSYRZ0WVr7irHFd33f036HAS5CSxo8tl79fJ/xzuTlc+J8O5k3TQ7ZsUEqYNO4
zzahDSIwe7LCg0ldNDcqu3WIO3pvUAZ2c+/lejy4bI1jtAIFiKUAhrcMQM/n2zukptBMNWxLn+af
5N31b2T0MzoX1YF5V2y57YWVkHdmj/FUNerEpFw+J7nBk/sWKrXo3LavFVAuc0DlWyjHWOmNYeWc
K27l5j6zy7hsO0wmxDhht7NKF+ySHw+qJ4p8d11fHyQOAG9eIKyM/6SSXIaS2SPC7WSv+5vdKHZo
A/homVbt9O/R9j3cdfuJO5y6kvxgff/sMj5k5hjiIvEAVcLX5B1VhoD6h/qjdiRrdPKUPt/zREhX
DaKuDqE6E22wb8c6OZdqq6i5vDjOIMwHjIvv25zHf6WsRuwTG4yz9DMGsvMI18VkEXSzG+dW2k7W
7cOrD0QduiRUP8rbm+j5r0anN+C/aOB64T6yydF8ejZ+nompGOUkBghBUDRjC3ZDpEZGLMs4KcVT
OT2kuTfxTsfKkwllP2R7JvC5i0rJ+WGcVSOp/EStrZSMNjgYJRmsHP5N0POuwlVD3wOpeAXjmcGc
BqGIpSLJSY1GtzXtos1M5TdC1XsNYiwDbezqIKL3Nd91ImcTV68OpJh46SoGsBNs7zQkVVc1EyB0
o9sbm/IuQNrhaLeCh2nD66FtdY0nlpa/P3FQ8C5gAH2EpYVg0QL0i0IZ8j+YgDAPaooGUKvsGYi6
tA+GFN+r6p9D8In4yqaKtgYvc1ldycKrgfYokgk2l6hzFKz7CZ4XCActf5ArNAytiafpfdkVxVWA
ihJOswSqVxyt8w1LDEyd+rqGq+9ztMFwSBNPdwKqbY1DmNLZaXchPQ602Pg3+pYnsrp4HHvN490h
o5uF6gz4LM6Nm1NYjpUOj9SN7m7SjE3Xmm40EM4XW1/kPzsKw8WVzRJEvEbYmXYYou8VC/xUgiV5
iJEPg2c6s0pDAbClwgmXlqsJLRe756lDfDeXLlcLQmrUEmTkpMr5ars8CqWkgONoN8278RDg0XUA
ca49fepuvQnflZkqv2sneBI34OX7jCBdx9mIVZ/Ci2NRHQRimcXyJAHJIFSDX5DN22G81/0KwwCO
AYGF/3BETuwwIXzKKmMqQtjxM8UNwWkED3vu4gzjhxOnPbR2xS8sHf+7JCaoLWxusdHB1CTUN5rk
u4Nq2kVVWLLUv9TaZ1qXmHbkJG+rCdSpVebUCG2uzH0Nq/PChZJgYubvJNEKs8ZoK+pkC54ZtBVa
UM8Y8lZunOvbu3ILYwzOBNPGAkHF2P+5I9XI+fM49+FIemxB8AzCvT//gDo6zEACozSAlhXjqoDR
gv59offPpZBO0BfU30DrE8329YWs7SMqUeAdWS6Ghdj1fCWlHAAy0UWNlYGXyS1vydZ31RvxT+v0
DnQqoAXEs7iSdp9ZZL6cLk+d2YAsBGisFCge+W64MxsKsEezqXmECWvf6XR1TFrYy0lXFoutqAI2
UrcG1PWub+BKAD1bDZMAyn0zt1kAC6W5VcFyITQQReRt2eJOTNw6M8JE6awcta42gdsQPe0+tDsH
mpOpM9iPk6f/ub6etUwBsyAgmIC+1eIXjOPNWZOKdRFj0PwTXwWTLxnFRTTS2tNu5jeOsZVME1md
ARwFprJlwjYnxwjaDoGaNpbsmbeiM+9917RKTJq9Q2PP4yL+V93hxBzjepVSKoOa5aCc7BW7gXiE
ZPA+1Urt9WxFjMclPsln6OU0YAKzh3vihQWN3VqnkmfYnUlbR7lfniQlLQ7Rl/rE2U/eAhlvBE1j
pc05rHdWsZSWjh+9K1r+HVSDHos/tRX+vW5w5dl1tlrGMYWxE8eqxIYO5l2UOkJOZQVqyD7NFQ7m
d80SmEAArwD68H9I+67mxnUmyl/EKubwyqgs23J+YXk8MyTBnMOv38PZrTsUxBXq3s+vrlKzgUaj
0eEcMHTOmi/CSmkY4O35vLbGdF8BFNpHCvRnHtkNa4rmtrkZ01ZLSZRHFDmxnDgRktQj4cx+p3qK
c34484VZbAYz8BJzB9Kn1vSdllVQXqnyXsumDHSqKk1sDMjOHztTMA3LP8de5/xu0dK5ub91a4a6
VJMy1DIORKCNFrUlf2aH8NxsuCP3WDOEsHaNssemTcOoyqGPgVusF+ZBRKkE8RkI+li4ZGvBHfZt
njMDpjzamCmFGnDFREJczgpNLiBjAuSqwGXvDNtq8xG6+btxFJ/Dp3FPkCSIf8QjI7Rby2FdfQCl
LABa68ro8QG6j5776r3MT/NYa/6tjHYG+Kr+W5a/p/qEIq6kVCYIw5lsDbcjTX+M9+8iUAeySqcW
RFbzIhzJdnxUPWGvewMmXPmf6bYz0frkduaADn0Bs66Rq2HgLfSGs2G+att/3QB9/S30gE6ZVi0/
jviWCRTpnfoo5ww6rT9ZHfpeVGfyKRWpEACkUFseV1E5RXxVWx3SEghhvNRsTyFimCBEVlTeYI5q
Mz3wHuvsrCV+gbj/VzC11RmH0eJ6gGDMhU5bHm9dHl3CoLqdfXxUMFuS53N/T1FqWzkgoMdVCnmN
IJo9KheVb4oCMJoN575XmH/ojiB68F3nRiB26dgzfrQ0war9vRzt5lo16tSK7Erh9315twM7s5H8
XUm65IpWL0KAAl5bn8GuLs1fuEFwaicLQa/Nmy1oUhkBG0vDOSRZXCR5DijSQIWGLdlkhV3JqPu4
qYKZB7NIf2sscWvx4VI/KpzSFZDSKs1sKcAD4+2h+hE0D4w1XIuolzKou1EZyrRVBMjA3KfV/vKf
kz33SUz1JP2HsujVblF3Y91ItdwIWLymtYC4mgqnpGNY4C0IAmUR1B2YqHIT/N8Vc8EfZ4m7zE49
tPQ0sIh4W7voht+Ib/LT/UX8k825tXzAq2GyAFAIdKuoUiZxo2pQzbioO20vvRnIHtfmQ4dcDKDj
3MJ6g+e0EqR2+Q1vCx//Id2Etf37AdQu9iWJoyzCLgrgcisPAOoPJW9gwdWtRYioNqOFWUK7pfRn
9RfmD8JDjZuQCwTsFw/S+tQ0mIOGs0nfrKSsIZWKeRFALVAmHxpDwrc6FFE91MUs8jMERd8peuDs
xEm8fhvY97duPWpaCKRWriU68UMDAhUEGObYm28follfxk2+6RneY91MFrLoE1AilVf5kJU7vO+o
wFWITd4aTHnboGJvqiaItR/8h+/iKXAaFK/igwSqFMZXrGwiGF+ADoA6AMgX/2TbFpsYx5WflCKA
1VQUr02UXe1OGVgkSPMdRm0j5rV0dBGhVwVXHbWNshZPDTFklIjKyuZUr4rf0ZI7dRhQac8hi/98
TSV9ZnWETH6uFF+75TKR1akK0YimJvx0UZvyZcSWsgq2Kw9pdA+ilIDiJVAxaCQCAI+XEx40uD8D
2x/spE7tQDVr/lVs3pvE0YcDeH8nFozoyh2wlEpfqukEhqW6lVBozH8WifImVqKj19n7/WOwIgWt
Un9XkIpJWuB+5XmCBsU+At6zLO4aVcZbTN3cF7NiFkDJRcZ6Rp1GCZMKRUriCyTrQiwhMplu2Wkg
w4zBJpJl+bmsDP3Jl8vyOUqYaB8rFzca5xDkoWsDrRs0Vn3ThX6rgyEacDjbQHda46FCeEuOZfwJ
SqA4fryv58rT5UocdQ3JAdTXZIirRpxy3om5wiFlhfyiLcBM7wtbsX4MdwL0QIVlouOI8iqBbBRt
Opcvp3LbAbswAQn2fQkrEeSVBEodLUmUImwGqFOA7zqLQcT4JKfHvB7s+4LW1m2pCnWQwx53Qkwg
SOUf6x5jVEHhTOVeyFNA7v2HNPeVVpTNF2o1DjmP8ms7ceU5DePBabkyeCwm45HPGpGh28oRwwGb
O70B5TPfoNdOakxbuRgViOuMxyzdVtFPZoFgbfmQWYYLlOF10XV7LaIr4yEdxQmF7PwhUsy+3fQx
qNEvXcYIeNbiLMCW/5VErd3gg5lzKiBp9Hwv/T25zf7HhKKM5ihP8iV4KDw5QNbvvnWseY+lUGoF
gaYDls0YQnWySeGe+Aets+XWHsOnsGM8D9cO1V9ZSDBeL6XeAkghzCGrGS5Rv9NZdfK1Bz/8+hzi
oAmWB9vytYAg0yZfiOHXp3OuW7yTHntvmDH28VrCxd/jAWPYeMCwcMLWzHApV7yWOwbhgIQw5EbB
TJ/0RvzE5jlGhWVdyD9XJf0w6/PEKNIeVyWem15cIAhP8p2ks4ia1gwCKLFzeziaw2+YqXwDpGuB
DF00/neebPr0acpjs6sA6I17+cd961u1+aU0yguKIOVp4gjSMNShfupkiLeqAaoVdMr6E5BRJMkZ
YJ0PjRAoFpBQ84MGsuUtZoVqB5zAkTUkXb0NSarafdXoThMXP+9/4lqlFM3yYCrHpAcgP2hagSiX
sjFVRxhVLDpd89bi8d2Gok2I4fblt6gBpA14geDTsgS+OzbSKJt9iYxX+zHpD0lYbTlB3qFqdFZ4
4HsYLB6v1TVcfiBlfUOVA7TfwAeqx8ElgFIKNgleaHJj+Rv5km6zXYiD7WGi6f7KrB3npVwqHu1D
TSx9gppAHr818jFlJXXWLHH5+7P8RVCdy0SOZRnuQsSpktAz2HS2Fu4IefA700gZVdO147WUNv9/
IS0rOvDiYlYIk7+fYzXnzV8VFrrX2p2/lEFZu9rqU18WWDEucUn8LCF/E9vi+HR/X9YqRhg2ALIX
xsuAo0S/nEHllQ5pAlUm8RWgiVZVbiuhMXNkFBVPrXcy2glKVtJjTbelUGq3akMqdV+BFfbdSxI/
Kwley0eV9SpZdfFw7WCsAwf5PLV3vU0yelmiEexuVmXj4E32ufYizcFuOcXRd3Tk/HpTfmKVLdeM
A9PaGgpiGJu7GZKNtLZLRR0r2hexE5WowNXd65SpjJrKmsUvxVAnWU91n49L2EfYeFNu40yb3YRJ
d+CR83xsyhLjQl63lIVe1BHmKrXu+T8GOTbWAPR6GYNieEwcUonYfc5rQHQJz+AmMo2yY0QerDWl
DEYMQVgv8VhTn3+M2o+49aqBQWi7Frst15MyFk7U8omPYSzRkDx1OriJdEDXatVzFXYOOokY27eW
OzWW8qjzjQaBRvcTyJMutrxLXO1dAuXcpXYna9yivujWo33/rM+LROUEDE0COhnmEDFLSjewoTCm
RLUPiWrC/RpJ/yNLZIaItX1Cm/w84Ydn+g1KrRQlctMbaIeS04c+PiXaM8+zPNbaRi1lzAdj4Xwl
BNl1l0GGJlrDHvO+T5wVOeq2J+b02G67HZiJvOFD+MlCLlpVTkffCBD30WxFFyw6PQn0OEX8oUy1
63dxZOZ1Yaa+z0h03CIXIbGMkRy8tRRMOGBA9VrDUdGaUR164BFcVC93hG/u7ONEW8EpjJAhswUb
jeoev9VbcxpN+R1twDv9m/8OX3U3YuzoyvDD/DEg4kRjAZC86UxSE2mBChK1Bu0LipvjtQEgFTBw
aq5wwkApMQPAJ9UH6ZewDRIz84invrBc3e3CX3/CbNiLHcdU11gB2h4IHmRniI6I7jrW0+b2RoII
DBJiFg6onQAduBaR1rJQ8vmsZfGzrX4bcmdGyGR1v+8fwVvbvRZD2W6MenvIlxCTgPyj+8H3Wz8/
5uJgjjwLL2WlvjbLwgsHyTJk5ekhv3iKhyn0ISsYiJe0PydZ3TfiF/LzltoXpgBCZjS3A2E+/tWo
ka2N3dFQwC1Rocuc6C6XPAxB/Hxf/5VL5PqjKK8ng6Xc7/iysfB2AfVI7XDo8h63Y2RL6vtUbnT+
JLEIUWbzuPZ7kKnPsA5AP7qd2OMrY8wlEWmmVOcf41S9JERjhLe3l/G1CEotKYy5YSyrxhIzyamI
1QseH9tcEWxHbhcCuvf+Mq4eiIVGlLXWrdFwYQ1xYEoze0zvhUkNbPqSIWbVWhdiKGvt1QLEdz4W
To2FTVC7OUHpRJqH9zDAsv0PKgEJA15GxLAT3bkU9F1IOtCrWAIKiUoJLPzGwbD6fSGr5meA8ApI
2QC45GluGjWrkmZIoVEl/A7RRYRMHQLryLdAU2WmxApVUxQ394WumZ+BbkdMpCLjD9aRa9eiTYNa
6go2q0gxcFtJp6SvGMHEmvdaihCvRXAlgFLKCGpxEbE4zDGBpQKpcal4ua/KmkEs5VAhYFTGWNUC
cjItRlh7xsN6Qss9+HEbjmEPLFGUzy/FXIhrGaJiMbND3SwqEa3cVtUckuj7vlYia4fm47a4X6os
VseUb7B8mxZQiKKpH5ut7BiWeMbMpgXcWKANC87k7fRz+PRCrJfAVuz7H7HmQZZLS3kQtFv0Ld/M
ltlmTpo5/ZS7PfoRFGHPBTbH/bwvbs2DLMVRHqQExsaY6xCHIadnTpyQ0sM0ZVkgX3Ff0Kppzu0d
6ErEIaDBqwRkNySubRtLLt1JAoPYUQ++Jpa1rK7eQgrlqQwjSlIMnDZWlHq93m04gDtF/n6oU6fQ
H4LWva/USpsZxloW8qhMaFaWhQZ89gZDqKb+WwvM9F2y+UfpTUnNoDOLwOJe0QKxEU+l22A+LLjc
/4DV7ZMkpN0wSIGOKcpiO0nhhnCEvhwB504QWZFsqSxKiNVjsRBCmWQwqiH3Z1F9tOrx4lvUsi6Y
lVaceTxonmudMaMFulF6ioEKMvhYx4w7l/lDFnxUgacN35H8s+rOKtmpxTHgvJh//g/rt5A7q744
8T7QIuJwPvH1FNgC6FYVDRFR+nRfymwFdOCx1I7aJa7q0m7yIaXMTnL+Sx4PIhJrKOwFRQaSkMTJ
1X+Nc3K9ntSWDXlRGshOwS7qnUE+wHoY1B8K665eOdNzxy+gMNCejYiZugY6ZAGmRoSUwucsoklu
glJRrJ87IWLcAispHIhYiKI2KgBJcK9leAqBKc+4CJ05baLj5HFH+aGqzHQLwI+98SEwmnJW3Amq
YEiEIiGGIgs9o1TUXCuBNL2xmuKo+4OpgugFzLCykCOh7rQ5I/WwcpqvxFFKNlKfgAEB4grxkHJP
AtkIHMMUb2logfexVImyxUEter3kIaNSnkD/x1XAGzq2id1lIOqLHKH73chupe95/bHq9kr2UEdn
8CS0cGwhY3XXnpT4Fh1LK2NmQaOLwULNg92+j6GvHZykc4udzb9k6yk6dIdmEz61bsqZ/maGQ1bN
XfhSsyguVoKLqw+gjknmc6jkx/iAwXf9wS1COzQ+OuNUhJp13wUwdaUu2qrkoyRSIEoK7JJseAVT
pvLP0P0VH76JS95ywY62AYBQs0NrRs+FB8jn+5/AUpa6G3U9H7QSJK+gg7R72ZaBGFalThR8SuT1
f5NE3YqJlo9NBl4uC6g/nb8vk92YPNXjxY9YF8d8IijPutxAujtVBiKSTCpIqsRDJX82MSOgXulK
wtCgjGYyoD3oM87E9QVRywWoQ+SkscbhrPhnzLgMiVtK7pTtx8GGclIQgmySRefzB3WMUgxD5TgU
EkDX0AxNPRbCoK4LoK43ltFIdgX/NgD+nHikMUyxdxId2EOxFRjqJi32QXfkwj04okdlr0qnXnlX
+0d0oZniCOq/wIt9m+SdA7Dpnt/Hk9vntjbh5SOZYCMhur9v/dGM9MHpwH3eZJxVg4Y9LDB39SW2
XpKqlpaOZhHvx+qsNbw7hJaBB1MA/HmWB1yxURGMPgLQghAK3BAXIiGD1s5JQRwAD4gO2dw4xrFl
8E6pVPZ9I13x7VeiKGeb9/LUJOIsKjpEql2HQLQDly0w9AHNXTA8+6owTCuivoK/G+D3YOrbJJUg
LAFk9pBOLs+pZiO8c/0hb0+kaNz7yq3czLOgf+RRjq2tR0CPCZAXc688hlgk8TmoVXdqnftyWHpR
Xk0A1kxRq7Neig/uxdTVxe9c8aQp9ApN3+oTqwNmRaA0wyLNvV8zQwUVcnBiqPuiqreWUDl8UGyj
6XNsjlxWniPB+fcj5UhCiJioQwIWuXL6+k8zDbBwgdFaouJbY/Eyorwcqm6fMaxj5d6/kkOZYiFI
oVwDQdHKjPMQHxPhOeoYLnnFUV6JoK59aZKMCMW21mp8Gcy7vaWyeB5XlQDCKBKMcFfoArj2lOIk
qUEWYrHksH1rwFjeFeFTRhgxw6oeCymzfSwC9k7QOTXiIQXYeqaEztc839w3aZYelMcnXGiI6Dxq
rTL9VZRgvkWuC2nS/0kIPUktK7kU4ICgAwCUWo2y7XUZnpdRnWasFY3Zo6fo65NzaMK3yjnsRBvz
e/Z9PdaSyxgx/GfX/6BQLPajquKyUYAxg5H66RipB3D6WX0OzLpRsosoO6QNigFhj8c4Dxw7zSlB
uDuEgh12man0vOf3lyZm1QnmLaIuz6uPopxEhpahxuCwumn7oueXcjwFwR7w1V1wFGKnaxlNhivO
9krcvA+LNSA+32VEnG0y6r0uMkwuektEz48ZlVfWflJnuO0MvS6M+QzH5KGtyn2aPd/fTpYE6trI
y8DQBx4SevndzzyxERh2v5Z4vVorykuoUTJhCAZrlSj8s04IyLOnHijLxvgwdJxjxLo7RLnZ1E9G
EP+vwinnEQYTRgZ6HweCf079ygxxyNtzOj3U6m4gBtBY9hknMqSuGiOyXrj6UXPASNu1ddSVrgYy
F4KCCh7Lz5xIJmj1sbQB0JFf6hPf/Lq/h2vW+IfJHnlm9D/J1Arrg1wXgwF5rdH9Tqv8eUAurBUy
m5eYCyquHLSlLGpB+waYB2UcYQT3gCbsKkC/XPGlHf3Li/hUfeeMZraVpiVMMoNBWPl/qlGuWffl
BITkENd986foVbvEp/FXaYDVAbjtkmMr21flkTmYMHcY0t5kIZXGIS40ETz2CaTider0v9E6rxzl
LVA9QrNgoYMxNo+m8tOFIuezAbJQ6LQzQJ5PmRWTJ50FWrh2yS11mjd24bJChWBQhkBOKhlbNZH3
YQ8KopGVIGKJoRxxK4SVlDazGIW39H5HkF1jZe1XwA+urEKh3O+oj9rYzkI4AN/pXvVOnrODYGf7
/F2+ENWMGG549c5bLh51ooFmw3fxvEl19hp8gfH3swHuGOdEXmehbZT7VezFZzQ/Go/J6/2zzVpP
yj/DbyZVVEGyJH33+qso1WbJv9yXwVSPciDdGAscP9uGepTQDvgpmM0+2imZ3fZQKX+fdsNDbCuF
KXo667nNcCgK5VBwa6vhUEI26uLomBLOMgrxpopB+8D54NFWoDFipJX2GxWo6qIyQ+D+Aae6Pgn+
mEZG0QiYtS0ivO3PabKLiZNINsb/7YhcxvKY+Zu29crR5soTiT3Gcs8v+Wv3Mn8AmrjRLY7CNP2i
AaNsYCSZjJG1vjLjDl2YhWKNvIm9BUYWwQBwqDqT76SFw5Cszat5TzR1cnI90CM0DACeU92j5a+p
UiAIbeJ+G8VHzjin+aEq33PJq7RXA2RPYmRyuSPxvwThS8UbRTH5IX40ZtyWgHekxon6o176m6mL
La14RpZE5N7TvLKNgpg1oA6b6nMIeatpzgFgjeViI4khCpTbTsZAINIX9aGeYhRqPnXAk3KNbA2j
K4gbAhjTdKuUu5zLnLLfZpznk62aTWaDBk/dU0ev6i7xcPSlsxJkoOQN7DT7GYCYKgWMI6KKFH1x
00NCzploq6KLhsMCMADZmaRbMrp8g3g1e03R/e1viLbRjde8eJQaZARAEz0+JuCyEWJbrzZaedEb
N40ls+gOirojwaOaHzgAWGlvBgr+0yGu9rkEJph4q+VPaexl9ZffP6NukhkXrdvkqqmNXiydM5wf
vgNAVPRdg2+tOfeTCzIfJwIke/rO1x+5FlkoiZgIimL1GOqWLLxk5MLlX9JY2waG0xGwNGqA5QLA
Wynvas42om8xVyw5+ODHU0rOXAFgXRRSxA59+roL87NI/uKXwCt2p+Z3A6YG48D7Z6SxuvpFj3/0
FYiYykMHAoMGFMMA3DQGK+7cQHZqvt5ybXlogtFTxHMi9Saf654ev6NbyE0jJzVYdaeV6hqwztC1
iek1HmUhGlgkVQK/UsJ2bsaxhK22rdwGsCmRmRxqjOGa/IN01F4qBxZ2wXTeyAjc1sRjhhTEPoaA
Fm40fF27hjJR8rYSIZ4cElu0egtUs+cKuIfm20U9BHa2+0bh6K12WKMBK/OJSNEvJFMHU81HVatw
qf1pD/IdcVea01tQmilCV+tJc7QjKB8P4ybcanZhE48bTN4G3y3DQaz4h6vPmK+jZZTQ1XkTgDvT
EmcoEoj2bdWDM+6Bw/CSmbjhbO0Qm+/Gz/uCb6Oga/Wpa64rYn3kNdTLhsAO089CdOqiMFuJpd/8
/ZT/u9KPuun4OO1LTUH9KjXTk2xJ+9CNoWdpdx74D/f1prVYKaWVQta1btQNl4ZAlm90rGn6Wprh
NnNLGYAOyD/aX83xlHiK1TPCZpaWVNScSBVgymcz1oydpHj+cJK4zf0NW7tFFyuJ0ULKUgAvrcYV
ZBA1+MErm4nPtgWpzbr/QsXJNpLhq+lFE6DmsQlOCWsUQPsQdY9xzHph/kHa+/9vKop2159iGIlY
GHNJHsHgoxGCIyzbEjs++faP2Bvs6Qm3GqjYMrN2dbMD72Zj9fZOIebl/prcGDH4kUB0B6zkGchY
pZvOey4cE170EUaNIJzEsGEJ51prR2br/s3+QtAf2F007sOF06SiRjIlhQoeDyTeAMenZmbBOZLo
3tfmdocpKdSZFDtpSoYaUqrI1DHYg/jMzImXbfxLvpWsbDBzFK9Y8L4s3agTmmEqQQtK0ltc/tiQ
50Jxe8G6r9n8E1f2QilGHUhkLLmab6EYR3h+m8Rl+iZykkqcIR/zo9aS5DfXkoGRx1yzDuCjA2oG
ZN/o26CsNCZok+mmpEc50OMBdsdj6qLai9L7feVun8x/tPsrh3roTbIIXgz0eFsG4jpbGFzVC3bi
B2dYwUG/ZE/FXjnGW8WqWZ2Qt8+yWTKwntBrKc0o3tTWBdpk9EYUA6R4i1O31XjzDZMJjuTVW+Ig
SmNh6jIFUhvZBmUbVS0EqkdwfiMz7BmW8qh99gCADnf6iZmOuEkMUBpSjpVTxqzXQggsFSDX5FYH
NBezQqTmZhaTxva2cH8t7U9mbXEZt1mSdyMPaYMtnHWv+wYLag2ETWt+n02eeq4RGIEF/QvWNG5Y
99bqQcRbAEQUoKXn6VL9KOR5Jk5pj8YqtLR2m37OYikqK+RaPRYS8J8xOAe+ELqIoDa6VhhYVgRb
LfhdefC5codyV/zwHzQH5GXTKX0I3IZFeL5uO4DtQOliDvXoSwMzVm2g6pCLwtK3/IjGete3kx/i
M+YJrfLc/mAcy/nY3TidhTzqWCqcmDRhmAMoVkQnS9OY6D+1Iq+2ebsHYA5ef4yVve0/mM1nIZEK
ZrXWT9SUg4b6ZwB+J+Sp3czlOuDagX0KhALnEWBL3JYAZuk3KCw+ix13YEHtz2HrjdYYEwUepoGV
pnsAq6So9VyanVFykIXfOovEZF3JhQDKBaCzrE+DBr68GVR0eecmWGAtwutPWYv21LYw0O+CUn6V
mGSUkYIOTX9AkbsPN0FBQMKnmKLqgymkPPdFv411yRT66qIrHVJ9XMR6YNyG+fOeLD6XciBdDMhq
XpxvN3Wrfs4kvLnqhpdi81QAR1P/Tt2pt8lO2g2WoNqDNdqXf90Bc/0JBhW4SZw8VImCFQOUbcl/
cu2jHoHi6Q1EawwLXN38GWdwznLgMUfdB6RTyojU8F8Tal3ZVJyGgfcYx2rVfWDsSNDBkTFDhFzH
fkOm4Xk6e2TgNCkAqju1J1fZS4CT+WjM4FnZgYMAPZJu5d4XzJJLvdeIX8VS1ECuEYlbuZgOqFJb
QT46IQtqa30V/2o4++nFLdCRUZmaAJJ04y2KXuXIua/JfELoI4ouF7S8oHkAQSsVl2h1EQZ9UMIk
A8WrkfTwH8Bu2GceOIZPKavdY02bpTTKDaZqMYV1Ammj8dYG7kxYfF8dlgDKIFQtUgZhFqDqF1n4
CerQ+7+/Fjz+QS/H6weNOhp1ggVxlCS1q3qr037UChiXvTpyMc1iBIwodTX+XkjSqYOaD8D+1WJI
iiS+A3deiIxzTI5p8DPwYzcQJTSXJo2ddcZbH2WAK8qaV77DNIOi5yc/qRkWf9uxC8cBBBcw0sxc
n2jrvjbEMZBLqcvwPfFvQJEYdoOmohp4qCc0KSEh0vCMV+zaEQMiJOYJAfmNDhrKfciRJOthWfdW
4ANoQjsUUorpGiev7fs7ehtnyTOAO1qq8YNzqw51Avzeb2KAFgG+ZTsdpD1YmizjBDxbJ9rWmK3D
IxaJF2Tv9KeJ8Sa4MVZKMnUafMxL9qXYgNMnKjY5iQ6qnDDs9SaMo0RQu1ZL4jgQv0ZLldp6udQj
D5mZiZYwvMjNsaDEzJouvFTZxZUswCmia44z+czUMvDcxLbcXXqSMDaMpdL8/4WsseBFUJJj1cQG
LMT5SwoCD0DgM6yCJWU2z4UUUvfo0FGhUfxqHOTHwTZcfysd+48GaMfJrnsaTZY5zL7jyhVTi0hZ
vM8LkWbU2KsA7aJIslf1ceyPpUrMSrUzwTMkxpleF6gBrwZRCVgZKIFCq0aDkrSxNb33mOmMD/HD
tENY+sZYy9mObxQDZI2soNwBfm9qxwoyxr0sQ46Gzrt05w/nBKQyovCm9puWdyMZDdaWFINOXmdl
h1a3EZB5eGAAdg3B/vU2ZsMUk4JAdFjvsjYEYSYxQ+IxFJwX6lbBv1IoY+mIFivhLKUGstx0UczJ
jXbFW1Y4gWpV+3FbXsgLN2MOCNv7oln6UVvYydnIqTwOg6F7RPOqtDZFFmjDqptarOEcQiyOQplF
k4IWzdgaQLOZARx3aBlHmiWBulWDvigijoMEbKPpc3hZK4zr9Db0ng8XpuABBAXWdExYXyuR+oY4
Zc0QI6nde9FTYisuXpcb9dXNwTbUHdX3yAVsiKm79eEFz6MN4wNuEzPUB1A2MoAQJ1cDfMBgH33b
+I721Ra94OqWnCSTs5HG2+XOfeNYPd8LnSnjyIGMoeZpjyqGTp6JQWagxb4+YKgbHb7SWALaC9Q8
Qf2F8jbDLpnqUkYjidHQqCVko5bVmVpgG2e8PL3oMXtTjlpocZ5smIIDMGOGLd0GKlhoDHRjknTu
h70l7I77mujzTkdK8JjqiJOM574unYgUh67WkLnkH6vhx9S8FjpxZI7VsTpvJO0MNBHcfQLePciD
UVduz6W9WAnQPCVCTFxeG/mN3HHKTyMp4gO68oWX+9u85gNg2AChwyMIzpwy7SHqhSbsoDCS3+BA
N9XsPOHJf1/ImotbCqHMF7KHqJAhJJS+I81N8g2g6cy2eq7b1/uSVtdvoQ5ltcNQjkHXoq2wGDC6
0GPKlEzWjM0vNR/3JbEWjrJRhENqUqWQ1BhfQbDR4ovGHDyeo8cba0A+FOPRGCe4AZ+T1UCpufnY
l6CIOsgo/KQH7pey65/bfejd12ftvIMQBNCfoD9CSDv/f+GoRbEskbAHR2Tmf2l4lmhgd0UdrcSo
uPElcW4Z/LgvcH0B/xEoU28UPWkLMqGEb4m55KgDbw4qquVA0r4vZv1I/1WMHo5A740ojOUsZ1d1
1nNNbPEn8q6dB8T2xhSI/a/f97MPWQicI5rFSha5IlRiNttg7KqZI8t2llwkFmjK2rW3lEJ5ClDC
5WlbQopUvafE6wpGdw3r9+f/L7TQInUagpSPLX+wCJD1e8IKr1Ytbg7rkOFDtoxuletInWCMRkDg
o12qZrTI8Frx8oxOHHDbaHzju4hhC6t+CPzVijoXUW7R+4CE7MsYEQc3wSFCsS0jbhagttgKJl7i
9+1udf0WsigrEPWEU5QK6xeiksepj6nEcHW3j/zZzhYSKAvI9BG8cgMklKo9kl1RXfLgqUK6rPRa
ckgFqyI7IXB7Dk9u1cLE3n0F1w+WouC6MiRRv4nM/T5VBQwDxcAOEDAMk2rd+CJHXGWYFdFzpDf8
zOqkoXxKNDU9q0Ec5xZKk+FRUCZ5xqsNWCdv1aVomDDFFMZM4EZdZpoYgIvBl/BF3YWgD6DfNSy0
fJaI+QJaHAspNcYSeEUIBYl2itsMTbrklFUs5LvVs7HQhLrHcLl0ejRBTN0lzV7RMCrrc8KOgD7H
rhWy040Ek6Uk2MslaAQZG7t6iS6EU1dbD7zYEdWd2HpCY51yFh3/Ay002YbfS49o3HXEJzhPsCzc
F7t6OBdSqQuob9pI6YpZZWmucLpVfMlDL8fA3L+G3p0Pzl9Jf/AYF3tISN3pQQVJIRowKxmzBqwC
OMNKaJhQTco1rcohIZHxpipccajQqcVAfFr1MAs1KA9jDEKhhga2qRNeNTRsDZf/sCHAPEFwiKEN
hQ4NM0KyQQFEvRUlIFZRrHSwSXLk/AcybO5Luq2oYUfwPMM7G/6MB2ng9amKE4EkmObDlamP4Hbc
d93vxEfHwImrEqtBI7W00dKP0T8WyoPAMofbHtZZ+nwLiQD8A4Q9ZXmZHIdTlJeYRXk0XNnLn6YN
AEkB7+4cUOdSAOl+ANwwxp8Z7aRrFo9QH9VLtHTO2NrXWvsqlxHOL7CBpP6qQs5Vh8+wwFSX8iwh
LXx/jdc8CtBk0LkKDgAZzavXwvIc+Q3gCyIMkgFeP+1T8mOQdFPJrTADy7tds0YLVgVigmEexEdt
gB5l4AqEKAXSo1as5/ux/qh1pEGHU6ij4OIHz1M62kHMqlCtHTwEDfpcFAZHDE0dqyFfo2UCWkpj
WTf5eCt2+7FjBS6rQlTU4ub3EjjOqYsXUy8tkSrk2iq0otY+amEh79UBi0zndpx4tksNDR8oMQMg
nB7JqnoxVmPM+FtplBwxTjsB/j+s6hMIUp0Ug/dhGT6AYvRpBHWbkXzdt5c17wL8Kx1vYEwzijTu
HzByM7U05rcHiqHccOjyn/cFrK6iPmcYZpJQTE1eG2QsyuXASwgfNH/yFJyCguPdIGCRCa9dZsDW
/UcMdWHzUqLn2hyHiWgqaUXRbFO3JRc5tO+rw5JDHWYhF/oOnQGIlxHDRkNqxulXKTSWojLirtVz
tVCIup0j3VfbYsK65SKPtt4vuTDl5NLI51azszza1Pq/HTidzdCYH9UAX0CFinKPQPcx+KqEewzi
3Ti98+pGqD7vL96aLfwf0r5rSW5c2faLGEEDEuQrTZn2vqV+YailEb0H6L7+LvY5Z4uF4i2EZs9E
zIM0UckEEolEmrVQGzIIkLxME5PWp7agGCky1QpyoE6aYtgpAHdWzGRdDVsWvRYiXDJWNqcEqGo4
Tpb9oFr80ZEBrMskCI7BMMqimgp4nwalNA0YALlkKzZjbgeBLbgskIYEKd7pQmXqlERDi1PZ2e9q
deeA4Fx/VvhrGj9iVjK+VW6RBZ9lb+gt215JFV9qMWLt3FzyN0M2e6H9xsBuWNs+Wusvm8FiumK+
Yy1HMIOoVYexxJiApzVWuU/06bEf39vZebDmnwUqfWgJ/bwscdPw/qynKdpEmRlVVuEwZZg5srrC
M/hTJkONly2fYBaF3gFfOoRavbMHgpA7W25DXSOWvNhlYhbrXIW1Fe0GY6QQU+PFmY+TW1ifbDjU
suLq+VgmHMJ6mwTPTSYtp/oAQSZy+tH0Yw6xYbdh/dRiTDHKakzA64jkZF1lG6cL5Sa0OqIaBP5d
Iiyjk0Zppy/XYd6rV6ykd70M83HreC0VLWchhl/cneDEQ7MaRkxLQARt7polLVDPbhJzoPwB/2Jo
kA67okbpAzVjjL7pdSQJhDe2EOzCaPLB9CdgRL4wXldbaPUc4NM6LhEV459DtU/Jt1j9MBPJOduw
+hMxy2esxRAtIhmFGMb4IWTjPSPNb1bK5r03jvOJGGE1GZ+bPmEQk3fpLeGpSxM3exypc9tWaJxC
euDyYd64GSne/bqzdLzgv4K8FJNoTdrhqk+t5o3oIBbnv+Mw2ivDM0zKHatPBzPXl2Vu6riSufz9
aikVogxmw/TFZfnt/Nxmjy4QFBM3ZZJBws09wzsBca0FfmaxpaHuWnAOL4KGqdpzG6SOc3HVzJHk
TSITI+hjjG1EBxViRrZvrIe02+Xx4fKSLdsgeHkKgBygFCP1B0WEc8xC0MdmmADw+sFxyyRwWmSt
3B4hE5MVVze1WQhk0QqC0/wVYa92B2w/OFKLqDEefG4djBGz5LJ8ybYQAP4gfkEQKfJYdYVR0t60
kXUaSi/XXydDd81IcvNv2ZkGhBagCuHFoYnNalE06krElcwjqbYPY1Q2wF3gN2TynR6jXUD/cZ3k
r9EtoA+649Ajt+BunUFKp4OFh3Ed5QjGbNVz2qLxqdMPu8SYJeptOb61JMEjzTO1ZiuDerFDvJoT
QMQ7RyCE+LhpjpfNb2u7dDTsoOsPdZWzh3CfK2HuZEgCg2I7GACT1KZWMLWO5DbesnIdQFAo4gEI
GwC1p46hodzJqwQpICcr3WTaE6yifW1Rd0p3lxXaWru1JOHej5UCUNcjFCqV3TzqrkU/eyfojefL
Yrau37WYZV1XZ0lTdDWCuhBjzvd0cPZVVUsc+LYmoLlbjtJCuXQqIi9yipIoMlpF+Xsakbx9pzwY
zH9jABhy+D8pgotLMs1oQA2Qebx+qDgmZoNxlNwK53NFODkYZURmB8hU2HxhseoRlF5qakITjC7k
v+qb5Gm6elG8/Ho8mLv2OjnSK9Rz73W3vIt2yvWj6iNee7+8Y1uWvv4I4VAlReHwYfkINt2N5pvC
E0+VUQbKZAhb1o5DixsXMmyyI9G3QRtdTG1d1mPL96EgD+ID00CvqZi6GnM9GwFWjkRkOn/WRXzT
G8V1ZqQ7cKZ5ZmO7toYGx8syt2IJw0DRFdk5MHKIkZhZtekA0HPI7GtfU+9SXBtNUbldG3lWHXBw
8spyV8tSiffiWqSwXX0N6IhahcdoCnqHjjhPH4qffa1hWNbGuG8huYZlGgo7R1qaGqGFVZ2quvIY
GX+EtdIdwXb0rerV76oTVUGYOHdAY7Ali7tVuvoirLbA7odMnYjElwK2uwGtGu5lM98ZSXJE06in
9WXQU0A5MhvZyNSfm/Cp741dDBo+wP+qSgSuI4kvOPc4oHYzAUmK/mVEVmK+cMjjok7Q1O7lQE3u
yTGpP1L7m0V3l61p24L/WJPgchSVZ2NeQ9+ZauNeBZz/3rTV3i+o8mOswu9qpd3Gpqyicq4cnBDB
Ci+pXQel1FN3Gs2FPtXKcgUN13itGWPmzgl4pH9fVm4rTwk56JsBYQ7IqMQ+OTI21WhV0K7QrVs1
s7wpt3y05e4bJb0usu/MxkD+GAVmNB0ik/+8LH7z2Cz5QySuLeSnhIvW6vu+dSzEeGr1k2UFTkqy
06MekcSPQkkllru5pCthwl0LNLMk7DqKXJgePtXWG/gSjk4X7Uzl3zxm8HP/UUu4QcyqYanVQq0p
Bkqzal/TkiIcpwc+VvcpU/02ZoBDkpEFb/VeLaBs/5G7rMDqmi/xV7Y9QG6c1gc9b73UxHhE07i9
k9+O0+TFmfYQ9aWnp+oBIMzPRW3d02RgrsLyfZNxV+tVyapvbjEgL/7XXYg9oNnU5+3Al+ODgkEe
7xyALhI/RPVu+rxsTJsHdSVJ0H6grVNpMbQn4wcx3CI/5Ch+oUkkxBCi1UtMd/PyXEkTXHA1ARvP
WPRCv7qrTt9CpKe1SGazMimC84mHzFTMfLEkwJsPATExWZkrki3avE1Wqix/vzIbg5k81haPPnMG
TiJ2E3MLiKdvYRsHxEqCJP5RljKuLolmInEeaxQrHAsIDVXdx0CzZ3fJvlaYJCzdinwxSoBXEFh8
HEBJnupG8642gTWGQ08xUpxawBjJ95ftbluTPyL0UxF92yZjpMCvdH0E4KMY3fzxWzjPEjGb7mul
ieArK4NVNpugCZmiY9vVt1r/pJU2enykw5nLT51FMxSDQUTXMfwhDkkSh3WKETsIPiPujqM7m0+g
GzGNN0q+jfOOh/cm5urBmMN50MW7y8u5VVBGr+4f6cJ6xgjLO9JCUR2JtIo8WvEVUFEGYC21Qc4/
LXxJ69a51+toERyCy9I3nchKuLDKHR0a3i4JgSpp8br0ZoxRJ9yPitcS/GeKxDq30rEnugp3UhTF
dVzgSevF853ZBzV6/s1+PyctwrcnQ3nKdX+UDWduGtLSC70cCEMXPbLi5IPqVJBZh4ClaHvXQsG6
tJU9h4qXV3PT+YOGT8MoINBVxNPXT2YxhTpSAyZg6hKEwwon+xwPmZl8Q2z51wGhTpdpHgdM1xZg
6oWzPlURMRVS4V1hYEKpzfJfrHF6EERaiTvr5utl3TYTzgg/LaoC0RxjjoKpRBVQGlUT4tD4SDBC
V9+wrql8k0XjEeN71p5bxk+WNECStnnlG6MduXU4P2MYzpT4hvN1Rihs6QvLG8D5gUB46oKGqjU4
Ogpzj9hDoI85aFIzP+6Imxvfo5FIrPbc4Z1KEw7o3ANmKG0hjc2a3+h6kNOHZvzrZOYixAGL40KJ
hhD4VCUd5NARBcsHhg+Gn8NojQ827V+rlFWSZM+GNjAWVOotwHiggCmsnQnIxhFhcO45ykfnRC4H
tZwqWbHzG9ZY2igAZKyitQGYxqfKaHwccsya4Zhbn3l4nHN/gA+nuT9m11X1Pr5dNs0tldD3Q5Ys
CfKaX3hHqwtdZSrScNGUe9kUKPbBtJ/nv++SAmXaHxFiH1atD6ZKa4hom9s8+t5gfL+UXATnWoBg
GMNDcB04YkgDny6aXjBjRMCee2nuXBHeAPyK3ubSDMWGD0btelmqpX9oGTo8lcPSqNdto0cZIHmy
yx91/1iNPiASPXRexmXQKcpS8ru8Q+c+GDKR3Ma8Avjjz6ZSFFuPkwqMgl5aeFr3nABopbKO1RD+
l3KW71hZAtV5GqklimITUN/481Tu6Hzfkvf/ThvBvOsUABGxDW3MvHdju3QL7Zmo6G15uSzn3CKW
VYPPxdQBuNZFj9skYCVU2aJN/jz0j6V638jwMjc86YkI4UKOTSBCO4uIkX5G9Ki1flShIen3LKvj
nQemOJ8q6GIxF4cGXLGBjHXMVKZleGOsH6PWeQIYr6TqtCnBxtMamXLcTmJrnKGlcZiAMhbIcB5L
34kh6WHcsmEbtQUKmBDwF4ga8LieuvGrfEZfO2NnhKCECe/LRMZrKJMjvIH0sUTX8IDktVX40UJH
QF+jHOVcItFna71QPP4C70Xnllhw4gyvkdpCbrl17vXqn3zQJbfAV+b4NK7G6xyJSUuzgWR6hjNn
KbRWxx6vufoGM1HHDz1yqd8E4Ue3n4LCVd23W/3K2JkBJk5n973AtEN/FfnIFbjIhqBP+0cYROgU
mfayN8xGHyU+DZtIwIi5VFiWo7dyFC3mI8upxHOMm4CkGF9UHroxBXdRhDbb6tZxfhMrfWQG32Xp
o9p3B1RPX7gODqyFXjaq4L4a2eN34ywit2c4Gq4aFb5SuABanocd1fGwCq38Opz5dZtoewMYPBOO
5TRL5s43lwBMAziVKDDAooUlqKo8ywbgP3ptN9ffJxpmtlvMNkhnqzzvFiQRjQxeyhvzUCoFplYJ
6ak7j3S4ipqoDxw+57YLZrkFFZ3baBtWU6AthsgNP5hVT2QEchveEFcwoMDQpon0ulhWBMXlzAxl
yL1kPkzkXU1vWllT1KYIuA9r4exCw6Tg2AElr7UzxS3fj88o5k3ZDeLpyz596/rFyM0fGcLxnkyt
AQcKZDjtt/mDYHfRrWv+oycfvH/Mo9Y1eSGRua2WAdfrYGYKhGenxt7UjJMKiSnPbI9R9DsxA2L8
uKzW+TsSRmv8ESFcvCHAFApseu51YTAAr/g3QCPS8m52Ar37FwHsWpSwSc4U5THhEOXYcI7aYUg+
UOW7rM7GUTxRR9ikjE9Dp6mQ0QAcJ8ldQt8mu3Ad7dqQeckNd38iSgjHNNq0oVZD1FD91JSrvPtd
jwu5zWWFzs3OhiNegj4NFSJ4F0FMosbg/KpqsKkD7g4qsdgdJuXGTpJ/shgtuzQGmqGqlgHCJxA5
0aH9ffkLzowQH4AfwKCqitb1MyOsplGvc4YP0BrAw+J/RslmGj5DpeuDy5LObPFL0sLmjBc42jYE
A1ly/Cm6hFrPISHwfnoAnDcpWH+QuFxYKQg6RN3WpDL28TObEcQKNpOiNBUaGsQ2aDkkfZBQn2QA
Uy9DMCbuLqt4dncLsoTdLNsWkzUKFjMBvl0OjEIAa1yWsL1d/1nEswdPiwJbCjleYt9ZSN8Pw3Ur
62g8M/1TLcSnqM1VB+yBWLGo/J20CrrXdLdSo3vW9BKfsazHSSSySEJzCIIQDRhNYom00qcs5wTa
ZOgQpxyMUBTXlfM2G5PXJdlD0dZAaW4knSIyqYv+qyBDtZLYDEkHi0ivhlz1a+sGMyrupHkjoJuM
ehezQmIYm0a4UlSwfTUeqIqyKPjpQYtSV5qbaPw5KxsfjHSYTpHFUZs7uBIn2HzC2x4N7RCXm5Nr
hEerf2w6UBbILuZNOaBNXmYIMb0ncj+gj6zUpgmBveVU13FIPbMvAqUGIEopG7HZXMGVKEEloKw4
QBdi8FMd8AR+WOMhyUbUWEqvtWS5321ZeBWj7waBsvgU57o91EWJA2Aa3Han6geN8ytkmGIfObZD
S6TDS0ty5+wcLM/w/xEo0vOYVOEl2C1bDyNGR7UmV1bSXXeReiz5NxY395gkcVFTumkKFcckP/4L
n7IU7GxqIzUkOuZmzKswR77ZyxWAOzeGG86foRn6l6Vs2spKirCBVaFXnKWQosaJr/D+qMbpjmeV
C9hryQHfvFWBGIIGIAwD0LO8BmhrhjYqIEthgQ6I+wxQ8gAC0iO/Rp8gCNfGyHCJDO9i0zeDuQuF
bFzkZ3e5zq2myIcBfmUKd+MX172R+pbCJDnJTf/1R47YSz/FyhAWSg+2uszxcuOjA2szqN57QLBg
Itlsf4KM/t/c3SuRQnZytPXSVAyIzLFhTuzjvu4Lr2s+wI/iqpZk/xZTODsOK2liZteuMXltYyHJ
4Orhc6Q8Wc5tTJ6RBotkz23ZYgqvu8EqLVKqkGX1TTArPnJTbEYw8lb2mFvS/Azv3csHQSZxCSJW
109WK0sbIyRq6ONjZu+nTgTabc2PcLJRjHzNk/EeAzq/LovdjE1Wi7pY70qsVmpJb1cQG6FXpWhy
P5aySJ5jmS33OUJJAJsSdHKIjRR6iWZumoDuIFFu4v4NbA6sA2Olv5AqVG5bHgqym8HRF6aPthq7
SHCP5jXlR6P2WpBJX1Z48ziuPkZY5zYpun4C573XW08FnwIQSiKjJxGyuaorIcKqgpYgNYcGGmfZ
ldGOQTMx/7Iam34TE/JL6Yqgf1eQQLFVOetn+DIsodb/6ki4QJzZjazeurleK0HLh6wMJCNGWKcN
BA01c6s+9SLjTbMkvutcCFHxD/LbgNtF4lFwJG2u6TkagOFIkMRQ+mRfcbKrHBnI9vm2nIoRPIhC
k8jIDOw9IPd6VBXVMJgSJoOCO9+aUymC71AAbMB6BmXsWfeL9K3NE7cJPwfz429NYJGDJD0GRREl
iCUIe6zBn2Qh9iHM2ms2ObQOiI2Mge0HS5dlQs7dE4QtY8wwNoCaisVS3c7mGpUojCvDDOLp2Ug9
m/qxQlwzDfD2wKmVOMTNzVpJFDYLFAVWFuUq7jNrvqNd6zInery8gptmt3Rf/E9KzRFsu6cjJjgn
KKUY+WdZDuQ9IzQEZZ7z1y2YmMTGUV0GLDD4imnE01OU18o8ahNB01NWXenxoWfGHel0t/mONOtl
pc4brRZZoO1AeymGKs9mHnlX6ZldWAgbJ0/7tlOfR1d/rLz6Gr1zmdv4w7fI45+abJbvK2V/ej+f
yhU2TMPTzJ4ss/Wo+2Jf5TcgtAvm+373qHk5/oyDN4njj2nkOu6LGYxe/97tlcD2zaAN2CF90zwL
BCKOV91UPguGd+PX5ZU5B2YWVkY4mXZVtbw2li+8j/fxS/1Og9izfSfAF1zXwYBk9nxlu/oTYM/i
veFKAd/OQ5jTJVpsfuVMZ7XpOB/xAYl21bbvmvWipUdSPEwGbgqJcW+Eu6fChCsiUfVoYTGGHeS+
Rm4NM4iUxFXR8tvuwvq5DYO5lrik8yfSqUjhQE0DOC+TBKa31NoMjs4GGliIDfvwQGU34NZaGgDx
Rs0N59cSMYIxMhD2lUJxpCp3VAwX83Xu1AM+L+p93l7Let7Pm1FhPGt5gnmXCSXAAIC8MntlaF5Q
74r6A68/z6lulQmdSDswVnaOf9lmt/wucoEL2yBBbUaczhrrUYmzPITFjPegm1LA65lHgRY7boYu
SvXVlvWpbPlEMJFhGhLtVRhsWj5oZaJOAuSsqYFAlu2G9oNWb2MoOYfnTVRYypUMMV3VmHqts1bB
zdW2zzNIejn/0WfJBykit520B60m17WZ+6o9YFYsCrL5HeMbkhjtvEVG+Aoh6EjzJMZnQNNhqL3a
/GzC8rEYq52G+cFEf5uHCE+ZG0VJ9m3PUUrJ/zZtLcgXDCqrNLNwSqyChamaBpBoM3mftRszfaAy
no8tK1ovuOD4qrKvG9pBVRXZzrZuUab0Df7L6HYItrPuQPt/43zWEgVPV5lGSrsZErPpJW32YwEg
8sJFjdFn/WtHowAMbK3695nWU8MSXN4IrBMyL1JH+loBypHIYi7ZQgoOzi40s+tqCOjKOXYjgPAo
Q+92IG/vDZDSGeFbqZTuXJpPl93AlrNbL6cQPyhdWNc2deAGDGBpj88kYy5l1Kvjf8DNl/x9VmZZ
R+RIQN4KsHwxtJwZxl1zFaYZFb8H1iMZ45aOX/w1RuTXCfgjRjASvQl7jS4ngM3pIeymW8JIoOqN
5HWxFZCvtRGswkxYpHYGxKjdUzkslxLYmGqPouH28i79f1zKH4UE8zCacEojBZLauPbGnAVm8m7N
vk73BsBpzN3yhDe9OfYNU9bNuHk/LWO8NtBkNaAKC+7MHjutmknUeUNuDv8UGRn3CzLFsVwYvgFO
EvZPSk2697knoBZreXVFzHoI2rRQdpeXYSsKIJqOmVIN3Du6uhjz6goxcosntI07r+iJH4MvCeAO
eCUQEtBEUir4qgWIQedalnBdhaPZJ1kHrWnLfcBMQiaEzelrg3GR1vleGJMPNa+Zme0b3fpO69hV
0ePZj8ON2v9W7GIH8z/m6k9HA9Oi5uyNUdmnSfjUtOk16yqQ38kGRWXrI3hjJa4zNH3jmxX1n7E8
Du2uVq4rJHFBH/jf7YRwwByHGGlcQJINKoCKBmX9UqnfoiYOKuDiXJa16RpXuy6csggJLMJr7HqZ
71gL7BAPQ8RAZq7dwkw8hb9rydtliZsR7nrzheOG6EWhs4XjZtJ9aoIYMsA0vpJaXtj6PX90JuSX
uGRJt4OXlZ6CK3aaMOGMYk2N+pFyWJMJUvf3fNaCDqCIZctcvqQMHyfbbZ2rbJIcri/4onOLt9B0
uABWnMFfNcYU0o4lnWdqN7jwvMHiLokPc3qHY163H3bUYeb9SRs9a3gZnCtLxbBrJVkFfduG/3yF
sPQkm3g96PgKen9vfcfwzr710yMam1WXeAzRmzv46rHyftYgqP6NcqG6y3xllweOP3+/bAabdyMw
hv9vQYQN0Zq5b+FxOm9UALqvDx9IYiSuUU4+V5ujSTp/5KasR3LzLUlWUgUnl0eRE3capLY+dctd
HLv/fDh34Fb/FeMZieZ/LABzLRdjnZjiOiqHUfbg3ozUV18guL5EL7Iqj/EFWeti8NgbYr+qR8lG
Gzqc9QVzcwQ03QoJ8BTUPJ0HJLIi4Ad9DzLb42frF5+ma/yaPHC/voeKa/vJsbzqA+aiIeK78fRT
A8NNdUSnhJ/58kMosT8xH8U7Ztj98lnRqAE9v60tcxdmseZVUTu+Kr2tPWkAMwC11RCzq44nGORN
i4T/Q7SUEPQCTs4n0GBSUM5qzq3KChvUPKVDpkfQ3bLvVZ81N1rfhRhPo2b3hBZtvpviFAMl+pA5
fuXgZcuSUeEuq2uHu3HchFFQ2HlzFaUmOwC01LiuaIOsbKNoj6PKrWdkHxIka0Fncgjj2n4vuiG8
ytpoilw014JPhNfIeBvDfFdSJ9+nyujsu7KrgkZRMBZs8/KmwKCej+QyWsyKlr3m1TRchZYTe6Pe
gIktdOzyNreJc19hDPeHg3TrbcHnmoPy0dZTX616au1Ck5RXRjxmOzOkql+i59QdE4UgxdsZ38Eg
xB8qmHbhO2NUow49l/7MivhFSXsL5G6F/cDyfgLQEGl551rzrB1YbZuY3GOT9VPFAl7HTVQyZAi5
GnmDU6uG2zjxCE5jlJ1NJadArk0bdsUdp32z5356AfRe82CPY3zfqYADQ7+uBiYoqgX50Ku/k0ZH
43PVqt97pjvHvozxi2DwLHb1RJvJmyeNHVsUo66ijKiPajhEho/qlP3aqz27jZvJqv2mUctf4UyV
XRhbHMxI6Kc4aHZRo7kxyltyxdFEZ7l6zJxyh1QW4W4bhmaBYlPGRxflIH1y7VQHLt7YRY8k1GMk
J+s8vOscS3/AQz02XKuxiw/aRiFYaNIIeC0dbRU03jXUOaikJA9qmLGruDCUW8diOfNqFXjvrRVO
v63OIl41pyXbX3aQX+nzS2d4OeOrgIzMyBRmKg6Lfps8IRb8SP2H7Cr0fwJAYq/fV8fEfx+u6XHa
xa4ic1Nfr/lL0oVwp4i7yukXT2nvPzmSaof4GXgm82Pp6t/nwA7SRwx90ht6H97RxW/Kpvw3AxMH
M8QW2vQJuuhPtZ9yHGsSZdCeVcRloFK3yGwHIR9+FKn9M2v5DS2xaWY1HS8v/HZMvkBC48gBFESE
qkwagxb1CJT4XOt2oQFkx8p2fmRxQ3at0eNmsBQEnQrSsmregNdcQyIJFIeSRMNyF59twOorhLua
srayVdS9PNSk7kJl3BPlOBd7EJr6l/XddMorQcJN3KN1VUFxrfN4w5Hu5Vnv1ml4Y6rKd56A5laK
H7cZAaI12Fja1ECnIj56lDxzzJEAppIN1wZunMn2W/qswTezCE8bvx9vUxl6/paWgCZY8HIQBuKJ
fGpPhE06zxdoTLX9LCnuefPdak3X5u+mrJNmWz9k4izdsIGWKT7Eo5iqrGuxopb6Eo2YtL82MSyt
cN9Gsxolu6TxE00LLm/jVmABFHMNI/4GuiTEYkXvJFHds7KDMyrR4JpexywJajzP/4UYjL+CkOJr
Ekg4lxGfiqYPEUhX86HNHNdSbnX2+7KM5YEjmr65kiE8gPD2NYAxDhkRrZud1rL+2GRRKFmwrQO2
lrIs6Mq/htNk8EaDlH7A8GfWuAPGTQbdb0cpAdsSbp0rhKQMSuYo/YmTZ4lV1qmiQJQ5tME8IMzG
HWI3s9d01RGAYZZbIs8Wt7ZPakPmyrcMAzN8aLVeQOS0r6fJSk+8jiP0YTOAwqIRAmOgiWq5RiRj
s9vy1zjR/1FRcFez5mS8GfCQzJQbHDYfUK7fMLnwmir5hxbikOfErZmsQrd91Ii1FMwwqwj7P91E
M8NrASOunVe3h9BwM23fA7RZ92bds+bRbTSXFjI09q0FRfOFY2BIBeQYX6+s1YISPimYH4GqjvFk
wl6KybUMySW0KQMNaxYGCfGvyPwyFs3sVGBB93Irum70vd7Xh7r+5/I527zpzJUU4aClzG5zNkBK
gplTbYpxjWVPDUi1OmJ7IGHrvaJtQb02+ENrvjhtqfyLu2f9AcsyrJYyrDF4WhWIMlg2fbNGpN/m
5Kdi1AeVo4GYyR7Am0d+pa9gpGah9UMfQt8y3rP+LRnfWfLWc1lCcetti9YxZPOQqwGmmGCUYREX
WsURu8w8+zWr9i8grwQmzVyji2568rNvWjcBFpPLjeSK6IVrF1nilk03uI4Vp249/qpt7TZJEpcw
WVwh+TiRDLKkFkuiEEs+zG6TXM/2noO2yuzAdQvyExluybYdY6wTkxHUxjTk6QbrmPsPo2UpwE/h
1qXmt0p1JGUpSRZvep9levR/xQiGPBJtAEMVxKT9O6vv+Zz6E9nZuQ04I+AzIGssA1CXKSZY7sS0
sIl7SFSL2WN2lLs2mo4rNjaSt7xMkGCzUWzVROuWFaSvmXk3gqGkBvzoZU+wuX5orlza+dH7K4I6
E5rVidYh2AzR9tJl70N6F02p34U/MKWIC8rt8BS7LHLzLALd39YwJo18sxCQ5TXnVqhX8D3mzm7s
/dCBxut24truspzN9UM3rAmIP/AmiXBhGQK/GaC+uHvRNT2TY4ycH5ATg8tSNsPLlRRhlwp7AdCa
sYCNWd+UmD3aRUz5Tpk9u7rOH6sIqIKXJZ6jZqEOs77XBZEjc7LBqnq80JSfjLsNvYlRPLPDxlM0
lJsMFzG11fpqGujxR9SMAPenkubOrT1cf4LwdBiNOM/TGJ9Am8JXY3OXkaeJjA8tl1Qmz5YXPUwY
M8FtCHwuMKsum7y+J+Y+BHoi5vYmwIK5Yab6aM25spPqZlTYrzLhnmRxzyK2L4EwmqX7FzM9gnVi
VoeOkb0ghigtvHAHbnWD34Bl1afz5LeNAxStYqc0wx7MIbKxweXHT8LFRTiGFImNGR40HwvCQTSJ
QaIZGBdj7/jtoB4U1dlRFXw5prlTuPE6g3Q7QUFY01/6OpIwryy+8kw62hOXLwBOvjjIUWI8YAbH
IUavo88hRmNNJ+tOPDMb6IdWBUzoUbyP4AFOdzPvo7Ex+hAogWFA4mOjXY9lwMtv/2IP12KEBApo
ahVUQ7GM6lutB9Gr8al+n3yAkpHInfaXhZ15GUEl4Z4by1hjZgRZPT3iAeEmzb1jy0788iPizuDh
hdcPWt/QkSucgq6dk7ntAMBamuMO0za1i3y25lGmTXt4g8wtzSHz8ypDU3zKxjuQOSATiqvxqiv4
Y8/mSfZFyxIKX4T0APhe0clogslZ+KI5HfAC5pi0nJosAOwaqrSaG/L+mjao5+jtgTr1HWaG9pMZ
3sY0eoybv21eWhbeBBQk5gPwX3Fk1UjCgYDmA6gR+m/ghbqFfReqygN3BiCSjpI76zxg/pKGoG7B
88GTQ9hmo+8AXr1g+dQaXhtgErxxQgP9aE3VfO8TKwUNuXrPopne6YZ6m9oK9dM5kxzQr30WVn15
auEBrsE/gYnh9PyEph2PfRgDyKS2Bjwk+8JQkZUqyIvipLqPVHCLdr0xK+NrMDXgkCVphuQd2sbn
I6Vp+zIaGZ9dplDyw+6RdM0UA6z3DSmyK7WZyhi9O/glt2NW91I5iebXYY20aVeyKYhmq3jVLYYJ
V1ZpLyojyu+m7Jq9kyr6mxmGzSFnU+GnMQGXfUIKII2GIdoukGZ/4Mjz//X7FqVelKyXlQDcClJK
p6uhJlTtJy3B0dNnH+MUaOr6CGcZWdxiyadrfipFiDBDpyzMOoeUxLiO02eOjoRs8i47kXO/CBm4
58D+YwP9RxzBqtuiCmcHMhp0bswgkAW8D1DnY0CZXRZ0fp2eClreCKvrNHNKFqK5HxeMDt4w5WfU
3DpGMLduI+vtOQssl5QDIHAMqi8s9+LAvRLyHEUXuCxAzZnlfZ/4jD731R2OSgbW90LyDjh73OB8
LlEs4F2Ag4EWYUGxEe1xel/m6BUHYatOH0rzJwNka6a1LreN3Sijrdn0CAD5MZYJ/6VRWJCI4goZ
OMXzGVMJjv2IAYmSv5f0Je5/cOcxARAd7ptO1iJwbo3QE5aCJ9XSNSICCwy5Ppk0B2IZ6mSHUQsR
oWT3Vksky7mtne04SB0B7PksU5uCEaAdFvyrKhxAYfPZTQDqv54dF2lNmwQ6vepBE13LYvZzq4F6
DtKYmNgDTKr4HLEJo6GFYQnPYq8zfx5rlOdumOJmyqvaHjQZcMp5BxDMBr3XKjK2BNyFItI0r3hd
gJQDYFfstej90fDUzA+TgGUuTb8ZOeZsDpp1Z9f7y+dwK9RayxXOYarHpTLY0NPu2D6h42GYZOxU
50cdqqEhH4uJKZ4ztMKWDUzPS+wgmODr7tgMh6kpFhoiNOhLHpFbRrkWJcRbWRUhBQDMC8+OGMbr
rYNt5q5a5LvLiybTSPD3UQr61jaGmFBDSnF8GLNvTlF54fQrlnZMbPkTUBMg1+fAoaAWdepPFhTL
rhwYblpQzjlPTuq4jvnYhs8cIw6WDMBS37IHC54Er1Sge1miM9EaBakhYwnwQAvDNNepn/UZOxco
zWMXvoGYXSG3PPoxVV5hHwxAQNR3McZHtHRv99cq+X+cXVeP3Dqz/EUCJFHxVWHSzubofRHWXq9y
oCQq/fqvtLj3WMMRhrAPfJ4WmBZTs9ldXfVZS9TJq8ds2hWGFxf5w99P/fL7uP1q0IakeojAA0j4
RHa6cVOb96T52caCEOe8+IkTCXcKnXXUT+DiuCcCqa1GiXTMRI0bqoi32Qi2Z4dGaChJ76kxepGC
bG9b+FkJz569V6jbB25Gf+nkkA4vhTU4xuDKxr04mT/vr9NI4PTTuG3OVDQjDPMk0PxqlHNMvo/C
AcpWxH5K8o2B+lW6KyUvC3Ov+AeSNGSeMTOQX0DSm3+cUQoGJpTZM8ARZaAmIHEPAIAsOMhr7ndp
ZI5TluFBU9kF9Flxuyg/2tbR262Zb0j01Ou7PLhVRUn887AHE7oYE3eFUjrqYQz2ANfQ0Z9kOBq5
GSD6aYuenWuOA+Q+so5ygTwXKk6HhbQ9tlwJb0vSDoKt+3p6iPBs0ZSPTNRNtuI3cF1+yxJBLOOs
4ANdYcBWNJiKk0cjrKGGC/R2eRsqTkrQ6isI51bW68Qat159ooaZNPMNpsl+oiUkuiMQPWiOoTq5
9k4g+gvF5sueYMXXn5jk1iyBjnOhdzCp1sSXW+b15bUs2hgrC3ZihHM3U58kQT2zQoZ97tDsgDgY
0+pYwAmK0Mbq6orhPKEmBd4xAKhPN0deJFqmjfMcZo/xsO/jm7YggNF4euhrxVOcaG6Ehs3iMzaO
wbQzSe31Ggpp8txAAsr6NtzUAVp2mA+hRqCIAS7qNogoUs0po9ve/vtLEJWhP5/LTQ38IyvUGL9f
A4ZhA66m1FuT/uwlyzc/Ly/1eScw5HKWtubtt3AHtQXJv2mOUgL6s9S9RnqNwc1mt04a7eXRr+NN
RY624qvlXWsc8rFwqfpg629ZHm0r0RV0juQ8+RqUxk6/ppGzoJdlfI2NaQZ1cXito1E+lZ2m2xtF
6AT9G6uHra7fFbnXD/9Af4jJ+I/bky84SsgJNKjOzZNxN9hP6gQAVXkYIsEFuHq+/pjhm22kKZDs
JoaZonmL694Lq11BC8EhXvMby+wN5zcqiBBA+xjZG2Ltu/G30T2pBLSOBxr+LK1NLG8FG2l2sNzN
CT01PAbB8WchtOcit86eoqFXdLyV6tgFCDeLn83Sz4LDoE3oBHslSKm0CHEEw/xekzO7EIFFwhFV
YpSJT7eMmUtjHZQGWuWd5oV95D75SbzoswR0zon3deqEnyh9vrbX1tUosL2yjlD8gU4N0CBQFP6O
cxZnJ61bGpigZZ0Z1SzLy9ttN/iXp3VlFYGZVtDxIZtQspe541nlZjXQWML1SWNUotActAWkDZR0
jh578EWJiN525b5eGvyuyS/GZKhFrVRDgG2jJU6WoAUq3k/smBBBHnxt7hYD+36cLux0MuRftdzG
e0IKgUpEMmlA084/LNDSiMrtjYrpRQHP7UaQH7MDl9ivfS0ok6zcYxDsBeXwTAeLncDdLakhTTlJ
sf/AFXhsSuYSii6FPvbLWTGxSwTztnKVnZjj7oZYwhNCkrHnMvUzBUAtVhUnk3xqHSzMpUiHUWSN
2361zlCWLWBNNbw6+YCYi6PVuyH1dPU+ZV+X9/rKNY3M1cyGBGYWXNR86tPUM5sCJZa6VyC83Hab
7Kncjod63/jW3nal59jVbsMj5NBupHcQ4PrVNjl6cDhO44fe5W85356nn8JNsywHRsFMCQq1DcVj
49BqHWA8gnv+/KzBCHgCkBAEtOusP0ifclSCBoxXBV2kxjyKZuDcfDCl/eXBnDsR2JlZdiAmhzo6
H/4kU1jKVQw7ivKVmj7SWBN9VYvE6Yz73OzdSBdccOcQ9Tltu7DITR/e1YkSBLBIbt9jl7w1/iN6
4rbMf/plO9Nb/PArb/zYBTwrBnDI0bz4WDnZoXwMN5NPfKT2tqICy/k5Pf0kbitncl8qYz5PduCD
4KSzD037w9a9QtQFfQ5bOhk8gESc17Hlqi/mbTwBYYQkbxDEG7MNwmuFJMkmtnMdkVNdfmqRET5E
ihVtDWanT5fX/JxzgPsK7kEkj0rY9wa+ondrvBrQVm/77c9Mdu5GrwLnQIxjcyXtTMHBWZ1mDbox
1twHAa6x08EHtV2TXEb2uaXXDVRAMvXeMn8MukdrgSdc3dULS/PpWtwguZ7IdTHnudMe1Ito3aLg
KoD6RKntov610+61VtDatnpeFxY5V29pAfRwCSwSc1v2/qSaKEfcBtU/VKKwV/9UPXgqZm2IimGc
6xGy6cYG2orQPwTSR+QCavYVaA9y/DTYN5Cqubxn1tfuT7GF27hBKCehUczjUzyQqDu1dGfYfmH7
ci/IPa+61z8D5IvgSlhDgLmEJUnzAZ/tpztlfLs8mPVjuLDBXf6KJFVoBougszIrdJd+jmR2OzW+
HcQQzXjuEkca951IMXllZAbYWJDAR4IL+S1ujyQR0JdWGiO2T46mcpfpb/nfRxzIHi5McM41Bmwx
6UfkqNLirlXv6u6Zlui3uFWZwI2vpCxPLXE+c6BA3aBEiIfoW/qhuXXhZE73gv6RTXgkNw7tXc2J
Pg6IeW6bA0mcry/5PRPkP8676+Yqk4kCIO5JELbxhfER7C3WwFAEVhQQWDja1jrIHzRz0pdym10V
kTsdhq+h2aiC4HHlNJzY5fwLZUhSmh3sWsFdJj8m1LUsV4NDT8bd32/VE1PcpgEvtGVWBubZyr5a
6c34HfVoYxmdhl0r9EVJrsNA1K+14stOTHKbKJM0rbASjA7ppF55m+RtbR8LUa1n/pXTx9np2nEb
qBvTZhotDMxWPsfug0heYD/Q6CGLd4Eq8CmrI7LATgp+6zmHyj1AZdY3Ud8j06ghUdChKgcYZJgd
iQgBunrCF3a003sn7TuVpC3shNOtqntB9dSJYpX5J/hpw4aHB5nz5DofsBWtFZVqACkLYOjA6PpF
RJnmdQOWDG1mGQAo/llJLGQHzAmSmqFCQAejPk5CbsdVE2AZnytTAHbxICs0/uk9Bj17qc+yejAg
DXX51Kyt90xj/v8GOP8etYo6TEUOVu78XkYxXU1vzewhEoVza8u9NMNtqzqhHW4qjCNq9lPxYlIn
CQTnf83TLE1wOyoKmxCtfxiJVb5I8Q8wO1sSEnBj6mQidtbVVQEzj2UBnqUqPGTXSrVeaWTU1/QY
SP7KbXIRpFVkgRtMimClLOeqcosrAXmgShdEYasLshjC/PdF3Fe3FXJ4NmAAUvQca09kHNykF6zI
qg0oCc2KZkj68aXBMJgKmg4owZfDrSR5Vnkk+dfl7bsSvs4y2/+ZmLf3YhhZHTapVsFENd60lsNs
TwOeq7qm0o5V1EO/qeC8rPli1QLiELUL6Ifw9yjQDQrK8sg6RuOGGo2nlnhyjZ5kHOGfqZA9c3VT
L8xx42t1O4K6PMxZ9bFXdrH5YhJvrHdgd7w8ketr9Wdc3OXZdxbt4gmG2PBuJFsKOntNsOVWx4Ii
1qxLNleKuWvMonYOkRkk5En11FfPcbTXQkDxHpNEEHEJDJlcBE5Zz/KcwvHL467LnxC1ZpXbAZdl
/G2nF4Iq9c+I+I65ULUALATgzTWiVykD5Wcd+7YIeL7qoW1oJkB/Hao1/I6ToWSRQFMZWxwkvpDK
QguUzCATKYgQVz3Owgy305Q2SZQohBlVvpekNyrqY1l7Scxis1hiC8gVBPanR7VMjKQIZqAAnXJ0
fkdXVpJ6JFZ36Ge/kvuboSiAJVELCkqeRtApulISQZZAB7rdnGNgiE6dGk8KEptWO8EV3ShX+RYp
X0+WHBRuQYvigDAucQaByfP2YGyOpcnZkyxcEzwFA9sQTKrbYh8/PBV7EFgor7ZLveoL2YNtdKPc
K+/EldDx4Uifl8/z2q4BqxuxdWig4R832y3JbTIVOGyDdVuip1JPdr0EzNf+spk1twEcxhw/IDOL
buDTQUZtR6bGwgkola0a/O7G2xG9zpdtrECs5iay/4zo3HlG9xiDwjeMsMoFhMZD839g/tDMra27
4BmciocEhAKZ4HCvHYilVS71E44ERdvZalNcxeizqrTXy+NaXSITBwFnG10lfH6iVtE3PFU4EC0I
PpiroQNnCxIUlbrUTI3W1aFMkHuXba7dlwTISQXIeegW8pHLQCYQD6I/3w1arRgdKBcmoPmqJOqa
cWtt9V4FYX9TxddSGyC3N+bK9vIHrG6YP4PWuLVEAblJrXnQtPzIzT21fjC2uWxi3dMsbHArR9HA
RqsJNhRjDy4TB515AJ/cZe3dhBRxE3ilBDYu/7LVtUsHjfCQzcOdMJfIT09ClkkWYRmMagilMuJT
HLrAzhwpe1ELQWC1unPmCiEy/Mjyy/MkL1yLnBPW2TZDyayOPRArgACzpU6UqYgThYwwqyu2MDZ/
zMLYVBZZMFBIw8jV3ah5bf+cWoIVW507G9yMM+UzShecF5HQDp4VWY8FowUUsSXHtD7wsHZ1A+pm
kS7wJ6tn4I81nvmFGrQFBgYDGmOQrFs/pvottKf7vJCv5MJCrIAuAU0EMjy/gXB9z1S50I4Cdk3X
uTGWCZrrEZWUbjFuBu0WHc4d6FXA8eN2YElg1/BlzPqy6tqB3Kqn6KIXxdkyzvYhW2HN5V1FtTn7
gVRAtqrtAItTD338S6P3USi4c85Boic2znL2o6kHulHDRmNr92jqcnKmuYP8K9GhYZWoOxIX7204
/kiY5KhM2VepSHn6LDznvoA7+iCWao3MwhfMIEsb0Iamuami9spoB09HdD7GQv33+SY9STPApGKA
qAFTu9LwQLO5U0DRSleqAPzfSmhgf2PTTJQij337EOlddU9lSc83ql6BVybQzTA8KqGW7syq7MiG
ZZp8SGyrFz26z24wfNkccSGZMwNb+cYPY+jKoSRaAZI6fStN1qaK/zpqnE0YaMJCs8YK+rMz8nQ0
ceWjVTbcU9Vy1a4RXFlnzm42AUoAA9miOf7lIhmZjdSeUIJ2qzzfqTR0pOFYxyp0Gf6e7gDXogKl
WMDS8Pg9m68yyVLoFoMlNYHkHASoSvugl/eh6KpYGxHSOWA5QNwENAJ3VaDnVmuAxcC65PKVIv+S
Kd01gwyxO10S3EqrRxLRNgIo4JtnnMWp91bRKa5FZjqjYW+C/nnQJ0eOdkqWunl5K5XPBrti+iHv
niND8NxbO4pLy1z82xVqHUd1VuIVdm3Sa6XYq4rk6uTGjJ6VSXAjnseI2CUzfQOeFwTNj7wYc6JF
YT7KJejAASDQSvVh7J7srvLDsNxUSeu0pL+W5fRoSdahUYIfly//tbGCT8RWoZkIbPL3KizuSBDn
6YwORemibvwy6pGjlmRjJ5Yb1fIbNutVG2qCY7E+YgunTzWAVIFY7unKSsNIoiDEiIdUfxpU+SCN
ijcoLUp5Rng0lN4ZU/sgV8TVg89c+4fmWrg9zDXQGihTmvyFQoJIMbsWp6VsjlbltM3e6tHciyZ2
JJIs27fsrR1sMgKpAOheoJdFtORzqMg7XkDAZxQ4XsUq//qu7ThomAzH0Cd7JQdhmY42VOkrgm8w
pF027rXgeujdv19pqLEQNCABco1o73TWIRIPlsn5gkHDX3JM2zqHnFtbXSO38Tix+MZMAlA+260A
H7PmMmx0DkAzGfjLMyEJhdRFFoPnydUosgAM8mHGeBsPvSMroaACcBaMITqYSVgAPdChMsuToQSV
VstmiVbaTv9lN2yL9kWvLRvHbuu9iSL45fk8D9ZncyhIQZYPRlHvPp1QyI0yls7dCQh9HgdQ2Flq
7pZy6isWRcf7XWfLbseCTaiIlGlW5vTEMreUUmkktJdguQnu+iBx26JGtB5u0CIiOqvq+VaFKVxe
GtgDZiHa00FKI5jK7Bz+oZ3IQYsTBzf/MZJCj1S1n+YaOhKiTWk9TEZ0NfXGtpFFZGGrg52h3XOj
xtyuffoFxQSquajAYCfpvdWvGwk9Se0DBC7+/nwAOW4gwwcwDqTSuJEyKw8anEmEuQo71Fbnw1UD
dqf8kop2J+XDHo+JrWALre5YQBfxpkVboMxnlrTKNAtLgs003uvlLtYPSrits50mQwtlF01ebr7q
0rGwN2ryLOHZ2/Y73bxlohTXyi0AUmCQ2sMhz+2+XIjNiD1E0ojvSCCdlm418mTq11YduGl0ZWf6
5vKwV1f0jzU+K9INI40TCv9flJ3byq+0ibxhQL+PyOWtTa9qIcD7Js5CSut06wTopOsZm0CBIoPW
T4rdxGYPhVJdRSR9GOz6/vK41kIWPAVBeIF8Hbrfeb/eyIMcQ6C+BBZwhLRq5VTNBiRGjlZdF7kL
Dc0gfgiKl9iKXUA4LhvXVg7q0vZ8kBcXedr1ilxDuw2dwKE7BclRiUSshSsPMVQP0FhuoIagAfJ6
aqJrqiqyAgsEzECiWwlzdXlEFBjvL49khfwCxAS4nGeGJMgf8tVJnWl6B5opuLfaLrdxGGkg4s/R
82mFttfpQ7ZFMxhY5AwYB5itGQFVjcIRgWGoP0u4bPZdmY8CT7iyl2YmE/wPWDq8PeeGgKbW8tHE
Y6lMG2a4eAQFRytKwcRpqxlie7Mm6ZUuBYmIS2U+e1ywgIoDQjQQecmGzNcEjDg1WIn0ApS3fLW+
6Q3qqZMBYGLlZtZH3oC+X7QAK07/xCS30DEr7L4bYNK0Bo9Wz3Ytu/KQ+5qU3qE5Ak0PkL9FZDM4
mSpvM9t2+0AVlHXOu8RwverzP2WWvAW0/HS35SOCtIThMNUkdroMyTBoaFP9syPtlSbnbpDiwtM+
7NhA7qjeagxCbUqxi/O72jJ2qd46AbhdEyO+CixjG6mSM1TCBO/aqdOhdqIRPPGQIuF2RdewJBxt
nLqisxDNHVj6lgQOKl1BEz4nWrXX4jelAfQdzM8quiWTpAYhs6jle+1g4jjOzbTI1Oj81YUDgBb5
CYFPTKTWjTVl2NV6XrikqQVPo3VLeGdawDvjDcjtDAVw2IzNKYNEU3eWEu2aLvONzBRcjGs3hInW
5xn4Dm4p3gMMMpHAqJtXrhUhM9hAQvQzLsuNJmJ7W/XYABAh+Ym2clCicJusGGM9aRNauSUNAtWP
Yjnf6HLdInCTgBGzRvNVYYqyy9GJeWzMRjlaRq1caUUF1UGQ7wlukJVx46mroJ8A9Uz8NzuhhRPH
W6yrkwlEXVk8vsUZanJSfd1K8t5qRA1zq+Ermthw3yOnN1N8nNoqpQpYqwCFiaZ2uvgYlJ9M+lJb
39TedHWLdCaKw5cd+3lhaU7fLUzOw18ML04Y2I5TmIQMlle/IiHy8BPcjHjbOuwKraDO3SH6DX4P
1/RygTtZmdkT09zMjlFVN3bSVW5S/KAy0PMZdG1ue9IKXgUr18SJnTnSWgwxyAO5bBjsSGoGCiHJ
Te3BlYZmD/Fwh0iRYErXArfljHKBW0/QNxH3mNGsfZvqwZmqxz5+kCWvDIAcEjWmoa8Bn89dRshR
IMhBMz0UzfhbcEryxCwIQjdk1kwGBsFhqLcNRSHNh2cwDnWrUuKHtmlvxrytX+SqVu8k3R7JoTVz
oL37Shk2RkrQmMOQfws32jSO9+pYAupKJkKyOzhZugWCWjN3cZAOH6kylMDAjiHxoymEtw+tML1q
qN32nlpHGogtjK6M/EGX6kMmo0ISz6eTFGoguTmTlU+7lZud2vTp6Mm5LcVeFyWF6TZDYN3oEk10
R1Gs6o6EmvxEVSV70+XcksG0ZU14PIL9Wna1WAlUJyrbZM/ynuA5NNqpp5hRjW+w2E1nBkSHApUU
fih1XHlIptePhBJAk1EC7H2WtPI7ap1waZocG1BTy0H+ttEjqh7Cvhxyp63mCjMIyPUItO5Svq/g
XiBwqmSaBxSdvLOpCgBwmzF1Qu/4gAJNMhQUHlgeu0OfRjbkHcLE+iwVNKOMzLS/0rBS9jmxY5Cv
yaNnZ2DZPkCvBNwc7dhh3kpMshM2CdjgqMkYiBFaI3CZrOW/aTWyawM8lY2rpEnANnHAItBv14n+
ldtB+6HE7Wi50MyofwEpWTyWcTkFjk7B99takv2V6ZjeB7M0w5taGdA+Go5ZSZwexDFaO1G/q9HQ
ijsNV2eP3veuCNTBjap2n7csOUx9X+yRP1X3cjtYH3SowMmiFlFebuoGO0yqB1IcdH0k+XWhl5av
QqMy9OqMFVek7IJrWa2kejcWihlCVViWQLqOvQuNaLV8U+sxANGYDfyuW48ThQCfqdvlfTUk0ZVR
j0RzUYWjk1MMlKKy35UNxPHSKNwkUd/cSPqkPGr1EINjkXYT2MhJqSp3ld4Vlc96hYWoQdbkOPRq
4xO8rX529ggKHcModNRiVSMXvFxXbzHkysGbO3vzM56Sum6xe/IKt7I8MzNtI3qt9j/S+IagIJTs
SPlVT95IjgYY6y679DXTeCwjdWjZuEbBX3Xq78qutWmTIgBqY/3YdN2NHn6mYL3U02qrwhwE6Dal
2l9R9PY2AJq0mqiLZsUFglgH3QaAfoIhiC9PFZI85RFCZJdJiqO6W/3Ieg2nUnajuNhcHu6KdydA
SxoIsVRwXPOZS0XK9EZpJWQumWMYN1VuuHGzG4OngIhUcdeGhZzZzBA7F2f5ZFY19nCbFGz/QaMh
S0q18qDIA8scYJ3AgA8vwrwpVFJoWzGj7wXrunJdngQi3DWWSQC5SgYCETrQnUV1CIFjidGSG5K7
y1O6Mk4Qdms2MvxozIZ8yukGIsNo19YIBqukK/wAPEyeKpWP0tD7iZn7FnrbhkHU5LgStZ/Y5OIQ
E4SNUZfAZsZ6p6gJAvbHy6NaiZNBWYaIHM8ClNV5xFhQ2bHWjA1KPzr4ewqg1Yca8ggCfrTVuftj
hX8aFlHCuqlnoO5nNi5V6SVOIXhSGK5kZhsz1LZdKG3/emBoGAduEYcN3P38crVkbGLo8OEaA59D
IzMEGsE+i5W/D9fAJwW+UihUI3vDpx1bVCCsKoL4RqK0fq3vQDiGiOoJzWqXh7P2ykSfGp5NOGII
3HjvMYKXmFRhXEEWqe/f6JCayMGPkItz2y6D8gJaqPAVUZKOk2P0WmA4I4KQ96BjHYXuY5gei1Ax
r6Kms3dRaER+EFThVRT3kq9oWYdcZWOkgZe2fXk3ZIZFHbXu0JRyeRhrOYLFduMTT2ULruUpBVsA
4HxGdmcFX+qwjyH2mt1F+aPR/b5sbtU7LPbdHCUugtykjVW0eMFcFFxbww6A5al+0UTNp6undGGF
nFqJdaS4yby7axPptD5BlieNRH3Ia88g7DPkVlRAOOCA5q9YjMXu4kKXWQ29SQPp1WgCGAXEM9N7
RApHid77fBZrzTVFELivOIgTs5zbS5siV+sEZpne+1UOGPO4zZjAyNoMyhDYgIC3DIIv/onXZqQZ
Oxmv2w6FvZBEt2ko6hESmeBcqVLWuCtDmMjzFGcjiO7VViQptzJXcDQKqugga5pLdqdLVEN1pssa
oNUtuXooGukjDLJNHlSCx/faIVqa4XY1i7PaaC2YmRGr2W3Z5oggrsEKldk+6V5zQ+BKV4IJDAtD
AknqTJHDbYGcotyS60jjtSN0osr2NpkVjAbtAAlUsOeJZMpWzVn4TfCLznAEzlwyGdRgCl6mAcpT
ypT5OjU8tQLpEomuK1HP8drVBNDOf9a4fUG7YZCSEdZq6XbqG0dVP5v0utU3EUraEIG67JDWlk4x
gBECJME2zxiltDRWp6ifYM34rZm+bW6H/itLnuw+8Cj7HACtv2xwbTJ1lKSQDEdPNXL6p1tSIwMK
jWFKwQ4z+HoZgCch0waHpYk7RuboMoP9vGxx7RAAq2MDCASEB+HJofJoKO3SrFC0LkNHGYzbMNS3
UL6K/mFkePjMHH0IXQyejdkaRzPGWStATuJ30xUkasE26kc1nj0iZNnaJC4y23yQRAKkfqcMQaZZ
v5Wy7JTx82igYyTYjaIC13nqacY0L6Bz3ILVhUW1bAJQb7qVIzd8KJC/Q1R2Y/vTTezG+/DJ3kKH
G2IIHu7wm3Ivalc6c5TcB3DeJQuppIYKPiAH/9vce9GJ2ndXqFBOx8hdmKYk59KQAB44bJSN/hg9
RZHXedoB6ZQrmjhT5JoHN/wBXIcD6unN5f15tpjf44Ozx7NoLg9xE5znIK5HVA0UafJFJsmZegcZ
Ebt41kWcsCJL3EyC/2KImhnWyWRwH0PuzHZJfN91IEj58S9jwpGbAQVzq9zpKW9BUkdaYwAeDxRE
ZntTU7eznsBS2eFUXDZ1drwxfd8clSZBcg3i4qemDKibxSSf96fe+SlUYClDS5v6ctnK+XOdM8O5
5TiSklKtYUbaBdflB2rpw4OGQv6x93SIvTlAvFy2OP/gScLw2yB4BfFu/qaKPR1XiYo6RJtGNJyZ
Hwn5GlDVo8FtYwhQJmt7Yg7gv9miAYTjdh9rWB/WEVYqlI4s3MvqTdZfqeU9MwRPru8Kx9mAFpa4
3Sfnesmidt4TSrWdavsqacGWRQqCOmDFPKWDEH1JtyrSg0PTfFb62z9MKEYogyIaoDieb4bV1jS1
9jyhNRRFJM0Lqd8CcBx+XbazuiEXduYLfhEXW5KUgQJIxoxaV4l+pSUbSYSP/Ka8PJ/LP2Phzleu
jAgNEIq48r1xr+yjzlHvm99oSWx3xmNretJzEDqTG3towfMvD+8sYpj35Z/hEQ7Nnw5Ghdw5pnHo
XpGBcOiwSwYU7cnXCLoOdbyRye6yxdWTAF53YAMgPqjwW9S0RrVXAkxoDuoP6PAaylc0eqEqShyt
HgVwD1igukPVlAc95GPM1ARFcjeFiFfyUcVPUu831a0uau5eHdDcSTgnxJB5485cxsIG0hcqTkIm
7Y36y7K7X3YGaENNBadbZIk7c3UWxGNQw1Kv3tsWyoCvpDFd0FgKNsXqDaothsTdoGhXBIYtUDAk
al1PXekQo3a7InlG9f+hTtkxliFjFD2pFdS2ojvkFBwpnvze+qEhtzkCEjUZsWvSZK910f4f9s/i
2+YAY3EgWYZ4XaP4NoV6je1X2rUcof/q4bKVs7h9PhcGcBPom0A1mW/bDqndq0oHGjdreM/YV9e5
ECyX6WGs3P7zsqlVZoelLW5Zoxz3IBrA0KfkF2/oNbsFqyIUT7yw9RCOQdzEBbat/CnS/1iLxLQZ
6wrSOEDfTW6RtTFReiudD8hwWyq3TStq01jdrgsD3EqlRKrGlMIANTIvIcex9TJKNp0IJb/qohd2
5r8vdoSpll1uMNjR4/c4nxwdXXnpz8uLtOpNFjbmsS5sSJqEus1sY2S5k6RvQxW6KXTZE/ZgiRh9
VucNnOfaNwoNxFintvqwQ7PcCFs1JKphCn0IMpowBKnF1R2+sMJdbFHd9GBEgOePcGSNxG+B1yh9
JiNrttGsp8vTt3rNLIxxNxxUbHuizBoasXwdgL6zAYPoxlaeohBl9x2Nf1w2J5hBHllX4Amg6uN3
cPDGyu2AVk3yFMreZSvr9zbC4lkUBEhi/uGmVSOZIjLf2/mVueneZD905ATyus54VzjNnb41Hpn3
AW1eQTS5uuP/GOYT3kpVpqwoYbiRrO2kpB412uugNQWudtVDLMxwN5segx4jSGAmglJdHEEW91Uw
g2cI8NnNLixwro8Skqcag4VJ/dKAEKT1rrdfNO1Bpa8RKP0k5WCVottt9SwvjHKOb4g62dBSGNUr
3GZoV0Y07qVx5ODx4xHzk0GtKyoemIEXiP1jiCNXYq+lXDx10PWgCcBUWv98eSJWN+zikzhXKUGN
WkfzUeaiHIPeuceqAq/uQy2qWqwtKFjXQdAIyNIs+3TqWfKqzbsS/VVuq3rxCOXDaRLszNWX1cLE
2dHT49Aq0Q3ohjepP0CE0wk28fO0ZZv0E5lyJIYuz5zQILdJjTIEMGHmZkyO7KvYB4cOvRoOykzT
l+yowNZsLhtcW6rlALkta4epUeexhTnsXgfZG8x7xXzT/7rwiIOxtMLt0SDBdiAUoxqz3wP0qcLU
aYf31v66PJg1RwJSmhllqkMCg/dgRl82CeitEIyjfxgPDl3bTH8vvDeP5Y8R3ltZaiVHQIcgDkDx
Ow8fberZyb1VO01y1ZSJV0Fc7fKw1u62pUVuT8hqaEM+BBYNutFCl6k446ozFsf+My1EXDKCOTS5
DWHZrAO+Gsak8ill3tA9E8F1tkZiiBQravtYJLTJ8HCjtpW0emTAxeh182RComA3jOrGpNObXSqp
k/ZWvx2aevTisFMPlpG99SVFF3ri2/EvHf1Uet5vyDC1ghhizZOCPwN5LkOGG+frbbbKtEgukYKy
OgkttzEEmgJ0YHwkhtOKxK3Xpnlpi5vmOixlKQfM0q1o74AozZ3qX5qIkG/tcC+NcMcOIVFojQxG
CgjF9qHilVl3k0upM/0T99S3su6sXQJo7zzeRUSJsM+KmnDA1ad4+pA6UfFx+RCsLs4s3ft/Buax
LgzICWDiZg4DoQLiS7BeExY7QfdSar5SiBCkazcL9MJMyzKB0QAQ5dQYs7RRjgdtZgp6r/pftN9c
Hsza6i9/nxsMjZhmhgHBixTp25A0XmQ+tYMIQbQ2ZUsr898XU1agBTPIQZLvlsm+07eB7GtKB3g5
XriP/zAeKCoB7YTbGOwRp5ayPi8ta6brBmjfpc2GoEFKNQV+Y3VR/hj5rvkuh6MHndrIMBKAVt0y
twB7CBzt2nkxQW9KVGxlULNwwyhq0MkOCa4pQncTxKILYMUekn+haVtYOZfz1VExUDEONdzkytcA
pbXLq3HeaoErCtg26FjgzQ9iaW4cjOnwLyMsGOCXKLQ9cgsGQ3veFiqcVrCv6lec0LTdAiIBmkBP
xyvz8hesT+R/H2BweTgopyc1MG1zOjVya8sJjOeyeRtELQ2rx+jPOPkm21COlVJpME5FQecC7obs
0RaFLquHCJUz9FgCT4lux9OtHYykUbsECZpCfdHrRz3ey8W+bPxElLtcu+UBVPjPEO8T1HIMkwjp
MGQR1f66759Haae1b3W+00SEHep8vfA52qUxzjVopc1qQE8R9jFn2piPthM7Y+KgTnd3dF5fJ9fx
j75vODsiqvOsnuLFMLmHel8mRTaasJwA6zqhAbCKBdf4KsHpcnDc9k/yPrHDASbILcu95kFypRvJ
pdvw2vSpR/eV6zuDHz72XvGsHUNP9J5dfUkvPoDf/oVVG9EkYc9Y78pjeFO+QI6xdZLH39J7c6fc
H5iHfpFrUQe0YAPxp6FUB4DTLFhV8wiK0CAuOVrsSFtPS98z428BfnAx1iy8htZCdBnw/ZtTaGsZ
m53xkJabWFVd9j/SvmtHchzb9osESKLsq0z4yMhIW1UvQmUZeYny5uvPUuKeTgVDV0T3GUz3DFBA
rdgUubm5zVq6um/GcldJJrSmeqsuKYfBatGtGQTUfVBRltAxwoQzpPbC0EsQmuah7RHRAjEKwRRR
LVy8Yq8aVuj9QaxsRcVDLJ/02Km5k51LD/z5L5g29+wKEoyylcIWv8DPH+QenZog8djQ5Bz45xL7
K3ry8OBdd6X3rUzTSivQg0NdQ576IG4xwbhX12Fj4lEDivNOQaX5MaSPQnkMNIh/a5DZyWMLcjIc
2OmvZT0EyAtwe0B9A40sjIdIDCNLMw2wJohaftN4rFBKMbtj06OLPasm4lxwjW4LSFlAqz0ieJDI
HR6pxijil4G7qW26/0IKOBUDMa8HWQY0Jt8uRRNBFryUfUyJlU8VeU/Q4xliImLd8qW7aw4yuc7Z
N5azcahTL0htRXCN4KAZF4RLIOBYR1lyg3MU5qsmw6i3gghT8M6w9ALNqjz+UZ4dzF71RCkVMwkI
anztUmQNgQG18YDXoLB0QZrQ1kXz9HQw2WAjNsS8oGWU2oJfvkW6+VhKwgPR+qOhNdtKrnfrC7d0
50NnGxl+KCRCT4Jx7gXSrpk5TtopYm5l9bfC+EvRBrEOsvh1vkDYULNHCVHpTEiMGFVjlwomRXih
5oJE0zTXh05wtNui6Ms+NnO/8/zMgx1BaBWplf4VLuGxP9JNdsTjJjzpboerYnS1h+Cg7tfNWyx3
YxYN3f3oCELrHbOIEhIlRlFhb+SB3ZoWLqhTfC6653gfO9EWPQrreItb5Ovcsok6NYbUpV+HKdI/
UO3xfzXQPIzN3xl95OoHLG6PLyg2YScpg9GFISzr/cQJo/EU9oEj9x2ndrm4Qb42PXvDx2kYqaMH
i1q12fZSfx1x/a0v2qIlmOIDm9PUQc/qEGmSp7Z+CoiK/iJQWIoDt/O/r2MsNVCh/RIt0qhdQ2dX
Z7x8qiUlWkkhL9rZ48Y8KbZ/8P+Uu+Ddv9IPJB7JE6hU5N8QEJxq9mhTy/bx+/pvWLDz5icwAWGj
Vb5aCDS1xWrwFDSbiuIjhJYj3VEykIy462hLCVZDUtHMhNeJPHUH37p3kSQeaRVYrGBwKBJweakn
D81bjY4GHZuOsWU0EyHRIynrDea7OEdhIUi7gWduF7GVo1iLS3xVZSOgNAVR3hYzXIVNxIsocCLh
pdjhBo25ZSrIMcRxCDRCnmqkG0a03YNDXQ/eGoKLHQm4k1f/h6vtBpS5eNTBVBQMDKLPll6o3yHI
5z0vl54vNxDTnprd0T4x8lRIYJcgXD11UxkuCXxHEc+q9y2eRgUFq/xNUgGjXZj+fcdExcS3i6yO
rYN6NDx22i/R/z4UL0bLI+1aXnNNleFVpz3GUrtCSSQtwh6/raFvKfRe25/quOmosU3LF2V0sPnA
PM0VF1k4RQYmi1EJmYrrd6xkJFTzJDCw6MNB/KN8L8A6vSsc1Y5fwON3lPaF24kgluUcpgXHjme8
iGwD2nPhDpnvEERCnQkyzm6/GVz5p/dDdkdoAWGez/+TPWib9GJiZ++jK+/6XDRXBXkvmNiQ7Gdv
T3FQvEKC2ojt9VZE3jQQR9SbdeMWbcPTBrzaSGnqrPRdIoikxzQsTqpMtnr/C5O/g1/Zfbbto+06
1EKoNvGz/APFnJgCTJmGlgMqkJxEAJ3yzsy2g84xaOHOukFhPhYk56apPqAY8baXL5XB401Y/Cgz
MyYzZ6eyi9RcpiEAItnW/New3QS8oYGlyGVij0M5ZOr7vRNRCIJSKMMWxP16KLpQorAMyU3jDwzj
hNKJQGAj3oCYCqI6PNrrpXN9g8zcUwJJoCJMJsmA4tqgLJ6ileUDycERdQrqlCjS8dJbi5CYIJDB
pjY1ibNvMMmMvIS0KJQgS5NULznEpsBUGYM9bmisCBRjwoD3g7O+GRe+4jS28A8oa6doREM8MeJm
42OuPYrSX63/tQ6xcAneQDDhZ+n5Iyl6QPiGLQ5WqVva3gddwGBwbtvPvknmFTtHYot1VVurYNAB
EqHdi9oUh8ib+OAicAwPWEji1ORvmXzTpGe8JgrtlPYBiL7Qd2NYYhxZhhrsw1bD1Hvp+Nqr7Img
K/0VQiIKTZRWq2aPfadeIii8rS/QgkO4+dlskBK2gaRW+Nkt8hlyvumkNxP9kpm7DrP4HaBIi55C
EyQ0bG7TVwKPYp4RaXttVN5C00x/+NiGED9WSIBniArPXmcaSNZETKL/+0eWCi0xnGFpGmWC82Pc
RVKkEFQL0bGVPOfiMUs41t1vZPz9Oi4nQKjgHJ3+fOaO0hb0ol6Ev79CoRZDt5ijjjem+G19DRe6
CwGDxl1kSlCnA9YtzNTwoeYqlGOS8AkUI128Ecm29x3N98HtfFFHp2gt3TzVdvGiKlZt27Kl0s3I
c41L5mqYM0fYMakAsJ2odUClaJBhbpH/yWPtVA/CdmhkXqf0/bUIviL8B5O9GgpjbJaxTjKpSOoC
SbjBUl/EbeuIb+nBO+lntbRrSz+nvzM7PSYHngbdJ+vO7VkGMnhURLBQYLyK7ZEeRbERqAgH3Gna
GFgCntd/JbQbHjH+P3EWJzV6+euJwTjMSXXN+wSSQWMqlcSRwjB/BPEDYmw/qULIMJmV5hDwG7ld
VbbokNeaNLPA7uFjmL2IgxdPb6qXbszx7YgYGzvZi3j38bQx7uxBrzcoxZDPxFjO7cYpmjTRlKhE
pV3xkZuheuMmZiLZumAYViGnp6FMEKInUKZBnMVrZ7yfkUXghpEgvIVQ8Lofg5C8BH3mJQ5/tJd/
eD+JRU8CctSmrezBSP6tRYp6hwn0zDqkF+UBDC6ccOTex93gf15+s+MpSKBqE03g58lfXzt64bb1
3tWUE1otnoovKz/jiRkKCAvaSJ0kMYzqKQa3RwlNTul13QUsHQnM6aLDFuQ+E+P67YdsKjDlU9JO
Q0D0UW7Uc2CSreaNuKJzyxA8zgV9H8ehXxgD1GDOBtHoHWcZiDIEX2pgEsafICQuW3LAqbUvIiDf
jChLm64F1nN6uSzLwRQC6NrGVDBtV3LEDBaXbIbAhIpDgQ4TsG2jfJBfWw8ck89idDRjELPwZvbv
7zisljnpsCLbBcYXxj03XltCCqvDNh8fMA4gFjsvcLPOUkGGy+00n97T7JGegd1RuSOyKbNpHKws
nFQ+d8M2LVwD3KH+TlM2PXHy6pKGmK7fGSDxWN+FC0K7N5aaTNDgCek00wjw4qG6ir0lvJr24Hbb
38lZdc7gdgscffsu7Sx/Ty0JAy1gbLIyGwxnborOXM7PWTp486WQbw8FxpbR8TWtu1icSlQ0zZ0f
cDzIkgOdQzDZDRqYnidN039N4jT9XkbL4+h0NSqLG8GwKy7B7+KxACMLQb4Km4lNHfVZHCsZukht
n26q+lEcv8nRzqguA0bw6j8G2SfKDyqA5ziL7Vz8Wan/OumIQ48Eu6qjwx0PAuZYeoXmRw2BvSmE
UaEEYrUyx1suWYjufDQAgzkak0gMgjhSGsva1CJLoA2TnkF8ydkWC/k3GIEyFvjQIK5A2PNYFoJY
eDEGZqA44GnHdHiSzJ0Qn/3azTXHN2OrqNDohv9yyodLjmAGzJ7NWG/9um0BjGE1U9hK5COqH6Th
taIH6d/38N8YyR7FaIAropORFHTf1fCTjvJBCEJn/cTzLGKPWJEl2jANcwWEWNp4SbIjXiKe9iHW
OzQ6c9CWDvR8/ZjT1qBtr4rFySb0Xuk/qvoQdd/XDVq6FSA8I046dhhmZ18ElKplWdTQETE8BS0r
ZfgnbMHw2OXj4Aa9P7oQmOWxLC4t4pSmQ4EVXe8gQLz1U70QkNCcGvHS+LmuQUtvC+JrLlmDCfqt
l3X7FpYQRP5ghQc5PJgdWYpypWmlXNCAVZtI/MqK9kJrbdwkejhwjtmCa5zIT1BhxMNuIuK5tcoX
PTx8oQdph1loSUP44OePGGZ6ECR6oOQhEMnGUBEer9t39/2QVkdhzkA8iTEcsJveoubEk9FUnuH8
ov8rb74Xn2wy4T5r/APy3vt1tLsvx6BNfz4L7RAeRVpTAK0t9oL0GpUHtQuuY9mBdiGyiBFynCPP
OmZNs3Rso7AEXlL1m1Qnj1SroFiUuGEdPfQ5uAfX7bsLkG/tY/vEjFpOdD0EVVsr1chzvpTV30L/
3fNmw+5TagwOEzfUhhdGNANObco/qjgKrDLKhCOUxk9ymkJlue81EFf3UE6A5IVby+1foaYxx73w
rGWcWRUagyRN1pbCRjYcipbYBqM8PZf8fPEzQhIB+xPpUJAr324baCaksjngMwb0nBabPr7CVVta
+R7wKvCLG3SGpNwidYJuZmMPJFN+QyEJFIkZuq3A6t7EhuV3vDO/uIIgPEU6HDwgSEfcwilCl9Qh
WO3sugBSKDkpDng9ymcNU9P/YWvOoKafMjt6URlTkRJAUV16NsBKF6nIRHbavlR5Apd3PnPanTMo
xqdUkZBlco1FVHzzClpZ9L43H4pRcSxaPgUzHMabRAqq8V1AKwygumR0MvCIyQF1MuyNInnBLHYK
uS5MZPNCBd5XY7xKrAd9k5dYyoIgOSSbuZWUDXrgc6fLVJ5LuR/O/FxNMNNIkCWZFvb2wxVpTieq
yAoSPP2fhEo2GqYuRu/v6zT85mUpso1V8zcCKUhsZqfAENEvUjlR4TkoFb8rmJtd30gT3s2D6fb3
sHX0VtAz2jWfqw5iJrG0DaW1kkAD+8pG0Bxw9NCq+w+eBrcvagfIu+DaZ3aUkCcq6bMSX1rMIViR
6a6SD85ISwdXCuede5/Ch4FzMGZbJa2QGyDdrjCSciTtEUyOSnjqUifXX0F6mpjvAYoH62t6n5Fk
MJmPnBZjjZFBYCrSIQsvaY2FpE4dPccIExtHyc++uIsjtwJ5XX0ejJ3UHYL6SQ8RXx1Dn9fxuXSC
Z0vASuwJAoRhSIKfU6n+jy6ufmtyvKW9929fR59WoxMRrduTBDbj/iSE2iTMARPpaMnQsu/I913X
V3bp6kA+5B8Ixu2ZPtE8TN9gYaPKqpRjhct/FB6l+M0TOSkYHhSzSTWznrRccTBKCAYG6bUSig3V
QUWf4WHLWbnlD/RlFrNH6yrw0gT9QDYcERjhHV9AM5/CkXFZBpnIzJFuRMqfMSjuTSOsBJy6uEIv
SxSA1t87UpJxPtHSnQsmw39gGFvKMMm9Yqwqe8zOffmiCdW3KnvIk3qjISUSgDCcE6UtXhxzROa0
jRA0E6MaiE0Gqtt8Z/6BceRhoNYhFOwRrFHtvycshVOZRNQ+SZtBWXrrxWvEoXXTYy1Fvz5FaNcS
9M5N6geMINeEww1/33U7nasZGBPF0MTPfDWEfSElbg/C3iBFMzUtbY9uWl+ypBZjJW+5ecW0K4SA
G8lKeJwUy2s8+w3M2fazMUG2GAZrmmV6P3rlCWSLaQ3pAtxgEODoSstQLpX+ff28c3GZAw8hl0BH
gQCnEH1BqDyI7TUHq4i8oWAQFpLUohoonxRHQmSwDr14XGYWM8clS1shygYgU1QFxPYwav225b1o
pk/H3r4oFcFZInBCjpSJ/IUO6gKC31S2PIoOGBPwaqqbb+uGfMbTayBMYN+ZZa2bfQ3GafMCRrVa
fjfNbSmcUuUBLI128W7K26p+MPJftclZxEVnMLOPOSdCEStCawKaJDUoGUVrBG1KgJEG0Ahr5o4K
Oq+qshTPQIRMhaQ4iqrgOr09mSrNItEfgSjQl6E916alhxuPdlZCCqupd/zx77uW9Ol4fiGyt2tr
yEk1ZEBs9W0tu1r+OMQjBuNyJwsmBiPMpVLUxnjTKov7k0C7Ca2baDxiR20x3hNnao+SXy6cqv4a
e+fM36/vnMXd+QXB1u79JivyaZTJLiCRBKUGp0t4hH8cK9g2olTyOiGZrFBRzi/j3PGHYxD8Wbdj
OQZUIFk0SV1Bh43ZhqIvJaFgACWJg+/4/1upNHalTt3IG8FzTradds1QX0Lgy+NEXjwBM2jGeY9l
mo5oYAC09Eb7wDKT1urCZt9430n3oyp4uoeL+3+GNy347GFYoG0h6tppQc1xS8Z+C3Z7l+aylZrt
xS+0rThxLyQ83lWemYyfTvu2J+IEK5vCm+B9tEkRgAFz2OTkh9SmbidT3ntxceug0P45144WXeaj
NoGSmvWIlQ3lYSPLPTQk6TkEe5hhjA+R9BpKw66HNp+lDyFFnI1mWlN4F2PTMipvm2u8kdLF0zIR
bkvojAJrO+N5FPSsN5FqlPZY9NtEbp76gHAO5GJM+g+EJjJTfS3Fg3QMAEEaq1Mf8HiJ4q2hYBSb
E5AuvYkR3Pw/W/B2uN1FQqPqqdnrCDEgXBCixa9B9QojKLuMW7Jb/oxfUMzthKn6PBSnz9jWu1a7
Gt17LfEuhf+PA/gCYfZKptWjONSwR099ZPOgl4Am3Dg5hB6KVZmL4XLZx/O34o2ycIGZ44/5goZC
FhPWiTU4rNEOQUAxtWsxvQNZkUHbkeKh0DkhOG9JGR8AMcrYiASAZrKjo3Hd87d61XLC7kUQTGaD
Txz/oEXzdouQLEl7Y/puGZoz+pBulUFzQdljr/vuxS0/g2EcSyFrgxFpgEGa3WroR4lZKz9H11q0
8byeA7a47WdgTMwnmbWelwPAiiGzhuSBtoo9+D+rnFfK4QFN7nTmpTVfKvFGAlCYPUbdVoJRugH5
cU7FjfeNGJekUlwAcYSNIOrIf/jpcyAOm7Sonte/0TIMGq0xOouxMJbcrKB5kFYj3JKEYcCODMhj
P/dg2/m/oTCOIotp6aP0Udp9re4kM3iB3OE2ykzOM3nxJsMI+v8aw7iKJtQTvzFM+Fi8+8dgq3iZ
q4a7Gs/JwndG3uuVt3aMg4AYZKc0OeAw0BjINpVbKwp5rQA8m5izimRNYGo9li5F15pTymYQQe8i
/RkmxujW6LOsMAHVEZckY/Oy/tUWz69G0JaDzjzwEzD2lUWV1JrpAVo9IjrupdIhtUMCW5T+SyoT
7Af/QDFWVgmGTjIKKIk0J+IPEFN76lOU38TG/2jLZE9QwOwoBIfWTVz8hDNcxkUpYty3USwg9sHu
aMBShNZrv+84iczFbzhDYXwTiUG6TSbrDMWpkycKdhQJhXRQf9PSdLmtHYseagbHeKixaRtTSmFU
4rstEsEt3ZLqh6I1nMXj4TAuSkq61ihEmCUXtdVPUWMRIvkcPzd5xIsYp6jl7iH8j00SGz5BEjb1
QgNYZvAadvsAPJQxxBYae+w8K4mfR/NvL77kCm9i8n4cfXoizoCZcKoXtEQbUwCHlYGm9b+VZ/ob
o4fsFFxZEQvblD637WCZreF0CFZpC/YOqHrJBJzWrf4EovXHIRV5lZ31LYXC+O0tlNW6gro7vnEd
vdbtUTWudR4couRN037EJU8Zb/qS96uPeXXoGmF+lB1YJ9JAaZnACZWJaEEZpM17KySVlUn7Pvs5
JGgRDv7Lff45kgOVA8zwMR6hjz1ZDks4VzzQMXPlVvX3ivwpeCzJyxmWGQ7jAYRmiKLKg2k6uA2y
fRqCSO9XUu7S9jpIW0ne9/R32bwWyRVjM86691lOkeEtIKJwiqQH27OhNEJQdx02V1m7ankcGxcE
2xbJH2h+MGsn0q2mKC0fhCPrwJPnvv+e/+B+TjbOYpjMH4uhjWH0KMlWgo5+r+cd2MXUypdp7ATm
0Ap1kkiAMDI038MKqu80RLKYhowhmjQ0G23YJP6/7ov/PK5fljHnQs8ydDm32DaqoOPTNW9jmWzX
F2/5zviCYKIMVQubSoQIgG3m5xKSomH+ouP6XwdZPnFfIMzdC4ZhQxjAwmyjxmcpwr6aeApkYlX4
YFr/VMeHUditQ/I2BXPikk5Ms0YGZOahh1lPDl6e/ViHWL4xvqxiDptGPDRlGAhqC7QSZ+U58/Jt
o51DsFH9F6CveIL5RhCz6jyFwD0qOibB08i35cxw2z6zckN5X8dadMUzD8Lc7opRyLU2bTkQHyUa
esjitwoV6MbYND7G0XgTootrOINjbneNVhIUoADnQ5IwfFCoXRiXTOW4psXNMENh7nYIg2oY2QJK
G497VW1+S43MidbXDUHZ8fYKS8TIpFkIiLAonQDRiUCsUnhMis3691k8r8ZUhpFERTFZmRBwcMt1
lGL6UO7zs6CQs5aKb1qpP63DLDvzGQ6zuTFDEjcegV8g3TtKWRJxo3BDJKtWfVcsIRe3AyNeAGZT
Du60l++c+QyX2X/yIFRVM06XCFqqyrY4eCOx8Hh0vKy3srh0A/NnlQW/KGRmaKFbWVOddB2kduu/
Y/Fzzn4Gsy+JN2akq6eIJGkOVKHHCk1dad9bssAbYZ4sWrOY2ZypqdIOr6/SbtLfKjZOGeFxh7bi
7h20rRyvyDHrjhW/ir0Mjbg4buXGD0IbWOZgiwrHMy46kenuAucYSHIM5iMqSq9FeodNWgxbpfqD
Th2KIclQdNT6tRQrzulevF1maMy3Mhs9rvUe30rsfsjlq9YeZfOt8wLMLBwzuhnqhnMGeYDMF4sr
T1Cg0gPzssjyNTsTzhKGL8r8ISWuqrmElw5a9F9fFrINy2oQQKZIDnDoDdAiINMwRvXL+oZfbhWZ
YTBPA69Cu0/WwygxEa9m2JmTnGeL4Va5daSkfyi66CLW1a+SdKOtK+Nr5Y17wfCQPwwvYTmxu5VJ
5OYJ8SCWDnqZbsjBKG5CpJfzS+WFAzOpSU6Ne+okVM64Wk+oxRQiRnZCUNav/C3mvTAcldOdHGEq
s4gPQVtvFRqDUROeKur2fW3ykkD3xANYq0mSTwV5OvprP0PxWdTpUygNN9M3GWxQzGIM1Na/4X/Q
KKY/qJVVu9/Fj9oWn4RTtq1fwRqTXIXTsF1fi6XbYP4jpo0z+xE1AZMHFbAUBagw+07a5IqtEZ3j
DJdQQDz1v8fZnD7IDMXDmCGEjLE1InE8CKgbJVR58Asoe/97a+Y4TJwDsdSIRjoOMrK4O+LlbqFj
9kDhJeGXvRMYjnQR1VmN5Q3CqF2OtjaYo2uvrTZaVeo0NQYzBxfsLaLGm4VfvkoxtA2FHPChoqv9
dvn8Tu+9WMFOSWI70Qcrb04pasCQmeiDc5dBXjGyhBoURirnpCy6jRkwszv80BSSHA0b9qAXWyiu
bjue7NbifTJDYI9ikKoIpbCUvYEQeNxQDVKY+i6H7PT61li8JMEViGkbyOkhgXe7hqAVM/u8w9bI
gie1cEM0XIiIShUX89EcqMXdPoNiVs3r5VbMsgmquCpSZ2mVCHLniHOH8FCYlYM6ONRrplydEJ5M
NAaE6PbkktcuXlRobgaHsU7Q/M+AQMxaKEiFzyOBTNkPTwPkNkRQ+VQXM3GjOLEKwrn57xmdJ7c4
TfQgw6qr0FG6/VA0aeM01gFZZ1Z8Vp+GR+2lepAfvY3oTMJkmPFv9/5fBHXrG2TpUM9w2chGLuMs
kj7fSOPe0F0VjbPRo+wfG8kZIk5Z635g9tZIts4ABd64RSCMu3JrWr6r+5YP/w8B2cf0kEKMzRyt
d9FKXosNxMlrC8qpAue5sXQe5ubKt8uMIjIJNQXbZ+w3TXQcBuSWX4zS0aSf6+u6WDicIzEnT03N
TO58IMnRES65GRqHiEdVRWcJ2ZXapoBGdsGb57vnRGNWmDmEhtH6citghSsrP48I8zEVavU+JHis
4L1+9Z6ONbEw0+L89FyfV90mvM3EnBt5jEOxjeCxQZK38V60x+i9cnQ3dFGF2/r4oNfIMRyIy+/V
p8IRftRgrdhW3yh2N7WrHcImE1Si0X5Hvpcb8SocQ947acm1T4QGEHCUIajCDhpj2muMoXePO6x/
8MIetA28a2vJQc2jLOa7l1laJ+KAyyPzLBXsKkK69biDCosJyzkK853LRA2VcbqiUjh06NPpyRlM
E0rwmzTopUgEaKm4hfg6itvO3KiD6K7vbp6R0/02i2wUVHXRuAh4Kb92AkYN0T6YZrwi62IEMLeS
fQ/VqQA9EOwnpB9KY1NVp7F70wSIyyffquhVzHdqsS/Gp3Xjli7nOSrzLhJoj37vFMYphXCIR/3Y
JX9BRfteDcLvdSTeMjJOv2zFPMvA+m7rw6MqvQ7tc+39/T9BsE+gqEmaTPdhjByPthzKoH0dN2OS
OeswvE/FzmuOhhmoTTctGljZkH1AoNEY+1K+tKrbSb8j6ZhLjqil+3VczgqyIbYf9K0kBoD11W8l
UtitdFXl93WMZa/2z7uJjUNVA9wEKcVXCjs0k7ag4+qEb4bRHUtV/oiM58oId+uIy17qC5E53YMZ
l4niAbEszp6IEDeFxAjn4l/EgJAsBjYxCH3XfZVVRiV1kweRm+AhNzukgkwlb36tW7K4dpJiGgrI
zQyVXTsR3U4Q3phQIKo8CNYAuadkcGSBQKLo4iNx/n/DY1Yu9cchBjkRPEbxVCoXL97Ewykyvqfe
tQcrzzrY4uabGTf9+cwL6mIYxaIGsKGFPLqyL+MKLACc7vFFbzQDYVxt7LcdyvsA8brCBcGVLYYm
cg3GBU0tnG3H+1iMu9X8LJJjEVDgNCUm2nPcevwY+mciH4WaUw1fXLuvNABbTNTraqCJh0BFBwP0
0B0kwwkLHt/AcsA5Q2G2Q6bglY+WUYjnnYNLuRt3qLfv0zOFclVkoYaSW6FD9pktnNONmFrJ2XBl
zve7J92ZQrLZb2B2Sd0oIImJcQTaXxeoH/lv6F/8/e1FVqHoVzitrW51e7SHd8NtbHIYVbveKJzf
8PlgYXOl89/AbCLkgfu08rEODfgqnLSz1af+WG3bXfRR/AquBMSdLgr3krt+QJbD0ZntzI5KMnnQ
qgK4EMkyBAu5lmO9k397vxtioRoubmSr+EBfx4WicV53U179cfHwzPCnHT87oZ6ixLEZAl99Ppug
6Hj3Tl3k4tuLG4iwPTVH70l+AM2M/7FuOA+XudgjraKqluGbg8w8RH5EOY+CyxX35aB8PkFm1ukx
5hF6AuvC8iPyjhCLiKPWGgvO23T6sSub5/Pqn8HIauWRyJwWEaTASaD/IXhDQJbCEsnfMRDxrBGR
o+a1By86o69P98mCMUNVsrEM2gGoDf0teIqTxKCdSUBw96IhRxpWm/UvduePQOU8JUZB/oUOc5Md
9x+pqcWiALL2KK8cyKk2+pbKBec8fFaZbpZyIoyWp1YSVPvxBGEeBxCl9IN0EggEZe3gKmcQK++J
kx1RBMfDaIRHCJzetvLMRu0w2zo/D7bhHtYtvc9YMz+CcYqhDpIIZRJ6HLZgdYUm+od59JzqHO7z
vXkGcdbv+M9JtuILdQxOaH0XdDDQjC/EkE9QxuWktKcNVg+GSdJx7rB7d8tATIdmtm9IURqtMQlr
gxoJmRrlx49oo33/pR6My7iDKPq1PoU/0mv+Uj+MHyjU+ootuR7n9T/5tbXvzPg9fURgKhL8CJDY
FtFjJG4kskvTUw6FEM7X5C0p4+L8RMyg+QQo3Uq+Y6ZK6y36kb6e2jfhr7FT0CTg6o/rmIuQUBWH
uBNoXRFD3i5xnPXZYAwTa4oEJuTGtGnACRsXWCc/6YH+gWC/YhiKmTACIk8c6YKBh3RbO4KlX17Q
DvMLM9V/tZf30hJMu3TTbeF01DLAQL0JP7SH5hgJnFW+87TYVBpYixSwdinQJWGKPHEX6ZRQAmUZ
6SB3h0xxB+NvrvJi8gWzEYqDFBD/hnjaXSuQmqTNEIomNm8U5huz8dtdhqaC0dIzVfMd3QyMcyim
wYNvBk3ulHlaPHRdkjyHIwkPSSqn+daDekBkFQWSvLLmJc+yYBQnOeqh4i0rfQEaLRW6uFXXVZ4V
5WDedLUwHGTwe4bqMxjtIrQMVrK2j6oKDTtCIgm8x+LdhQIZIEzP41UA9iJooDBe0Bti3ytLWEli
VXSHLvNspaqEfVdPgEUNImS5U7bq0HRblLL/9WDgBG/oIE/C6JWItrLb7ZvqXRfGFHdZKMvFptZj
/5sxEIqETckbM72/VQA18ceg1gXKK42xtDcjKcoiKGEkDboDdSkL9wHVDORy+46zRZeg8OUmmTiT
yMj231oVUSLkXQI+52Cg1TE3NHqVo9r4MCgJew7WfREP044axp3BQyWDJYclkuwxPNtVtMA1ZWcv
5iXf9Y4qOU0CDaQqsuITRiU28cnfGo7qJi4c0Xu25WWuFwy++Q2M45Pipu78Dr+hjU6q+hbo32OQ
0q17Oh4Gs6hDLPpNbgBjzC5ecymDTRQ+r0PcO9ObpWQT8GU/VrUwAkIZh40kJTvEPM6/hwCPESaz
8Q8Y7iYrZ1ei3ilZAbZvPHPAwBlq+mOXxRwr7hOSn/OvXxiMw25rMG3WAjAKNwnc6DF9NU7iXvZd
6WBuA0ui1sj7OEsrNzeLOcdVqAdgegNkMpaWCYbalhP43rf9MkYxW8xHIjkXJoTypD8HtlyiWqE+
KY5mpZvOqfB4My76IbNF3ntt+otv44dpmvhrNZl9J4DPyuyDEtSC1+Rx6iOwje/qUX4MbWOvu+io
2Zhv0lt79mxey9cisiKDtRK1LwlEVLd7RVNbaCUVQNby0FKyl+hbrseW2jso+Ir9x/rGXLgIQGYA
pt1JwgWBNwMG92ImTVlDFEO6DO3Ek4ReOd/uNWjsbQcPs468EYOlA42lxbg2umsgcc845CYKcpPm
0B3OEPqJ/SGNfmJ4e92q+2ABCDOMad/OjltJSgHUu8AQMiv821bvou9EAe/A3bXWTnV4JO/ARAON
QhQzblEqtTZkVekz23sVD/RZm7aFvCkMVHcGzjN64TPdQDEGBZ3s9aUAOh+MgAhaZKXBswZCysC0
JA1JULsYOVW6hRXE0QJrqmqAUE5ipxcTtTXRJQwafEovBemsWEFmFy1RlNcTswgErif0dhCMgLMt
Db6sFXoWt6icYK5+CCXLBKk0CAvcSime1nfFgrcSUdn9Xyj2se5RJRfHGlDDRMBUZZehod/XIRY2
N3bEpO8Kfmfz7g1bKCliOgqIrvWd1COPMfJNQcxrnlny9aiMQ6WUTNS2sOp26zXoj+j8ZEgxdrFp
xqcwOQrRmy/vVehyhOjJKI5jb3fRA00eQfy0buN9Sm/SkCT4VioIiAiC8VtwrVb1OPCU1JavKKsh
o3Qy9m68jbfIvQ7WsDGvAt6x0ExprFdh63HO9tJXRD5PRP0Qb3iZffqIgqC3YaymtoQ51LTBkQg3
6wYufUQMuE8tAOjaAA3ZrX1qo+aehqcFyELe1PwwylduqHhPSDKtoQLqauQ8wGDNqsApYTtoqaTh
baoe484xrWzTWv01PI/XGs0NwuanvCt263bJS2cNJNlQOTGgeHI3ZDhSNa/VAoalVmU1h2+VW0cW
hkZA6NZYqXVpHXlrPqCB6cHblZCa2ad2DGkhy7f9De/H3CcmpxWY/Rj5dpXjMS1pUuHHoOFB+h/S
vqs5bp3Z9hexigkE+cowSVmygvXCsmSbOWf++rvgc872DAY1KPl+ofbDrlIPwEaj0b16LcdF2Sz0
gDlw+/t0g+ek+kYfIV6NB1Li3f6UbAT729zlfmKbi9wDZiE0UD9A+eot+70cfC0KGte8H75/2j/X
7bwDBmQ3XVvUTR/otqpczZPyWwmd7Gj5zM2PrqihMdO6Zd+iCpwn42100dS6IVs4nTcHys2D/lBL
6v3neAjogSMk4R0N1zZAKM2ZxGU/RW0Fpdl+C7rfJehuUPe667ogu58lxgTLY690G/KaTIWcl7lc
oqxq1xYN8SnbqYXirusugZjp5e8oCAXQ6wNcB1EQqTV/AdukapLa1uBCi+ZhahCMwxIL52V7pOts
OBuXIFIWyHaf7lkIVa2urCgEdG67bfxqTm54rQ+u+nSfvcVBlO5QkOjcy8sSHY0To+wcH/mGrsRF
aRcwOnndNtppro38d9d9r1/pjb7T78Bx027im+JKYyoFEuOCVAPa0aBABZ7R0pH/nRqnzjrXYWFD
NMMPt81NurcPkenOH/o90sKH8iXxyT75nr0mT+m2/37ZuCBAgcQW8k8UaDmY5kYRigY6B3EYIzcs
b8L4NmluqPN70iVxUOA2jBHeAnWzhSLPn/vtaHvtLCn7rMTY4tS8aOablX/d91FnMFDLtgHyPSs5
lN3QLyDZLkF71LhT5uvlHaZpL++U4CvhfWDA80HQY+AuPP1Keh6a1jSyxx6G44pvk72tKKgN9yp5
DMG4qEg7raLoAapBxA9oZGL2kB/fSIpxAe3vUnp9v50C0HX9cEa/dFOwr8teQKJTd2KLOwAKEEJ6
3MIWJo+L2+LG/hlvLH/Y6Bv9zgMH/I36ocpemgKvOLHJpVRa1UD7VYPNKoghCVLhioz9DOHYuIlv
e/dgR7JjLoiRJxbZQ/DIDxVVw9DzAEFCigv4U33JIq93l/3idr4ThE+alx+GvUyBhC2Du/pOjHKO
M3V6BaZItkznaVWuMLY0WZ7RF24JiOVlHxVlqce2+MJKVYzE6mfYwjOsCyCShF6zZz6VV6l/Tx+6
p8i/bFC4oWBPgJcigGh8jRi0myWimopgOSzeiusmNb81gN590QpT5GFMYxgPAQkgTxCtqqG64pEC
CF+fgZbarzUMxspYzc6WwhnhfKOpQaQRzjBCQihlQR/YKLedLFCduTwT/YF4ioFnOCay+Eeeqk2z
Nc9Q/Ul1OLvhT1EtcYGzgP7HAmxA74aJi3BV+36oa7Cfg3Rubhy/bHzbedRygCc+vvxJkAFATASo
eKrqJn9LV22Nd2QNlSRMwOfNjAmO1+jLzwJIvZggSdJUfHU8QLi1KF0Vk5aC+LyMjQdjGH1Sals9
ksQhwYc/saKfBoUln8IhDZkVI9tjrnerJcOdQbvt13fMZIxr6KmYKMNzYWCcUZS3VnCrjzm57mfj
hlLMBBfDP5ghqBHrwHqCqZfv6S6rolstQVu8g8w1EhomEq3IWLfZWTgJafgwUJfDLQg5ZaijcLeF
XjUlKvoW1JQJ2UxOEoBqfztFlt/l6eOsTH4cyyrfZ9cvZ5K7LFIbA3xzT0G4n5gApgdJ/SMKez+b
UbHLN2a7hT7n5Q92FrdRNUYDA2koBKsgVMm5OF0rqyY9Oqq23SGpxtNkqsHxUG+t1X4cw0KSI52j
CZk9ZLwobIF1AdWtUz+MQ2MIhwI6HVPYbIc8qK1D4WwrwPDpc5a9aNpDHL85kaQzLlol5qJMEyUN
JE+8MBeyqikpWhRbjfYQxV41926XXHUz5J1HSYVXEJrQ3UOerTO9MTyKTheol1m+NhVMIQneF0Z4
PeQZZl+b34PTP1z+diJTOhJCTH7h1sDldGrKBC/9REZ4C7FGFaPj9XBjx0t/XXeN4vbR8g+RCgIv
mDYBK43FWl+n9iYdwMJQx4FodSvAxINrU7QjZYUY0beCghOyXBRjMNBpnFpxnGyB96CHWGkZxexM
RF2gWh8SLTcBn6g2S1m+Xd5HsUWDrY3d7nwvr6HtmLeNzbAb5Fe+gJjPbNw1ajs3tbNNJwWSy+yx
+/MoQevmrq9oDHt1kfxW497ryvkwQ1EdwykPVivLlwShH7z3f5fHHfEF78wmz7ChdjltauWbZpFN
JdOOFhrB6wfseoxUlIeDltXiQLkXa5gzfd8YDz3QwZaWff3ep/qRFW7nomJos5RheeZY36ht+Db0
zY2xfkZJK0FCiNaDZiuCIu4XcJtzvm6s4A1Z0wWReHzMJ8eLFMWNZcFXcMP8mULS8B90zPmr30zN
pQ0hrIcxQs2P1Vc1eQ3RZS3D7qFJfhRUEi+E5sC7ahsqSLQgD3zqd8scq6pZs1tzrQ80u86Nny2g
p9aveor2o/F0+VQJskAKqRokAUhssItcpG/VaVC7ERlH5jifCkhWjTKRvIhFARDpmYGWD9K0s2ku
HCLV1DvEWpRx9upQ+sO0vKOnAQQikdyTIn9AlkbRWmItf76hlWgN3nAUsJWU7jDX6Obqjg3AX96y
8/ItbsdjK9zlYZlJUToNFtTnZvFTWYl1CGejvYeI4/KsKSvdobtSb4FayVGcp91VWqNXDqqN1LnT
nWl8sopAn8b95Z8l+pLYYge1GzD3njEsDHm9lnlsosDnhPdGUt/PzfNlC8IPaUCaGwEEbyx+mFGP
SOksLbOQNFlyGNVCS7ezoYFzKq1J+KOPR1mlVGQShTeonEAxU4ULnR6GsDeMsCMIwpicfJvU1zUz
Hmr00zEHUGwur+68xsF9Vu7gOclCwtiC8yhQ2MunrTUE1orBhti1Ur9qDIz3bDvZPSo67UA14aqG
IKip8+BOTYlauhIgm+q23yeWsV+T4TrM592CUBa2wyEzW//yQmUmuT0dK2sJywgmIVXl9qblzvZn
H/p5FAZAXZbJP8QzvC8JRKPwyDybrByXZTQjBfGsL5PtQNW3Uq0PVY2eLNVv+gW8RAUNLq9Q5DUQ
zTWYuCSktvmgFjfrTFIHKRdFA85cATYuyiuzQp/FJpJSnDBVxnlj8RMG8f9TD9VpmpFqgIeGaN0Y
2YSpSdiNNmn2OVOwqdw24RPVN9LJYmGog8fAZ0ygjXjWqhhw2TUzGSSuo65WFvdtn21CKYePKAtC
df3/zPAkVZ29RNADhRm1jYKof1HQtGiqTbys7ijjlxN9NgIxWaDDoJ92RgAcEUVLdQjIIvMPRygP
2z+dZqKe0s8xxMyy7WUnEZ7349jCXX0RyOIA2MLXsgbjNmkfK5tWblZN25xEG33Nv88rhpqKO/AY
SW5E0bcDAgIdCSTOKJJxPkObsQyjFD6TNSRza2L+dvrigM5yI8nERHcCMGkI1f/DGcCFtKQ3ymqd
FeRHw/K9apzYNRaZCLDwqxHoR2D4BYwSBlvsUZ6cDnMxAXrEpFYXF8NGbpWmuOpBmC2liTvDXCBC
462PEg/CCCOuPjVlV8qyTivgfFbf29qhd4wov0GyWc8uZEMdaxuPaWe71qRnt2ZP4kc91ocre2hj
SZ3mfM14ziGy4JeghGLzbWhiTGSqkQV46GQEk+UuIYjXe+KW5eNlJz0/fjBko/tkArGOuXRuxcY4
kcFwUOkPu+vSep8hb5SXOzxVgSiTpDXnTnlqiq356DtCy7A2wJNYghUTjPtO4FRIo2QphMwI55Aj
IV2jMShcgfnn7sNRRjcjkkRIZANYJkRF1EswW8edrsQeW3WOAJcB4a1v5eOuoPnGUGRFEoEZQK9x
o9moIhjo5p/u16IhXag11JvLjv4A1ciWhogfUR19OafFu+OvHV5EwFBQDpsMNAqsAiICtbLplDkI
iSYJh8LlOJjJ/kNUAVjT6XIUBx2errGwa0s4eqpd2a5jVaXbDzKZI0HghXgkElXU7VDpAaz71FTU
tDjDuQPSPmiPFHZgUwzO3NhV4tvtu1XHG1trvFWGIT9Pe1i7Dy85FHEx+sGTO1lJF6dhAqt2nn+r
2/ZFr3FLq8CoqGXnEgVyLJETXD6+gjihASBmMcldC1VIzkdGI0rzYU0qL6TqZjQ+8mXarsi1FiIj
z2d/6bQMCkf8a4n3EvBwRN08w1JvPxPbwRUaKCEJ1vmdYOa4DxpZ++DcXxCLAZNByZ3Sc7wzSWqQ
PKNX7WVt/4ySAhQC9NQvjVomdiZwF1hgUu8I/AiCPHwWnDcxtJ2QzaEScDDsFMTzUROEXfwejtPP
FdKEmOnx9Kq811ARuvwBZdvKnYq8r0Jg5bGtcde4dEIad5tOG0t/TagddMobtSQ3ttBjwPRsORAl
Oc+BBmoOZO6yytMsoKnih1lffDV0RyrJW0WnAbDP/7WDVsLpGWyholeHFhYG9hFUrl9NZ/XC1FPI
W+G82oqMx/88EdFgijg4+Owu45lHKMaQ46hFsGysKx1kGEb09cacxoRbkTuiC8DSqtMFzU2OQsOA
+FXbuoo5Z8wZZn3huA2tS8mpFi0GtWMwMP2JJnwzHB21XMl1CuBzVLuE3EtTqj9ZNXeaiYOmFgOX
YkSDT3SGVs2yNkSsmklXunVIrmhB+o2ypHexqtwVnUkOoT5da4pysO12r+jVc9OsN7UeRb5SItZ0
8T16SCZy2fFQ6VBTVpCRRaoxbi4fkD9zgGc/FarKrO2KbIiHcE7tCBBdFldQPbU2tVbs1BgIWEv1
69HxkjnG/FXoqfNntBI/1SLPGb+MKWatAgOyNKiVoWDGtw26OkQHcoGsXKUdopG6UfuoazJd8fNw
x4w4GgAqKOZTvmVW5EVT1EuEQIAgFHbq1tLxtCx3l3fzT1Oc201wEOsE0CncGWcac11urqnu4FjO
G7JRbj9mv/gBPkmwsjSdu10+29dHBnovr66zu9bNX56Ub/Ghfqe+FGR6nmtjwXg74+VHMWLCp/VD
2pSakWHB1ZwF5fBMFzYG1c+7FeR0bTv4S9g+anVru0SqbyncbLw6mXXkcLyIO9LuxkgIbJup82OZ
e2+utas8lsGcBecYS/xrhs94yxay2gPMJBU6Tbl128fJ98sfVHB/sOYkihEYXCPQtT2NSnZTr1mh
4Hta7aMZ3o7lmwGQ4/xod2+muRtCSa4oqEZoJ/ZY2D9K4vsFWshLklbQ0PGr9jZbIFXkzZo/rQdT
eXcMt5+elVHitYKCKKyyAghhgCqHn+jKxtppQE0OVfqd0m/tBzWoPP073kOWb/rFftxmnz8v76vI
Q44tcus0kFMVNWCGaM6od4tRHeaI3CXK29etoHEHgC6wzijScbe/1TiMiq6owNK4BG2/7Ju28zFE
JrmLRTEUDqLh2ANzDFZpttrjr+ZM2Qx1any1u/h63ox78Gd42nt1bX5iVF7S+pRa49xe1dQQVXJY
6zeY6dxZW8h5XYH3/DZ38ZCW6ROIDpnhAEmtIvMGDIDbwym14wb5PA4ZKOSN7hferpc/0jleDPH/
2IJ+unuU1mRQC1gAzW++7990MJqpaK26luZn1xAe9H6gfvz1fh0QLbhxdIBp8Vo6q/ulGKYerQ4x
Sv2mkYOhB1Mu8wvmxfxtAFADRvxUPGiR+p6uLCStHrbzVHnlPr2zb75ZP/W9c7se1KfM92wgxTAX
ByI+//KGis4WwIUWwi/QhQhdnNVsiSsAABCzitYvW8uNDFQ4ZGWjc8Y9fLZjM8xxjpx+KSMat/WI
oHFXLe7oIyOsPPsb8LXZlt5U1+2LtWuunP0qCR1/qPzOd/Xv+rjTRmqM0tQF1qdv32cYXu/K6wlR
a2M8of73q75ugP0bITwOsC0656/KIRgGL/+x+ItL9lIovOiKON4H7jhaSmpFqoWf03cB2dEnEJVc
WX4d6E915XebOXB8c9dcJ3fZqwdSvsvfWmgcIDA0NuFleEGefoTIsisHJU+cTutqyLdFh3Hv6SGL
/TL81U5+IRPqFXg00GYYmMLDEcKIfFaRj21rOllfe0aiAvkIXuoJmhn3iZ24eZpg9EFyIQp8mWIk
BxAP8JhiLIet/8jJlGUkDapBlZeV4Ajq7c8xQqpq6F+ehcTNh2IuMGjsWYBy/Kmd0tDqME5U9vxu
lcM66T1a0kTGp3xOHQEzwHSgz4ANRMbNHc00ppFVgKDYs57td3rd+xSoyvDeSVwgZGdv8NcDZKOU
G3sDNbbLniIKsye2ufPapO3SDA1s6173u3hpr/N746poXBtO6tSg0DFAl/2svl42y/4qd1hPrHKH
1c4aOEwOq11xNY8v1ZclHtiOom4C74dglcpjFHWQcFeA41Se0ga1igZRBjjJN627hk6fHm0X2XCi
KFc6McjdVjUIcfq6ZgavrG1/rV3Tq/XKCZRfnb/4mIBTr7rd5S0UnHFUalgFCoUvxp9w6pvAFJKp
V+GbtJoPgzNv0f1zLee3QT/wznRDjW5BoCRRThN+N1AvU3SkVbzJuO82jWUzZXiWIoXvdzSabgvF
9C+vS+iRWJYGfg18P5N/+JmDEVcE/4UIAxDp5kue7BP1pkcVY/Da8VkHxdB6r+NBmPzIh+2I5EqW
+YpWefwLuI+ZEch2NqWJMxGuysGgg35nNuTz8jrPY6YO7B8CNGQT0DEy2I84imGFQsJo7roaQy5P
aolm9KEHjZN5p6gH0/x12RbzhdPjdmqL+2yALChVweLzMvyg5hYcmul8rSU3Tir5eOwPnRoCSuPo
23GRrDUyDd6BbwcKt0DBP7ux39NEdr+xy5M3w7AgGJMEehJp1OneLQ6oQGeHxWW8Ivva9jRIMmjJ
XVNVm8s7J1rQkaU/Vcyjr0TaNUniQqvA7r7uChP8C04arJP1eNmMaEEgSAJkAP10NNy4fcszrUkH
tJughFDcUSf6mNvkRkXpBSN/krtTlKExCmaC7iHFvAm/eQDZF7kRwZae1lfDEN2vi7WlYEJE+WKT
Zf1ONe41TKfnje46862uPUFn8jrqCPiZP9oskyxd9Lg9/j38FvcNqtzdgN+zkvC1GrXAbLUDBKsP
aRbfd2gk5ADkU5QrgEWI3bn88jlEFoHBIbzidWTlfBydRn3Jph4o+bJz3AKiW5oH/iawK3qFgkf9
98sfWuBP0PFASRvAZg1je1xGsVpRuxQ1ZL7KdYZ6yXbJf6yjJEjLbHDhi4RVljthXEMKoXTXcFsu
kd9IKZIELnuyEs5lo6aeVa3DSkxo7fbfFUx4536cBpf3S2aFi5Jx7Qy9OWAt1uKVEVBze9Qfdfvb
ZSviHcMb3QBND/oRXDyxtTWlcMMaatQg1TB3DgZoF0cSSsRL+c8I4Wrz8TxM6tqyT6/clOZdQXfp
4s2DBIRwfq3AnVHAxgg5eHiAqT0NjU1Jw3Sm2DClA+3h1O9ro7kezDp3x1z3Ji3c6pOs6yDaPtYB
wHQc0mRMkp3azFOatU5R1sCxQ4Fsca6hdrV1eu358ldi35qL+jbSOsww2gwDzcPXofCQQiyvgS9Y
+s2yYoo3/Lhs4fyeZGUuZFQgrQPnD99MBEP9oLcG3hXUTgp/GmOwxsdTEWhd+T4t6YC4GBWS+Hf+
wU7vZuY2RzcMa5oOZoW7uQe7gH2bhs9OiDH/x6q8nnUJFF/QdAMmDcxCaNA6KKub7MccGXNUjPhn
GK3w4sTeV/GrahAvLRbPouDMKxGO5k81yp9CR5bVne+sDrkJ1NoAeADij+/er0h3esdEftwn/uh8
N40gHA6T+T6o3lc/IQyhzM6GKBHW+dstCTVj6CpkqPXwNlvfw3YfDS+tflhlJFTn3nhiiL+2IBpH
ST4hM9DaN3AnuPO8vbyS8wRfR3ENkCkU2Cy8dtmpO/pWnTmuVd9byKXmq7W/t8qtEr+20a6Zrmr9
KuokBUTRFzo2x/lhBZraoR1gLq8Xb1H369Juw+RdmXd9KsPaCm2B6gGgfyCHAYA5Xdq4QscG8QRX
vvrS2+nOJOtDZbSB0g4u4CqSjOc8PDFuSIaLt6EFCXKtU2tE6dOoYvfhNBUupZvJfg7r4PLHOg/u
zAamrxz09SC1y90gVTraSzVlyOarX2R5bNLreAEUUlI6FPkcBqLw7AMUGkgLbt80rSlKgzIr2oMV
Jij7P1xehjAY4erAy+5P/OO2alCbuqybtPaq0rfqZz38jMw7I90XoNzPZLVWkRfgjP5njAtGqO3G
w5DjQrQhEJxke0IfCKldqu472ftc5AIYXsDjBHB4lFy5z9NP9lSSGBvXNGDHaLcOOKUJ1J4v757Q
CnR1wOKCTBJ31amjxW1F0KXNa89RHhandnXnUaEyrQWRpyFR+c8It2t2MymItDCy4nBW+y75XLWD
CkWVy2sRfhy09JEVo2R8xqla1nVHswRm7IxcFWBo2aGq0LlmNL9TyErqUVhIjpDQIkFXEuFOxdgC
941iEpdEDXE3hcVPlkh01GuUvTLVfl9tLy9OuIf/mQL85PRDjWbZd2lVwR2WXZftG/BcOgTJq8SM
0B+OzHDH1QpJMwwTzIR5YI3fh/ixTl4ur0S4aeiTUDS0KD2DYTtpbLYA0deerj+M6aYnB9UJgdX0
LBngW7gYBB8VE0aIDvw8bgwup8kosJipSzb1YngpsPuzuUjub+GnOTLD/v3RrZcXk22lzEw2gDk8
hfhWsGiW21f/EErZcOn/LYdt7JEd8PXlupbBTkvivTHYL+Ua/cvnPzLBnVQUj6MSDRdIOkePBKp0
zt06SxI68ef/uwruzHSmMzSEOXKnZZsY+kLZtolAVmlW7igtHDB3Pc2/kan+XQ//gAG16NQ1JowN
ZQzyuomN6K1bhbxbg+33tAjG1YT+wJCC7XncZavz/7effNZgUcxQNxHsI7wO+rfR3IadrOIv8XKi
n7qFnoOHyq5hI28dn8bQGHRcKsPkSnycn7hprGqC6jiMaJHv9MFob4h+oLLSldA3MO8LjB1qPbbF
/v2RhxvqEsfaDCtT/RmWbrMEY/4AcQCPgsD5chQS1GzhGke2OFePtSmZ6Qhb+lbbDIfktrqtntHl
2tHVBdEMkof7YUe//GpnRjEchc3CBcUT3sYm7fDIqRFe1W8GCDKLX1QWwdnvPnP5IxMsITvawzTK
e8MOsS6rfLHLj1n7kTneaD/Zk+4CGyzZReEBO7LGnPPIWhj3uZY3WFANeirI3H8vr1qX3ijbxHe2
xs/L1sTu8Xf3uEBLR6jxTSZe0y20gY1k8ON5BsmGO5GPirxctnVOL4en3/Gn4nwx6+eOdDGMqcuu
CFQveTE9KJXdjod2l+2dZ8V1gjHoD8rW2LaPiQ/hgsu/QPYhOQftomhUmwpbG7dkB1DBOL9CH2Or
Gd/1+mbU/+HFcbxcLiwD/pe1kQlreml+QGQxcQF+2iyttr+8KkHt9GRf/wDPjjwGg1A1AIXY1z4K
2vAbKX0KJNKa7ubBr6xdleAOjXehSiXbyRZw4VzwwM9Vm2NSg53DC9vsZXTSvTN/IyGziXF7JwUb
Weo17b88Tv4eD4OLzVW4dnGUwegwtZsCZGrN5IG/QO++TwXEfCZJYVh4FRyZ4wqcmMNqMpWFl3LA
oBKILtq+fswVKlmVbCu5EKMrPVnHAmbU6pOkXt0f6BCi+riLJ2+B7K3s/SBbFhdkoryOldmAvXC5
of1tVX3Tm6fLbsl+8iXv4ELL2OR14zAT6/Q0Lx/GIsl6hGWso/N1hgq2w8hKRxiw5/5lXZRHzUnd
WosfwJ8ZLBa5Ssq7OscsYmHJTtw5gPL0xHGBpLX1Rk0TmIZu64tRDNdpHl1B8vuQm8mhdVRvhQxO
pVkBmVXJ/SCOYcjyKZ5HjObs9Hoowd0xGD0uo1QxvVz9VNN4GxfrRltDv2jTG9CJSGpCQl9BAoFR
JTyaQRlyatHAKOKcp+zEkSmwmikoNRPsZzI4vvAqOjLDHWxzsFsnXbCnfTJuCtv22im5GxPdL4xf
sSOjyRE0wPAJjzqv3KosvPwSs0DFNXxXYpfJVlj75qbdRWDL2eMGOqSzq31P97KOvfD7Hdnllmm1
vTGCcQJpXw/l+iLznGHbQ25AXV29es1GSYwW7+rfBjMXv0ySrp2uoMEcVi8K8Lz2a1f5a7cxZHer
KJ1lFXmwAFgUFBTc5U6sjgwrwFce5CX2s+Jc4fA/pK11M8axzFVE0fLYFnf8oJpQVmqJMzDr2TaO
/Kl6GNYdqjqBo7hQsQUHsP0P+3hskv2kozvWLKK6yRMsr8t/F/aVMvye+2eQ5Xox5NYuB06Rh7DH
NURAgExFh/DUVDuM/ZyDX8tbsw0NwXnxrtvX4VJtdN23IyklnyiWHZvjHLKoqFEPHcw1yIiouc9j
3VXsBxsoo9W5tqugLn4NliVZpNBdjhbJ+2Wc97Q22CcEomnejhVeBwCsWDJKSFHwOl4dd7EaFWa4
e9SxvGp6z1RPje8zGYW36KJj9Xlo8KFteKb9jibREFkN4mNlV7djHT4iX5BcODIT3F1aVkptV32L
9KAOr9HZCZpO9lAUbhSbRAX5M+OQ4RwcRaUmKW0ECgNjy1r8vVNnN5WxrgoP7n9GziaTUAhL7G5G
8KPL8r723xIn3ico+M4fnfKUJtqDDfLOy6dJuHUAhKKpSx2MsnCZTglIhR12+DrZ8t469+bXWSzQ
TDv6+9ynmdVyGRWWICaWtbOd5C7OgBiIKiUIl3+pfYB11wZGAVhEw+C+kRWPyQQeFHwjUFm4EVUK
Nxn6QxPL+mdiZ/jPkMmVRgc653pGYEit8aSoX/9nXlgSUoUh4O9q+LxCRd5EE7x0gcAHI0Du2uDd
GZ6TWPIMEwAr8YVAio3PBGAN6BxO4yk63ro9Ao7sLQ/g+wgf/PmzOoBqP9wU+/I12s6Hcrv42T50
84MMASyM5Ue2ueBaKl2/2AbWuLBpmiiPvbhIMFg2J97qQE0qy3cTXkuXXV5w54PNENPRoPgHLP8M
R1SSNMZ8GxDXObTofXMEdZfbVr7ivFw2JHp5AsEOAiDAbxlHBne4MjCBWYXlAAlIhsBciq2Sr5sw
wyB7u+568xdAAbcEBbR0sa5TIkM5iNYJuBSwxoxWAv88/bDWqk7llAIzZA4NFMBzvQy0KXPcIat6
D4eo9NUYlJGX1yyIJxhIw3QAEAiYRuTBj3o5lEuooTmWh9DkcdaPaQH1wmUbAiApRCcMVpX+I27E
l9nHlXRWMaBTZS3mfTEClgVr/ZWt2eVBWRY8r2flHnUpeqUh//D0Nf0Bdg0AuKwxc5MI4lnp1wn8
2E8CmB3sQCBH4BvR9aKrxWxg3SP5JM1TFmU+hJ6w64sbWo4kaAviz4kxLqgOaAOrtQVjczQDuqSQ
xdOtlrhKvHxc3mrBjQRL6KTiZYPHB39WygbFCqdDXtcuYwYFRqT/eZIovrYo+2ZJyKbNHc0FYdyv
fq6+XbYtWiW4nCC4gO4acgcuMJVxaPeArCMA0nhfRuAGKlGAG2TzuTIzOndMtHJZK4olAq3b6oVr
DpE7yQY1BcH8ZB/ZsTnKj/tyGcDpiE6hsloeZoGp7te9EZhVcHnPRGf++HuxxR7ZWVIUKjtIRnvR
0t1SZI0N1K/q1lPAaz7JNG5FzkFACczo2jDdxIe3uF9bPZ+xqKHrRq8xdJCAqtb8UpWYf1PN8meS
QwGkasf0WW2HQvLuFm0p0Iw2xu8wVA127tOl9jPozIdZARx0rVs3Xdv+nvRd4yek7Lx1nQeJPdHW
gkCBMAowiAjwhAbgLhgjM8NqG5BRjMOL0x2GcKdFN0kvOd6i0g0mUP8zxTMarFVhksREfDNnEroa
Gb2lit9Ib3mZHr5mQ7sH7PVzqfX9osoeqn8a8FxhSjs+dtzTY82cNYrY04PcFbf5Xb9x3CS4Lzeg
JF2hucjaFN3HeAMCLSJjlxWkAyemuVNSjlZjJax5RpZ7Tff08aHvHvXsukBBXCYQLLPFuU8+Nto6
d7AVzdN1OVhuC/Vpc+yCMY3v09GBBuso+a4ik8eflQ9oHUGBHbVFoMnS+1EDYwrR7pSq9bIR84cr
pe5IlPvLAUF0SpjMFdjANNSo+NeynTZ2PTG4xYD/WaqnhM9akvmLTHZYuLYjO1wURRe/G1MDduxw
8m9Kvyox797cK9nG1iUxTmgKtwJQ4GDMBZD+9OBTZcgGgyBgVyC+jiDPCQLWpvf7VtsR88qWjSIK
zbG8GHuIm5AHy4WkLsifFuGgRsmuWS0NLHlAey1Ftdw6haP5eRLe1Pn0dVoHTMFj6AE8xHizniFl
jAYTkMmC5Lgu7hijIwT61GZ72T2Eizuywf790X2RZqURqhNszCn96MfsKkwSDy/CJyTQewwpuoYi
I+IXmaTQXQP/Lni4zziKxmJq7JWhlSftm6J4TvSdrvtu+lagXSgtFomuqGNjXESpBj2MKUrR6Oem
Xjz+NFNoiP3Rj/6Ro64ZTlcJ+TKyHNLRqBIAbYK6IgbWTre0jpNRTZlJRVs3s9Yf1j7ZDJO1ufzl
BLPMsKOzwT4VGwmq+VM7KwbSuoYlgfo0uJbxFCVouoKdDuMQvh59osWFypQCGcxCNosn2lSIADDg
KI4D4WdzUzXF0EmNs66iG6rYSVAkzyp9GaxDRB9LIwG0RpIKiqLYH1o8DP4xeR32i47cFEwFUdop
2FMt1p8GkF0MhR7EGDJsSxlXkvDyPbLFIzjsOQb0KcO+mtnPGBoOBbRwPAD0ntsoCZKy2uv93Lhq
7dzZavRy+aOKcgxGlA2IJOjcz7r1aKKN3aDi4ndycF2Ejw5SKoDlXEeJvLKWoHtkxrizsa6Y0kw1
GBuNTyfa6n3u5+lr0wQzxhkvr4v9KT6nOF4Xd9m2awdSF4bJHLUXPf8BDqN/+Pto0wMJjEExzAad
+kek9pFdO/j7nVM8afH4oReK/y8mHMCIIMIGEm7ORK22hlOhaQcOej8H47Zax5L0QEB9gxMNnZn/
NcETTpa1Wqh5huSd3lWJV1/P+2y73Ddv5sZ6stwf9W+ohQdV0AX2VplcY395gewbnH0jQIqZuDYF
+w4fT8J+nFLUgj2q9h4p3aWDcoVsalAU/Blu+f+McGkCeMwNu2VtEMN5bui+yH19tTGUbHjFfFd8
Xl6R0OuOjHGZLKg0l4aUMKbPiquB08+UJZHCPQOJNCDT4Hg6m31GoyWheovq5hIBfwe6Hyi35c9a
2kn8W2wHhAsICqCT5r8NxBVxWBlKzrbjaavihRNkGLzwNa2TVceEX8iB4AICLZJG/pmjqGkGdTqE
P0dtg946pNC96n+ROnPV8psRPn79EzG6L4w7APBxxi3krJCoKClcvl5eexQ5FVkRTLRzfw1gDPI0
MizNahe5DQPW9INiEQ09xLIrQ2aDOzkxutxdmcLGYm2c9MEgt0i0L++T6AI8XgZ3bmp1UNGFgolp
vI5TEN/u68GXCrDJFsIdGAIVIX0wYKU1uk3RZJsFyL6ib4PLixFdPEcvTP7lThXd6ScWBJgGuu3G
znMGcHFmfZbO78uWhAv6W0KibFuP8obUGRak1rBUQ03IghJEYW3zTpLwCcuRx+th6z2y0mA4cqkn
bNuYrA/EVtypwbUda75lZs+j1vux0+PDLej9ghVo7Ue3rJJNnqe3bTPLfoxsc7mMPlfzrjTZ8304
KHfO0/IADWeo2LoadZ2tug93i18G6bP9KtO2FyZOx9vA3ZCLSTr9/5F2XUty40r2ixhBC5KvoCnT
1d7rhaFuSaD3/uv3sPfuqArFLcT0jdE8VUQnE0gkEmnOmWIs9mjZLwNmdKO58FMAnppFuB91ncJ5
bYAP4YbZN1oQTxIH3CkP8cbt9KVZlEXX4/hRATBx8ADANgHiRHm8bFP/j54W8l7AvwWFFKdnXbXF
VC39jpjgCnbppGU+coZvZsZ2cTUiWEs7w0mM+LGw7b1cTaV/+QNWPDQeT3g94Y7GjBr/IO2tINQK
9Fk5rAhxOj+HwoJ1Ocaw0ft9LHJua+pCnE7QtoCUPmoZp9adVkNskxjpAyuUbnQFcbHRIucVOS3Y
zRLAUE4h8Sa5ofKUbi9runJ8T0RzxzfV67apU2iaKddx6aXVSx4IRKwcF4hAd6y2ZJgxlHSqXU7K
IBqXBpC4uo87V9K92PaD/qrVBP1Yq7qAtRezNchWgkb4VFA/JYoRmVjGnmzVaR8WL/HwdHm5VnU5
ErHEQ0d+KJUIS4IIIvLIi7vrCpCgwMudx60tIlxYFp6LFTHY91cZbtXmerDHpMTGAHg9i/ZT+WNk
GK34uKzPcpDOpGDEahkFB3Ur/5JOM6lv1GTGpZdSpae2k//UvO6ggjD3sqC1tzQwyPBqByYvhnO/
cJOOVi5BcTotwsW2r6c9e5huIgAOSju2yyCtE1VcV+LSY2lnDanggZdDSUaN7BBu4kN5CP3o2jrI
PtvMG2NTC+lFVwVibN9eeCzRfcR5LDPJ63A2oZ4NBtUe9cd2EByjNevGBv1HwlnnQqJG9qh0kCBL
dz14sZtdFrjf2aQjGVyYZYFdZAh6yJjuZ3e6SYEH8qv2Jj94DX9I/jfeeypw7wCgBOe3IA6dHiag
/an9vJSmWSaPaJIENj/C8IxeVmrtIB1J4TP9ZtlpcjngAdHpb63uZOpVHr+28+aylLUb41gKt3J6
kHVSGEGX2AaGOliqxqs09qX41dZu8vn+srA1U1hQOpDpXqgM+LNkdYDJAHQRusinWkXOjTR0mMvQ
MzHQKli9NVEWzFlZaIqBhMc5vFJTZhCPwQ0VyRbl3Sn+0Yk6j9c2yLKXqTFM02sYuD01g3Icer3J
e/SvhL9qzbVyP2owYywCa1lrFQBc0D9yeENgmB9WB7S1ASvQU3zmgWUJSbU7I/BSTzqUoraf1ZU7
EsdZRJlEmVEDvNKRG7TClwBdXdrEBSdWJIR7tNit3atRvdxHw2M1bNPmIWa7f29sx8vG3apSkTIr
QpezoxhQANxraog5fYGZrblPhHpo/YJBo6+YWyypw8MeUd9Sbh/cZm6vJlnUurR2QlFkR/rKBAo9
/OipmRlW2GcqkMSdEGQ7ZTA6xVRsVGRu48K+18MPS8sEK7cWLAAyepl7AhoFiBxOJbZ46A1sSSlU
I5Du+4qq0oORMmpMEo0MAeCGSBhnCZWG1rZUWV58uVcAUXAa980c+5MC2h3/skUsK8UHDcd6cRax
tAJayTIh2483MuC2wftLg9jLMrcJWky23El4cl4WuWrnR0vJuaF6SPqpb/H+Q9/tPsnttxbYG5oe
ivpe1owENoIiFNjK0NrOGUk/4ynOJFwWI3qj1eSlMl9stJqbOyXaBqHgIbm+jv8I45ORRZtNhalC
WMnC7ZDmmNXvtuDm3UV6TiVz/q2SsaOWJIumC1c97l8teQSTUI4HEi8TLIVh0a56HplK5+gatDGC
bTunmwew7dF6qpxVdgGcbr+oOKjlz1DRayo3Bu6S6WCWo5fJmhvL4e1ovcskcAvrGSHbJm5U2pLh
Vi2f2KijpBpRGZS43zCohdQAqMLIw501ZWpSqpUmzuZI2LZpEBdE7Z9qrgVhweqpRJ3hi85lIfg9
dQFKg0Z7TcJNTeSnJnhstds638y/2PT6DXVUhLzKAut/hsgw2FUvVTP8ZxLrzoT0h21icl3UqrSq
zVEwwGlTpU0WVjqkyCS5x7c4CVhwA2CeZWmxbxVR7LF+Yx/J46xnLuYZrgy3G5I4Kq3lX3P4oxgz
R+50H1XP61mZngL52Wxqh6QidqPVQ3IknPNyySj1acJw76lyemUZj5kcPCbh7JtY2X+/eaBwwdsf
R0UGOsipkbAs6QKtgKSiOoCtrK4OoYizbDXFgIZMWOICOQ1A41MZUYmyhznKuP2sz256YqFJwWKG
Ce2bDgYzxlSNHy3gbV7WbO1aP5a6GNTRow8P3MkGQSM8HGi3WtkhmI64LGFll6AQUkRoDwd3Ot8g
VaF9AZuEA6aP6nOi4fEVaeyjGw20K7WiPrYV+0fDpa6gGKHg3cJf6MNEZtI2sH9J+QUcBJdMyU7K
J9cyGqrFn5c1W7nyToRxxm+OTFHDAcKydN+NNS4hOgyC+uTq6h0pxNk4SB1nTemRmpnR5DWrz2r6
kGCWPZR+XdZl5aY70YW7vodGkpsS/5xIHZ8BFeCbLfqN7MqtLft66rRnECp5JBaZn2gJl9+PzI/M
qt0Py4SVhCIvQUNJVgDOfXdZtxUbP9GNO1mW1TGlrKEbAwxKZlV0aEV9cSI9uGPUoWFrTBn0iEft
CrM5mC6yoUgq8EMrwc+JJsvvR8sVgn+zAPU4rMHckPZgtf5Yq8t5okabOYXAJtbXDWi1gIdGfMw/
+9pMyQy7gXMHXK2rNVdVJMo5fU3ec4EqFPpHBP/iS0sJrMoSRBi+tsUYq6c7I82vpOcb+XZ4Zwf0
LT+h/+a63AReUtPkI/uTiD5i7RI7+Qju0jSa2lpGQJAZCmk3UFs5jIYDzCkT1CtAJOgUB6VZIhK7
7qr+qs55j9DupVYpIDWtDNpo91n2Xo6HPhwpGwVORLCRJudEtDFKmmpJuxIQbg3TxpJET/d19/FX
meULjgyzkADp0NiLBLw0rIGOzBviTZYshGigfdkMIqYU0epxjiNCGXOcMwgE0QWmWuf5LhoSp4vc
Qftx2XusH+2/qnHeY8jtrM5kSALpy9Qhq6fQXBFlQ5fazKVzwPmPSs+btosQYMgTuqNdEr3W+Y8W
M7S9/COP3UmlvQg1TmQUnC/BmCYmGHTopSkvXfBDmKoUrRsXMylVD16jEX+/tcOf0jRsgfX42paG
f3l71uKm49NrcWWvFoRx/bwYd8l0DCX6QIlrGFB4AeYdXpPczdW9IYL0W6t2ngjlXEZUkzHrCBwx
DN3aRZ5cUmWbX0U7+A9ddapb6Qk+JG/dy8quRgOAKgd6voFm7/McNiKfQIVYa2BulMk7DYkKU/o0
MTR0WdKqdfwj6SyXXSuRnHUdJE01Ji7rgpbNd87VkQRuCQvT7Dp5uctqYK6b/SdIV5kIzW31vjyS
wftYq2riWoNtGOk7sR9ndoPWhDEFbr6GDnLBkq26pIWwyMSUg2HzNUJFGswKo+84w+q9pqBaY7lj
c+ii21LaXN6c1aN1JIlzSbIdd12iL96ieZAN15A9uxR5pHUD+KsN55E0pkbFPECbQULA1HuS1nq5
6illSyvFKeoBzI1gBkG75UuSvRe9M3SCky36As5BAcAVsXULLZviF9E+MfdyeRVX76yjVeQc1Jza
c5CNi4b5CxsebAWEfndBh4PrZg3Y40rRSIPAQGzOUxlzHug5ONIdBiBLU3aC2RkYcBNDpxeVokSi
uMNFhlqdO2WxRSSOpGW/3qLprU/2hginWiSJO2Ia5ugGs1kkDRIapa8iKXSUhpLxcxQ1V6x6P8D9
o18aCMJIAJ4GGdU8AQJ8KQ/I1qvUgs6OfLTGXSNqB189XUdi+NOlRmnDlkzNbP7E1Fo/HEggyCuu
mvaRCO5wtVavdObychysx7D9M+m7y6YtUoE7OkZcEQC3Y6XUHARSCXPlbqMFf/47Idz5mfTKGvpl
ndSegPgzAyjHRmNv/5UQ/nbP6jpukSfAuxT3UKx6s2RQMxJhWArWi08b1L0W682SxlLM51D/EbFN
KgLg+0qknoV4f/fc4g4KOCurNFk0MRVqbwEwa9z+UO/A63Sn3FRu/AowUzdtqe42h2fWguCZVleS
wKWuHtajb+AeApWFDmRrifkAvuEY/UvUV05dHJLooGDS+PLOrbrXI1nLGTh6EkiRGiZmBVms/BmA
xXSu0hc51txukL3Wtt2qynyDZO+XpQqXmXMSYVDkCq5HhJ2+clAwaExnH9xcfzInHlyymzfFIbiq
vfxF9u/ZR7N/uSx/NeI40ppzHm2rkHRe3sxs+KGXzxLIIPqa+KmioMBELJonSSRY6OVPXjIszpkU
YR8M1hLktCUIlEJqBx6wCakkmtwSHRLOqZgkr5VxUU2ddhaIKYdXIaWLSATnUtp61mXc+bBP2zfH
hzz9EI42fIHMXFgu/haeAARY2DPUiA+NU2yUh4iiTe4OQWg9u+za2OSKU76qfvAQv5JXmQ5b9aZz
bPdZ22RuJsoCCDTmyw9VbklTx7427ynt7uzmQY8El826CEyMLGVOvB04+2hTbajk5URMc0fDeJsE
z5jwvWz2647lrwzONjqiBqNiQUaUTs9R1tJo1P1kDGhZFu+5LupLWT1laEgBnCNg/pGfOvUtVQ1m
vExD0GFijAkomdTu/L6O3Krch/FOFtXw1zNEKHzraM/G0Bc/ZpSRvMnGbEKm96F5QYc2TCQ6YLDP
oNmdftOIinKrJ/pIHHdV1AHmTycT6kXyuz7trWoXFk5m7S7v2Rq8FXjE/mrF3QbAw8itoYBW0ta6
nzz5OtprhZu+lj9qquziTbxP7gwn8C6LXTXHI6ncvWAkKbpMckhttQP6GeXxNZQEmi1u4uyIY2pQ
QQEA4PH8S2yoU5VkDEWNFOPJ8lZJvAYYweroNmyjmyOdk9dv6HQkkPP6dadKiSZBp9Sa1ANBSOwE
nYFmHHkSgXWtLt+RKO40z1aZxOOMfsDOTu7nPHQiZl6lo2DOe9UCj6Rw51nF0W1YBykk3Vga+Bfu
MvnGEA3CrKHBooH370bx/p6AgWa0l+bGmbmYWE/lmpLwpiq9sXgBNaQVXWGsLgqu+uZhigE75Nvf
ekubywwmMMkWbOxTVzLoAMYeyFIAQ2VKGw/G9IOIvOOqPR7J4FZTQ6uCbqAGsbzXQ83Nsg+z/dnO
nhL8qnSvEkESrG7ekThuVRuJtXIdQCVdfzOmT0V9IvaVMPG2+oYBNx/Qx3SU3HjUYGtKjSJf9q6Z
RqevPsJAYIOrln4kgFu1QQ/1qDQhoG43SbYHxJ+Q1HDtHkF6CJjHy9WFyvzp5gN9QAotBkerTUX+
UIbt3jbQjzN3sbFvMUZ3w2SQFql6k20vO4y1LQJWioUeQWB7GGcIMWM+GnY+wmGQB9O8RxfiqF4l
ogzK2gpq4AbRAMeCfl6+VwYslFJZhdpyvFQ3AOYeM2bQw2uby8qsWAL6HDGcjUIO0l58eaEBM4AU
WUbqyJh+B3xaIFPgen6DGOZECndv9HZljh2BFCC93JUlsMur1Af9zmODUg1BreayUitrB1JBDXBQ
C2ob6CBOTQMIy6lujWbqmF3oFXXzqbWjQyRZUJpZFaMh0a4t6C5nLEwmSA6AmWOlTh+Xb3mPsRml
vrOF+FZrWwTmRww1wthgc8tnHD3GzIhkhh5KqRNYueFZVRI/yCR8mxMWe5HWHbKgvEli8lqg2Zf2
M7kOWKZRuZ0rOgaVvUsaQ4TztjhW7pJehns1fJNpEMwOn35SZpRKNFdhhsnbkA6g2EjmG6N1lGSf
2U+X93LltAEJDQ0IC1KiDNKLU1E5BtHDJokzBxMyGKLoWOAEOe5oZUoC3NSN1IrqYWvrjW7c/6XF
AFUc54KVIJNqTWkyp+vHnsoxaTZtWTSCcYo1mBJiYFAaRw9IAtjYU8XkuQnqYkLptww3qrzvay+0
r3PJyaoNS10kHDa1vCdlTRv9M7C8UH8P613Q3UUirOA1ALWTL+GWOIlZxOKxy5zkpVkeUvVH5VYg
hf3dbRJkIHfhwbgLPcvrtuRGBK64ZkmqgQ4x9HCCKI/HZ+p7FbgbiyUtnf2DXcw0b4lCTbxXHXCf
hnRZ/ssWtSpywXIE6g9O7teD4eg8haPJqlzJMmccfbvbg6kb//+YDNUpRWNdawUu8oUb+R9Z3GtA
j0gfEx2yJkDyZ+E272PaRI4837Szq2n3ExCOasm7rKC6dmaOpXL+jwQsLpoxBWJSlizYe6MZX6tK
0fwIAmu6ttpIu1UCYvwOhtEqfdZ2TU5TIgc7Jiv9/TClOYqyqgIubWmUd7bS173T1A26L0qtU3In
lWzlM2wY8YaI4YpqMWE10lTVym2QROw5zPUpdSupxVxI0BuC4tOadrCYBSHZNDA/xj0gjQpdNYYF
c5XipW16C6rtiL3Ys0DMYvW8jwP3NHDkDCBFAJ/p9HzaQ1pNCrDVQaWubOpR8a0m9KZAE2zWqomA
uAqTcCo4cfAgPpXDDNI3Q407cZgAmuBlQ2j8kfq6S+gUqHHg21EXeEC4bB9SuEDT6XPMsVCWZKGo
QvnVzsWrrMm4NdFPDeAPvmlknuLe0DpQi2g+wKeDneICe4+O3qfiMjT1d/fM0/bmRKWUqhaN9/EO
HOtetgWm2m68mrx809HOe1QP1WPufGOuG7Pj/3wc326iKcUgSQvvyWyAbFx77OwdPjLUN4N5nfeC
fu+1zT8WxtnYwOCwpGUlACCiqnSQavm3AtyXh06K0vfLx/XsvkFfIoJw+EBQVmFQjDM0BYQFUcYK
GICsvZpTc98gcvn3IlRDQRukDNghJEJObUweh260kwlxV9kRB8A8rSOxRhB1rRXWT3aIc3ZlNpsk
W3aI3Nehp1ypnuX26OugGGvw85vAk90/l/USbRPn6KZISooqWQyWPbT6rlQ2QSJYujVQixOtuHta
NwpSNgNkmI9vkTfvejf5gbGg24Pi3M3bu4BmIdUPka95zL+snXBBOddgzHbdVCpEd3/Mp/mtv/0A
ZvkGKN/7u2wzOkkp2MH15VzmnjBoB8fKWb1aahiP7nAZp8afMb9TuyshqfOqCKQNZAwfA9foKyo6
unw7u4ijoUYwKxvTJhlkim4JlGtF7cVrA5FALrJtYKos07EWZxlq2iVq92UZUUGnSf9g+WfWpQe1
gYua0l+1YjqKHjtGlmxn8KayJLoT7N4i4sybHgXJ3O4lqdwqtbYYJ5jpPLCnvsq2NPiGjVnnKo2l
TWDoj3JtpVSWo6vRiKR3M04fMqUjHuApJYEhr12bwPfEkuBWI3gZcT7AyodEWwLpWPvdKt6AxsNq
3hJRJ4VIDOcEgi6uBqWEmKS4CWK3DK67GDsgAqla32Awg6MRiSCM46/nbkiTqKmSzGGJGfs9yHRi
Oz7E0/Rkd69hnl7XaedUcvTaEcnP03lnqG+CDV7JQBDt6BOW349sWVHikGU6PsFkbvhklTQOafpn
8irvVpXo6+CyR2Wizc7e9QONBTfUWhS7kIYuIHKmhdG+U+E9a7JeNxBZtjqI9F5gbHQsNnX0KxO1
Ma+qeSSJc4CaCi64colh69Zw7eQtDDuajDINkfyKumFXBoOg6nF2IwIWH08+0KGCuQ0Da5xuEpv6
WlviV2RGRpol4+TWnf6N8g1SK/B16NcHMuzZgZgivZXlHCuIEm7yPKI2IM+uwEZWmgPBFCovI/oW
0A74SRhMjZh6JSG6kxnwS/fj9NJZfj0fLMCvg8BPMV1TBEmzNhZ0InM5okd2yaIAFJU2ZKpgrC0S
V4GrKX/22o0W+JXqzuQ2rJwJnkh6q1QnBfpaIbtttiPFzi5EuZjV+xNQPAv+Lt7xwGg//Ro7b5bs
7RLfFlfMpob+OxjvQf0kBXRQH0kAUE5PARFpfWskV6hhBABUqfZd55XDexp5RSy4VdcclI5hEGKD
3tAGJjD3PWOBPEqK54Mh/56bt5KYAO+2AK0knLpclYTZXh3jkBo5w/817YCFNYGkxkvdYqtvED74
QFs89GgJ3Rr+20AV37yNqH0j0WbTAVaFFs576AFMyrHoeKV4yS6/scB/Qbft24Qgo3+ZNwG9L93g
OvReLtvq2tVswFJ1W0dV7ixI7JKmGQ19QPiGNx8sZ47uLBEM0LoMYJwpGt7FePGcLn4TWUWHOe7M
ySdjaxrVtVkoW0lpBM5xJWlP4EOWxApyqHAmp2KGJC1YaiO3MjS5HdF5UOTbHlji+1quMlerW/m+
79Run02tTJwpC/PXy2u5/qozTeiIoSMYGWdluGilGmkyPFK3IKDp6PgxEteofcz551QThBprqwrC
YBAGAc0YHBXcnavEbWcGSY+n0eDb2o88o7Ikms5ZuwWOZXBLmqCLugrn5dgwdzZpom7VFDDkhQ98
HCKa+ljrBEFp4q9G3J2DwnEexgwaRTVemBBXUYDLvr8Vm4wywCYUGxPEsamDjPJhdvbGr2krol1b
u4RMwJYCChIQS8hyntpQB+B55AjxCfWMw9CpMY27WGAmqxt3JGPxIMeeOpNGXOKQEVgYjgTlubJT
m/DDzBpR0utMkrXAgsAgZVR9cO64BQ1lSSd91OfOHJibSGGOamZu0sz+Zbs/E4NTB4QYGDya/DT8
d6oQiKujmXQ4eFK1Y/27HGwykVtdM8RjEVzUVZXahCQ5RFR4eEnBYSZehOaPXsb8jgUaBO8bGh2l
aTmPpVWJ1lj1Iq5XHT2zr8PR8KZofrgsZlWrIzHcEe4qtB+3FY4XoP7B4GTWNc2lV9I82dKuFM4r
Ln+Nf5oc5565w6yySJ31AdKQaWjTt5mZNMyeETuH5WtreUUhU+u3XO3A70Av67kYAC/5+FRxBoKa
sSmxHJdM+tQUN6S9HedrOb6NHi+LWVvOYzGckWTWUGEkDgoGySNrdJoWTqO74Lee9Q2iZoFSa9cN
wA+0BefHALgrd4z1fsxV1mN0tn7LUPgOQeoZ74OHidFvNGAAHFRG8lNFXAH82tPzVRstAX0oJMnG
lRVvUvWefAPp/1jE18125JPUSauroVp2aHidh19q4yq1k4lGt1e9619FzlINkZpo3QBFWrlw1K6h
QDq7bAJrrghzMMC/IQt5yRlhWVKitmAoCDW0gwGIiAyjOaLq6drGfxVPZSSjkTPlzpE9wtE26FdB
HR0FhM0MCIUMryO1ZHQsN22euPEg8EerkcWxTM6TkzxRCJLGcLEMtLv5oWU14C+u5MwfJqdhN6B+
QIP/5bVcObXL/YEZYE0GbzufcpdaFtcYYMSLAiNi/YLnm/2OJzTj1B+aCNDsq6LHuQgIw5seV4gB
QDPOxsG5wLqoDlAzcXSnfxx0mmV0wiDDS3TV7jQ/289O/mCnFFB11Z29szddTm2X0NjTG0f0zl5L
wh1/DuE6/0kRAH1Kgu75wdoQJ39iXnIdbKl0HV5p++hRfri81kKB3I3DBkCmFzH0jwjFfBK1XHbf
bk2IGl8CJ92Vm18CiYuZXlhxop56lXnIAq1PIHFAHziVaOKM+9i/m5Htz0H2nAhO5tqT8GRJuWMT
dsOAaXjIA+j9QTvMvWPThBY0v9Ud+Wdxw+grqd0bbDEG6Ru4U0GUIlxi7gzlYV2Qpvj6gOa6UX3Y
GPE/2f4VZY3ARO2cgoJHMJWzYtdAZ0OuCkj8NlwS/yQwWNrlZg9ckM5AdyAQOYjV0ynxepP4rfHL
ArL7YLyVSBnZLMR71EfCnib2Hy2erzNkMbtmq48H23xs5R2xHliXe1KduiaQTkWzV+fnfflU2wJI
i4ngl/edcmRP5ZzhU9PGi4YHJXtH+qKX8Uoff1+2vWWlT0wPxDwE7G2IsGUgNPJJmMYGn0wTktTp
igJviVlvaZLOpcBpnt0FixTbWIpHuDnP/BcwvkqSR+jUALTXvG+K5nm0VbDa5+T536tjqkQFzZ6G
Zho+7dxrbQD6ERQN5ZD9zJDRnVXmXBZxFtpAlwVBGYVrNOwofEtw3kpairwfSlPl+6Q9tjOosFAW
YIzm0YtBvrFySPojXYJBctXkwdC0vJyS2ahROYrqF0NhByusX2wmgnJfIqRTM8A7fSm1oqUKonhE
waQZpTkxs9YZUz+W3Dy4Sxp3sAVHUCSF86yWMerhmOYtcsZbY/rT2ndx7jJ7FtyWIjGcO7VKM58U
JW0dMLC0O7mJPqU+r16Byf9bQcOMYIdE0jhnmqWtZcN3twh1/5DJs6Mn0uxTUS3q/JxigxCvIQRA
qwoexadXhGE2lh1OceukLATtU0mYq0+RyNpWdTmSsvx+FHtGo40RuzRpASJnuVlnbdSFvkBaqjT+
vz1Fiz4IMQhMG1QQ3DukSLMI2ByQhNQk0syO1DlB9rOFadi3gBoU3HjnZ/ZUGvccmfUuBGA5LGKs
2yst6BtalU1Ey15pfbSpTJQMwGHKbFuUtVlf0L9qcrEUJk1NzWZQs54ey0wBnaRN8xnvBk3glc4i
YfBpoD3LxtMfvJUA5jvdOd3suzaPcLRyK6CkNfGGjOikSl6C+wy9Tm5m2c6giQB21xYWnRMLbd2X
V+SMv4p0lig1jL8dQWUDdLRHpuxY9hGWE/iQTIGS57H3l5Z/xXFxA3jB1F7uIQ6wO15i3JgY0Svk
baDdGcNzFPlZ5yDm//eWeqwid/L6EtWLNIVM1n7x9+Y1Il8gtDNPNu8t0bvsfFziS0U09qGzViHw
yKcbOY5As7UMECza0bMho3a5aaRdkjMaawdFxa2DhhDLNXHdXFbzvAuNE8yf/aEKiFRCcB/kB7n+
EVs/i/K5khoHpJPoh8P50KTd1ALUg5QbGwFiYXSbPtM2TYghEkyRBGXsyrnmE/SFXP64RWn+ekJ7
+T+Lwll3WzUs1yRYN4CDqRo85OQtHgUyzmKuRX9FWRrFDKQc+TpJXdckqCfIADhnTScb01NNOPS0
J2nnTV1+g+enqLR3XirihHKOqc/MWR4ZpqUns3iOx2Fjhp1b5gONIvBRo2+0R9ktrt5LVKhj44+W
zNe68pzKGBc2ezc3JlfX5kMd5JvLC75uhkerwTkumbBuRMDZOhrAmRrpVe22fb9Jp08Qy9F88Fh5
bWb7vttdlru60ej5BCsXeqBQtjq1/hz452GMOXmAduVbw2y3qgUAu7wUqXdWFvxad7Q/wLuDZsng
/BZm2DKUP3Go+3pygj5FU1PvtchpGyAsUHT1SQ8LtzeT+2kOBbLXbvIFmu//RHM+TB/QTW8vPqwj
/T6qqp1miC6D9VX8K4LzIfmgJl2ZYPPsdgTKkQ4XAjInXfmWyzhShXMZA8llNZ6gSoUUiJtsUUP7
E23RQnuot/k2t5w79dGi9kDxvNhOD98xlb9KcqZS5i0bUrQiO1GC4SQ79lLSeMOUCWLW1Yv1SEfu
hJpB05nNcrFa0c6Yfat4sHH1JAdgvdfytkvu/zut+HPX2hq6krGkqeI2wzUhBzL+uixCYIB8QiWO
g8Eul/BYKp5G7VYYRK7+fTwnUctEcwZ86ekZ1hodwSqgRp00v23rx8reXv7+1ZhDR9cJ0q+AxuND
HZL1hZk28BGtnByGhFBNiR+N8ono5bYm6VU/Nh+XJS6mdHb9HEnkbKDKiFzZKiSSCUV6Z5LuKmlr
FL+CVmBsqwf3SBC3+4MtswRDhYCZtW47QInqHYZBRX2Cq9rgvQ9AYhSazzp3kmGWYl2r4IAGXG9Z
Ou5AvFDQUH6Tp8ppZ1mwX2sxMBrAlrYnFL+AkX9qD3pXBEGR1YtS20Z/tUBrYvutiFFg1SoAAInQ
FyxACg8zKSGbxCyCpWMkdesWDT9phbu7cRS2Rb6JSoX/DaP4K5CfhQ7bAm2jAwRWxcZSb2qQHRW/
ZetJIYI7cXW/jgRxr2YmWRUbq0UzoMmQ1p2A5ZZ8qIpjz4K+ny8OCd7QkfdF9wGqlMifcPaXmRNj
U9gi5Mtp6GD8YU+c0ScTjbYR7WmyM64H/ybev98Fru10b4/NVeemV8am8nOKJXeQfxccifNSNK7q
o2/SufxvKQ91rZEGlLy3b5LH9tq2vSru01cA213NN/FrtJu9+0Smxl11xcBLiuBcEBmepyuXT1jG
bECSCG49nkciqUtAdNhd40zIC+61zeiGLgiHeqf1MHpzp1F1Ewo6KM5ztJxM9fTUTGkA7AMLMj/Y
7ABV71W+m+7kt8p9Bx+OOzlgnHfDvX6FVd8aAos7n27mhHPh0WBrsW3nPRTeL30zhRdMTrKRnMEf
7owNnrGH9AZoYaJ1XszrzPyO1pkLjRiet0GZQCzqhG7lGRRo2AloO5rPQ/Wk31pUcsm16cquuqkE
Tupr3OeSbM5LtVM1yJOG9cZshj/TF/N29D8eCO184ip7+U6+tR1to7sTTV4fOx8Ruggod/UxcGxm
XDjV5209kACfAPBvBSbWeg8zHX3J+Tp6uZ+9lRtzr3nCEf3VdTcB54QSKoa8+GgYPRBTw3qsu0mB
l4d2KfRb0P5N8wH25YNI8Cqe0BoVV07mByhxCcLItXhBO5LO73qTYjzRgvRA1anee6o9fUOCDsAD
DaUzUG/zQ06llEYw5xEz0mnsoNvYiYUVjbUl1NFUhQYP0POcIW4reTrEkQwRDeb/3WoLJ91+wHKu
PvOXkv5mO/Y00XDXOemLJVrAtQv2WDZnN3qjaLMSQLad9MBOcVjuhkgdgOLx8o23miJAH56CSxyI
pmcURKSv66QC6bWjdXT+tGmzUHz/ZKhXGfcpNWoHDLJO8Y4EyUCnjdArrUVHx+I5QwEpWpSRcVnj
iRqf41tyHQPfFHAxmBKklpP81PDQyG5/CbReeyuamMMF9Y2Grnl+PiRu+zioBg3Lq7yYKbWS38Q8
9MlTor7Ehhsm+14XLPTqnXcskgs4zUgbQswDN04d0eS+32Ig7xZojFflLtkOBiXgcr4xElxAAIRG
VTL2MN0dPqN2c1n1FaM28DbGeAxytHivcpFHUDdZOFYoqo/kuSgcO7st9Q1yiuBhA7D+rSWKTFc2
GJntZZ4cTV/gRePkqepk5USpagddgv1mtNHgpgdxj4cQ2GYuq7bidEDAtoyPI9FmGHyjVBqVUa/L
gFZH0d23yukn0HME0dSqNkciuE3Mox6hNgByAelW0baY3Xa47afNZT1Wzj44RZaS2kIWjQnO0zCB
VF2sRSWEzBpSoSzxOqgDTq3g/bKctdTrwsaDGSm8GRSknk4FMSXTGqlra7Bu70eEh8D77XUAo1Em
AdJlZ6XXZfh4WebaHlkAjNc1dCKgIYHTjWlxGSd9VzuNlfl5UO5SsxaYwVqeC2r9laGeqjUbIcnT
BDKSEl02AIPUaqfIS9pqft2680T/h7QvaY4bx7r9RYzgDGLLIQdJKWuW7Q3DctkkOIDgCJC//h1W
xPsqk2Ikw+5F96KrWjcBYri49wzJFKbdLk026Mdri2P2nsciB3aFfrqSKBeMesCKWON9HP9i6rnq
f1+fvtWlAd19WLRgUwEcdTk0XVUjH4ehgbbVS01BWbSgdZrhhn27Hmd9KP/FWRzLKWdoh3aIA7+J
3Lq3+3tjS/3xM9sE38gDthEVYDB64Bl+ORaNsELF+rz6yupxyuKZ6Fq9NZPVA0ZuJ4cxmSbwtQW/
q4z02FDrGwWNNuRTUj5dH+2/+PRFooifAmEDE20W3PSLaTVsON4buWqCoVBJ4beUtG+ySpMHUijx
c7S5MiGXJkjpw5MuD4eWe/dpnoL212t5HeBA4wf88WrPYVkABA3ykjvltZL4DXWTymfQY04o2IFM
E2rPqq6+E2nSvTqu7jZ+IQVIW3risAeubOefxMvpezea6HOqkbwxCvJPCPGP/pHFuYEF3PjKVLBC
6MzsS9XPJatYjJ5v1gPbwamk+i1TDY8mzzP1KAGO/sHgNV7OtdGbN2bfe1uKa/9CzBfzR8EPtsHH
gJccxNEvP6XUumn0mrEJuKtBKfwVUxzB9mI30enQeoZvjdDMydhH4vzW6+4ZokB+ambvuDDC0gEi
BahT3nzPzcS3WwnysYFu2vCnyhLwGp/baSbKwzODbLHcCgBI9NrBNzY7diuBTqkqdaPI+/WltHK9
XkSZN/B5t3XyeO/oiEJbIe8h2dKkfuoB7+rrLpuOOm/zpxxOUQkBUgZGYg/Xw6/uW9ipQDoD4LlP
2RyICFWie9i3AIbcFQbwzxq/i5PkL65BfGoQxWZrddCJLkfpqKR0RTY1QdqTL0IfQtCsU9BQNnU6
VvI0Cj4W6hY6oAx4pl8GmmpDDqSczzs6uhHtC3SnRhdSCgD9PDcJksYpqczALAzpu17LI7Pnycv1
OV05c2c3uflGwZ0Fy5rL31APYwafr/mcQr409L8b6AvYTqS29EO34iyurabipbAAUg4Ms9hRt77T
nfgtK7wbCUfs4PqYVupPGAzufA/WO3P+fTmmNFaiyOZl2lQoF1rPGVyw4XE6SDgrjbvrsdbGdR5r
MS47TvEWHRFLoze02Ttpd9KTu4JsqZytxkF/CQk9yoUAJV2OKRtwwk9wVoErnwn9NhOps6O1xm/q
9iDeuA5/vT6ulVQGpmxoLuIcxUG9FBngKmcTeHTY6iV4aJZ8KuVWoWxlO1+EmId8dpoMnV3TkeJc
lXUFjqmxo8YYdkP7F0cjyPKgPSJrAZ11MXMJ84xqnLez3Xw0JQ9U/Jxpv67PljFv1U93xFmQxTIo
k9RpgW9tgpr823fRc1/lX7l+NIxXq9g7ngJ2I5DdfU/3AOhfj75SScZE4s2jQ7nIBHvsciInSP1w
YOCQUrutT+wDTDuhNX2foxiahu2wZcq2dgsYyKuBjpsRMUu5m3KATsfYzEteyGOc2XtDqe/AVNxW
yXBn2xxiJfbRseTb9VGurchZowkUTKD+cFxejlLEiZa7LUaZKejrmNU9mLZ/fvLPRLP/C7FIDIsh
Ky13XiqOzh4HvXzK0hngusXxXFv4+FoQHEPxynaW7oqoXeXwMOA4CxsawlVrZ4rpSMsxvD5hZG1d
4AWEbGB2zwOV+3LGaoKKrGlXTdCnRl35BcUH8xuI5IR6mTfObkgdd+cNtXqGmOdwL4oiDwuzjvEv
afiRPtNZN/pET1vTz1RXE79TTRXqTqONQZNmEIyEbdtJQwE0KiZT7GfZA+HHuq7u4oFMNzZAye9q
MjMwx2lcv3cxLSMvNSAZCloCu5NtMz1SW4qXNqPTzQCsWzh0YvJ81E0IqKhTh/+rJUQGOUDXKh0/
QXHjpwXXxiGqzKo6aNygYaLS+MGTZo270iRyV9iKB46wh71VKwovLfBx0FJJHyD9zHa6UcewiYqP
eaWZR6I5kLmfrB0XZNxNUlDA1Oj4hZr6BOKHZt85NV5bflr0VRlZPNcfLeVyKHQq2zqMUzu9jY1r
lL4kmXiwJvTH/UKlXezDGL6IPCcdXlShjH1fl/k3LWFGMPbMBeZIiwF8uv7F1968wFMhqcBBB6rq
8gFqUjjsFAQPQ53Y5I7FtbjvZdMdYQJtvwHaFmd+w3sVCk1595BwzbivsnHY2EZrdxUUFlGHQWoB
oarFYQgBwUznGn5Fl+l+NQ6BLZ8tLxrbjXxw7Z4/j7NY35hAa1Qlqi9ek8Bsd1fRHDJEYS2fh8Hb
mNqtMS2OBvjhFkOXI3/RS+b3EC9KgXUuo7rd6B6txoElHHx3XTwEl2d5n9DOMluMyerSsOJh45yE
7fnEOFxfKmun6flKWXyjAj01IR18I+RfdyonTznv99dDrN0TM58GFSVoZENe6vL4kXjGtTYqsED4
GcHUQ/StAs0lhYCUVlQfFWg8ceYdhbvVvl1bFtAjQaUMSw/cxfmfn+UVlEptsOYp5MadyYJKS3wT
5casOKA19xfL4jzWomRW9pkqyYBpFFA/92H5Wu40V3/pirp5AlTd+puddZatL1Z8UtZjWxAUzxwa
f7h4/foJoF9tU3i+rMjT9e+3vhT/exoslvwItZQaQlNzagtLycRv3DwS5kucbk3i5w8GwvOMu0AL
d+7nLPKXhsH4E569ZWAUKIvLFwvglcR50mwLRcINndHPgwLCA2MyURREhXy5OFhcDnQsbCRIHqQE
fmtGWE4PvXr706mDzogxS2BAa9YGkeByCY6OhARG5cwiDuoxsz5gGHcS3Atrdws6vpJ5zuZNsyrF
XFP99Iis7cQtOUEoKP+Eqr8ZLFSaDhRXo31rOIGaIheSCZn8lpFb3Lt/Pk4UBfF2dKD/hQvncpy0
R/9ZDEiqddyIKdkT7wiGPQpBW54Nn48rPESAxgDi37axtxdLxLNYIeiIQJA1D8asv1eJ/Xh9LOsh
kCtBVBBP8qUGqFnpTWo7nAf1mByRyaBTMYif12Osrb7ZzwQydKhMfwI9J2nPPDuGt/nkfHgQtSDf
mhqeHXIjzOcEU58/iY6Vh5UO3bvLz5L0WS6Bd8Vs2bdVTU+lTUJ43258/K0oi7MPqkTSMhiiAG2w
n1hzlzn2PyUvN2751TkDqx7zBtkaKDRdDqZjTkarAWES9yvjH6qI/boNN810VwrrmLT/iwNCzmUc
4XaVk0nEKXgbavV+Ut+t6mZKUc1zc9+h9xUY1nVQ/DkO6DLuYmmbNUU2G89x7S6CWV/AB4rLyosG
he6y9YRUKvjjVUh1HIAuKMGzSfFi13IVs051OXJkageJQgUX6KPYeovVxtN75dNdBFrcIC7sgQxr
RKDWKspnNAnNI5QEq9uxEd9zkm4RkT+/d3Q0J+BZT1FRAw10Ma5eg3OvYeGQaEX+ptcoJiR978OJ
zkc+erIgLBDb5l/MJR7DUHsACMn7pC2ZE0PzWNZzwI7dQA5AX6ch5aMf13/cfwGfFgXef/VfcXMt
BscG2dQewdEBpZ4br+Sp7xpQBLLwTPrz1XEu/LAIREddDDLHiEaoWDDzZaCPVhGxZgvzu3ZzXShM
LC5JFacA4JUIFE88zPMpsOSuJZE7BsK9MVBAEWlQa2ELX8l+umXWxuJcOb6oCV8/fDqw/JxlGYPT
atYFhcAFhdOQoeWROdqRYVYbWdRKcnMeZulpFNu9UWgFwiQpsFjxd2nVz7ZehZ1pHCqxtUpWo803
5CxzCo2vxWHJVK006U0YFL6XLqpb3f5g7FcytGEKaub1lbJyY6JAjjo8xKPAu/73A58l2obW6tDi
xdAsxh+00roj9Y/rEVa/0VmExQFS62OTlBQRSDYEHLCJyeie7LzYXQ+zOhDHAaHQolgR9mLWOsbH
ctAlDg4vedSJerbYxrNufbGD7ASJe5BH6bLWXzH8z2XlYLGr+CmeVYurFwKFAVv43jNHaX94JPaJ
/NLxruRlt78+wLWDGF1IFEDn3AOl8cu7jdttHTvjyIPM+5K5eBnJn6yPYn3aOA3XTmALekLzMD0T
NIXLOI1TSsNkEPzNLHKCe0WoKtePR0DiaLEf0Ctj5dYdswL9Az4K7Gj0hWAQg5rDZcxikpzLuewI
pui7naijy8r+OymsW9E5J963bjDZ6YvbkCcmlfSdPDWOjS31m7isj47dWDvR1VAJMqzX67M+R74s
CqNLheNlJkZB0GlZf2uEY0g2ohXWSHQJ2wDV2aTeifJXDErKSF/6dGMdr33m+bkNJA6eBPgKl1MB
vrjD3CbhAdRF/Lj/IARlrQl8g43PvDqwsziLzM+rSap5lQaxlOG1Uw8DP+qOQrPzIOjJEDsh/+Lu
A+gB1aR596DyfDkuhsWrxTJFau5lKCZByQJQsbYxNoa1dtqch5mn9+w8s7suaw0P0+fSB0kqv4NP
iUdfri+KtS2CigE+07xegae4DOKxtgQyl/HAUPdxeiob2/fIAZiejkfp+DcTdxZs8aFSvanasshw
6ti6X9e3Jtu3hdiYts/C9NBmANoKz7JZxcle1rOhnQb1HAtnW123vpNavnQhj4DKjy9VdjSreOdI
G4B2VEicLA8MCKs6/JTD9muAi85QS792fjv1lrXj2ipFOgkKOvA/YOwuVg2O+VhmKR50vCMhBPmx
w3/not1XxiufwCU5iTK8/m3XFhDKnjbkpNBqwr6//LaCaB30Gwt827rMDrVe2MCXpOpUWYX7N6Ew
78jeqY721uLUs7GOYk4xuKqZTnSENKLSX1win6+PaAVJDmIhosBYBGLjn7kxkAcrAWjHi5U7e5Kn
r0PHTu3wa4z/saQ8emmH1nivB9ABfDaYihyzEaFm6v7g9Fv0rbXk5nzrLMact0kL9wZsnRGyeATM
WdjspdVdx17N4W9O0v82zhLDPwBcJ4sEoRLjm/AOKn9szJdaHK/P7up5fRZlcS27VOaqdRCFekcq
3kfxBZ4gg9y4/Nf2wcwymbFwOmRLF6vSTtDXYiVeYYmVhLT/paMoimikhc+zxnboAQfeuJWIrm0F
ivIDBfQJZbDlVmBZZZYNwcmDLD6iwOdkqNF75PH6BP7LWVlesedh5szu7MjujDrrNYowGrqVr33u
DABatazLosEh47MNo7p4BwY6d3zAH/oyFAYdfuCskkB1GAk85byh0AKkBEb15Jla96Z6g81ao4BJ
wZAAsJ/dmEKIlDYV+SjHiT4NblMIVAIM7zmLM/qoXHDjhzJuv9X4KxD9A37ua1F7at+lwDfuEs0e
Oig8wWLbTzuITD02EpWuEJu2VUGW1ZUXmJae72SqLB5JoHfaHWkL15fTZIVtQ8SDiOupBIC/AFK5
Fx0JiHLErobIXJl0cIFs7YqD5J32gkL4SNb3tOmMyXddxf/ResK+jnoOoR5GoG/swzodryplQ0WH
t3XSB3YmTPcmH4gVmiTRn2U9qOzU26P7YKQlVRF8mSU6LMosvuQm60Pofieun9rwC7MLCIPCiVKP
31JBFTmlJYQCgSezyBf0hJtjmjRkp7IB2cFoi0zf25x2bkDHjLzKrIb5ad8Pxd5oumpX2p7gu4x2
LSS+mC1vIVqsfsR6mvWBVJqIUscUxcZJurYJz5fQ4ppoJjk1Q4btUUKqqo3v+/iJoOjj5S/X1+pK
cw79MIiL09kiAgpji0BtptupMRcYR/WFV4eURJm+G+tXD26UIruNydHSDtdjru7Cs5CLjEaBpEC4
hopIA412YdaAwKbiMRHTt+txVucQSh/QmYNEBvb85TakbT0NvEAcNIgPEhYLVZ29Zpb7JHq58bnW
p/G/WP/+87Mtr0YumTGXgif3YHgf+vjY2SwYvR+2iKYpavPHrNmyklh5ZMzgOih/QGoGmYS3OKkh
Zpo0UA9HkY6ekvqhkqdG/UzSHyOQK85uxIZlL9jnPtwHQbv0KzNk+deu+Lg+zZ9P8stfYV5OM9yi
vLhL8SuGHAyC+LkZ85DrKohndtd7ygK21Y78vIAQccaczy98lN8X4+YO/AdZ2vEgB7Vf1NrOZt5R
xlthVoqviINMDVJXLiSXlqpBsRxcUUwVbkLpPtt0eGRD2hy6lN64Fqv80sxlkFp45HWsObKqriMP
mLqNpfU5vzAg+wdKEWCU8HBZilhNQKYKNldiWduekMum+7j0+rAbtc6n04hqrJOaf34qzCN3MbkG
Mmf8gMtvGhuQLTdyBC1rgGF/5enoWw2+pPZNK38M4z0sJsdpq2+z+lnPgtqXQfUyLpLGxkJSznTI
DPdrl/a7Crz76+t1Za9icHMLApLG8CNbVj10GIfEld2iHgBptrK8b+hLiWyjBBMDcKyobE9lvKUf
/vksmmPOyBpMKe7exZItAdegfYMl25a/mjYPMtgKxKCDbWG+VufwLM5iM8bQ3hnRi8XZ2t5UxUdX
RobcSG/mz3CZ3VwOZbE2moz20KPEULrmcdIrX41bBh5bk7VYCJ7ZEiflGEQOgXXcFMeceY+kuPXg
heFfXwyrh9fZfM3zeXZul8LL0GLBYLj3RSP/aK3rT+po4ekSG3fSiP22MzdCro0OO2oW7AeQEVpU
lyGpVfdKeqgwm50dpuWXkd1zoMitLbv3taVwFmfpNCTT1hr1FHFSg9+6Bo86ULqnIgmvz+BWmOXK
VsVg9zrC9LD7prAIScsmFOWm0dy8cpfLDicRgQI9RKaQPlxOm6ylYMBZ80AwCRJQImN7Z3Y9G4Fp
7KzyBKMU1My8WrsHQmyILIjQfPdkOdyaLeScfdlA6PPPRw5dQZDkLZzLuIsuf5EYqKBMhyZv4oKB
0JRFGyS1jKNeGL/+PNL52Oe5OVulxGpsPBMwdi8enqvY+KcldkiqjWf12l44j7LY2AZvJzHG+JJE
vtNO+EYF87r6EWiHVJ+Qen5F2/4vxuWh4IRKyJw8LSImguUiNVHiZsyLd1mtOzcVJDzR2yycjY+1
dmrN/DvQ8XGRItm9nMKuLTrA1hGq7y0o/VQPjLvB9dGsXizohuEphXQabPvFcNI4z6D7gD5HrXo/
mUlJB1M/dMPO6iKDPphu6nf9H4NvwMg1LEiVo9yFFHARU9OoPgqF4jYYAgBkQS5kGo+lbUcu7za+
1uciIUKhTA8IHdr4gHtfTiHJad1MzOToKJb+pIXTkPiG+60xT1ze8Ob1+myuHZPn0RZVQlLKbipL
REtRNvb43tI71FVav2IbM7jCippJzfgPJK+B4l1SabSpKVo+j2t09NBzup1Fy5BBzLlrtSAjRijH
d/joBWOtTnFBdnE2bqyctbHiB6CMDEXMefVczmxZAoOmYPIAH7h2F5c/ey8NSwiX65RtfMO1PT5r
h4J4RWeKhXMZSQPqzaUa5L1pZg1QKplk48fSICDLtDakytyx/eKwRELWBu1JPAeRI/7FTwCbDpkQ
utPz2r38CVDW9zg0RWdIy5fBk7tZh7l7cLw7KztKxXxCmo29v7Zw0f6BzTzo63NX5jKi5ybKaAtW
Bcr7MRnIYh9KiKm3RuoTFSbtnzM9cIrqeJfMawrtu8XXNOtKwJED9AGz9+rberS9G9hoAKCm7IxF
Fqog+67z2k2c7XwDLm9IkHFhNwH8KaxqFjekwwYMNCeovvLYtywJg4TnmvqKf3fGLywH6/iL6+6n
uttd36nz9H2Oi2qaC7N7CL8tptfwSG8nULEKOu2HZpu3HNURnmz1KtcOcCTsqFEAoG6BAXX5EV1I
aZsOBIQDYqZ+M+6r6kFlj26Jmto+dQ96e2eau4nZgUQuZXwr9Y08Z6Wh8G8nDw7T84sbbK7LH1BN
hp5TTQfYdt8+eYGMhlvj1j1y3z7EdzAIhKCGfkuO5tOfzu4cFtARFAQBalu+HGQSD6W0bHBsau8d
SMGDUbknL3W2hjfP3+VXvIyzyDEMp/LqpkCcFH73bf0Kjc2jC/Jna464yACY1/bm0D+3DKp1svVF
x1CgLV6vD/bz8XT5IxYf2SalwaQO8rAzWl/6OA2Y3UZZYd9pbgJjdC9CzyasEP562M8r+DLsvPbO
8qshN6GpWyNs3ljI+C1fGCQqtxSItga32CcoGXTJQBGlKQIPw1CvAP5b1tcx/lHkt7Haett8vlUu
R7VYsHrl5nWK3DFo7CiFTncacPqubwnIrUZxYGE2awCCx7v4ZLxIdZx2IN7AoEBXe/jqyB7CK1+v
f6F/qV2fludZmMUnGieP4NGJMPZp+kp63/oAjB+5/k337h67R/HkIhn5pW3tis9nKuZwfrUDojAD
cxc5D0tIS2ARg90HnrQNEOlN85u4ITG/DJVPilANqLYdro91/pufhnoWc5H5JF1rkVEgpqF2efZb
Ob0/ZyDZfZdulVw+34zA6M4QLvDCAXZeAo+rtCNl02LTO96p4ac+PTX2l068WdPjYG/M5dpCOY+1
GFZvatPYV4hlg7iaupGIQ7sSviaP16dva0yL65cZNqtcsIDBlC1AiUYfoPqHueYu453vcitwey+6
HnFjZM4CpDnJpK+bZJ5F8aVKfpHhlU2ZT7duoLV1gfQMHBYUr8DiX6zFhhe61Aj0YRyS+15x78ob
6G36kM8Dy+n6iNYOxPNQi2+l7EJVvYtQeXaMqx86OTrJr/8txOIz8UqAaekghDQU+ioPmvhZ4wlz
Pcjql/lvypY1ENrC1zI25jXHehudDd4AcuwA8RN77heDxlvGcKtrzwJNBprDwNYsaztuJ7wGTi6I
p8y3KcsS9ANU2MjxVi+4P7bWu0v/HOyJPYwqLZ4uyIo+JQgU/ZukkTF0N6oGiEVcJNB9TcPCfv6L
uQSDCxkm8J6fIM9JZTQgAhOQb7k8Fihhos1AtSQQW2Isa/ckTnM8D4CQAId0cU8yaWdtO2ES6+FH
K26B8PCtaq9gMdGE6EUaamOxr+6rs3jzIjq7/UvBE2kqxDOnQyV9ywyT7hsxTlx8vz6DK8pPMyUC
zQQwMFw815c72GQSJzumUJ7oPWoRxnt+EAd2am6KVyNoNR8CVw+wSf9F+0P+oe02wq9dZufhF7va
atNWp3P4YVfd9xDNQHX1o7jV9ixsD2kVXA/3ee+h0gK2ExjvABTB0e9yWs1Sgzoqy9oA2hJA0Mru
FE/haG6c9qtRoD0MRhemlSx7QTCudcxxQumtzg7KuXOT10aFGn27PpZ/0eeXd7IFmU+YSqJmC/jO
8oU+SmNSJQhckPLTfBaZ+O92b9xa9+YNVDgTv9q3lq+jhOWnN+TIQlj43LKw3ngEfV6p+BVwycX7
DrhJEJMWU2rTDL7K+NsFVAunUDP8UuzS6kE0Gyt1/kOfhnsWaJ71sy0hvSRFwxHDVdZPKBOVA/xZ
PjamdCvGYjO4g+51Wo7B6I/dXR24R29n7QdMKwu6Q79L9mkgonzPfeQIYRY5R33vRfZp6321klla
KLwAmj8zU+aH8+VY7XGKpQ7pmCB5a37CsxqibF/cfeJrv0jED5BMORk34wbMewV5exl0sRWZQxUz
56DdTyDLQ+JPh+aO+fax3Wnfm/vxcH2y1+b6fIyLy9bwcj3VBoTLxjvoM7jDz2oLsbA1j8ssqBem
WbcTYryJo3cifvmo+Ybux3fvFKZP3ck4Pf5Pg3IW9Q5F+7wz54DmeMyco6Xvta3M7vNVdPGZnMWj
eCwrEscFQpBn6x3pYyh89sL3ZGM5rMmUnq/BT9KROjjl/Th/n2NT+QZ08QJjV+zsF+yFqDqOu/7w
6kXcT/aFH7NNyVDzc95yOc7F6ypxk9hu5+UoozhI7+z7bpd9KyO8rm7V03DosAcJ9qJ+ZMf73+rB
/AL/5Yh9xFioW87rm3OxOOQqnWdWjPoY9mMfWWF6l+04xPJ3NIJc+Aesjt+0fXb/nJ5kkO233l4r
VZ7LmVicfNQZHSefv8R440bx3kNx8naMDGgH/roD/uYn6PKP3oFuvI3m+V2et2glzbcLCFDg+V2e
QUKrR70zvCYgTN8XXXnbJNWGFO7aEXAeYnHiQAZOV7NkVAAi8kGI5MCwW+qeb4B7164oXE4giXtk
5rEsygHEKjr0U5GNVtL5kacl6iklAdg0dZ6k7Lwdd8yNi2Rtj0J4g6CnA2VhXM6Xc2ePsQd5iPm9
h4JukdxP1N0PQ5ROxxSoXzCRy3zj4FnLOc4iLm2e4trRx36YX0fVW1LVkarZ94HPHq7DVi15bWPC
PnCm3nsQSlteTqgg5yyeHxRgDN3mSffkljm87Wr3Rcn4qYcOFEr2r9fP1dU9cB50sVRAoKmbUkee
SJLpASi70C29n142BZR8H+HukCdsNzbYGtWoPbpVew+a5F4nr3oBPWt7uOEO2Yk8ebr+s1ZWFqr3
IEOaM6ft0/O3cpLGmzIGAVENQJxTBvVOIkIXD3pvq0uygvxB7R59LpR8DLi9L58g8NXTaSWQu6YZ
jEMg0iq00BiEL9i4Y3jYE6sywJAdURaanriTRdeHurpXz776YknXHDjquMQHMLppF/fNvZIiqNJ6
40OvLi6MxEVfFI/H5XMEcG0o0ykcCaX67nZAEo1JoGeBqz9M6tASzb8+qpUPCC2g+Z0605kh33S5
UTu9mfTMw6iK8ltn8Z1n1I/l9JsPIMU4WyrYq2M7C7a4uWuIAJJ6QLC4hboLzw95i3Za4Ka3bXc0
0F+7PrbVL3YWbnHsNQDiOU2DqZxioN4HGWWQDlZM23gAbI1qcU/3kHHQhhjHgYLBimb9gMWXpv8w
svfBuyXaP9fHtHrMnY1pHvPZI2BQtKGsxRRWhekjXQ3r7p9E8WMBXtL/Fmlx6bYab5g+v/hd/ruC
+Kpm+nn7wqFPdT3O+lcCCRGSDuh/Lhv0kAywSWZQVBYs2wfs774DcCNt88P1MKu3Oc7q/x9m8ZVq
7DaHCNyBosv1MK6YcRhlYkXXo6yvhf+iLD4PZxDe9XoMxm3vIMK1s8jXQR5Ft4cgZO19ux5sfS2A
MeYBTotK/2Lvwnl4orGG9d15Glzm8B4Eb8yC+FLKzY1EZXVcaBCjWwt0FB71l8uudpVhxTCRQlEQ
wkDuk1W/E6X5UwU1GCMwtsBma6cSytLAeUKTAM3T5TRa6Ec7KY563jh+3tw3kK6rxOM4fG3sP5b5
mEWgUaMD3Bo8uCUgmdtI8aG/hIpIYjiHoUmQR5sZ23PhPBQQkXq5/s3WliFkRdDkn7E1n0xJB15V
dtkl0Blvsqg0k/sxUbvrIVD4w9dYZK4QBoItKZzroLq/lGrMKq8cnTxvAw/FrRsny9JvJIEdrNFJ
gIYKM89feKzJSLeS6qgxq/zZVZ4bDFZcPQ/CS19iIFkfk5G3Uc41+AhmzEEhx9PupNUM931nSO6j
OYlpElZe/1Re2X7NC2UFTmuIr9CR99JAGUILYq9SH7qmOU8tOOn3TUFjwFfL9GAMifrFere07lVs
p8eEzHlaMenub1d1VRtaRWoexaS0SCZTcZz0lJRhR3MnvrXzNLtzBPoJfqlKB/4YQ2eO4ahGFw4K
mg2PsdytqAknNxOs2Xgq7TSC9ZbF/VYnLZ4RMpVRobtDhJfk8HvoFW3hB5wBF02znlpBLCd+HA1L
3WaGVt61RSlfvHwSb61Wv0JV9QGhhoOqODj1oz5Ng98RCqWv1CwBOotNawcWfvG9J50XTIYonnr0
Rw9JSw3gz03o7HGFjjEkYlkjItvN5RCMpe5CRqywIjfTs6NRcDMqjJnlbilyg5WkRXxo2qPWDPWN
A9mq4wjO/ICeg0pBu4B+9c887o3kxi6mIsCvFt5N07msimq7IdCdTZUZlBOm3EfKFuO84DpcD4om
nxWhR/FsNyxD8prj9gLf/q0Uzeh3GqU7NcSQ+qyJ2/ue3erfFQgZUDAqqtENbZoo+NCA3rIDPiAT
QS2G5Lmf2s57LgrVj8HgcPOdy648CFsJI3AhFrmThjH+o5MEakGNIURUQhnudaT4ZqHBY7cCIMJG
TLNx0ncb0sLejZ3U9AWZd3kYu741Yx8mz9ZpAhGN+tD3db0DN/ruTplwSL1p0V6AncWs+8trHRZ+
FfVix4da0Dj4Fadk8nsmUOGxZDXses7tN1YmOQwgCs5vtFLXDyLOm4OqoYvjNRMQr2Dy2Hg25Sbh
fp7EL84AH4tB6d2pt+BEluIku2lTXh9iraN3liyYidhJnoVE75JDBw+FJ2Dyp6Ml0VAFnpUZURV3
bG+rCYJJgg7Q43YcmYSiIMNxaHKAcRRTMFyA9sBviw1J5rcDQ3oxmAo+mImK7yxNK551UslfcH1j
0UgnuLrJqjt4AKX9SjUFFT+VedNtzrMYwkyO9Vi3hhawEnVw38KYd049wGBm0pLmO/jzzPRJKZJv
ZpahlyWY8ORDzHl508QFlHo8vSsebdnS586sk4fS4uM3ObYj2em5RfeTNGN+mIjW3qVGQXABArUU
lV3uPkIUTe9D6WmFcdfphXhytI7fmpqb/a4cJE9gMFG0AW3oHkfg1cJK1M29QT53ksPSAsKzN+5E
xhBq3BnMMQ0ybtzbK7QNPIxB6IdqOQqOYDJcXnCSktLxWrhdww5RD7UJuCQFm3hCQ+qSCLfeq1P/
sosGPEKcnr2f33yMSRXy6gSZ44/rB/gK+O3yxyxylVbXRZvk851UQAp6eIFUTpiR70pZ4dQnv6v6
Z504d2mMdKzrfLYJllp9ap3PxuL+LQyt8LiaC/gyu8l4H/Y1PBpaM2hKG4w342BDgcYtAIhDOxd0
7PeNCZgzl+UFho+BagWd4TWf0H9anUE2HxeY23zkKRDZbbqzePu9L94rHcz8ZqiAnK6SsBCpT4Xa
uKRXEitQWGeQAejxIF8vhg//cksVpEb4rv7igB6PrXIz8BuOjvXGSOc29KeRnoWaf8pZPl9p/US6
voEvkPh/1F3HcuRIkv2Vsb6jFyKg1qb3AJGKmWRSk3WBURW0CGjg6/dFTVUTGcQktnsvu2ZjNtZG
Fh0e4eHh4eI96oSmK0bURX7TKkV7aB+0cN0Hu0ZeiIVnojlGVY7XJXobCYLuU6Exxo09lPMQXuEe
VMfuASORm3EUQWiY6XZRxjfC8HJe0ZmIDgPfwP4ADixetoSLVQNfEMakgciwCu2OUMuXAwznb70E
2I/r87JmYixAsxrIrUuI6sGjd6pemwUVKZQBiQLlDT3pll475wXM2cdUAFvfyabBDaKf0ICApqYh
uMtIepl13lMSxQNeSwldEMfMjbcRTFYBBBZ5D9TsuO0iaoQrXB2xXe1t2T0E0aOvLWQIZ5fsUwRP
nBgMwlAIHUT0Su9oPVCzlth/F5TQOAPIvJF0mgwJTflqtJtGv/8bNWqgR6IChtZ1OA/MEp9uizIK
6hDHEmLrMEgto8FdD5gBQZKeMrnYt0F9PQaBVdBuqaNh7jyhzxv1TkAGYvaP26BYSQCFJMqV3VaS
5aWvYuoiZhMCzBgmd724kG+YvR5wTwHimyXeNP74Cmk/CJhTgXv6ljkYhUmuykfpElHUNn+ntTUs
yJuzdkxIAe9Gx1gFTtTpsmYNbSqFXY2xdEdz4Pe+CvpFv+QJ56Rg2ABd88DTh9vnpDQBHnyiAvuI
squqtAevt6iCEOKvN+Ap6HD+lMOdXbUw6y6MRWgDtgUx1zfVmOxzBKpJJi4UbOcOFTBdQKkBNDok
8ziz6IWyU6MAZoFwY58Y436Ilzz53KkCKhW8Ansu40F5ujdDKxKECjAFzG77VqtlGEXvQw+wLii9
n3d6c+wW6EPH2UIaGtDhJrdyeG5QQU1NRCVu/4SHD9p8L+o1dYk9XhTgUtNuvZXu6veov1tDbpW7
bCEJMavs5AO49ezMMk4SnX1AAsjpfpdlH/ES4vZcnn2iJSZHTlfUBD5JH48QImwQ9lP3kLr1Kwjc
1slK2+Zv3l117B5BIb7QmDFXfIZcwGZgbgk5Kj7vq+qkKTMBNa6qtL6NG3CshN8Cyfa3t1S05E0a
24utJ8w4+HtlKpLbUAXEMl3sQVXRbrfSxm8c7dhigNWVbOFZ25CbaCdfCkdxs1TBnY22GeQDcnsm
plb4gpSsFkOg1B5GO9f9Xr5HCilywrW3QV/BGgjiFNRf5bq7eDhvwbPncSKV/XxybQ9S0lAzYqzv
/TEWVcuTF6ZWmAF+XdBPtZgBTwSMRou3sQ8B5R6oe+1F9D17CFcmprbez2syewVMF5B504mkLNOq
OCRYwBSMqZf1U7YPXQGNlSt1be7qdfx4Xt78yftUjHMzfuCHbQ0UCvDvlY4mqRYBFE/S3Z2XMgMh
o+AMfIrhDBLv40KXWoipnfRStUSbuk8YaxK33q24eqk24YJaM8NhpwI5j0K0Pmxb8GDbyhsaetPD
KNpyZzVP1R24sZQl9eZifSQY8a4gP1houTcmUXMp0inMAx389VO1lp/RznIwrtSdumQfc7cpYP2w
mizAxyPm1D6qqKLmCMQPG5m1G+W2ddDpWO+jJ2Mb3GAOrbkwVvVLtF7ir5492FO5nF1ifk+JfZRE
bektdoOHzAl7IENa/Q36s1VbviTfIsESQSm7RBEyazs68MMJkLLQ8s7fhFoY0iAH7YPdRCLdVFmM
ZLVaD4MjBJGwDfIO6o8UhaBCUVP4VYNEtyMVq/u8wzSZl0r9JlfG7FCUhZi75w2bzPiF6bdxdl2P
RpkBNwF+IWttGcBzudCtzouYNWUke8E6hZcd62g83XEqRmBWNHTENSNBDlC5lehzJwebOG3tIkN3
QfpRFOJ1qwYL2Yp55f4UzJNFw9yNKhyw8F4krTo9WGVSsl5QbtacP5XjmVkCDZk/NkJvd7tij0lb
pF9wTYr3IGv0P/bCYXxJvouWslQcnfPnkzU1WZ594mXrMQ+kQlPBz5yJD3Uhb3yvWo86euB0AmpQ
6tsG1Y5VQZ7P6zvnbqdyOUeRKCU6f0QsaQo69uSVCju9uD8vYnZFCUbhJNCLSAACPFUto0Nv6B5W
NEVHAfKX6pWGfnLx6byUWduYSOEMvwkFAtJ3tm/hu1Fsm6WW+NmoiY3V4XGCWcIvc/tZBGrj0EfU
pIDTGCCw1NIvxSN1tDe6MrfNpl+qTM1qhCcm4no2c/YjczYxiVHLEIbnuDFa+UHo9rG4cI5ntx6Q
mBguY1O9fDW0xCwB0JOgUFPmaD7uAdJ03Y5/HZAbjzl05mIOEm86pNJOd7/rAnhCgLPYQ3WTdy4d
jmW88GqcVQRNGniXIHMh8gbmS0bd1h0uOzr8eItfepgNirrq79jxRAxnYcaY4u+yG5xGQOiMrdTb
EO1BTBeeHrPHZSKGWzAzEZGaZ/fpMGzSYh/r20Zw4qVHAPtYPn5kjS0/14xwb4/ODDNgQUCKrNtj
tBfLb4numGAg7V1piTh6/sLEsxGoWwCZVfgBXCFRW9LRoLabF6Nxaev2OyOzlHWyCx1AikeW0TpA
N1AWfNv8kZ3IZUs9OUFSVgJGpmRyd91avxJu8J475I1dH2q3tuvnZnPeB81uHeNkxDQV5rh5oGMi
NlqvAOjNjqR9OKo2gCW3UfkeC8VCJXk2KGcwGD8l8dunorxj4B7G9g12U6wM7UItHqXhMci2cZYj
2bCto+u0sCp/qdNlPu6aiOaya0opdbrYQEkTNJ2W+RjcSjeA3/CtbNMDGsCOBTs4iBegZNKt88s7
a7MTydwdCUoHHIssroGMh/bCm7TeKw2g8S7TaN/TpWmruX5mUMrCd4loLUQPAPM6E+MRowA8IxR6
VrpTHQDMiyLZbnSHo74uNig5HpTCSq/km/M6ztZDdMATotaDTlAAaZ6KVfKMxuoIm62d9hG+3/Ju
/e1zcDA343FB1Ox6forijSjqDNP3RmhYPDWutqaX6mv8kR+Gq760hhVZqcd4JX7znwNrMR/Awoov
7mcimjeioVPyhmnZOpJlWuk6udAvs83zvWcDHnzJcOZtdiKOsxypBQBq+WNRV6YlbY6tHR5aS7eV
m8TybX2fHNLXpUZmFtacU5GPrBjAVoYJS0zdXpXCRSwey84SNPQDuef3cfb6Y5lMDKIC4ITndcH7
OEojsCfYoYlxbSJZnfnaBtvzQmaDkYkQzpXGWlk3ZgSHI6ieJfU3qFKeFzC3XKzrB4RfIhud4ywC
EJRpavg43COqNfUQ2KOfHPLetH2g42Z6uVCFmHPVU3GcRfi1glG9AuKayLMS4q+a8iAUq3RpPHo2
yTcVxJmBXPaRH8pYuH6lbKPcohvV6p3+Aujb5QWa69RvzYWw6azsul8630tLyvZ04sEKUL8jow7R
ZK2+oUcgt0Yndk2XXJWFbV6TVbL2t6PrudnSa2ZJMu87jbJWmhSraxovabBL9LshQfPDplkioJ+z
/enqcmZpNp3a1TUEqWhPpJmVB2sZJDnnTXP2KjAlA7NzrL/j6xR4lTZGzWJYmrm+kKMR5sJPHkuy
Be1LE12IAWihwAwBtIJ9JN8BtdMLFtJ9cws6/QLmyidbKQJoXO9YFrNOr5LhFh0EFnpZUHS1zGiJ
W3puTdHPA3fCCj8GnzHVxTgdjR6hYThcycI7TVfKUtl0SQRnmUJZtbLARAy5dJ1FSIBp3gqArvbC
xjGnwfvgqSqcHcYtCH5BT4zLFAynyUsjuKXs+vl3RT2gA9kJBjs1r/p2IQycuVdhJgBtBGYkQgh+
MGnsuwRxN6RKJbUk6bUFllCaWkS67T20jDer81rOuLITcZwra/MwSdA7hoepXx5pljmkjlYthmXx
uFtY0Jlb4EQU58xGvBaNTmMvrTZ1yzre+ZXm/u+04UyjbAVdGWqIaNOrUXocpFtjvM3+xpMRimia
Ak5tTDTzQyO0AxZUzgKCvrtFE44abrMlWJy5NNlUBj8mIgm1l9UF7uXBSBxMSjumn1qYLX2uAeMv
+9RlJK5j2G9oOFyfX8S5F9eJbO42HWS5N9UOskXyFBVuF++SYpOHDyN1q+DeVze1cjvQbVc4RLxW
tAWHOeOtTqRzFgl4eUIo+EYBBE3sQHwvzcCKA7A/5OJDXrQLFrMkjTdKEKEnMXt1NeZRUj5IG9lG
Bija9AIdnQvryr6ccyjIeSJ0IxjyJ0hrnPphBaDUreFBM3VAuEyFvYjSblf7RxoFKPN6z3mGhtNa
ukG168ogIYPNO/8JzGWd+wLuJshTQzClGNpGPTqTDKOT0OBWSrYu0SVMoNmFnSjLPUU0BejgYgZl
m1C9CAR/VRB1p5itFcsJYILe/45iaD7BDQtaGD4dJfpjkGQSFFPplvSgIEbT4vq8iHmFPkVwviUJ
W+oJPURI6AvtdasAv9OY7eN2HcUP50XNn0DA2/9Sh+3j5MaW5ACgAhKCr2GHwpl3kFbVwXhHJeYI
UHR1RzbJ9dKtKs+6Z9aLrYGLGg2G3Kk3pT6W2hAy67vGjRyQhWzQBiv4VmijzOsq69Tp3XRVWMFO
u8QP9rDdC+VYLTWpzAAd4PabfAjnAGgMs+wSfIh6ldgP8QUQX1LNlmvH2GOIyh42L7FTUEu4y+6V
bbAQ2s9evxPhnD8Q0fEblip2eUg2ZWeLykXt2UR2w+ym0OiCq5uLDU9U5Wwq78vY7HK25qvCAcDB
+gkA+u0mcswb6aZ2gTE3rL2Fa3jeuAyg9sjo7WdUGKfGhdWlnSwmuL40zaowbpRrrB96tMCbfEhU
EJ5gKk/WfFcLfTuRZGB/x06jvmGybuFdOHukJl/C7XQQSH01tuwdhRmy7kBMgJQSTEqXTrdEJDRv
VRNZ3MaGRhEX0gCtyS7bH1CVaY/Rsd5od3hIxZZmKXa4at4F5zrC7O7547ykJrfLotyBHyCAaEFH
14KGOZQ6dkpAukftR9CRJaOaKd8COPBzfznnUURZaKgFxA3CYx+oVkO3pb5JPWBckTtTOwJWwwrp
go6zcaQBWigg7KHcwA89CqOsNXkJoR5glgek6w2tuAa6hJQvoWGzz/9yh00ksS+Z+EZVpcCcIpDk
o/AUAsICDCOivuAG5oUAaQUUWwYmU7jbKzSqOlbFtLa7GqEwCJ6jylgFYuWct4yvYgAKghlKNF9h
LEr5MSAz0cUrvMj3EjTw6mCgQoPmaLglKL2soFUXCgMzqUGIwpgBI0JEVlvj7D+VOiHUlRKFtFo7
hP67mTQ7WWzWYhC7UfxdVyNbAPuyLjfbXFxiBP16t/wAPwF6EeAXMdfNTshET0OKAClJIbwYolUY
qTdxO/7lOs6pCC60kaM+EvMRjbuNFq90tH6LSeLkQbFg5zOB+akczjKUDLv0o0E4SvZKcN+hU7PX
rivZielOCyI7EZ8Efwlq7evpYkJZrU0DzgjokU7XL6Mm+tmqGp2UDfrXUm+VRc1az2VLMJaSBUui
OJ/cqNow+ASiAkNz+37ArcD62M0rdKEv5Ji+3rVMKwzOGRoc1hc6dQxima2vYsuExE6jhzpbZW1l
efp9mb6qxlJcMa/YpzTOb5R+XBFEFaj/SwfNKEFQsjWD0IrVBdfx1dufasXZOjIKop4M0GrwU3TF
d1ZYfDfFatcHj62wRPC2pBRn9XmQUznJoZRQuyGYPGL9tfa6q2rJ7JlVnzrdU6U4q5ezsGY8OXhY
D6HpUN+L0T9cX9d69+TL3WUzdOgvH8h4kWgRWg7Oe8lZ4UD8RcWRRad8X3mLdJMopRCugqlHAAVj
/yZUWzMNrby6TYrv/lJicCYug7qfEnlnOaoS6kVNhyaVF4Bh72SXAD30pnCHVXZDEQHDQ6/Fi6Un
00yl4VQsFyj4qKmoRsHEPqB/OXCEjQfQou6BfKTrbDMARbqxy++4vtWFkzh7D8G1MMgCCXUjzr+g
mTrMUWhng5gHU6rB9esMerlw2c3UHaHeRArnWtALHipSBSlRuVYBFe0jg6bb6OZ3RKD++7nrD2sa
mRa8qNnenbeh2YMykc1df1mqtyEmB9AZWJOLIYEQke5BFrYuQ21zXtSsA5iI4nYxRYN2VPgQlQnd
WkjHtTygQTc17FxLLNj4/XlxS3vHfj65W/vCK5okgzjJfC6k6xzcpIuDA0urx/lONTGHMhjY6pXg
3Cqu03rj6ztjXDjos6qAVAVw0JiE/JIgAXhuHQBtCq4zu0gEpyzegqUx6vn7m00/yCy4+4JbQZEo
Tg0ZoYhaP0oGavtdgefG+DwK1UE1Zbcdi6dMQh5+iSFh9rabCOZcdYhWvyxnt12orCqT2vkIR1ID
8AGBuYY0W6SpC8hQs4Y4kcg5bQwKot/NYPerWKBuJOuryHjuvfZaooKdEnGhr4DZ9Zc74lPcl9mc
TAyCll2wUS3YReOD62dcoq1aksE5qqzEZHaKkTCbYNcQznqWOIhLLSez1j5RhPNTeCSqpGFjZ01T
OGErqrYnG+6oS4gZQGtx/vjO9JnAK6JJQDcYDDL6Ik/PL62oNMgDlg2TEPm4DvNj5D171Z74d7VC
wDX8KKvbJjoWwbYKnheEs/X6umefwrmDDVSlPAsbCCcJ5lUviHzwtUc12oDvJEluA7qXVPTXLNw2
s/c5m48gqHIgHOI0HmkBpsYQQkHPgxeqtMbcvtPJsluoQNYHi06hR7aYLvYNzCo7kcsp21eB0Wss
WBrD/TiEePUD99kzBrfPH/QqtaXhIQsaOzceVEBv/J2VngjnwsKmShR9ZCF8DaYzgRzy7FJX34YI
AwX6rtHX1HP8cuPp1+flztryRCzndQR/9M2ghVhBdqvIuKaYq1c9upL0h/OCZn33RBDnbDDz05XA
mMa7QQ+2A15AhpCtSGwuXBEL+vxw75PbLqrVqC9UJqY3PYt2/WOgjBj1Ra2sWWrCmH8zf+r04+cT
YUFM/CKmEBbJ36XC7QG44G89DLhTwQQ4w0psVn1ltTgj59dyPhBkQzYiayEC2e+pT8hT9CrpPiLe
Gm0ffuvZce87JBLWhpKCTC3fyAnG8NtyS8TIJVhoYdRvE4DAJ+bDoHwUabNd+KL5s/P5RZxPLMoU
CNxliwcA0joAZG2v2sTOaLBTweClK2uhAkFy7Zr+QjD1o9D1xUNNloIL3EDuTNTMwFKM9Ln0lXWt
oU2/1660gdh5qrsFMtRSdF2nw641ekBQiVs1SAHoeAtkDsD+e3dUe+2MZzYVLjYyzCTYtXocWWg6
X9e59FElpev7AI7IJXD8VllkgUTK7qh+c34JZ2/jiSJcWIj5yBj4gFAkaTG9tPWjNypLFhEdvx8W
dmvewX5uFudgSw/0Uh57MFH5opZvK69fi8W1VF8RvCkE3ZL1u/O6zR/+T4GcZ/VLMdFIB+soiGfh
0G8qEQgafe+eF/NvDuSnHN6JZgQUT6iIs04GQ3epYfs5eO5Fuyu3cWynTeO0o4XywXpBMLOyUysE
0zDgYFjLq85QFk8PZGGCAkoWEQAX4b7yMAJGdhosHs+XJnqNkYvpI7vN9n3qlBjn9boF5zrzIIV8
NicD5LMZnFlBA3ywwl6GPkUKuUJSZhWLFwS4Wh41wFM/2Hp+xCx+CarusUJRT3GS4EocstX5hfhq
xKffwV0noBMGxBHFdwT1WKyQEeisqA9Eh2TllQecHSuT9WFB5lfjgkxQbyHBBFhvVKZO174bZYzq
MDzhxrxMyMand/EScif77C/by5pDVcz5MWbHUxHtWEkGoHKQG0IpZGj9NXrn3cYAKI8UyI7p7asA
3eHnl3JOLSBcY/Af8NPAD+ZMSkD/h9gRqNUPlxrwOtJhBaih8zK+hsu4QSYyuHPZa6Yv+2zsFi1x
hgCziZL/pRbcyoUDTbyebU4a2C0Sy8MlTZ7OK8E+kt+cqRKczTXIDJiCABF6BprFxko8V/P3dbXQ
JbUkhgtgOtaPw46Z3dOD0r/n3aOXXhvKQh5+fkdMQEyA4w2XOyclHbTOHxLsSCN3Vu2v4nphy+fV
+FMAz1rghYMBamwIKIbbslyn+kPg3crtEmHU1ysGliVrGLLGXA5w3bhD6eshCAXYanmtr+QWOObg
eMfCU9+1qMkefVWI30dS1HejF6EGVSWxt/CKmClY4xMA8S8iV0D0LzPlY6TJxjCiU6oEIj1de1v/
m+pblWqnWzd5UO3M1i4vxnflVne6J8NCJhvzrgCDO2+dM+VU9hnEAHMDux94EHmFAgQOZIQoLCaO
vOud8Jv23KxA2m6l+zi3Mte8E/76dM+pTPnUXxlCSwJqorkC15HW3slLtBCzvmmiE7e7ZS1EwMrC
3w+UfVlsNPPejJzz67Ykgh2USWydhmYnEAMiNONSULe+EVtkiYR59iyATRHsOwpL+HCHrTVC4LRF
kJHSEiPBL3he9jngqYzVeV3m5ADEBWNKoPZih+JUFzFuelg5q2O3IJA3xri9TTwj6OzGaOTXPg7y
fMHq5u5hpGrBmgTGSOA+c6uHdEKs1CUa3cwEkN/Nd1/D0FIOq9dbSyX943n95pwWkf+Fca9qGC84
1Q9FHNopjDqA9Pk6NTS8epaqurMKybiCgW0Iw+PHQnWguyqphhtYknsn01zgAlolKAqUN1Lfntfm
x7bzF4qGQTyA9AIN5et2VUWUJFXNho7NTf0kHxSnBxXxU3cZo/nWkt9ACL4aLzXrPjtoV8NxuHoG
0MfG3OgWMKEBK3H+e+ZWd/o53GGmHWg/gwKfwzax9zCAMzyclzADiQHkzYnG3HkO81SRvRoilJV6
6R3ytXisHX2jX6a75llw2l1x0KxkDXS/TboH2a+3Of8BcwdkKp8z11quKGo4kM/Q8pJkb4SXXi44
OR5af10QgDhhrDgWAOTkLDWLSCfmbIJZ9gMbjQ+paFVo70jJ9rycWe+lQgAxWZOAzp34XqfpUI06
ssjBN6MFuqGXWIN2fV7I3JlAsfxPIZxhaIEu0JoJIXAq4XHsbpP2AS8Rq0FP8HlRczY4FcUZSO57
UjISiDK8vWYmbtakCzvDVp4/dFMJnAl4IMkphBYSOvKUhps+vEKsKBX3FQA8oqe8W2gHmIvo4ZDZ
mBvCLJlnfKz7qswjFZghSX6XKbElyIpVBu9B8Ub0b2G2YA6zyzeRxivnmUmHnBDq88MGg9BCsZDJ
n1080PTCOaI4gtHaUwccA6yg81u4e7V9rP29Il7GBfIt5rOODt3Bpt3beXOYNe9JaMV+Prmcs1Yc
UoOFVlFLXIrEN1ymCxjFhXtzSQxzGxMxpZ6aaVdATKJugdAJ3lFEikvvrLm9mV7O3CkaqeILfooe
u6x7bIudaN6fX6s53zb9+9zRGWOpSFs2oyNVm6L93oEv3BzWbbpU+pjzBhhvwrWFPADDpjtdrEGS
IhEI3kDB6R2pCyxV3rTi1ugqPIgW3PXcvkxFceYsBBmA9yj2pVCQ3hxjRwkeqRE65xduSQr7+WT3
hVargVsMKYa4SyXwv8ePGuZj/o4QoK0B2Qq43Tzv9NjIplabTBX53aO2TmS7DpZmfGZNANNzv4Rw
L9TSR2cVsGcw9FIn1qiEjiajsSSWrKC5O6/OrCSdcWSwEqlmco5ALpDtjiREmjr6JIl3FfUbT3Qx
/nxezEyVlGGPYXwH7ztNR6B5ujd9PIRyiHqF3erEpqr+EBHdIspYon+xskZkmYZUXaN0udIq4em8
8LkDO5XNWZ8x1EreeagCy9loN2p5HE1p4RU+50+BX4WZLIIcu85Hm34wBhnshfXo+HA5TdY6pPJl
B6DKaIPLVX1bl17syEb5mJGuWSiUzhk+XoswGAUxNd4mp4vb6rKnjyFuCz1C5ODndlcYe8+oFx7I
c7bC0NwIhrEAHM6DJzSJANDSHiG15rlyglnVNndqUO6ZdHV+w2b1+RRkiKf60CHvgoLF7opYSZ0l
lV59i9mpTkSSI8WJOC9t3jYn4rjYCyn6nHErQS+A9sShaCURoL96XPLAQrWiEFzSZuDo/VVTjEtx
0lxYgUQk46CQkCrUua1TMsmTenSH2h7ysMS8KQoAvjZ0H8SyQ6T3GmiA57Wd8/rThx4nUDebntQZ
8/pqBySZOvBtXw2zjUzlY9SiekoXTt9Mlw57KwD0X2eItrhyT3czStB/WHUtpn8UtDLipMdDBqhN
sgs1gMulCNeaOrLkUHRp8oGeEEfMm6V+x9k9Bug8vgFZMuRVOD+XeNJIyQ8whLjZeZiwSjXDispm
1ciD1QNtuB2OUZA6UvB+fr3nbHkqmHPlKMZTpHiQzen9DODbm0ygVt0vhItzJxNYiKoEMkyMyHxB
ByiAEKhpCBkEfT16azFaG9qrOi7tJLMNPuRGVwHoecF5o2GW8HQn46YjpGE4D5J/1DCtkg+iHcbJ
ppWqLbruN6E63GrFcyyBecQHoSSVdnK2NFAxqyua2jHTYYjoX2WueHrLC7LMIHVZJzWYqzU3yn0r
LV1gFp7fuLmTCUzsX3L4vGefiRWYWjKErFl0o4SRS6Xi2+iJTiv7wFJ9H8Kldr25SwRt9qCrwqwm
unI5zciYJq3UF2h5D5XIweWYbsoc78Co946Kkh/6DkwBci54NoAU87/cZYqecQw7Ifsp4lnFO6Kh
T6uoHHK86NXXqDu26cfY2X21Auj0X19XQwGCKwZ6WaMlp2Uo9YIfy3i6a8ZjUW2j6LkK3+LiuRHf
vJvzombKe1CKEBnkpsAhxf+f2krUZc0AN4cVRUq5aVcDalrdSgquJBWEPysDw/2F/CgvPU1nU7hT
uVzE0cexIohtxQYeV++9fS1sqnJlfLsRHozSDSu3fFjwMnNe3VB1DN8wPk4U9E4V1cYE1Ri5Qeib
jLah7glAwaQXMboP+gU7mTt+U0mcP0vULjdCJglxnmXKViG+dLFNvIWAaqaLCVs30YgzE7/Xld5g
crIanbLSprUSK9sp1zUy8g49Us9W785by4JmP66QiWPxuujnGobIiNTeVZk/5qAIMNMlq5zdLDy5
JFU1ZCAZc/HGWOl5S/KeISFoNsj87la5TRTLuJK++bejHa3pscDj0hqfzys4dxUhO/mnXPnUSOoE
FA250cEqq1cfVAv+wTdX50XI7G/wV8RUBnfiWjFR8liAjHYFnib5ge48p98a28rxbvM7qXMArGSD
uMTxXxL7Ak3z9t951k6/gDt7SaQLipBgdUdZPsajuCrS0dbQ0DEax5aW2x8K/8db/5/+R378l2rV
f/0T//2WF0MZ+mg5Ov3P/7oqPrJ/HJOXt4/qn+wf/vmL3O+tP/LLl/TrL538G/zxn8Kdl/rl5D/c
rA7r4br5KIebj6pJ6h9/H5/JfvN/+sN/fPz4K3dD8fHHb295k9Xsr/lhnv3280fb9z9+AyXVZOPZ
3//5Q6bAH789vNTh20v2D7w/hy//7OOlqv/4TZJ/B54XOhFN5oFRMMFx6z5+/QRtsrB8vG8BK4Tj
keVo5frjNyL9znoRgM2mY2YUNy+cS4Vg79ePRKSrUIOTAG2PH/3S/mSTPjftH0gpHvMwqyv8YfaC
+DRTFF7R+C/rKvjJAesNTCXmCyZnvS4E2e96BWg/YmCVzXVIrr36xUPXFzDzK7TGi+jAuBU1KzI3
V6u0uDHDK1nxXQ/Ve5Vl/0B1rPiaJZjUMsq7jD4oxYM63AfdvTheBvQIgHwHMKMAAYn6teZh6h7c
hG9gAvL7ve7dqNLtX7fDuzzF/86a4CF8K/Mq/17zv/V/0QZZyPUfv3b5iw2iobH+yD78Mj+xQPaP
/mWBsvg7nuQgMUU5F9wmOjO0nxZo/I6hbhbAIuIBOhobnP9lgsrv8MqKaQIAGzDzmNabmiDq0sDg
MljfjAyiqb9igvh93gYN1qjBOAjhkfF8Zz+f2KCgCrLaKOCuT5RWDK0qL0VW8KsJKJmCvqdWXxf9
NwKfILtNO8iR5Udtoll9loBYB3O0keYWQ1+5bVowwh/f0PZspmt0o3CoQ2cEOP8dkZFPxLhzqb/H
itGZdpWmZrJX5bpzAAySpg7mfahNalJ+6KSX+zURTB3IQ7XqACezpHbjBcloUR8deiQD05HVD16a
AT8kGu6TXgWnckhHIM9QOgZroyHGKkf7y2iTrlDu01RoqYWO4F61QRcVRdbQl98G8IceiOIDxTSv
9OpeIdQMbYIVEGzdIx662IpcwOhbOiYWWniQ+hQktcCwti+Im0gRlOtcIeRDo0ku2BIp8x2hQohM
S5CHqTMaofFcg0wrs0wF/K+WF+kg58xQH06tTlWLPZxWvDPEomguk6GWjbVO82CjlEnaW+YIoNkN
GWT/LhkVfxeKzdij3yDRY1uPlfQy1hg5YIDlfhbQ2f1YVYoM8oFmyC/0sQedUdHkeY+cQVRQtzBz
V+rkAjn1aEBoX4iphtu+k9ujaBRUtXJC23sqaLgtAx+TciBD8gAGYHpV5FuNbkCJggzx97hRyaFX
+/jKb4nyqmaN0qwBUqWiMTZvTM3Jm9QsD5gRw6MrRP4Y29tIGzOVEgf5qv46Jy3gDjMwx29lvNAA
090FGujjAX9zzACgTc3GlLDPQbw3BBI+4rljPmhyLapu44nKTm8ajVhJaArQJamFwUpV80aPheQB
Bo6ZetSqvd41wGiVuIKXIf1eeWphOnUZl+Vl3GdIvNXleCEXAPRxzDBvG4fA+IytoBfSQyonEsxf
lXw36TpMi/sqpZEL5Fm/wCSr/yJqXhM5QtVJ90QT2pcQjCujU/V1F60S6qPiGrek1uxB9XUAEg2m
EFlBoZfPojgmxBrrpj/4sQDSID9TytGK87i+AWSzd+gi0FjYvkmQ6smMIO3wygqTbZppSWmHeqRh
uqcZxxTTkU18rMAVU9iG3mcViKGKnNjGCA41q5ZLAsxBPxdKKxAqSFAFuBIrxd14aWSCHrkSJeiZ
jNpccAu85kqH9mL4EchjkIPorWgPplD5O3AeSBtdFtBbhe5yUCDl8VCmu5woxbbK9ZSuAOQcZbaZ
+Qpe2WIbqdbYKIcB1PFgilPkayCDisTqIg8z4UNIUrSwBJV4nYaimG0LRej3qRJ1MOIMTFW2TJHW
vKtTHfTE8KLtTwCWn2HKyfX7Z+jDx0j/9uI5iZdYJHVblx8f9eGl+H9xRSF2//dX1O1H+Rq+nF5P
+Ac/ryfld9xMMs4epqhx37AmiD+vJwy8A8kaKLUY5TYQY/+6nbTf0a2Jl7OIHwD7V0eI/ytAkn/H
mB0hJihtJVx2iLd+XZ0nOzQfIAELlcXJJyESthroqAAYw4gdJoS5V0oIviJT93EBaGXU7sIgFtw2
ydWdoPv5CxiHm0e57FCkjrTAqof+m2LCFwfyf7P3JcuR69iSv/Ks140ykiBBcssh5tAspZQbmqYE
wAEkQIIDvr5d9W5ZVz2z98xq14ve3atMZUQwMJzj7sd9MrcJ8oIvcpHhRwUXCCQLyuTYik38ErVz
u8i68DLVtewygZv51a/7cT+0lRJntIPqLg2m9rL0o/yzcNgBkVZGx9RN5CZCMt0Dtr++8esaSYdy
sXeeH07XlVkEFCLKDU2TqMslslERrDEpm+mn104D8lxPOiyGyePHyd/gRLpIA9bBW/V9Em0hIgAH
t6ekqT/6OLFZLORypDBFh40yhlKXbXHndWKIgpxEcHHCd2U/um4XMRyW/bhcIXW544Ffomt9aP0K
BieB/4hDM8l/cmWybVotHgOt3tMEE8Je75drZSFslj/Ogj9E0tLhvXOJkVubIwfvZLpY76MGwfc+
rkDKxCmg7S3jz8vWP5CoNQfBo+XO4iredenC08zjy/JLmXm7KJVwvHs7fSfLEO7hx9UdfAe6ukWd
AC3Isn34tfAeQ9vpI9nCp96p5Q15GPTHIYnsF5/DLoPe1NAc7p1v1H3V9cHV9cnwvChvK2Nm2SHu
yfzEJdhVwwZuMxiALCcoeRnmUUb7MtEVJ8si2rXkuN1vUys+re5Kv+76rEOJD5KxozlJaJ2peKo+
rZjFvtN0uqd0SDPVcrIfKmS7DkN4G5EqLIJ+uovH6ZXMZMmEpvmyBagq1vAIJ9ZiDXWxRMLeaLu+
8AFH9rZ6OW/sR0zlQ9RQWQKWuXpVMJySrfag+HaA2sMazj6RO0/zetYEyVw4K9vBfIgAClpueVOq
bn6eg0QY2NdacSF6hPpu0pj9zEbf2CJQrC/iJjnCccG+2Lhuzr5IlnOV4OlkfHHZyDoN+7qO7jzM
Cha8NgVIhXLRX4FOusymbsnojzt+jG4ZAF3OETtU6rUne8OWIpkw9RaIqjr1VpSrmpurSRcLg82k
LtiYYNqJhj+lUfIJT4Zw1+uwCrJRxEkx+7692+AIEjK+Z4nCkAkMYKS3kSza2jmvI+SWG1J6Idp1
4TKKUCVfuRDVXA8nsEDqUzCn38b4R7ImFvzSdPYxMJOtdPMzjJSsVzGvQ2kivpt/HF7mpT7PgW0Q
1xdhw1Exl0vYnOkg/dPcalgbEG8XGURVTVTRoxwovRn74Wack/B+RTmVNbH+HIl5juelvwWheK8C
T+btNMAFZIbR4OiHroxj8r4iru0yMmR3Gq+G9clGkYQe9nkQrjJfW4ZKOWZbAgiuNxk2gnl3U8jO
RiThvtng6jpHJG+mit9OEz7RgKzYoO28/dz6y4tFktvO9to+2gDufNBH5rUghRrUKR4XRCbRP3Un
jyYU8opEyvClUS5AguXthEnMItkkgjMTDEfQZflUWyUzrj36Eq2dLqxJ5DnVZEclhuKmkLymWno7
ZRDp4xlE0DokjUyy36utO8RwdhmLpJfxRUo5vIQbbvy6N5+tqO8jFdk7OYaZSMMrof4RZf9LHwdI
0OE11uQ0PFZCfqktfo8tDMLmdriJJfwlWAv2ruurg2hlfYoGpK1zy8yRtM38oknXXcHkEATDEpUF
Tse7am2bTzqn5iI5FFDL2ro/pu6bQtEWdj8t4+dGxuPegoVAWKiHCUqg5lU++CE5TYPf7sZ6XbMa
1mgIBx0WGCAptzdb4mViqaPdKjB7FaaVKDaIlPbdti2Ic+Cs9Dr64ZYQWrKlCjAMotY9R3DieUMB
d05nIh42UD6/ZR9GTRGLyb+ZWWduMVGB4NTmvgr0oMq2TeWOh+7aIqauShNFM+Uz8cVIw5DHm9av
YMC2m9iM5jttuuh7xdd2QhbSvT/XqO6SZf2IapK8bxjeygyCePFBXFy0IHi55scEV1E568g/moS3
j10sv6bJj4uw17Qgk69e+snNDwMycl/GrXNZwNxRGCR8cR6oe9LPP+m4dRpAT+/YK1mjOVMp4pfQ
/m2xeq66sC+W2hGa4xi4mXXzuQgPslM5dbkmcVt4ooU8bYt18D4IOQJUI8H4IhOBeUQwjMLLJOV0
tzZtLLNAaf2gHEMy97i0JNmPGwmPCVnJG50HdUH50SRFM6j4KfRIEmVSDfYtJiQ4oDdSdxMSt49p
2vSXoIfmbsQYGQd91wUwUccI2YXWI19yvzLB86BwSc0ywDEgOzt/WC9ZkqxSc3XwGz28gOKJnkK/
n4a8GQTyYMdWMUgo+4q8ayvtA6wazCOhiXqAUmF8RCmSZMGiWN4yO0Law6us8ilIWg+HVp9G6y1C
w9x11qM9iaYd9lHlmuc+9F96LbHEbNefEZtJT9KZ9R3PQ+ACZrr/3twAN9xNQPmKv7QVrRzpc7yt
fM5qHuCERAytxFlJ7xq175ERBm5EzQ+BjTA0FJmcpp4seJU+1qDgx9q70aZ6IE2Mm7ivcvvTo9i0
fWZbW/2RZmG7jYIUGLd9G30liSqIF++ncC4a6T68YDdXcVMIIcM6a9Jqu5VtX12SBnD4XC/H0J/f
k5msXdbhoEA0ORk+fsrFM2ys07uOjxPAAwd/1kRgvKGy/bueK1Js3A4/y/caabtPY+zRBf4XQTrN
e+J49Bz6dilQRtCr1+I49jAjuPsJegYj6Erfi8f7GQ72z5iYRu3Gp1U/1phFKZM6TO8EV+O7NDaC
oyiumaoNdGldg+4HibpHEbEeSxDVH58Gs5vShX2zePxAtIl7brVd8HA6sx88G35FWyRK1F4jblDT
IQ4CRRpY1HPUu/YR4d7xTlbaFGZl+6V3mJQS/kdcey9o9W1hxkjd9KnBVE+tcar31frWVvLgbXof
YF9GRF140u8hmMApmao1c0HovUh8xyZT6Pnh0tiq77lGjlvnQJC7YMDwTiUXmtVtzb/02LzHiJ6/
DTq/rIc1ulDaqIdogCgURJS4g8Q6eNNmns+KzP0zZy29XTAQfWAtaO+RrX4+LGu4Rwtdf84qrcp5
BHzgGkqfF972KAWUTv7QroXuK4g02wcDytkema9R2OXIF0bG93y78RNU4sjh7fbREqNhDRkcuZgs
ayLaO94bcXJ9gCRnBFJjvqvmt14y266UrhtKeDKRwueVLWHBFh1VIO+t2+JfERXpzeI04J6o30Qm
Z79/jhM29piMHC1ge7Eh1Atx4ZSUIYTvtcfxs6Ag9e9law4UpjGxXz0CYJIJdHIZXxl2xeT03tYJ
khUgE6iONVjOPxgogbqtE+dY0ukEwRM9twPXmTZyOzQYjjoaM9ijs3EApZjf5TMKYQnVZZ+2sG1h
IGY6PSZZ4qQsbWzaLUdvBHFZG1UXDLpiHhMKcJ4iwbjyT2jMp7EMXUirLMawJnZpiOklHmx8zP6+
zmW/Db/NKtGYR9OeS9W/gl8OsT42uXQFFj4vPG+SGaooX+R4yn4RjKo6d9hoIPYbE3roPAQtDXCB
pQyWJe2QHZ6Sp9SQzQHjiDnArE1BdoBcuMMw6glRYiOCWsLB2V+L0SrXCQJ385CZLcpiab0nBao0
wAshVT1zdYvo7XbxKjw4L3nxpxFRUzDsKauBwtOace8HdeLNwwrp+54kVbzjyiH6YAuRD7MxQvHN
dwEmbhOKaR4J45kR0MJTu/xoX2jd3eL857uao5AbJ+OVru3kbUW0BNYdmfegXrGhSd30fwIyuvem
x3jMxNmyW3v9NAO+43B7h8mhUyg0wgnVXFD7QR5Umt4QcYjcxi5dhDuJNqa7CY01yFge2qcAbQAO
JjR1uEDCvKN4A0vLw994OvaoRcMKAeQz70fERw1DHF2q0b4N1IuKNplIk6fwBD3AY8cdbVfhyFMe
U7eblcFhFdCS0IGn+WRqlCqUzCc4osYnPTG3bxF5XiSmJ+eFJDwnC3M7OybeucLNV3aVoUdVC32o
o5CUotYKPhSx7V7HbYiO9ZC4wiZjihvE34oh7rYDfoQL1TNoWvbj0vi/2PIjd0TD+uDp9KPD+s2C
DbjkvCBkfup4SSbd5gyYGJovjbZIrB6OnincbkXCaY78LoJIcELOMyuG8dEJ+rCY8JSMdYQkaP8O
DcNvm37RlR+DetzPdkmPspOocX04q3jLQ4+OL5vpkp5SQWPMA4TyiPXR5NO0TK94o2/VrCJ4bPS/
yCJTpDvV0ztrwu+lFudZSZa7Fhqszu1SDK+tGgNPdTV0kMELOFdjR8AMhOWhDdAwpHNUxjU8GJIh
vqyhhbgcNgENJu5Ao1ZX08Y2R3vf3hgaKpxAbXJwyGOqCvTF0dUTDC6o+D/VROvztPUaZgpAQXuP
YBGvcYXqkAL+VkP2Mx0+uppeQqv2UvnqDBg7p6bZrU5Fj8bB7IFUcL9AkP3bXInkFQdhc0AA6u+Q
KcrzngwJPrT0yYunNlcOQR/t8dX3RRWMMCSumqdlRoeIo02ivEjhQNKgoc8CVEgPsDZCQJHvqqWB
ajaGcX3q1RCIeDM897y+KvyK1Xv8oi5duj7K2n1uCZ8KQaZQZLBaK+p5qO50DPC20fELlSrtsziq
aqiWa/tRz76XR/4UtTBOoiUd1h0HmpzNwUpu4nhOH4IUlEFuquSq0RgldrrKpmtvI6A2Z6ol2+nN
sh2bwjKKTJItsYbLFUV3RMftWm1xm6URCkw93aQ6/axtwlD8wKa4a8dyJcGZSg0DOqbTYkv0s43I
oyG9AVIYaVxB49s0sQV5QxzrNcLXodO0zfTM5oMOeYJPiAtp4TcVNG+nOdrcrb+2v13ozXlM5/gw
zWhA0bxAz9eBvtDyJiCGH1f0y/GAfyNI5B5aJ5H5G7IBAK4EZQ3vM8n8Yog2FDyen6AAwavPo/8u
MUKMgzX4XUc6KRWMw2pH4f802wrTTJUq8e1RVMTAgJO5m+BSrJusb929b9Uj5FlHPeBIQoRyWtA6
wiEc+sPO5+EF921WkeqxCT5IsMx7+Httu3E18mPlQIkAc53aOf4dj/N5QrmufeS/LQaXcd/4j7gr
xlvb2uHUxT1gChWgx1rCc1UF7hhXENyxiudRWO1mM8EoPS03wK/dkm4H28xgVRaGeSUfBw5X6iiA
9+V6iua977XRvWGh3LdVte3SZdgKVo+/ljSyt2OjPLAtyWsa4lRRfb1vKgtFQVNdEQsYHIYKgDZG
HIOMduPz0tU7aupL35mvIcH4u9dH6FTxufbbKt1JjfqVIrbovhvjp6mKuixqe9SxcB/dqzCZb1rg
BbmLyMGGejyiRTdNFvdbUYUGRq8hZ7u+ZlMGxdhW2i64T42McZYS/wPt2wcMbBoU811wHFo6ZsGI
PIifnEIOCCZEGV12zYD9xAUkA7OHOEUdRT8uHTonuJ6zmXtHH5kmSFnw5Dno+C38WDOacnAoMJco
Gyl5USMw8Tq0XQXWtn5eK3rjjRziTmND7DxAPOls0NKzDRbPcyc+pdcomxm4grxzKlNk+6jHIVjf
JwqvXjBnCB1VsInj3DWwrQJHByPKozSTOWqGnJpBVSkQCvIQMH3iOkW7ycIm7yk/cGhJ9x4874oa
TkNmW/WB9T1MNyLvzcfFcxt2ydVDYZ3OW1FPvs4brzkvSv2yxq8PhHlyxyIjL37SYdnYcsGJchNU
mAT/WSfqQFesctFV6X6bknsUHl7JbLrh6Ld558dgXHR6WjeKY6RHg4lxYXBNlf0jUJR9J5v4hGUb
y+ZmA0fGYWeII8rh6E22W63pAWp9dKc8lXttFSlEOj1Es8mZg3fCVkXTQzeBOpPtKw1qfXRB14Fy
AL9n/ItHhnum2N5Qwv4kMPoLZbVvBvdmFpQTckaD4bqQ5g6ABZhPafaEha9TFPDfKfwc89hVOQ3a
yzCLzxiXYmYpnluMkuzV7/Dg55HnrI1y58/zfb/W52Aad+HQmsw0EeK1VgrMQOaDWNuCx0o9hUjA
3q/heh75mODigPGK2+i7btipq6aLX/2OZ6wrusrvtuslWEWswHAGWDkNpW8G1OhRpKZzZFlcmIQ2
ZyfY/Trj60oXU1ajQOnUdftqcq4U8YCrtqlBJDpVBtVOsu5JsvToN6D8+hZ9HwITwG2u04aePkg3
+swE/YPRAP8iNj/MtIjojghmLtb25JKMvz09v5JwgoV/TYvI6K9Yq3k3jBBEInlwKANXd4VYBhjd
h4v6wD0Lh5moyRdKzaFR69vqwIeKaVWF0d8GbtQ+W28AQmdx037acX0N6ohlE6b9M9YJeqgNr69y
Ee7i6yB6chgeuiFhiNUS/iK2fu+DmR7S+Wo7Zw964J9N3yGcSnvrZdnGtbD12u6Af6NsGbM0ni++
9M6LxWWyjlu+NUimcAO76Tp2FXYrU9E4PL1B5OkSuF0QMe9NgmtI1gBk5FCNB7p1+Uq+x74csf71
ege1R7n4Zh80fzb3Yr23uQ8KibvRNa0qOtp8b5HaJUOLAnJS9R1zY1tYWMNlbOpmQFji11i35MgJ
c1iPlxin+ZNHQpcpqIm+hA1Y0SnqneLAuHvAmbSooaaC659pAeETdUI5Wl0W7CxJ1GNcVzcTYct+
DrS8tjEozGFcn5cKFXokzoJznP2WkCJBWHoGyuA1CLuDdfVY9o6Ic9jU7RWPf90RGx0qG+KN9kI9
mXTFSTUw+2rJa5TOu2BbS5RVLPMo8k7h5FoXW+ibx7ADmLYkwYn77thgJ+5RknwyIsuq4WfPBPAi
m79U1d+EPhYl2qOvFDxM0GsI7VrvTHq+b1OOJ+YwqBUMADhYSdqgyWq/R0yDcCfmogRS1ZbuXOzt
MbHsn8Ua2bL3h/DXhkIp08kyYwWCTx3FaLIec6lXXvXJYa3GYYd2qkWhPYz3wYykWgnGQGdhq4De
Mnikp0n4PUawqAS64sOhE/MIfBcP4frWYLOjAalzDDBuSI9gEosQ9vLt3srm6NeynHDjRhwNbPyG
VKUM19Eutsye+CK2qwNTtBtmH7qJJptknHsbEBXA4gHqX6x3e2djutvS+tFYhMEYxbvf4yTPdUWA
fS0Pdop0QasFt7IZnxWqJgkP08wYPecdIutP6wzaQiUGcL+MP9c2ZDlDKbF5I9kjBzk6G4abCiCY
OYcbMnwWu4HoBYCgY2yEVIdnDWCW4taTmPP2Ysc83IwKRLOJ1BJlzAWbBd0ewzsO8N9wXZ0xiPSa
HXCTBYfKDHQuq/h4BUD6px+UyeFnhYPXR+VXwppkvJ1mj8EQlJBsC3FNQizDD1sCa2oUa0+xJfQw
kU4fCPElxM4+6p7QT5YC7rM/bup9eh31bEH51yn2tYoETta6anONnOfneMU9vdg0zTEwqY4z+PMO
ZktMiKKLrbpWfo+DCXcQLz09Jft6Q+vs6waJxcRP72pg7x/E0z2qu2QkuddDaxUjVsxmrvfew95e
SIfgskTJYzpikCyIpqCYUxzz86rtbg6RiInAkSqvVrzE5s+PE+7lb3y5GoNNCQKZ4mSGZrypvV+k
Hb0vmCZGQ1ZVrfjutZDoJoGIJfDqyx0e5Gc0ht5FtLH3bqRje6am5bWP1/WlAfaMcVDa76ZmaE+C
AdzXMo9+Ig7oWxCG/hWQULTHmIF6tDgIb6tUPnduqi5rk6p7MQbsY/ZGjSEo9AlFlMKLdrNUvEx1
j3H1pp7djdJdc22RKrWDt71GlmMkr9tiEZIXu/S0EHg3A50aUdW2U0HHKriq1Ziic+qda3MXSvAH
wgOWNCIg5CjGOr7BgrA7PwWfgC/M6x9R9g1nK7voLcAgzIySni8vK/LVTrYLfeBMVXi7QdSC5N90
8U5p78Jz1Pjuca1Rj7DWX1F3qGnDVRvw27hFPdz2nO2nNkkyEpvk1xKu5muORlt0VdLv+opt5WI8
t5tdHWY+tbgWF1d0EK88hE3SH4NgGF9VEG0XRKz251666ssEgE6AASnuM+CIJsSq7tTXEgPIDjEw
VwxufJ6I7+G4gU3dl8WUekakX+0BldJzv77UY0Pe43Wq0Bmx6RB0nr0feciLxK3g5JRs92tT1zkb
U3Meq3HFFYbiohmXn82jN0i1ujUfYUzSo8bTQXUnq3k5eIEfnn1u43xbI4UKIW4/BzyAk1OgXgEx
TGsez/0EfrJpHgw6/PJ/h9jIpkuA3rp6jrNuTtW5cmMEXNPxknKeFC3hAkdMaO7+fang/yi0+BdJ
xn8r3Ph/UDHoR3CQ+Z8EGcex/f6P/s9/XN//Re361+/9py6DhH+DjiLGHD6mhaDN836mBv5TmIE/
gq0+QpDhJ0sZRDEeXu0vaUYU/g1z4WnyMx/zM0z7T9pV/BG0hBCzw3A6ZD9Dgv+ONAOykH/SZcAa
AAMaKYNsEVrYv3to/Kts0PRLH7iJE3iF1RWAivfVDD/tvJdkUy+j+5hj+mdNRdkPMGn9p6f1l0zk
n3Wz0b9qFv/+4nBOgqsoIEp8lP/qtOkFJO2CBShqP+Cks4DR54NynslVzfhx1JB/Z2A3plMn+HxP
LJofaaW/b2F1dhpRKiMrtWtgjYkOBlpE1rTnacEP4fb4Om+g8YUQ2jvj6YJNhdM7KGf4/Ei/Wz+X
hfRrUcGNIetGryq5geGu8QK5ZUkN/+AOE6Zf0p+XFTghncVOzjjlQyIDBBO12wA8w2yXqhLpfbd1
8vfkQtFnnIB4ArO/rC8/lC9DOvA78XASZDX4BBDPAOLFz53schPE/Z9t8qNrEi3pXykb/18k9b8Q
HutDyP3fy6RuftTf2JOf318wh/0XvdRfv/t/FVM0hEMGdhlmh6Dp/cfGhNQXSl0GbZSH9LQoSfF6
/5BMBX/DMBMk5REsmqGdotA5/UMy5f0twQ8RXgGlU/gjpvo3FFPx3x0g/lkwFQaweP+xm4FEA3DM
f50M9zamA/RULYbw+jkB5ST8S70F33K4gbLztYbNp6jR7qBs/u2Pw6sQ5MjYwt4dIdteCfMVcUiT
oNK8Q2YD0JaRRf2BdnGGEhgC2/QNxgPBrmvgb1v59/42FjTSd9i0r0MEkUy/TOJPhMDen1IUNb/J
ZIQqex1v+vYPpWvWDe1Yla2XyscJqW+3TuBuP45b0z02ImoQIAwhYe06DCwDr4Xo9KHXpkSVUjRJ
t+9ZfctXNJ3+OmX+2ge7LSHuKlD7XmWnAACGAASEB1XkpJ7b3rzozl0naG5gLsD3wP5BJJNdzVTe
SZCPtle03OKxgVdOz24j8EjXGIbtnmqOXYpSeqqO1rTPE6fpfgyDXMrwk054gJWBkQ9Cyevbsdff
aQocsIPgGPV0TvxpuEzaXgC6fQnpf+mEHIYIAuba637Fs1fizvWfoFWmO8sTCMFU+Eh96BysRS3c
GbJr1+WXgbpo4+5JN8M3FWS+gBSESWD85rr4FHXgRWkdfKm1Qz1GRbFu5F7J6tyrdM5Ww7cMrEad
V12b3oDZCgtk7wE3G2BKPHxXxivG4U/vmZ2c4vG784lX6AoRAG7UV4df9ttOPFEYwmc0HL0ytlGQ
TUYX0Rqor7gDyMaWOn4QQfskzEMb4AdVC5ufSWqAzSs8cNp0fMIk7PvUopsLa/AzUCvVBm+18ycA
+RDf5fTHLzxK4LZKpLkZTTDdxmDIinlD9Ss79EeVzwa8VY6sLMsPwrQMHEhT0n6K80RjjhWUR5pL
r/X36wI98Ap/ZniIxLoMoBvIiIJ22dMWkP0ifmNcEk6zZG6zYYnvUCOX4NaTM0lIAhwaWit84NIP
HIaGYOyDXdCFRdfXQOqH7kNCH7v4bjw0AyyNZXITA1O2kClnfjDvN40UYG6rw4Jw24ytMXB9DI+b
Due7BQTgBT10fSopQni1Z8apBHGOpsLHmiv2hhTJt1iQXmZoMCFQD7ix+2pF1lB8D2PwXwuuAIgM
woyO9rxVdI9lXhhPB3kY108spBv2R6sxNCmhOOodK+BVF74RAflx3IflqskjUMIZNpvErohIbSaI
2qCXyAnp7qL+thUI6muRU5JCmaZ2tftlMfydClHCcxXtrA2KkcTiJhLufmzD7VAlPowazAHlCUTA
1h03JUsvNZDidf03QZZRlOH7KGMIQTCI+ZvHHmRyU+FHBKS3fItmiUOKA0TDlwIMD+5+Je77opkC
NBjhuh1YvA2HKIqXO4qOdt+vAy+6Ubd7OvuPkGiUNoWzlBAHtTKv9Ez8J3T0mgY9v2lq9x5tVXwj
hgg6gP4maThubOgBcsZNES58t9bpqZohJQroAfa6AOg71P3WaZKtNcR16HSh7GqWCpwgtli6pkXD
6RECdiBOi/3UUC/ZkDS7wUR7luo+V6jAs77zE/zX8LkFghZw+J2y1vuejTxZIe4E3sah2XqwB+t7
OgkFRUqb82D2bjGngVl7cq5gsDb9ILCpRWSZwZbhCuQh8fckXX9jmhkIVOBWAXPCCSiXxlpBSBV6
EooByHH5ldTuUi8aij7nqWxzQAIqIOgroj1+xKmu3h4Ar+JrbciBqdrP8FN5Vn2AaW2M2W4trAbb
BggfiFN0a0uBSQz322sgoaLx761DhKTH5Y3pVF3GUbeUmM5682VcRNN64S00alu4fqbcy5qwB2Pk
ZwlET0RgrD1qAaWbPjrwabyDyarEasZBP9j5yavmbNEuH9hvPvgqE5hKuMZsHzvyuooYmPLqDhp8
l/DG90Qn+0nPT6sP1mlbf5E+ndHFr2+bna8gvCB9a7Necl04QdIrj+F10YaKnICdIl30Rzk4IxN2
0ossI6XUJ7RPBFwHYF7TLe/SQcaUpO4+hjSmiP0ZuID/x5/pdK60CgqI2z7HdaUZ4y+wvayvFOT9
b6mbbsdq9kvBai7rMS0NC0MS8fBkMV4ACm2Tp2oAt+haPd0liwA6JtjOkykvtpSr45rG+BYFIDYC
xYAKcRUypm9BUONf+2gjCEvAP73FKQD/OH4DAQkySIJgS1w5Td6c5sEYQ8Ijb6Q/3CH89gwo/Q8f
9JZ7bAbUk8LsoMZ6BgQvC7T1YQ6e63OQoPnlkGJs30MMajz5e83+D3fn1h0n8mz5T8R/AQkkvNZV
VaX7zep+Ycl2N/d7QgKffn5p+8xpq8+4V8/TrHmSJZVVFGRGRuzYe0fwZaH3fogMLdk2BOXE40Qd
v7GWHQWztzBUZhG31ktp6M1j7VjfUv1d7sts35uVFnlp+0rvTd0McTHe+7Y1bdas6m4DQ6Ge09y6
TSpo1c2EKCDRYfpnbEjXKljqe+xXYWIzX3M4RpGSb6kzp9UmMKRtZxjWQ2WI3K2Lo0lkyN3duorP
kSF8lxwjpBQFrDLY4LBdad8ZgriU9fgpwZXkve8s79wJKC+dAxg3mEJ4NiVxaIrjpDZ1sm1K5sHN
y8dijd270LIymmzhLnfrZQvv2b8aM9Ueoowe+0akzfBnFDYRRtzoITyaC++Bl89omgb/7FUVQFfV
u5dVLO9WFKuvRVQkxJiqe45GwAgCBWF3hoUQLHrX0bZ8MIM/99quICTPOoa7ixvYqVuUpCfTGbYL
pI8bG3uSCxwGKCV+Z98hL0nPCbuauN7TzPOrrLuxh2De1mUJ3/3dx0c8TiIOpxr7kj1ao7vKTce7
OQ/9Yt93QZcB4/f9g54j6zy0at3M8E6PzpoCoOY4Yd8aMdHGKuB0RWuWnC1QiwhrEhpSTR4jfYkz
YzBcZsGbmpP5Li26d0X3ZIe8SX/WvmtR6bjNUSWLQahrofNdSVPmkUEh69mVcfeYjaR0FGP+b0Xn
QtImKqKDzqz1mKCqusjUDugo3kJMg5g1HES8CzjDouF9cmbgX1V9QW+2tZZgR1vnIpcefYpbMsl4
Ui9ZOSO00js/1L/nVXmxFgCpoNQnJAT53ThWPmzVBMZt0hKU/G83FtkWbNzYLV0URPZ1k9LCWlP3
3Cpdb3SPSmnId4A5zYNsmvHSluveK4fHUSiAU9/ZhwPrtuSUWNNRH3VefoV7Bew9y/JliafXIV7H
rSgEFJY1rehPIgCr6+TQNNGlSZz60MEJuLOi5oYpt1foJF66oqBoLaPuadZ6X0zBQ5RetMsmXGOr
3vq4gQ51bd96QwrvLWoPVTjfdx166/7GaQryUB3vuowcP7PKZjsIq3nxLeje4Lieu5wgPCKnl4e2
bDEEt7JHnUBzQApF+x/crcri13VVEHtbBQdjCaqznEdadmMTPcwJ5K7AjY9eYe9DP30VQd9dSzSu
mxbOWL4Z6+WNouKNQ/qSBy09GeVfueGfHeOx7iSO2Ke5GVj6vPbdquEDzHTSNyCLIFLLrg/UF+gp
63mMnuciuYaVcoCmM+yjedBgxdgNZP4+Hb+RVyA+rdD6i+HTHNXpNiMXLIdoR11370LP2NmUNFXT
3cWhPksl6aZ1cfZHpJkWGEf5TafM4aJenZSJxiIsbmo/W/ejjmGeJTf+8CKgadBrnG5sVVwzI+ws
1hGX8gZs0C2Lp8iHxx+p89JRZcim3tVOdC6dhfPRVsDBf5QjfBY9z7/Td8ro6q8Xp7Q2ZGPtVuOf
sB9VVO/7Pi0ORUV3Ekzv7E3k3pxdVgJRgk28b3GtyoZ+5mDgT1hzSd7PIM66Dm6Hkrf31rthhdwv
ay4zUofER1JXZDBW+qWDyvGtXv5X4MH/n5Ae4igP+e6v4IMLgubpJxHw//5PP3AD5z9GZSUYimOD
GSEL/AtugELI5ccOAizETj8JgY3+SdjfBMKBH6DC+i/cwAE3kIGIMECl2HeYpvEvgAMcrn82ZpAu
uKHnA3EFGDLiwfZxHl2Zx3m1BkUNsaXrH30Tkq1xSE5dn8NvXimRm3KX1jCek6WxUVoM5av0269J
U/4+LeLsjuqdPDra+7DL0QS3inU/CXosCDzp9Qqa06QutGQ4ENzhPclmfWAeGzD2stCCpM1rdfoO
87z1IOr4Vctph3dsvamH6sFyRHaVhou11dQ8i6HS2Ylz547zfWUv2XaaDGfVcm7CPnOfen1uQudM
ZyA591b6wnzrP9xvZxdyrdvaXZitQudrF4+D3AQOXQ7ShnETpPFnJ9JX9FBua0i1syze0Lmx76rk
goBI7BQjSDBGRGISFdcxymnmcraPru0yyS4vx50c5/JKr+UtVbR7iq3yImVzjRLjIoGUbjKQ0ZGU
ql7jELIQGtwlappDV+R3ubWUe1gS8R7p/H2Fe8TZ48Ae++Uqnyz/6DmiPkZ5tQ+LgRmZ0oEGNUwI
bihs3eBVDfZm7aNtT324yVGG5hHJ/CzEU5LMt12LD6HXPNrRsu/G9ooSnRytP2Uz2UErTqGdXE+2
2IfZeK05/OYOfnxF06HKAUnz9hmfc17ZyZdoqOptFovXRUbNFtCgREfgHOFNv7ize6Dmsq7U6tY3
i8fspRz+IhpU2r2Ci9F05Hu6NHI9tiaXKerUPaVdS141rKcaQ/cKSKWu/JVhG6vYIgLe1YOgDPL6
fY6mTlayYlhgCd+yOFmgAYgIrjoff/4yPGRFfqxRUO8Sr4DuWwyXtksuuo3Rd+Ui2lhU4qSBzZvj
UIVgqaQ21tRte9o45M1/ZGE8wIGN90xuJuHuKLfHTB7jfPwyeUBoJmdzBkbeFa7ctlVx9DrYVw1k
K9tVEI7W9CrvJgY8keWV9vI7crgjrLXhsIz1NRTWV2so7qtgvCPr3BXD9IyeYhNjro4kGcSBZAs3
ImYZOceszddNBqt7p73wc1cybjMsAIVrlzakU6O80Vm2ycfmrKV9FTvqcZ7cky2Ca9HMJ+QkEC0X
6plihCnYeiI/sH5e41rekiJSG43BoxMyD6bQzbWVdcm+7rurYhbtNqYKXtYi2Wbf8twx2lUKRkvu
VvvWS57aujgkbbOXS/xJw9/iVqjPHch3u6ZfPNd6Xeq6O4vE2y2T92WV8r0f1CVxIczY6J1RlDy7
pis1BtkTWOJpls61oLkm4DIVS3flfmteLUZBlx3zwLnr6/Yoi/khsqAohkt03ZTzS9rlD0nH6PJG
PHVu8tDSBCOVRDjdb1zTHYuC+tnNcdWIC8yVyuUY2GuO2XD0STT0RtEUekP8vpqe2iq6hx62ZRur
G9W2V2sOrm/nEd1T+8rJcUCuI4gPbfNVqvKUh1/dkqPXHpon7ZAix/C/SRgTM/V6OoQ1QcKII3zT
1it1j1N/5eG20U8n6UlmzM+vwk4ucdLs8D+gkOhZU27tPvNNsS1GuV+GkcGR7m8s0Zgi3L2tpFft
8w6FvkPA6SzrTM1yiCEi3XW5U5+C3j8Ezfjc0XSExHY3OXA8+nk4Fg3cLWWrahc7NpaWERnm2qYv
oaXJmLNtV0SfyAN2odvcTCi9d+GUXVUXXeyi4DWqX9Lwhbxx3S70lVsnpSuuxcOUKYL/Si5BtV7N
7mvBKAYVxbshXL405NrKg8keLZ13yIYovxpoxe4dKNOmUeTP2a2dzz2LviblzYKLCORNBTrXwJve
CrYuUpB1R9PlxZf1vfTZbHBR2CWobjZLrALYeeLkj+NvmfQfPTymahdRqQjuXW/8NJrGbiyAkuKk
jzBjI6xV3m26iHzbrtPXoRHtUSSV2Igmfxjn6ffKtIf1QP3d9+FLr+uHqEVsscTwNgK/etcoDDZe
1T80nX2oVjAh1yfkymX6pEe+G7wEYkTdZKSeEeVNDSCEqEfb9T2hYGZUmP4UmA71NKevg1d/DpLg
Oqq7L4vn3idV+UY4P/WxfSqnaN2Uo2G1jK92P16542Azcrw/kTiym+nvkmm7h7KFccHZQa4aQLHs
xNRAG5nPVG6frcBCUpdS569SowFUN4sbfikn2FWgVcA9vXitg0ru0qBU+zhv72btcTJBxXSS6E/t
4H+/uNVIlHdG0u4s2ecymK6bLvl91vZbmJfn1auOfQPLhMMN2Vgkv+A0cWnG9i4TKP3X2mqhtKAl
iIgMG5nUn2on7w5Bkt1nYnmtbOuPickzm0irk7c4j2oJMoS78iqO5IOWxY2HuLYqu3dA4Ud3hYce
wu/EtwSdJhohNcwXZHDZJizkVaMxNbAM56Ca0WpJUOERZwsN9kHTzP0qc/eex/lC4Oqvi6K9wgyN
WS5xCAeqHR+lbjEpteyV7U7IYH7JthnnP+bEeVJx3myVZei07S1HBwacLfKVBUfanrZ8pRjl17nN
IbOWh7IHTNJD2B2wgL/Hr/BcteFD1hTMp19HjH0mUMLVo0uZ6eTzMIflZoqsO+EVXwY3PCM4TDZL
veY3ZDQFwcbhGUYSpgJzy9U6oN3Qy75JGU/aZs1j1lZvjqCUg/ByNU01ViNR0e4xAtmHzgRxjbRL
jde4otL5GP60IsHoxa7cpAhFq2beW314mcJ0PVVtxd7S9tHzpmknEgeI2h2dm6z9LYA3Mq7US/BI
lmI6KR9XbhUdU6W7XaTWeSOdlfAwHDSjfUpDPoGGefIT4EenWH/PgvDz4jBinkFv4Wb07btFYkEE
0bKJeU6Bk/OnG5SuOueRFO+D66UXscwXulL4CkbTo0CGsFF5dRRt6LLuB5ZzLa4ReXtbz2rFJhoh
xcxNNR2Z1AZRpvLfkcmXO5Xpm5I+8H4KgBcKMZihDtjMT3BMuzV/8cPqtHT1FyjizraPshvsOpyt
U+ET1qvsKhA1rnwq9cCwimcrs69duPBHAtm4jycPrvcMdydp4GLCtwNlgdB46D1aTmEJJ0b53nVX
YRKzDESN3DkvUx9v0zj5pA0haF06cUSp4AILoUGqcAE4pD4VHzQXyFIpTFsP+zWVh1ucYG9r6b47
LaR2WLXtYVjULXHuMonpmki+EBKzGxnW7xJ6BnU8RnvasJSyhXxL5bvRRpJoKUV5XGQ1FJ4ZgeCA
dH8R3r70wxflLo8MXf9Nr8uNWzH8a8jf5SjVppeIr6H9THs3pYfnq0GATmbA5l1LKhCjcLJr4yGS
yD9aMQZ74iJk4mK505y4kJ4MCxs5QMyEgknf4U+PBUyHYd5sCHTAEro3cmOg1HBWcg/58KnSM0xv
dalccaYdAIo0iq+t9JyLnPXT2oYvA3Oqeyv8U69etA0MsatsD8gzD2nQIvL2qwYikWBrWXIPV5Ym
SdggzK+LeTs1CFMHm5ny0aJ/WzAKHj0Zb9JIXy+9HW8Ipv1GtdMuCxYjCosf9YJzTDfCgYz6/L2Y
x2vHAcTH2lnvVoaCB5A2tgPSra1IDRKZ1FeFDcOg6MYHVh+Veux+VV3zEsf1KV8AbSuxbwGPtx6s
NggVMShv91xjKLMvFnEZ3OXNkhCKLYFcDJjj2Y0Z6JOLZ5R0d2GxPg71eGENVzxW/eyEpj3i+J8H
mK7KRuOQWPNZ5OXV4uuLl4pTAmFjM6mcjEv6+yUnoYKudj+ViCihpP8Bu/KmqkmG15Zxi1Me3SW+
qiAuThC9m2LrGvbeAjEVyyF/BxVBbYsivvItgJM2Oqkh+TMW6Xj0pdiXnCq5BV4fD5hydJX+VIQw
P0rIiqNV7P0+OlleHV7boaqOlcL1tkiDW+Ql5Z67tyEWHZIivwHspwcToTFJDamNqGMjubJLCBVe
KCcIEbZh9EYoJOzUN0JOvY2abLxaRrqALWH1vKTKZsIH9g8CLv2KdCfuGIktwK66LHqfRhJXpt2R
4EbDTkr/3I70oepysA4ZqgzSFOTifkarUkUs1UFBUwfXP4QeklpbL2+MbEREZvv3qQftcRlyml0u
VSgAk1AVKuTsNezqSxaHYh83QgLOFO+iZTd62HlspWk59ZE2LTLSwMnf9KLuD7lFd9PK4WV2fXk/
rRmDlNMYPx3dZQ99mn923HS9eKN/rnyRbKeOkDgL6+g1SY/DLuKSOKAclYl9K9LqPk39d+X3As5p
DvXXQw/TNwcLSmtj3lFDzMFMuljDW7i85FuKP4IYqLe6vR02by68Pgq/hCZ8CnbGpIma7Hn5PZhw
5aiyF7brF6gHd/S0qS/6yiUr779GLRw+a02fgvrLIspPgeirQy+qg0duTQWLknOZC71XVlkdimJ1
fk+dpkYW3Kb7wMH5GOYynW7Yi9du5Lw7aUsO5/C/qiywwV3SJ2U6MtA3mMVVhjv4OvYuWCwKiAgQ
P3eY+pzt2uAaKsBbniIUIVco0erWDk4NWf28olCnDAHs7SXiPkm/NtmiZvwaNvt1oUWOGigWp9hT
9+3EWBUUAE5Moy6disdA3EV13m078JuNy/R4JqSc2nY5o6s/BzagN+J0xMDoRgBcL5FNw85x+7c6
SUFNGOiC3BueYWC5GSe696Dst1l38cltvUNNkbtW4hTUyAO9sPs0T9iVxN362klM/wQiKaJ3rJdb
uET9IZYCwa+/bSJ5jOoKqFQ/1EUMDVllt2vTXLLBvoE4dqNIwdKgfkEL+Vy1/hMq+VdHO1dDmqqN
z0AH+ihoNpdnYAQ8O6LhXsIlJzNxyYJcXe5L97e4Uc5mHNaeYnd8y/NbOq8vfeUz2DMdCnRDy9d+
pZEyUJp6ZGCxNmU8YHfRjgih/NTZxmvgbv123pY9cihb1GdcDlCQYl3FcMvU3wgMEhQD46z4i3A/
aQLitHYP2bSkxykp3y5VEN3QeL+ZJvifM1wGe4rv0n4qT34Yn2vep68WscUA549BMvfeDmkjozk1
rQvbB3hm3IsnYVQE2dtaoeW/99t3KHfbWRX1TlrTQbXkJHR/t+MAxRiW5qlSsBBGyTTh5nEeR5j3
GfZ0/pw+LUJaF1uPaqf8pTh000SuL+3bRXrPTRECCAPOVrxgs0ANuSpWk1LucSL96q+YNct6vUV5
hCkPjYCR8WN24Ny26DadeLoK+uEZekF/qJd3P/ffZSflqZj/zMv5lIMkVLV917XjeuuvEs6K9dXh
ij55SDVsO3yru7W5GlXxtYn5FOG0TLcL/mMbeIBbN0j1Dro3vLwsd/elsZpso9g5yAITGPrAlFmw
JILA2+pmtI4OOJ8Add+i9cYArs7cP/tUJ9wyw61xVXx00VzfTH5onf1B5pdACYyEHGAA7RbFzout
dTuM/v+Fs+T/kQT6E1X0lwj0/4N0UfFLWHn7Xr9//YmMZl7/HVG2fPc/AeZYdshQh+gH2/MHR9TA
wf9FPgvFfyCJ4jCJoSQ4sf0ziIz5KfiyzwPmF/+KfPbBz9TDjx2TLuzQbahxkWG6/UwKRaVhWw0H
3RNTT9d1+Uy8qUmnGW0wdQo8AakS+6CbdWFtymYkv73PkzTq1A5Tg3bQh8n2fXTJigw5Z/bmWg3a
O3nY7iHtQCkt8vdSFZhyHddMq7a5iyZEFe6VsFsnGk66z/y8uhFJXIQcL6tEKfIQuBgxPtlImHgb
v7CWdn2K69EbDtjSub1zm2sUxSlnnXT4LpnSuUC7+f2yhgUjnfxANt8LUEfLivr+CRDadQswUuyJ
yp1T47OxbPo6GjyTBzmIheU+X8OV0IpE0O7/yZQ6MJ5n/03xgykI1isdB5weuQs2tPQE/mrZWS19
1qJ8TD45QVLrCPhtmAwBBpc3yVyDuksw+bdoVXWfwdzW2SOlcMt6PhRUvtnrlAWQdzeAbCG3RFVO
jLnfqNy4bvYJDydfTpOlDJzWC3Jr9KpqDKN+W4Sx4GYHMGd5AvByOwS8qBo1yGGSyAZxZJlgwAlw
kOqS60psGg32PrGYSQ15DpkY/htRV8XudK7muC2gxDItVj4IXSXwxQraYvJrj261wQUkNldXI8Hg
DyL2sHnrGTpvZSaSwemXdDoZJ+5egavGEneWArYGgS5WtkOrfa1HiezUwpIHj/XI5xRJ6jZvv/Z0
YXD6WJVuZtrp3hhTwXYxWgz3qusya5quw7msuQmFUjHf4c2V826dDwMC3WHr2FxC33UzJmXlTCJE
bUS9xUuyccz42GmOYcbnv/SS/gfKM3v8wyOXTgBzFBNjx4ck+uGR94XygzLX/Sua4jmRJ4Fkd9Vn
0n9q3V2XNoFK9y560EWfmhH4ZH2yVKFVfuVUsR8UV7++HIisP18OLHI8OXC0DxmcGEYfLifzU+Wi
AYtfBkjiLI0ZC4453TmBXiyw4gDzieyIs2fVpg+WW7bgSDOOLEm2/fV1OHTGPlwI0S+gOefBi2Yk
prnQv7jXrqBB+dgOyH0afCCq26kn1uTHvi+ywHsAKMjiAFIe6xHypVusHS5cVjc5LC0mynp6OdB/
N18mvUQaYuLY+sq5Y4LNIqy7aob08bmBgp0UN3MTi+ImhPgaPPz6Uxib55/2M644DHVjO9vEYojA
P38InzGsnfLb5WV2OzNVNphWwW30Rt0wcisVA0DfObLqoSHb/PVbMz7w45vj0xiKwGVpMYNLfIzZ
dFy8McVh9iWgObHEz+NUYX52AOTqeIaxKM2by2wyewAPsypn3rw1TFF3U6/+UIvbFjIaOyKFbsVO
JVVLMZIbB9yJWBeJlfZq16eOpMzEG9aFTxKMtQknekrNoEQIAouEbunQIESPNa1T9FuMKmpuH9sa
6EUePTifNXw4f7S86CA4AdhkTG6Lgw7EEvcPNu4wYF98Xma6UjA+RDsSd8BfRq6oGkKzK60sMzEJ
y4SAh49Nkccr+2kuFBWXxFiPOrIbzd5m7tDC78Lvf2Xq8M6ZzrbKMz7X7FGMy+PcphU/DGFqmI83
1+Yzw4Nh38Nf6Hhzr4H5lH5BmIjk6jKIOdbtpgG17T4TROlTHephJVLvV1ojbrvDqghfAafN7JQD
sI8qgzsqJyQxPy0JWCc00BYVVXasW5lM8UNbjHVgvTffAyTazo6HN3eqnNvfJkdhRbsXS839/mQX
ocqd6zJ3m6K4ymO3MSj8arEbCLDrpHipbktz1aGHiQtrLU8m68mblIlqkJrNdeJsrK2nuh3MOcoo
qSTNt+7i9pVzWHCDGZwNVLTSxzPRpqtq7znORfeZaTAWj+nHn0qMszwk6+8RdVZJMz9WlY1RTUe/
jvnk1N+zcp+xvDMPN0N9nJef1KRDNPqF1AzvBT/AOIwLVrgNjxfXXgZiTB27Cbf013vjW8P7p32J
tIW9xxHEUcvm+JDOpAHTutYVDkgzetnKENV1jbDH+RHzrA7zJ9TtU7GyaDRMSr40dae5uh8vERhh
dKg0EYZYD4xgMIe1wA+Jp6i07PUTCKFdDbux7On+HKPUNbus7TH+PvpVngwYaBWi972n3MHIEuaW
HQ1t4z+hLKVj+GjPmJw96jn35+C6k+tiO9j9um0nx4v4foC6YvCLm8YGjZXH7984wjbrG1tBs9od
eoUmCwpzE7N9b7IwavFhXrMOMADCZ/K+dRCItwF9eBhy6acfp50zuwv/30raHD5SZ0W2xhOhXWqe
B8cjaRVgYpbEDID18sTGWzBHvyyxRQr74YvtW5qN6yCw54wVzjq2FliT6obg7BceHmZ76LgrTnuV
79QiOBRObDa131orHuS/ftLOz4IiUlYzTkzaxD8UVUTiD0+6RfhPTPKLJxmsHtyGKp4WskC3ZnG6
+FN+Sw3xuKlyivg5KiHdhriXOj7ItdBE5ZUWUeb9y9MtxF+XQw1bXpsxBX9P9NYMhiOq3v4F2Fjz
4VdIDnwBbY6HiIbl5LePBN+wIV4re5j1l6iMZLscZxd+qfVlsaltqxu0EqPAwUs3wEfbOi4nTpdq
ro3hJAZxzMC7sUL4fSf09STX/zCy9MMRHToI4yOG0UF8iWRgf9xFs6+tsXU79wkblS4Bo57QFuJM
WZDbklvXMYYp4oTqWen22C+267nPv368H7IVroB97AQ+C9s2m/ljkkA17uMnpp+Spi6k/0nb84yW
2IqciiVfSFFgl46zgeJZ08IxT1fKip7E/t9ex7dhE1yA56PO+XgnIDR6VdB17dP32Egz0QRkdj7H
/kHF9sxj0SUtEDYEu550RKWVyXt/fRkf0g2KRVugEPICn9EXHgLgn9ONnBZ1nwZi4IEMFq4rkBgi
C5bFzJgOqHgBrZehuMDAlzL5h3k6f3sSvLEZX+vZLAUz+PXnt16XpsfvfG2fUisLqP4IFpLjZIoj
iy8/go+oIb00J1xbp+U1jh3sXv7hDpA6/5z1hEzecHx2FawnIDiy6p8vRJdhMxSQI58a2IKEPyxk
zM5Kczy7wiuEzoTzY1g0PT/8kcTQpK/1dJ02ca7httc+5ejBKVITsgvLJjdEY8iRlyrfHAhe63/7
TN//sCCRTKlQywUjeQyJ6YaEG6gvlpqfM8tqxvxOxZVqsHiURRC5J2xbPQisbj2ZREPHXtB99q3Q
JA69XDB3h0LlJVn/mEShWcUtbeN8OVMhlRPNQitmpvsBf2XcPjfZ93JMoc0wiVCgNT/8Ef7zidX3
eehXk+QMke7y4XryZ2HMURzbHBqOm6GK2UQEUT86uNOwNi81Wn/OGGPSyxn//QRESgSpBzFPVyh+
V0Ch5mI9bI2VvmBbT5l4sB2cjJxPlu+XxS22D8qZb+LSdzmOVJ7wGQ++UNQ01z3jcmh6qiWOcZyJ
wzieog0evu1EMyOsZ+wtwxJclfk6eWC1L4b4w0m7ZuZhH6gnCy5hRc3FJTTfcxYNXO0zaWBVMsWm
T9QZv1tdZeAE3XjmvGqnFXSeOm71uLAy9BFLnIKwx7/y4s9LyksgWZikyGJ38cof/8FhW7NQas5c
iklyNnODY4GtX3aUYZCRI1apQ0o1Kc8ACTbc+7m64qA3mVWtSRfIRds54ov7fUUNdWASLTUHJedp
2XLCY0/gMwojwef4WynKCDPs/Bhen7p9f1gz7hVW0lWNGQWt5MoryulthlO7JBcsWzKF6RljieJu
D8eafMSmz7EWh2HCSeDPLpbfsndHLdwjK28agNoQxyYbYk09KYopi3kFxU3ADDrmRMrvW2MFlCE+
KXwjW4VbVFpNoXVdrUmPN+ImGRbMyHaZlcPtr6gH3AlnGRiNw4NX0knGYNzI5jq8G7xVJldVWNO2
RqE0ZcSOV7qa69SdLUh8qFTK2s5JsuG2CBsGDKar6yVokiJrb6t4maPliR2z0u5G3O/FEWqXMshM
+up63ZrtrJhSFh3T9/1kS6W4nzQ6Kn/CBk00fE7SNIG/ypIJoFvYC70pFH5UNz+eN25gJj2qv6dT
ni/NX/lxKlujZSI3jqYWt+R7Cv3rwP236BlCJLQdTFxJVfzoY6nWlZ2jvbpJH7+fHyAGpHaCTzQ/
+HrGwHPrBbjjaOTGBY2gTSPxffn862v42+ERSnNsMFDJA+xjBuPPgbPLZJNPvTU92O5YIk+zm6C4
WWqKiVerFtQ6hzrCX/mfAIdvn+0vuTgQTWB4rgxMEhH/dj/UyJh3gFdFqn9MM7yTk6NTRVmUA3m4
7WztcXbQ6XDjdOkQ2VsHzrZs9uzFYvEvUWEckF6i1OphDGqoQKLZV10pQ+OvZuabXw0MouJZp2YG
cUaXeo0V1Aqn7KZHlAo9oGWX22mujzRtekhlCXZKI+UPpR78v4zQ1YpdKeiK2v9Qg3g/k3I5pgFT
A/ABSMNAA97Hg8oJOq1xbx0fI7ySnf49n72ePI/BASPPmwEIvOmG1jT9i2OdLa7BLhtvdfodqgw3
fEaHAR2SFolvKlXHHnhQLTUXL2gY/iFzfDkZ+opAXo4GdMi//2HPSvO8P6vRmT29j6wegBUDSJv9
dZGRE1TZPlUJ+cspiOF75YdqGjpuNjNdzWnkMMUg8/7opEW3/uKsGVeStO2c9rshA2LR57nFqrXc
21bRw6xwNKcQRt2py+RJSC+xHY3Zw9wKgLsrKnw8tg+S09dxN90QjQ7dcp/zZixgwy+LecqtwmLZ
fHaVOfaBvVsF9T9UCR8TWQrAgLSJDMYOURZ9hF3zYc4wQR6jB+Eh6m/fqOjhJmKFmbDXTM5C9E7z
yeduzK5nUOR/t/VAQiGOA3XB+gZj/5g+Nh2xFpV0+ADAXK6v9MDNXqfhKlkCblpOvCMJPDHhX78v
E6ycKELu7vk0tX/e8n6rg0yjyX2wPYv3xSrJ4LjabUx8HPBzHA6y9B1+9uv3/TB8kbVvYO7IfOLI
NDk+5u1lmmEio9f1YXJY+nxG1VUi2/5IVwlQqducm0pKhmzQPp9bH90YNRucshzv3oES18tlf2rS
uXMWyIPkQW9ADKHW4z+k9o5JGP8an1wmawFm29QaDNQgTP98k6LZrsbME+nDHIcjVWKIlp2F4PXB
EP5ODoBp3c7N8XJ9yacBzGZbJ8ucf6H+Y2LT6UcpErc6Wtttyrz1vMYOqYUPv+tbaW70r+/tBzw5
dF3qIN/GQwSXEBck9+fLxSIjD2eY1vf+wuwul5nTaCyhrqAj5rv228GR6S7Kd747uhV6eGYSstoK
F8up9B8u5uOZwsUgb0ByYFa1LT+C2yZNYD5WPD3UUJLYS/bomeRK0F7kvQZ8+eaHAR3Q+vrrm2Bm
23x4aDisUA1B92Br/a3sx9gsWfveI9LIzlIn5pYY+LWuZ2yqaKr7Bj6krz5OeJd6RdoUDz9yLkZj
mANDITkkHdDhYhJr38lWLvsHIle1XQBbM3RmA4S6E7bn2a3DiHa1oherGhIHr0Hnlv356w/l/20l
CjRx0jxbqEAGOPj50eKYkK7+lE8PPxDZqG2i4G50uiVM9xk2XvCcJ8BMJFA13qpFcpXV7oD3fWAj
KkMBOeiOT6N6yCDWZqJuKRvWMXDV/yLsvJbjxrU1/ESsYgLDbUe1smRb9viGJdkeZgLM4enPhyZn
n+2Zqj1XKsuSupskgLX+9YfXRcGdMsiQwRwLLnrX0rriDjCFNuNwbzJhs/klHg79xe9cL0ek3qGr
6L4MjmWiBFiLBXsUGqRN3URPDhpAnesXmuH2j2QJcJeEwYpV+ATP3FSFc8YuzhVQ3irPHIhRyBO8
bW77euiMT4vEHbv72G7HMmPeAt2yn/WNa6HRObQvGPvDifbiwiqaE/bQ+naAsOGrvtuw5GJKOAIP
PUMiGdA7Kc6Ue+b2+v3VRCPN45k+L8Aya6fyAB3xJS5NhVwObjrVMK5KVpo0/7L7/eO0YRzrMO3x
qLfwGvj7we+JJF5cP+9ehsrRK3SRIK8fqPRD1ilQsL6GvlVE3aVNc21s/78fo3++vF4UWJkI3SrT
q//+FFFrpRkwv3rZoEyiMkzOlxyPXl4fJgFQN2kXDu+iiDNu+r+8/tWn5LcNVbDre+QkEIwYWv/4
/EmH+Spp6cNz7MW6q8IWEVrGGfZjn/V7NIyLFuT3THn7uxrIgRtoLy7PyJE0TElTsfVmeOZq3LBn
Q+abCJY1jF+tM4GtnJ8lxsqfolY0po9rSDz0GUa811fdnqzSLfSMo4kRmIqbGWNODMpCs+sz79BZ
sw8ZnB6VXSMlmq5KSuNfdsh/bFQeWKDjXIVZLh3A39Y0OTK53TK8fd62KNoRl1u+Dasd2tX6A00/
e5jnVfBQ9gSYVNPLiOz43xqAvxekJK4TFxcwMvLtwLX/PnGL8FAW8VxMn/FaM2IM4qeS1xjzvmCr
DgOex//9IP4Dm3V9XQH4wtVTshAI7/cncTSEF8uojz8nLonkzt4ymc4RGDSDXlEyyiQc3kfkFdGu
a7uoZgjNXldMGNeCUZCBpxjY/Nvi/AfTgSE8l0DXg8wG/nlktVOBMbjEIAU9td5JZiS8HPc5MzTK
37VAGxkSTS/K6Lkm5WTqAmm5njMca27+QIrBqE9eMAouIzaWdNdtaui7t26UZeyUy5ufoUNX58Xn
XrzWI2qOct8WpR63rgVoTe3MKmy9mWp0m2ulTqsfc4/gy+5SoDqEYJi0A9zasPQY1O2Ub0b+fR1W
nTlDIPUJd2ixNmJp1zj+079WfVrSxQ1jfcU5cPxk9VtuafH2gt7Qzea0gnf/+3b/vRZg0TNUZiBv
URFou7Df73bf4ckaMif4tHWWJYTk4SRTmF8nWtMZaxShWN7/VhCBB/OX/3/DEQ7UQiJ4TctkwM62
5/1txzNHWfC0D6jPsThBLOxnMR4MJPWEVq1TUGl9aqDSNPQaLD/DKYqPkHIS+YTuTR87nkOvZd+k
fmMZH1YP0gCyGgegPttcZxtZDviYoKcn57BskgPTP5btPkkW2Tw0sT+iXi/9JHEhu3WmnsRWJGjC
YSuAa4rHAvpZwoyNpgmH5G3MUsTkH4UYH6mBjQjb2gYiWq8HnR8bsCULVdVIJ6sQe+KzAhNqIbFn
rVAPeAg6OZw5cn/sdybkhZTHWZSO/4b1geAw9l2DIAsY8AtsmzvsBpfEPC89vdDjaPLJYyJeE4X5
WyXyFK/vYg6r6MHSJwTtAW6SY3PIo0GF8+PctExVKZvShecHOHOJ85t5YGI/X8yWNTIdnDFKIQ7n
stNoj2hbrGm/zgQdTFqq3kAtgCtP3upndzRNnOkZkTdzccoBcGz/nAaiYLMfMRFdKMiWbi7iYzq0
rfEpGDv2qTLr9ZEVmZia/AAvSrJzXERjjYN8XrGID03djVOwW9ZJcuoBJfIiYiJvArfXmRL2MEyQ
DWMkKTNxM3tK+gT37RLcrW8+Y+1KHsCtSZblkr4skoDBGrhP+mYLXwUboPc+QU3zQfKWHVx6Bbsf
Z8cpKvpkr2yyMnxMpq/j5+66SRCeRIzrscFAfc7vh0Bp/G+FXbeZfLgOtA1uKTtPV0dA0MOCgybp
8bnSSNbQc1C11DWj6MsdwFIz/FwngXFW8XgmvjdyiHrwGM3mMDpyYA6TBUb2b+U27eLva4yTHKKD
y5gNHAeh8d8PD5Z25XmWEpdBoq3CFUqFscw+W37kM9gtkYDe+HDHIHTCD6uKsNE5v9j73YwFs/zD
ZE1pfic7dsGDAt+7H8dOgeX2Fim5BZR9RK5lTBCiX7YtjjGuh7UYg3IWsy1I4roN6kkWUNyLsGvN
Q9/wf8m5tHNDPmVYbra3BnLRmZiYGJcs/CaG96jNZ/zpRTqWsGKt5pV2KZXHGriz2DdLQGGqpGeP
F0/BUD1JB/8kfLRiv9un3eSjhSQ7bbLuwpA0EsOndICZGvO84fRA9nEQI3atkgAf7ETI8DYWQxvA
N6v8e5oLtNSQYtHHKnYCHI9Q6PQNcpY9swf7u+WFuJJMAjlSSuAfjjwh0UPgH28T3mC7vGvecbut
3wzLzrG/MSakYZ2rJXx2bEbYTVdOwmT9vua4soPDJNwFr/kM8nZr3oPBGT/xPXfODOjKwxwlaIsU
D6sv2uCGz2qB3dBkE528yM8e4MuuDd0epDlc7rslcvFuK/z5i1m4y6mrXUIfBqton4a0Vs+RoxpC
cOPllJPw/EqwnXOOQpMMxEzpURy+5ncUU5Xmps8HC52ChqD8B1h58Q25vd1nUwnxBwK35EuET83L
bDTk7YCfX4q2QY3b1617kKkkSRhJ4dGbMpejb8kmZLJdfyezdHqSdmsdl7HJjnmGr5udkzqzc31r
/qmCMf9UQwt6Ll2zuwVlTx4h+uLTbDRZjcKE1DdzLsJPwMbFLQlG4hlHptndZdARdjl5Inc4wbhf
CtE3X0LmMmd4G8Z+QPN6I5oeC5UJJR7i6RLrMLh17o07eNUnbSkikU01DDDmwXiP7VTeh1Kle0jy
3Scr9+zDqBrnPPrSfrCx4TuMy7D8yptIfsReCoaH+vogh5yQyCWyPixGACRk6kikVMxPi210xAS2
6mwxWrsQeYeqJVpmIo/SAFVWI91nqDbBdISoU/EqVnQkj2K+U8olpSsIGh85bR79GeTTW4jqFEv3
YDiXZMYRBkVSX9uRW1GmufnZZQM+GlMePJGC7N84C2LdvdPyAeLSE58D+k5K7NGzzIMkW/q9x/MP
M6g6k/c8mqj5Ue6xTmxiMMBnWTJBbt3HAFHvU0qWX203eH7TP14E28kLiiwckeCavoFF4Yq7DNl7
UuXYi412hfeJGKt9pMjzDhHrYDM1DohxyrGoPthQ0YPafMl2HDy5dvC3SUq1jfrbbPj9SSwqu+S9
6tkzkiV/YcbWvYwcNrsFJtC5hwKKH7xTffLwdbaRTkgrz0mGGJIeJeykJhIt47L9w/K76jFhPng0
xnLwDygOCFuP8zE+Am+8jQRNYLYjvyYMpC5QMn8MrfPm6SDwuM+1/Tqx30to16fc85VxsTr0u/eh
G5WIk6PCweN6JOyoK5PwVNAbDYe6tjmScX/rCDaIFNtr5UL6tK0MA2nDICE6FFCJXWX8YcCihBPe
pG61413hUEN4zQ1Bk+6dRLX2PSylcZtn3cDicqeH2HXG2z5tsQ/B6ao80AHXf4ycHXfWLLwvzFnq
lzKqTfdQJUTH4mnkvdlWWzYH8moarFaED92UIvCXkWDjBHKqOjpyG5LtMREtqrzJ6QG/olYdVI4S
GKt+MhmDb245Bnu7bWamW1zhW5hq9sHEb/KSLF77KplCHHubWLDTIELzNc6hluyqoIz4QJK9BBbA
K2W78YJZmfwlnZntJ0yde/gQhOpx4c3bEa7wMXD68jNAv9hN0xK8R46Mv+SxWWPMBekVoS5X7ZMV
EhiZTRa0wjRqyN6RQfrdpfq/8Y05+XBbp724UeeDnIzJvscsHW+WqIpYmsWIMiYK69vUTqsDYDzj
BTePSGNV6c9AoQQspiB4aTAohzrtxjcFxtD7Ymi7IzhtfFcug7pDdv/IG/+REev6o14stOYxYy6Z
O+zdtdMdGzLJ+C2hwtvc7cLH1J/co3baOzk1WrKdGFOF0NEQ966asAxU5ncwOPduyid/75Opgmbc
iuD3sHYPaaOKbwvBcpDXhGxxLe/CG4UF4WcPrJKJS56njwbeTnsOYflaNROShtBYLia72Xmc5+jG
5bVxShpc4zUJBsRIsgqNAhc+BIrnPA6SDG908nDe6jbyGEQsaUBHiVhIYwvpUmugzcvJMXlQxGTQ
jKRQ5KgibQyt4v6JeC4oL1sHquqBhniDJ7ZeqB2rTjmvJGXpGU/OhgIzZm3Rgi5P6HWS0mLCf+wY
XxUh2a2E5qZvPqkt1LEZJGZ+RKzYN8WVbpX8Kw6/gCv1WEyqvsxxzeyYQb7hNxLXXyMRlhMWHVcm
XLhUA/lipR9gDB9WonJ/sDY13jgZHbPsfVtCy8B4fRiWB3gicXPTRIahQLFjvFR2rDqvesxKXOF7
pNeiy449RPdE+2uQM2QYlR7BRdUc/DLhDES3cC6t8s52c0o8A4LueKp9V1UvLuqjjGCTWCJzMoDd
0lem0ZFFIqAiDMTEscSehHcGk4rrdNfDiYCtM8IAnY8dAY4B0FidIxhOGZ8mp2jMOLgQpMeiBV7D
Se2hWJtdRMpVcugtKp0DbDX+m5ggelTM2tRMMHKblt0vGDM54qcOWz/x869hla3wWxqFUPHtbHos
scCX6hzlETbIeAzki/dOQYbPXJ8hxD/XtZVXzxuttFwQyiLLJ7BoeVs7ZMTHNVGiUcJl9FHIt38y
7Necf3MedbswiVKDajkSa6gga2mcmqQAMM9ZWUFlProRG6neBV62UdPGowrx8PA8DE44/JpHaike
4ZFGi57eKgqNpju9vZTERARGO8dnJgGK10wHh0thLIwaL8WVN4IzJAPVFRuoCkezkecaYkFGZMm1
m2fCBB5Q1n1BUQ8rWHf4TFw1a2ljL8vR1qS6xBz1VNDEUWB6WfsINVWama15HtNfiGKdViACF7og
XAkv5grL+kmpn0lUCzZXcX03Oa7i7alaof+Wlo4/vrbn3YChVXls4jKqCr35BJN1SfxBDMalcAcn
BSXzuTREXYbQv+ynaJCN/LMLPb/J7uiL6wGIeWRSoW6XGA75gMKSwx8jNIiUrNOVdF3BNWyhliRT
cGWpStJs8htAQ/1WI8A/7tQcWQZ8NjgG0rag7OUW3OnSFfryyDrgaTvX6Jj6S4yKfnnrW0zzspNn
BlyQfFV7dHaZAKvEZJGy1wYpo95fMBBjCaxN0IPweXq8bHmDegqsUodxlwQXmnVm5Tg0Vm0LPX9c
AGjOlmz6Gaboeq1q154wGWwQnNmMz0DbuWMrT3qw7SVxfxkyT3Qmm0NNZOL30c3cGBxkro9PhUWN
xI5Uedc74uonV6y3aZsBxu4YMHkviZpDDTAkob6hBEkshbjPckKIOqSUTK5Id3NKLkHmoXxPDnQW
emboTbgrZudyhIVE7YM5I5LIlPExbwXr94JrbFUBZkUYHaAk/UApoR89rFb8+mNeJ5394uPlvDd5
atEps+xq9wsjQz1f7hjmmPgJZHQOD1MsSPBmwJvoz9TPqO0ZX2euHvt4KOroUSY3TEy1K5i/TG8T
84P2Q84mQpY7GaZs/4VXas1Da/t+yrsYmTu3+0gsGqcK0zmcOQR6vB9xTbHMzyYUFMXuHCZZeeoR
mAzf6drS90rTZMZ91oRW/kpwcQ9nZnIamue2qTP3LVnijPxQD3YiGv+s8l7WvaTzGj1nJqCGE6aL
SyN9N8SAiftu6EwgV2MwgRnWRVcPqb7mfe3q2dpQwJ2y9yW2t3xYu+jYKLbhLV68Gl4brs07Si4e
ScKONYUDggwIHEmVpQd4F6TCzh8aVq34PvoMln5IUimBfkWnG32s4fUoelu0V0raigK1kSk47bwa
d1EwAoWM77WcZVS+K5tRRr8r5n6aTVJYYAThNn/djzbIMrv+Aw6OfjuFAap+nstAZ4r5lavoB6/4
rwpHphPrJWpw2yhrBJTBHPEs0D5O33wceuoPq5UxV8pdyY3LdZy8YpTriZ2HvuBKVZOrT3uExvqc
dwBU+OYYYYrJrI0s0ull3aO3Yx5/CWDWEC39r1ZIgn72ZPrwrZB+nd+vVpx6cGMuqz37mhFLTjWH
3CFuZCE+r1sZzJqMNbGhoEVgMm5sVwBFj1GN7mmcG73R4P+hf7CvRwDbCNVJ/dHbyIYxoqgi/Rat
adYrVQ1MofonYlH0ftngU8g3CYPRyxfgR/OL18cE2Ez/hMRggS8rlwbKrj5+lpF2nf2rsnEnv2SD
XWKgvG3EnmnMrINFWHqAZiGA0+jjEKW8uTCc9e1anxfC3TW1O0tHYv3ODuqx5c0bZsiYl2km8B3W
QI7/Xaktj/PMw0JBlDPbSa2NQf3L4BV6JwAa1DVPXJjsfbMKTT5NxelDPKZVyJSdvvQ8/YCv89q/
+BhzpGeiQwi3LzuNAQYV6IOuiwcrT/3Qbzfbg96zvElNJiYBu4n1duONkT6e07LVRAcfFT1nomZE
Ti8II65cI4aBOM3SBpNpc2D/ovpormecu+RDr126tYHYMUH0UBS3wJ9B3SBxRa5VPVehN01Mtsla
4gsof27C//VBc4ZbstkGWCUDFATod70LTzMMsBTB2jS7QSOnyTQL2Ry8S8dt9CpHdKefVs+UTqL2
RYVnzI+2sCRQttO4WqAuzGH2cRixZj0qMBkhc2WcEp7fB1lJmmiORENPvJnmOHzxCsrHF+965JAQ
dD2/ryB/TAPKmysR/bNdrfSAbQDB1FJfwKmudAWgPEI/36J8ENzObaq+Hl5838MRygHBpbrdhnuD
XHTQtsGwVqobQH6GTrcSBhBvbSG/Gu5Hh4e0I8ggLHAuGwxaysOI1zRlE6RuWtND7CS45h02Yi8j
Oy2xDAOCAO0vWRcsRUiq+HUlb4/xuqCrZOic6CFOjQnvmRpuiKy/txZK+aNEzUAYYY1ih0+xVTrO
ev/T0vCd7gPK/vXxug5cYhxaeLRzUmB51sj3xt/4znQbvesmEGMpzCbPHVgKygMHeknXKtysI824
3i5g3mSajCnGQp9Msm/0Cs2iBFbHLp0YoouDWtkCbRDoqXljZBDhmFi3mCV6eZPwuCRXMk7vhmPk
vzRxpTcHBLH6oGo4SvmLZUGrCjugcvXfSAdv4g9vgyEDYyqW8saJoNfXi0CZyCLBI12T1uUlz+u6
dR4lRR/qzioz9N/UOQf8Xkz2XYZzB66EQPQTpFr+9GBGMTzfrqSHkpfKm+MGBn5HdcRUZ7JhIu9J
qvMMEOdqGUt0UtcyehvSVw1EuuAyGE7qt4e/Jl+oubgv1qqPqilaeGPyWgavJ+IQEnwk7gwB/iMO
XQCZRwLso+2naEPMouCaz25uN+95LjQZZit3AWEabiCzraS/yGZueZC2Z6ZRth704rPo8M0uaqB/
noMwYsZwTpkn5g/J4FSUY1RletlMdsQ6CApTL7LtukIR1CslRMDBG5miTq9ec2Q7ESSV+15vHoi0
GUmQXM82oHRNpJsBI8ej75hLJQ8ZcdXwJ7ZnZus8YKteG5CWafFl2/bTdWwuVl4mxGiTd7W1STN0
n9Y6VEXaMP9YO9JYQu/jpM6Sjmu2HvLbmkbQuH52euLsVK+Dudny0U/sBuRbQ36SZsol2zZsoxg1
SZUPn8Kr3uRvpcoSnoOeFD0umb9ylYLZ0bvuNvJzZ3QpjBXXo20dMVed1EfOtmVn697em0nPN7Nh
vNYOWSb51zp/xsnEVed+XJzRuqhr9R1k7sKLGMpB+nOHjwg737GvodNkp/VCr49cSGXINVq/ZQ+4
hnACcAk4AEzc8iBYbXezt/XhFjetvvmmO4E3YdCrW6mFvAJWtNNT3lNJVRzVMyheb3i44ocBNomm
g0uGwtEuBHVWQE5Ya2/P+nofnC7QN90ULad8E8T6rfvXoepWcm8HeQilhZcK80mfxdu/gA/0Ldoo
BzSE+oC2WpEEcIYDl8hV4NXroqhbpT//X1TCpNNnfz4N+nGtJlzuGdZZjd4+GliXumIGa+H1NunI
9pY7NQEBNBV+6jSdSZMsb0kErU8zqRjyUUJdSyBouvpRX88BbwU0wCivorRlQQBwap1aX3uc5cj7
Q6Hvam0ArZ1+aM21JdUMXa53bEvdiW0qzMHyNY6C0ZJiy10aBMvQMIA3oBoN/aRvxrwKJyUINi+0
kRbLwNcMl63pXUShO7ONk9v3Sq/PHqY8f1O3a/q9XGuYrVocwhEm5EGTf6TYdRF21STarxAE/RfV
OIoIvflj90/FtoI2sROAYO5xBIv8mCQ+MiNQkQ7GFRtan+TS4LGlSbrO78fJ1vPItdjdjm7E5VSZ
bkNIMX1IggCKMmxl4q5MyRpUgwfGu0Ij9pV6y5hAF3lrFdW6I9tSuVb6Md6jvJwOweYH8qwfFNgo
5U2E5+OqQ7PLlv6nj5Hs6c175co54oqWrc/6du2MxJl44RVu2VbcWmtO6ZXcPq+k1U246uBHza1d
y6coQhf6UeU1Lb/PRqZv7wp3mam6wmTrGbrxhU2VDyQ7DnlrLC3EhKTPH/2+MJdxT+5qaFH16HZG
Zo1mOaylNjOFlodHrFfOWQI1n+BTmw0pylGvT0J/HHUZa9mFHhRv+BzZydd1EWEz98bPU+txkM+a
/xUjKnpzwkxv3hsFAuBG7+9rKxCsu/x2qaFbXSEMUCzuuu+1mkvjT1FiTw8BcCJWKN4qwbZsanlc
4Zkbcsa5aye+2KbkWdw2ICjRui5Z8a+1ATImiAMPiDQsAUbcO6MMtkOkbG1iIphtXdvf30jZRLFc
F53JbAghUtTpS9Q6uesXFfO9IiSjE7qhbgc2RHNr6enFdK2//cuE68mPbHc2XzW/LFO6xPVx2CBM
9Mhz07xBJ4a+S5gPT/IGuSgMmH0bCvNk4q9m6EvKFO5KVbk+yCvpDCVix8Wr1r0KvJIqljoR56zU
MVociq9tYTMFY/tQsn3LF9r2cn4qahigwc6dHJ4yyJdaIwWN3ueZ307HVdCwEalbNKBsBmlNm2Id
PQzXmuEWA2ZqlRMU7WZA0kFIBA/ptu/5o9TnwRSU+tSrXVOXPY2ndIWjrjUaLn76oNrwFFxL4VyQ
fk4UKdlFa6vkeKMuGwgI1UqGbbPyq0gL9BpCjjhiqrVykyLQrPmkBO8hLxJKJP9CWOYELQcpsjZF
lXl1Q8htghvY/0WQEDAhyMAAY9rebYuWgQbTmwytiGSyrD9QTBy42ZzhAAfWrNN2Nf+usHyHdQkz
jn94uvnn8rFI9EN6BccDCVv4w1kMi0/FItbc/PEKHK6wwEaqza+LyM+A/mlKa1eXGY1JFjxYDzxn
vQRLXOSp10ZD8aWu2co4qNtRF8mobjQPCLx04eOKpdGPwlaYkJaqN9FlraQ2YjiV4/VvmlCHQCHX
sqYiOpCd00D67jMR6zK4TXuHqQ1AwuKBMt2MovMpHbde0mEszFtZ6wPr2uL3vVXa8TGpLbfLP4Eu
68IcbpZ+BAIThqWEJ8ZgBDAUFTzOewmYFd7W69OZFAbOqeegu265LjRTPvfaM0vXvSJkOTJKuUth
2LC5b0yrbVH4xISyqMB0WX0u4k4uDBxVXfu1bq1b26ZKZp+ViRMlePkGQKwHwCbUIbcg7gkD6xri
G7ZNaoOczRU89uBocguTteoLJh+77leEELoZqMjgoA/FCVNjCmOP87K5l2PVzsMbaeHOREcZVJY1
3S4W8g9qJq8s+uVBoXqZxGMXxmEbaqx0iRSps1NjUkPhC1XZ2WuXw67xzontDSJAUmXFPRY8PtQr
avdm6ft95nVz/Qv9jRymg4HoMX+k1baKg4c7ttV/bVFQuMEBwVySgQaR0IIlXgQ4dF4GX3kHjUZZ
D23mV/XdUEOKSs5hQSf+PCdD71yquZLFW8Vj9CdBVu3yVng9SdMeVuHMNbOSILcghjp1K8e6/2Yq
fO4efcuJCDwfeH+wqBzcuuU5twNjFsd2sd0zmF/SP08Nz9aptKPZPCtpjssdSeXDIZeZDTNI2j51
Qcz2C93EDYmn6kQoeiwAJ/hfTpuMt40YPAlSQ39n3VdLVWFQCrnLO3WM9fpdiIGivAvSYiFczW3D
joDuPkDAl57cYjRQgabS6B8M2MO4aQaFjeHwLmUEOGEGWkVj7iDUMyvHZ1prSI/p4dKMBBqNQdbi
TscIu3FJl0xRBGUE9ywoVncJ+4N3MFkGzqHGslDcR1T4NoV2kg9+eGs1aYp/MsFZ5rQcBmZW41Mh
vbJ5l7jkNa/hkOAeSWhAL0+zO9sVUsrCvEkz/N959prhSSF7VJcaxNN9CItWGndCYqr4I2BTVj+U
6XkZGKfhdvP3coHvlOPHOw3usGt7xIEgw2bgfxC2wswJouLXhDuBR+mGYyt8mSnhFkePNgQHNz51
LM4l5an2HfldLJRXgGg94dwfm7hmBQ59K46Ne5gxtvcMSYYrs2vccJYOPPacCgFKMD1DOpfCvYkZ
vVTzruxNUFS5bssGJBaWqloPiq1QXkt8+7oVpRJvoK8BSDvNwVoiyTjSSFp2RVjtVYK18jcxhAQD
nhwI8Q9MAimh1j+SrfNLdj9dm69/xbKujidorxhHbLMMFIhjwApjHUTzYbrK6rYDZ4U81xEp/t/1
dW92YJvtoVDrhd9LoOx075eZgaDEXhbxJRrqxgyeJnepyLfLO4tyM0193SItFky/Xy1qMpwYu2sh
+p+eTRdHk1WzuxFxIuXnTgVR9ZF2uRf9HLE46i+TOZjlS1d0rvxzHW+un3becKdWe3+MRkgHnM5j
CsIsChNj2dDXmRGcZJgagy72wQm9aDw5ByeJ9EGdr3Ov9FqVxHxIGw4H5ippdS/6TAXaJxZqZmTa
SEZx0u9j7N0xrOlQzZBPmJBfhySOtBj65yp/wtE3Wr71FB74dXkQKQecTHPwgqPT5ThivRPrk1nG
WbZFGsvh1W/58359A9XHCoe7BPTKG4w9B34iQ9M5pGmM6npfq6EiwKk0hTr2TU1aOqQpzPlrOk75
qKawhvw0jyRtDqMI8lNKWXQS3ZgU57CboSfhxeaHJ6xe7E+5adQmYS3EaKIcI9a5LYo/8i4Vb12g
qD3soP/B4dOpg7+Y8zEKRUTA9pzwovi5dneAiDBjm0GNv4YUDO6Gvk6+JqCYj2WGQWGAif2xH0MW
Yge+7P5U2G9UhxZldXNOhmL6QbQz/xlgbZvux7ZXH3Ws7OZ+hgN08AFTPjUiaO5GM3PvEaw41W4Z
UVedbKGTvMSUfcwor5/Y3QrucuaSeFuWzpdENcaNT94Zqn45Dzd2YWG0m9Fkm9/RfLGrFUp2XylD
4tuWm1/gCy97x8eSEHqgDfr9EwwaY9s4TmB9NCE5IIwguHi5au0PRhC5eLBp8yq4zCMWoMSFA0U3
TaojBr3BO8c+ld4uZazlXYRY0hw9LN60kMHs9mOpShhIse055o5EIGbxtC7jfrZTd2dnZv0AxZpp
ceUXdn4gg3dmblfLi1+mziGznPE+i2LrW2BK/3s/WumPNMHaFuaj8zROFk9Z6EWnUNkm/KXCvbXH
Ng/2HQPUaWebUXNrWbb8g7ONk2EgWOUPw3KrUxKz7mj1vvSll3yL6IewUxmz58oMy1Nn48EthDmd
HGcyv9skd72RtuXtRZinp9FYotckg7vjj7h/g4Tb096odIyJ67ClpkYyHGDYlfWZJNf0J0mc1qeW
bKqJACmz+QH3FTM0mI0AgC5Jo2qn8pidJVKkqtcNmXFotGYm1eQUPwbdRDSW2dv4YhIYju9yZ6bD
2ff88T0L6cUOVYx9ve1GA8SQyb3LImE8CM74uyXu4Q0ms/hkVXVx6rMI5yP82y+iKnGb7LtxxIGz
bfv4yL4kPwX9TMpTjVzjqKjgXsY4HX/aqosZQA8BE3knU21z4IM4nxwt238maBafcuYYgblX8RQ9
8LIFycrRgmGnTgcznFl8zgLS8mp+g9AGipY/U87Md7zmquiGlDqv/xLOkJmIWB4n30+OtN9L6H0W
AXdoyvG/GiDRnwsXx/kcpwcGqIbcG31i96AYMrIcXGWBglGUd+X0RKBG3j3YIzT8C/QcZZFGhsfd
xzx34ZQRNDgG4i0eYHT0O99itbG32EDGVHb4v5RPpmmXOQc/C9KcykM+G164kPqSILXNntJ8yWES
dXrQtaS30JU534uGmLOyinr/YdLZlvtWory7H2fSCvfVgEnK2Z7T5Vl2zejvzFwQx5gREFPsMQlL
cP7DABSmfWYyYL+Z0arJPV7RFVfa4YA/s+/W5oXHoHCes74Qy7/Knn/nCWvTJVfA/kNrAs0Ewsnv
KgBbzcSx+HJ6ng0znNQvBmvkfr5hVVTmmGX+J+T5eSX4/3eYOO4nv7+YDQ/Z5uF0ULXYSAD+LjN1
p8UOJAK354QEYBt3ZHxI2BYSoRQ7pUjcYZI3pd3ZyOFyYULYiImozARD515/UaTe8oPboM8xmwnK
/9VBa7CcWf/c9R8iwlpR7BnX4SKJ5sL1vO+e3Tt8L0PzQ1+EOYie2vSdC9/tzkUaCpW8G1nv9qFn
YMFPIlRbeBsB6AZ5rjzWGnPK+n54YxfKluk4ZDAWYTcabkM+erq+UQOElg/mT7b+5Sg2/eIxKRDS
25dybAR/Xi2LqT8ebcVEpurktCGvudpwVdgMNdFJNHEYFl+q9UKMnOLT/JW1SxL13ra63nSe8FEb
0vm2hJRGSglPt3DrO29qsRB7iTEf4QNULiML9+g1JENXh7QtdaOdhBzd1c6q8b+ebmaTuB4gJdS0
Xnkjpla5uNQyrME5xWU2VaTw4ABH7UNiR3Wf38f1WHPDFmS2qXlJEOUt0XPheqmVneTgFtGyZ/Kk
fVSSYsSi4yWiPvG+R0Wg30rqVAI3pZxWH7XFdg9YVK3+k8qlonndIKXQzD0sSqp8bBN1BLNeHOcR
cn2AxTGB9HRTF4e4D0pDo4n1+yMFkyVLdAuUv+iim2BuuTHpj4yJxkhb1JpYjjgHHJU1QBugBuST
SyGxWlsfIQPdIjfGJj2uN45RR3FeHiRWVU1yVNKtuYiupVqe0LYvnNK4ySOGOmSbrnZC9HSWGd2m
JJb70w22evgrHeLe8Nv4wRxs/Ot2TRRDej3nczr0/qMiRnVKPjMwLZmf2F4ueHWFaQpXQ/k9g8QL
nl48mZdUMZKDpx/Qc5i7wZlDl9xa1Vn37WoKif8eAsaHqctwdzfIo4qPse22XvqUwdbjPRL7ovjV
f1nPV0HYfwl5kMkjIGJVOy5aAw+znN83D15dBHDx5fOALs9tmJDbjuEwgYd3X5GbJyeEnE7nAXUT
0aw9+8ASNIYbrDaec9JbosQ5RNraftD2FHz9NwMTwyD+NkY8OqAKjmeEaLNX/5KcAY53ruGElxHB
EljCygN6Y6Pyyb1OKIwuk2pNru4ghMfECkdH/XqbTSrsGEaHk4gADWECaI/VZTV2FfwJfi5BE+AR
Ms1o36qPiQt/t9wpe8AwLx6NHE8tIFkKTgjYykFKE0Sz7qNKY9DmKkXXapeZzeetzqoCT7YdTLeQ
Zzljvh35R7zMRtXdFZbllETnrL84E1trwLPueGJLCpnBJ0kAYY3LFyrJjlzBxfLH6us24YgdNZTq
NDmiHFDpGDz1+C2ugsuEaEfe0qpc2fwZkbtoD0bgo4jIVpXjaQpVOVf4GFZZWAOBwnu52ivJNkll
eUedOslkP3uzlnJuis52iQmpJLy27DUYwt5JrM+T56Gu4ulU4dBh5bOpOTfvwEy07lI/M4kSFslX
TBaRv9j1rLFIJMdOEx3EgL8EnAmsZfj1zQIxsq9S0rqCKGQ9bj5Pm6rLVogXGZcxRiZ87f84O6/m
uo00Df+VLd9jFjlsrefiJGZKVKBs36AoW0LOGb9+nz7dmhVBF7mzVVPjoqRD4AAdvv7exHEGD1fq
osZNf+8Mce48EgbLkeuqzJATwrDFooLLBQy5hZQu+nXhcP36THgu4cWxQbcs0+c6mNt5hmkJwdtP
3qit0GlmUbDeR2i6aCjWZ1W/ZAUqUEC5VigqxuuXf65Z5fImDR6GK02XwKGDt5mGI6hvVRBhd6/Q
bUWDUtJVib1HSSF6dKiCxKRSDcH/i9TfFFf7eVFgQmIC5xiWbSGKt7a6QoxRPAEDprw2e1hgAPUM
UirFhNVA1/ZD0VnpdBzriryjI/lENCHjBKhX5MadOQxqtGLIFHrp+5hyonB3MZ9jugZgJsw72RBA
wyc0YwPATfI0VH5UjB+yrBRbmjLiStiA3eIYsXBTU7/+1LEj2XxTNiMcSljPMTfDPGarl7WBjJG/
9tG7MiJVpj5SjvglASnUvex2HYYQzAtaEGKngQ3qIiqUS3hQxXVBzlHHDlZcmX6TOSmEg2EYbnsq
+PIUuk7KZ5kuMwbX1hiXOwkzqi69xGSI/xVHecWWkoxTT+RU45UZFOKqistghKno/3IMBPrYdxpC
3uVIS0k8KX9oxS9xhxqfADJcYwN4wezplBR2kYnOPpsHDddSQocp1gPYyWE4bDCpIAcJhLOZUgE5
apMuWBuKcAllh65QqrPEv2N5NJ1uV2JVsNyaUFToNRP13LKB52N+tr+dI2uBms1BIhl2ILKonE+K
7SVBYX0iiXp9sKAlZR/RdUKOkkrcuaDjD3IhzCvF0M6sdj0NMGWr4hhI2/KsP9P+lkHrJoouXkN9
I6XDqh2F7FAAAn7Rukl1PU7sd9UBzIMeU6VlfjzNO51kjHW4idZC0Cq6lFjPdi958rZen1lUOYxa
6BES5FeMw7YBk8kuO4M8O+8HH5S0NgHxSpg9rUjMuyxJCgiW61Siz+qGvcYQJJS+9YVFd7f4Yhnn
eCYQK4I9Q8/eFWROtwIeqpbQ3jucjjVihVJO88M7Ry/x8b7waSnk5slsYhs0bcpsAaSgUoi4r0U+
vKGkueE9ZElGsPAeTsaSaCczoVmC2VHlCZJsD8eZGZhG9DgioiOmOmqvTDgI8VWMazmFXU2zmgso
co2u2SmfZsdvqAeXAATg61gzlzniJHqkgYkptEhVMb41lkB2ixeW3JhRsTeal+phmhq+OGRvDUa9
9ieWdJ8FnuxzUQKqj5v60IFrWvylnexRCETVu9Brsf0LJD3R8lwBsCjAqp+FzQ9hC3CpPixJMdPV
lVQEBT+xSTLE1A8K+cFxQLz13p6hMylauvKyygwN0vqlYfprP8O3NWoo+1AQff1jjZ9JRg3tmC1u
4aFrCnfDSuO0bd04JE/HkIckL1pNRj0pvdHbkappaPVBcXIj+cIAYsUgk7gKeTBBCiI35PQIFsLi
zmNtgCV7NS1pV/ioEgTAs3BOj87ViKoScom8y17imOssSCe8dhKn2XeIbMOPiCGNSb9uzJL+/xFk
aproNqCDYeg4U1uXPSqqGWfk+6oqBXCIHj/r6bi6w1B+zc/LyMS0ZD1g769nxGEJOZUDNrhpRCYr
UjiqlvnCiyNc/neJXsTZdW1qdlMf8kqPxuC+5xDKmOw5r7MMpb7bwHeapEeHtkAhYHo7jEWcESRq
LFu2er8i4Iv3yi5rHPUz1Uk6yypWABuXqAkMFhScvsqgESv1Mg0C3VO8t6wdBNNUy4hZAB/nO3IT
6umtvdbxlaO60Yerte7897g0OmQGKTWCZFlP5zqzCGvxSQgyg0GBCQZj6kfCTCEQ4d0djnADC61N
SlSdBBen9UeUrCsfyKgzAKKzYYi84RogXxA3hEEL9x0CtDAjs7AV9A/lD6Wgbqsk+prOoDsHTzb6
9OzONjNIobveXZqIdMOuQwP8YMzx6BKiqqbZpE2hoBsmU7uiatuR55sY+XuaUjGuALBgznN59CFl
FneE7okRTBy4YK0mUiqAtbaOIXZrcnTTf9gyeyv+egQYQm0XzNZ6DAQ1qkp1dqKTl+A4EAU7SaJq
nAGOJYJHwevJ0GOwFER8W5YQiT+0CXKF7MalDocrEwYwUb2HhvhO7mjmwMzfqXLcllQbje73WOyr
0UxznxRdz0e/JikV6n4UHUYSRuZQs2vrg3pfg+SQG6hLORfTBtDEgh1jCiciFVKs7Hti+RBS93fK
SBbkshHLpDwOjnUsBuhUAvVZH6oAdSXZRQ3G1t8iQQX9GibCPwz2HCTr+eweEkvmNyxPscZ0koXJ
8nx+yCz9wMx+SvN8uiX7bm3Ty3rmnEsGn+eiotg7HSyg6cKVeoVaMuIjkcbxNacfgIAgWCtf6MzO
4i/1BRVL0JJULzr1Au6WZB61xEjClaJ8qO2S8C9xZccMbJ6+WrGLYRIEGf1sV4jERxQgRA6LWQTf
URfYv4v5dPl+lATwUaKpAGbiwJJLQELJZwa5QSqqAcJnUb8oolLSorzHPQl3BKaE6hg0Gem0LE1k
TXM8i5z+zLNxYZMxzdNCgMRKkAa+JCDdTK6A69m+pT2zfRVXZ7URNTPqPG/Bvb0ZgH78k6n5Arl3
pApIVfOpGQmaP51X6MPmdDaGLCSLTClLcgwb2PY9NxckZyWSkQzsZA670LnqWDX1+drEARRPS/W9
1SBSD+MHiQUOsHg5koasAGr19dUiHHhMQ6INKcTc9BBNWClRxhA1FpEdaWIye2WOsB/D0ySLv3Jw
VjbuxTHTorqZ+1rz8lunRYQFuOo04fQNQxwWy0MewoexOVkRl/WHzR9Sy8oeWjOGltUdsxa0x9uV
Pbnn2i6i8udT9JpFK833DdG/YFz4fCwcxKsxI5/GUGf5AGy7tWjhIuxG35u4CKO6pVlhV2HZB3eo
fVPRv4JLx29snVz8J7ATDG6xobHD+ckaAQH+mLCd5osp8hy9XW4RszBut7cGDtjwhqk0zZ2bmln9
GeGF6NNZrS/6dN06i5Er20YUEB0/qEZRJNuAdVuLSTkkIEwa5JVQUMdeP09sTxOwPbBDwfKHQxOn
ufNp46dDZJy3LQKKyrqfEraZignhzSkI1BkbteW468xpJRQTED210hs57l6/ixdnSUwXA2ETR/+L
t7L1ZvH0WHNtrTPv/LN+SU2dLGY0QBs9n2vTeRQViCIRFlKsFsvK6PWb2RjFmAaWeTj/wHcxyOrA
E+b5uToNq77pnHC8i51ZyLXmkSqLFeZMElWKDTgBaP4vXr/wi3fhgKIbFlU+bXGDHtfzC5u9T5JJ
YA93jtxwPUTTOHUrQ7XBbnAXVLXAmAwBurJI1u2v38b2+9NYEKu7Z/AQOEhvvQPBu8YuQj5/R0iF
7FrGgn1PC1tw2zj2C5mGOsu/fmXjefIRRmjA+MAdNsZooALe9myLoCrC+jnUbmOpCcm9kHPP0U+b
ukVEetZPKXLSLNU6g9+I9VhxZGzYnuEno4bW8JYl1HaImobHs3BoVAQGFkbbdocLwQRDtVC/VSds
xWbrz1pBOUSl1OEHe0+qZRypgnnjOW27HSbGbVhHmqh+UP9wT89HSusir3dsUFxwI5uQQfVM4LON
+ocl6ht7QJjbe/pTnhGkWBwNQjONp2bAID/aBw15CbShIy9A7eKMOUySt/wyt80pN4AEYRJ548JA
BiPY3KEe6hTtzWrfToXvr/EXy2n7OrvC9cPGq4f1nAXNI/er+M3kCdGTmQkqpcjpoxlewf3s4QYw
HUuaKx4pgM05bmLKEWORJSa8u/6gVkOCrzQ6pHuEWn96/SlvpyOuG7bjm66JO4pjv7D8ZNUc8aYP
vDtFtlSH5BovEpZhKYHwz4o98phgWRpr4fCoX78J53l+j8PlLV6277Ec4bH6wiSVnW0UHenlLkXM
xlYzNl3lt3fBGOThYzTPGl46vbZAr3pYWd95r5nM8Uqkt1GGp5h933vOUmcXCKV1GB1hH2VPsWYQ
3GHt3M4YMW/0ByrO5MJegJU5KkTC2GoiR5MOGe1Z0CiIqmIzUsVoU9BdI4JG94S/uur4VtE8wiFj
P4bv/jVwnYBOaEtnSHxOdtsYEhW/cpgIJYIb6CNdytiq8fypIDY1JiA9abvYMDCmfZ+iSi14LhJG
7WPkB06Ck5I1eu14pE9udT6ZjFka0xoeswXC/IU+Nlod8Q3iYSguMimYivxOMHNyM45j/eg5lGb1
QYed3/fXLSHTk33kUB/rj6+/PePFGCIVg3VDd+CQobHb7iWezyoNWz65U53uWn59KhnOd9e0CdH7
EHk05QFIpORLO9J1XLUUG5m+BF9ctM30NRMm9SsgLT9JypD62gXQWvVZn/H+maBz+m74FpC6xVFd
QFSM2wTuYmA7urXAtUhXo4mtt7ecbWqHmG2oG1Z5ktxgFTekZip8JCT4MFiEgk0u2/EIZ0V/a3Zs
eqEevpEu6R9u4BoeDeCNp9sIebv1gNpuvVUD6qa3GRZWdNDmswrz/1UdeDq8Y8cCTfZEqtfZZu6n
ggnMBFpS6hS3ClBUxVwjSzXi5hLqxsbF1sZ8o/W7XVJZApDeB76Bl51nvSjVsrERNopTfZvEqcdC
U3AOc//4cf3cw7b5vRd0AnkLDVzo3krVeHF9izYSDDnRZLdtdAfPN50yJ4J58Y34RjnoTywI4nj1
LNyjMByhXmikVPn12fTiBnjNUHVdnG8p/1men9+ASyfRJfmuu8bX9rx62Ofzltr8IjiqYl12OMQn
Fw6MW+/L69cXX/BnjMGHH0ldIlw6OWK+2BCyebJJLIqWm5TFZSXqe8DLK+7ckPM+N91q3ck1yZR6
Y5Cb26qISpB1NMAXlMqQMbf53pljjdZaVO0NARRxM9x7dl0tj0HRpuuVAtPLzKisL73RClQbtEac
fBTtPgnNVLRCm3TgDNN52OauexIV6P6cWrMQa7NC68E3xAoPNlkwhtAFCQnQaLG1wOyColt9BlUV
jIjXH+vGNI69mcFkeRari2cQ4LOZxMyVxXCw9bm0GPloZTntcfc9dMe3vE23NRy22Ewhm22HHoHY
VZ8PoBC+04x7RHrTByNWIztI3Unm7cipa7MGS4psdNBzyTASZ6E3/3Ug1WXE2gGK3OC+MZyc7XDi
rTKgfHFXgGjbQ8+UQ9CGeZbeSDpqcha1yRpS9p5ef8wvL8caCWQE+c7TKQQ2oyhN8FsJxtW5joSv
59cfWuR8pFTuJaH9jQtu0ht5xnS34PiwZviOTnjs5pJdF87CRaO5VmIm6TUwR8hTMeiYBMAjgt3G
/CZeoEQaMOpdzJfuzQHCZ34itSvU2xscNTL6d6pFphI+nEgXchqpHp3P4mUpPsL2APIuUYZEjbx3
1qHP0evyW0FPSHX2qB/BfAVuUkuJLvWEGG7KdSIOAQxIBTkTXKWUTEnNnGEUigEvKQRk38fgu87B
HyTht5xE2ynFKZh+YBXi6/WQyKMZQiv8grqxELkixYjg6dEzElFA/qiL2jFZdTioDbjSnlwP+EeJ
RHvGUhPqvtUrxTGMRAuh1WkJa+Ei6vhRRaVDL2ysB/GVmKlcWT6HLnVFkxp2pmjfKP8MuM5CcKUo
x/LskovD5tcF47bu5LeaHfW7qdXaxb3oCpI4gqu0WUlAkx0BXZ9wc0EYOyH6PDkRmW/v5cNSxyK1
8Kc4h3NmVN0a1aGuMFJbHxVaTTPtLPc/NxpkQ5KOjmhOnr2n9dLRl/QiJK5mIf89Ela56szpm4F4
mF4zCsGNAuDwhRChk8m5symfgPyQKt7t0k7shxxV6IjPCW01m/qJ3ln9nTrWT3e4fqTzkyRKwybI
k34X8bgJFClwAU1pyCXn4VoaQn6lSVUqTIS2PNVMq8C9Lsx6Cm5wauyGTymhhWTT0NR21uAgC6BA
WDeXJ5wZuwIQjry6yMKfxLbpTuGfWDxBsSI+vKfL7zbHUa+F6kuZ2UgfFVRlWoSJPobM4841sBu1
jlWeEcWx449om/VZqjsXSole0rwg0hvmyuz8tspWOtLv3noXZe6ULwfV+VVUASTUotupep/hgB3x
V1wAENmTbA56d9/qOPag3V+HbP0sJUdWgwzpW4Goj/zGOF1j51FKsQF0h+FP2iaG/QgSOw7vyGst
avOE4ZW2PHr2imr0HeZGQp7sILwGesucae2wMU5Xo8sPnQQfVVuauDuhl8YVV8j1lc2ER5OUwcqp
3DU4I9ZpBYTgAXatJ4VAsxoKIv9a4Ok7Pnh+1msAHrKtq0SRrVwFVKkYLK6dfIGdbqQPclgP7syU
zc4Td8TDqsEOd/TNrjqifhfDUCLkoUaT/bLWTEwV9qPkEMmmQEZKEQNTKgdT00wdHQ9mghbXQ40l
AY1p5cWkzLHcFNPA9ogO1xnoG+YIKeCZtuF472VWNEEpUz7O5RyzratvKoeYv7joJJWySErwlIGU
nOqZH/jaF3wqR+sYyKVLAU5KeyUnTn+2ptXPHXX1mH4okVPMdNElS8mwbNXTXxRuSVLyKH1VlJDK
xjWctYd81Uh/nHvqGISPMBuZQKg6mv5jXZiwbyvLGQv6xrKzLmER15/FaERajjDyQhntrDP5CkDi
PJkgOkjoRok1bdleV+ZZAV1zlkNBSGy+quRZJXRrYVSxwGM6i1ZCutbosSE6+40RO/Gdk1TuiuZO
LpRJGfososVcOYy7rIr1DH5toJEFuQs0GwV2I20fJvn7ziYnrbUs/mdCq3m7uxAVPbJlMrwM+N7q
MCtfzY+xfV71Op4Ci7xS/smV0jzXQ4bfCuITm6zYBZSnnMSMf+gez1pZpV6NcMBdH8fBFf9a7RIK
4JVeJGp5kO1M5RCg5G1KoNjCnWFcljj15XmEbVySrI9Bo+GYDb2Oo/awL7VW+L4YUrgvRTAY49mc
B4jeEwe9WJ64f2QuncUy/xpsaBXjw7RAjceCHOE+/96S7QWFBZWyCJQ6avWCdCmdNbGjXpMPKeov
CCpqm7O9nppm8leBw6gOTVadPaY7ac+0SPERKj1QhzuLMgOEROlne7mu1Kim2LQGAXtqR9iPjl4B
rfcCYONEAIr0Wy31yygaF1EmyJ8Mae8xy6vL2g0SiziiKAJURqnEOMpYUMVmPJQMPrKoBIvFk6kc
nG0L4y7V/EW/bZBcge/U6HL+aElVib9EIJpYftPM0L7lKXowGf2VS5GqQsJqCG9siKp5Ls0ApJtO
meJWSmC3OTJiLRm7EgALacS/EMBDSzCMgjKzTpoL27BCInDWA3f22VjIricBldGdtnN/TwRHGJUH
l1bj0B0HXScd9thLw3o5bAPrHIynKgG13ZPgywpwlTTmAOeQ4PK1DPZRgwggBqcrLG095UgCGAhS
R6kWZFU4qoEuFUdGtojaQoGCGByhbVZnUeVspOgbgUbKHh5n0pFN1biDLKoUscg0LcFxwdVECIjJ
GhKrjvTHckrTodAiVF6ss1D9BwbM2rnx/LEH9OxxzZRhHa2kw4Ym58ZqlxpY0pHXeFa8KcKD8vC2
1W+kPuQ34owmurCFVFgrQpK0TkIzKKReOlsBd9UBjDKX5X4kFWja2YUslquTLJ5aWR4q7yIFN0YS
3JXujBJuVMNTSkulZYIrC1LZTupkZQvD2SXOfYwR4MLrhAbDk2SRpzt1lWJrw0RPNF/E1MrRrFwL
UjnnUkGlFhZhowWLtO0gLHlXfl82VYIsKnTtr4V82dXZwahPiekjWi+G2PZgubpAea0xirrxUxiN
pVORRSAS6HLfExwkjgAC5ZY0Ei09a5UdiYPSCypy2Gs4bJg4vdlU03sF/C6dgxHsKQnJfUFzKf0B
QdJFUZ1KppZBecH7bzocKqr3+pRYBlQn6aznShcv+ZDUHIOgv7bDwfeTNXevVFtEi6Y+M/YRyrfY
3TXpeG5rs0tmCPFGFiNkSDroIdCwZNJZuSMIbFwH84adt0Q5fn7qpn/o/GdNjEWDLZmRox6yih5i
h64aey84TvF830neCq712P4cOYTMVX2wETh36e+vH++23ZDANz0SGcDHHJ+A1W07cHXcuUqiMr8u
8hoauDJoVa40i8TMlNfMv3VhC9Ij4hEwOjAOYLJt0y/PrL7xqzW+TvO48b8unBQ85AQ1kaBEIzba
XJTHEpcFlvnXL3xuMP3UAKIRz4HWt0HowFcIkdhElWiab7X89viynJbat69of/ZudB0QegpZHFx9
8PwLhMitAXljHeIuL/d2sljEq7rsqa15m53d9nq98JEvYlowTPX7129yy4SF/oojlcHxAe8T/WUG
7wLFwvPq0bpQDDXJgZtVfnmbisas7s91rp0QVNWxl+Ja53v+x7kf67q+qPIZBt3OxPJA+9hWiVZF
e5hasJp3BcPAKo62DI5v4iLPkUcluVbCh3VabI13MZWqFR8LDKuBB+Rscc69+/PX/M8/5/+KvlVK
19P987/5+c+qxu8livvNj//8VBX877/FZ/71b55/4p93yZ9t1eE4+uq/uvhW3T8V37rtP3r2m7m6
urvDU//07IdjKYLtH4Zv7fLhGzqM/nwXfA/xL/+vf/kf386/5dNSf/v1lz/JYu7Fb4uSqvxF/dXV
X7/+EoAP/Uv+JH69+jtx/7/+ctF++1bmT+Vf2498e+r6X3/RDOMfCLxskzBfTIp0Grq//Acu4OKv
PPMfuFrRpeHg6Ik+GfO9rNo+/vUX3/oHPW9sVtFVOHTZdf6qqwgi+fUXJ/gH3AGyXALXZmJ4zi8/
vvqzV/i/r/Rnqda2PUcLnzklfg96KKRam0ZgheEAwS3phEP40Azok/xZyO/6IcF4zuwiC2/ipUBc
j+yim/zwasJ0sXlEv13U9z89NnVrP9/KJu8PdjupRJDzuA0d1A0ng+etQs9xUvIOPOOuMSPXTI8Q
QGKgoj6ZtM99gb8BiE7VRcmBUgZ+4UUENTD9kjAFPonwKUJu+yJDp+3Tq7gg8NbyHzqtTNY3MIEX
jwxBHvgH7Who3Q4L8fPbHGfdC2fHyu80U8+jnRARzXczos3pS2WTF3oojCRKL6bWjNodzmwioJOj
dfVGK/PvboPuLW8O2QsPbPO0rKWpltnP87uCZnz5tbXGMT6xVKTZjkNH5Z0gksxue2jLqA5uUn3M
++sILqz/9Y3XtsWo6Mq7bEwOBFfb4V42zyNM+xRTiim4LkBBY+ParfqsZ/EdikC/qaF8mZ/6hKpq
R9MZxjLeAVl9lZpuiENcqS+3//7tII9zKDaAca0X0ZpzQMrYlFretTjplg9DZGGIX43Y4tOenwkA
sU+U1lk0c5r0IBGhS4EGA/ORpJ3soepSa7l8/ZbEA/hpC8Nekx3TcgFyAkL5mGjPB0xuLck0I165
Gtwur2DoRk0bXaR95GBT30WpV3PAltYkweAU6Xenh8KU7V6/C3OLarP4gGMFwNkIKWAKbAZMT70P
Z9NYr8IloIz9w2vxu25vHb2D8oMKUksI6zB1TDMS7KbStQr3sR3Usb1bYE734S4bOKp91+3Z0ffl
Qg7Psp/IWa/M/ahFcbQczRm26k3UE1H7FM+z3+GYD7a17ECom+wJc3kBCAcB1sxP4Wjz//1QR71/
eP2bbuLNBK4BbGFbGKah3oZKsPmmmpMC1CRTeFJBUx7FM+dJTmEZd1l0Rqnl+zVqRtxHPE4BCPCH
pqfZe7KTNig1tPFtzxd+/bY2wwAgCYYPlC8QQ5Y49oTnw6B2rGQZKnM8FX3aZyeNQ259rRlrhP96
HLn39CusYmdHseZfNP5QRm/NjA0awQ2QN6vrZ8oPqdvbIg62Lykn7D8nQ2uM/o6zc27uimVx/rLN
Sc/vYivt+vdtgoPDDiOV/jGOslrfdWWeOld9YQzTbdQVSX0BTJcv6SHX5/X3tcvn9Q10alPmWgRS
Iiyy2TSBXJkyYun7Ce/1fLxQSAHt4V1rrn8yuowwDUQNXXdXFn3+saTWmt+YpC8GjQ9EY/oG+47H
yHkBtfa5NQtvw+E0VKvu34/6mpC8kWaa886Ou2k98QCq6OPoD3Zz6bUw5O+a1rG7HRbnoW2+MVg2
OaosprDhwNhtUttcBwxSPKOfngEA4pRNVt6doIgH73wCU43jgB65uFoLIjIuAEbGB7de2/aywKtp
75Ig+lCknPv2se+tv09FFrrfAuy57swOKc/RdnODvC0iRO0dykRrJjzII1zGipJe+/f2JnHzqEUB
2QJIPC7Y3/ObN5bGnoKqa09kbPnjQzbNqReiZJ0tOs9zbz6ui7vO78aaIIzv09hWPW5PvvPt9Qn3
4uzAbTD7GfFQCn1Wms1t2L2NEwjz/JTgbXY9Z5bxMEzo+/aIx3HdQco9ecYxJ72uvgV9SKMbx6bx
dwjmcJ4vikYL7e90SDp4Mm/c2XYqcmeY9EFrMHUHp3JrsxYIxmFqBm59ik069df0GSZvH+XgxQcM
H+vioDn9Yl3kTVwOe1IWCOrqHci9pzy1c+8T0U/hHAHRLPXHHDjCeTdDpMveMbKL7g3J4/leftq+
xMtkwYJ6Rbnp0XPb3OtAFtzi9f5wqjuv+Nx7A/3jJW+J4ouNrs6uC8MYECpAFxl2azg5e8tdjOjS
rIfG+OItFpa3BSkTyE2gl51oCcQnbzKG+RiFRrG37WYt8cYhGRVG/eo9ZYubzNdzUY8fCIhqgmOT
+AMWTRhEXSdJiT3ObsQAM70L4Dt07a6do+ajZ2Gis3Nrmyt4ZcWnjNRa+zfoOGK8bJ4EdERIkuAb
/G9L3I2oX9rax4FoNtYledCJnUl3ed82znuLl9cAIjrJrTCi/fz6ePnbC8MKdcEZYMeJA8nPi0Hv
V5DyRgv9P6K36RA4XXPhBG4Un/SibIZrSNLQ/fPO6Pt3r195U2WKl+9DCvXhQjgOLQAxkH9ahjys
CULiFIZTQQLy/JFMKe9LMLfFt5U2TvA74WuReejnOjMOBVvxSmZEm2dvTJe/+fqUK3TeXZSvOgep
5zdRWXlka4QNnvJEb7pTM8zGsNccI8VCwzGi6aGGxHKgtRtFb+xEf3dl4tnhdVJK8uw3lYTRzPXk
+3WP1NMYXOxOwiL83jGn90k3kaFKhxYD/mMN3PTWfrRhoIgnzwEP7RkNFx3t6WYDQEg2lPMS4Ezo
DIV+iNxuFucfI7hua0h2ga6lxmGF4F2dIsL+8otu1Nxyz2YZdjdYk/BwXh8Kf/cs8G8OOJhhAWBs
3wIhRDV9mKljHahK5xZgq/6W+0Vw25hAjN/GdnavV3+Ohzfe/rZu8sUJNYAUfuZkvqC1rnWp16gB
upOD1Zt/WObS/9TWZvdpqhut2WdTUxMbiB/nSrCXq6XH17/29ljKixA0IOoCJoBJPSnu76cpkKxG
0ppov04E6+V40UVlMx7HzEu8g52u2d7QMx3QNzVrvJAb39HeVTMUcsw81+naYh16N/Z4Lu/CrGk7
vBO70T29fosv34x4PKDDEFt8/rO5w6H1B9ROMXeYJMt8yDLXX34DudOuArSm3W/kLFkJLdOxfePV
/N2z4agOg8hjfaCDsZmZdhF7Q7Cs7am2pubTQHrLciD5zwr3pIG7+aG0y/lLFvRWB8yWuzdD4Ja3
rhGZD3qBRCjaLQYw361DVsuTOYyh/8bm9TdVHZHtlrgz6l3Op5vNC23WCkIWNqceh9I/aZOlLZwU
yC3HBR6Wu4dLnP6e8OI/WIuRXuWEGIx7dOhr88ajermQkrxLF9Bw6QCxhG9uxOzJQqzroj1FgRtr
jOWCMBwSOU3tqsTvLjksE05UZB6k3VRfR2YYH7GwiawPrw8VQ2wVz/cwKkrYpJxDxWjZLitBnS5O
E2h4PbjVWhyabLDWYzrmIXlUQTH6Bw+p4teqmQpvp5EQ/DtsGi08LXle3mW49KcXjPny81Tga/jW
kieewebecBfRiT6i5eu9cFeIq2IAgl+bE9WIax2xo8pvNX0hAkrXoxtKC3y8+rT8rFX+Uh8c6Kfm
LkqdkmygqfjWJs2SvLHmbcnEZB6w9hjgwFTiNu24zSo862NF4CCPC9Ndq91NXYUeJOhIaoCyGbmE
2vr2xZC7yVd/yuc7TFaJ03JdneN7SUPWp4TreXwji3Ozr2aoTDs0ccuxB9iGZlQU+mkYzCB8675f
7B5slMTcizftIsTadodMcN6U/SA/2ZOLgQnWs1ORfJbBYayli/ehn4lS/Ku3ojJ7aqfUj9+XFjrD
30l56jHHAR4E1n1j8L28K+pwKHGIbpiU1rZ1BipYa5ZbJKdOryoCmOcuHzhna2bjJ+9MzIPc62Ho
NI3dfaEufMyr1Rs/rNOATcLRKyrSF06zbeNi9vqNnYGTZyOPhio7LcIs3jbedJt1rAQ4Hj1bD494
MrTo6ixOdHQ+rWjMJkKMvBGry8pEREz0LxSM7KnUzYnugaRwDbXDH6V6TUcjzfTsns/NzmWNHX9/
W5MRY18vNkcLgrVIjZsv7aBL9b9c12+4VNP5wgP59S/0YkfwDYseA3RLtO44fm12BLz4E5q3eoAp
Pr+erO9Br260nqzEI5l+bYJBcYhz3n7wiHG8ef3aAB/P5zEcVQizrLcGywwFwxazCc12tlhM0oul
JvAmeDdn3crDCiZN+L2mnLEqbT9j9jPOfxBZbHvjFWFMK7mfy5qW79xmcvvfp3PPiOAKek74hU2M
E2OIBWQ8JHk1+3tNnyM9vdSxrpuHC93RB62+NDPW7se5nKv0u+XVWv4pwk3c+T1t2I/DHV1S9yP5
j27qcwN6s/h7o+AoFn4kARLl4146IVsLV6jIHsgF4bFb0yAMjkVatQQUuxniyXyf2W1KyDjaV6H1
mYpKb+oTRjBNHlzoQ5rx8WVBKukfWC/FpaEDJvzkl03Y4f7rBWIwGZyrwPKTgATlpxSRMf0paGyi
JzandkSz0MKmDWw7SrWawUIHv3TnDyh03GmGMqmPyx/4pSz9F6NCAVxe2y7NJRbxseTn40yGS0gO
8KiR47ZHyWFisMJKbtv7iaA4vkaBNYE4XMZa1hEDn4U8ucMwwjzJ93Xmdu59C1tT/BnHO8O59Isi
6NarzO5XLzp5POw5f6cRUzRZD1qAz5J+oQSxtWuTU9XsNNupHfF+Ek52NxN0rbJ9rxsj1fO9utuk
YSAZp3WdPXpw6Tw4TrxzOXdjALoOLkyYcKHV4u1RNRka0DHuYszOsK0MvjLDKMccGJdCeoxOEoyd
BvfS5Gh6iuDaRMM1iUEWAw/OUcCjny2sSoKjcq3AoH4dOPFj/pYDvUOSeKRl0DHDM7dOvweRNFRR
c7+asEfeZ7AJeSRh2YgJrH6qlnXkAXn44p65K01QPZqRmTsf/A4P3kfoPW1/j4ll9N0FGug+E0E6
1U/JiJ3ZLfL7YkBu2jZDqEOLIsBuQKIfxLzLIdPERecYcoyF2UHpPdmN05C5ir0YX2tuFvG22iFj
JTfyUnc+uyaN11OdLON0GHDMHh5xfU255VzeeWzTv33y0N0u0DDTjJLjoTbR2wcXvaYbXbhLhxWI
8GDMns+s6CtdrNN2H9E42vl+1Lj3QUC0tXVlTmTTa1ThEVrXa90ugz6/M6sgtHZ4abYd3sBAltXN
0mOmkuyQ8k/dezjfpDMfk0TvfZ3kzXGdb7F56HETp/OHyQTRRI42XkQt7PSKF0ezF3Vxyc7yaVrg
MTwarYEhVtJXrEC7Dh/ded555lpZf6wVHIl+nzKXKHpnqGXZuk/rcSqGaw5LfMeT1yTkGR10Tl/j
Bz3Hu5vd2mlgO9QQJnjWUOAYB6Zui39mNwweOjW2Uxn1e99IVoYgoZ4uf2jY2AFax8TFyFe7z72A
5M8VR26eUlK6nn2Jp2nPYPOcTPinQ84Q/8nGueRxdlqQpd/lLLP6UXzI5vDMvDXXIB2Tj6s1GVoA
v7IUIfeESHKfTpwszBWWGPHSEztsxbJWQcX8nrZohX8ztLBtLoPVtsc/SJ9yCDKN8QEILlO8TMIP
5QjKjGvdmSqV1zDlv+noAB3GURSJeTE7NWtnBJCAMWyS9e6IK30xit1uinyIRAOpTNYDDupt8lib
g55dGA1NY3+HFBKeEFF01ZJ+ZAUcgw/kcuEESTeZxLl0F1PuVrdhwxmo2av3tJJIykKoklmKeWTD
l18Y/1ePnGonMabgjljDBvwvt+vhTw/a5vClzaLEIwvDmgAGMfstMVn0m6pey6Mx1UN9tEl01f7C
lK3R7gwk11l5Ajb024e+C/L00sWnP8aSUhsqLIKHVbvJ+iEa44Ofp1ZxCRWmDu5b2q5gWQR4kA3b
5po24SdeJ2H0aEetYCXjSUGjVk0JC/bhvzANnl9patizmdH8GUcUnMF3a9y2VXYwl1bMo6kfSApv
ggbpHk69kcB88AARW6U/+sZy02OckT1ZpLgzDOdyaJyrKOucZTwR+1wEH9CcdnwU6AVfiUu69ALX
wO4144EWTl85+T4kaLYYWFjW3qWV7DXVrTWMSXLLgC2bq3ZuDeN/mDuv5baxdG1fEaaQwylAEiSV
gyXLJyirW0bOGVe/nyVp6pcojlj9zz7Y1anctriIhRW+8AZXUTIqN8iwl7a9R7PJZkMjX03XF7NW
zOURU2s7lWtO4y6SpFXh6C2wtPeLjeAC6Ug/qrQ2bClTNkp0ndWYYTwvSyvu6/dYSVcCcVy/3+Vp
lgjcYIE7p9hc8yykitj7okP0fv0mUSkChfdLQg0M6EZeo+giXHoLvNCLEffVgBEiP2Z1pjjE854W
e4CKkyLu4gRLVnZUMbbi/kT0NOZ1ZV2QiKnSLbH132+9UlPjoPfo7wax+u9enSlBvixXljk1joSR
4KhansysL5NrvDWJsmJ8/WQMv5l2Bw1uPjI0ZoXXWNi2xFwmmUwQ0+UjQFGkEjLek9eYCVsWVfao
DW9nOViy5kciBbVkemg6lPUmUsoUC/VGb0d2ZY2mN6et/haX0h8XIjEAa50Cb072oK3tk4Bfl2dd
VzccEBNGcvwAxAcRD8idQdPLk4NWxBTvIi+plYt1Q1wj6Nwxml0SYqdq+trKexsB/75Cxwdjpugg
r/M4ExeoEeZpKkNAnaqQzBDdft5LXhuwOH7gOSZV2UPT9OKwcgLkQJJfaIqKWa8XC8wJquJwR0oY
MMYyj4j+9blqN5yNQyeWuVYqQkyqBUrPuig1eFHK5Tu0ScZTkacgos6YSPShTH1byRC1lGu1zuBm
/V6KWmuUKxgaKVNRxoOB5zCS4fiJdqhsdzKxHwLWyvA6U0VkifGjDBPxX7FkCj3c97BAidO4e64Q
4up/zJKmsRlxi+tEoTojJfX0vBPHMESWWHzpShcxoSYQEh0eIjoo08s4ibj2475ENnHbARPndbzH
HrHalPx5LDbEQ+IwT0R8Nza1Odw2do1gxn5wkBrGuiATHxg0KK6UZ0bfl2wi0ATSRGiFpVqrmnTU
OTDw1phdVcP7QvXQAhPNyxgtZr7a+0dYOcEuQloVMsnxpQEJlz85R23OFpHqqORjlDJGJGFVaknd
DBfl23pGdlO8uhCtcHEvvQFCoLyYfC0t14gDMCR+HQ40BB+ZUvqgXQKWr0j+NC2a6uqKCB8wrVgh
4jGTDDT6shqTPlXPwDq3MVQ3OU7lfC1pkhXCmway+GANUlP8dCK8+V4sh/G8XilkvfMdq62Knxjw
onlNtSRFfxwnkryphq0CwoonzjMDUkOjE3muElo96WMSyXWDDW4eL2BcovrVpi5uMbW9xuVomR9R
MNXQZu8x+GowuG9SOIWroebNaBcRVuZz66aOUSJ4vpSzNPRrFrQdZT+mcEZm90e+NHlteph74TKA
a0wwWQ70FVw11/VEkwlnbgAjaHymGQvqms81KF1EXaYWf+OVOHTo50TqEiC23rWppZx3g10m1a0N
KEfONg7EfqO70vFCs3u/GpDD5rCLQ+NGUShYddvUacX4cigw/OtaKsWv9Eyp9G0AQzuX1rmq9vlV
1Q6xbG8neEDtsretuSs0+vGYpCnrpcUPKPBqLIZrZUNvMJi5I4ukTLYTUtd8t6guQCbErjMtCt2f
XIuApP+bqT+yvMWJlwCTvg3eoub3I7uKVUyEV8Q2UsZJ/C7SMCD6gDO8nczJ77atDIDledAihLbu
SIfyO+xIKhk4fZoBFo0MALmPCLqANXXHPrPMzu0djOzniw4EuQnqHlB37qGiZlSyZ2Nj3NmP9qKw
bsw4aFqVxroSI29v9CJchdkp0jbt7ZJLhB915qnJPPMI2tsfKeRQh2LT5tCcsxWtWJGUkYC0HBlv
uanRFOKz9FYG9dAUBrs3Qcd0ma6DYBIWUAiTcaWzUAgml9f0JHGS13sh42fO4BKJu16bKYto+B2I
TFfVQ3F7mxxrfbxy4EyU04bCb5DEl+/HBSCMghuhx1qeg4LALwD76JV0MaPmHF1odMtvyRODQXHN
FJtl1AkUVO+QB7IGcbTPLfq2MzJrkPKgdNlQrf5wXlmc7NFoqEH3K5hNM+tWGJW9xqRBLqblHS+B
tihplhba4sCDImRxZ0DX5AmdqhcQYbWoBFgkyVGPHDZprydNujXNKppt3wFVNmGKJhf1jdZptcq7
7pk2Tg1WDTrgqcq9iogcner3axxM6cQZORvQbJiXtzQGN6xQqeEYmm2xalp7iDw6RB0nG6LyrDJv
iZyFn9JKQFxb9e1YjolbSZDeAmfkyCjZNJImADkFzrucZ/nbkddFmUM88365vtNHUkQss9hFHIOK
CpZqr5y+6i3yiTugqCUOErIIFVTUSTlUu7dwPQxykQ6WdGtEQjHDL6Ffr4lSgzIJ0Kdv93HPBWG3
igi0ZMQHmnKdxZITnY3o9s7qr1lypnHxDSZ4GlesENu5k/W6K8NVAYU5fIFp0AV3SH3W6XaJIwlx
7iGRBg2neNZPrmM2VuuzhzBApTRbSnSp/UKZQL6vy6CefkWjJnBQCEjKia9jpl0hHhUG80MVpPno
LeaiLX5YddpyT2i11JLfopY9xXskx5Q6XjVpuaQPUw2X+UlFPAZd3iFCCIziMiD/1g0V9BorFypb
X97Geb2YeOxkWmxvqXtLMRfZMs/puisn/bcSZJO6k4quTp6TTlXoJuB846MF6NTFHn/vwdwt3SAN
dzkduQC90Vjsy7bAWtzxhZ9n+CdYhiR0VojWFelKB7JikrNkaSVk9zmxkNfMK7yAVlyTehBfiNQs
8GVl6oqCGhkzR/CIWEqLSEQsK8hkRXW7PL9nXO9RNmGAiHreigRv+YqkofTGMddHZJWhUxHAWxhl
Slh+lD0AOi+qCotFiXmPSNRDnrdcva1/HMPEpyGVJXbVNC+UG0eqRyyPGPBl+vst5U6DRYSa73Hu
+5awjEGE1TUULVatBFBbfqJsgOfIMMcYMc66eO+bRbOrccbYpocT6OKFMA44f6v4icNK7Ib3cESE
1nGC0Ei5atOlSc4h4tjJFZYpUV8hXyiX+d4aFrgFqzmcxJHxzvSQSBAY3tGric2flnkgkplAJpWs
6lSpCUF7BT9xoAC84VJYkgTsmTTulfAP51LG0bVUs+Ks0xrJTYD65TRm92wpzJpdoI6NjCycAVJk
FyDXPl7yAqvxMkxLezERldQWmfKJWS/yGvTl1L5ojtO3L8QSffIc2YjZPODGILMM22bukucugUaJ
y4YFtgcxFMts9B5TKFnkU9jrCNzTgg3V/KuCjMr3nYS33UsChCSGIdtC1iJZR9ia1yWHkzi/y2qQ
FVb5a/HIopdfNkCnQDgmbipVYjqKepI5SBsiBmKjOjb4xdDajXmJT7O4CSZFLXhV72cYO86mPAEZ
XiPCiTEPwgM6NQIncRWjkbL8GiJczQsz3+6hXkarPsPw+jWcb2RNZBvBbAlZdAdrouXBkFQ2xapi
S+jL6t+XtCg6Me1lKtZAqhiUQcxR7c3Gn+EDx/BTWTrqOZQQsfhi1GyI8/KeiDpw1RZP4NivzapF
nz2gs1fW3mRpQ5+sMLIJWJjTO3iQInDmUPPAadZclbhlOQ5CcU5aOav5rQaQywUVE/SXSKKlemL/
BIUQDvMcBYsfuCzDID8uVQxpGqBlZV5acaUybZhhhuM90s/9cP9+p8pF9Vo8HQF64vCDac78HOhh
rfRrDTCXmLRw7pnrkb4Ij03ILaYpiCaJk1mS2eWly4+2lccVKG7NRlHnjltT0ykGe5ak5kyGHDdK
27ktrmN9sZ4cLZBafqCHrn72Dm2kGfsqBtVwSs4clW+1POqwRA5dZ4lt/54shkPQklLkvYnLtEta
aU/GKq4H7IDYoLOJFCz6ujZh8jwHHCdNa0DOcgHBUBHbxirkekienWYanUtp1A5VpA8T8Z/CLvlO
FPNqDDRZQ1HOq2sAcPAIoWSKAD9Hl5RkpdTELzC6g696EVvxkHe1N79V1GJcz7Rz5r2sLrOOet8L
fmahTOylTMulHqkjKqNoqeDr+vjaUfjfJh78J0rBJ67Cf2Qn/B8kHgjg6n8mHrgvWby8fGQdiD//
zjqwrX/R/RHYBXDHhC8qwJ131oHt/EtVIWg7Mhh2sF38zjvpQLH5IXI8B/ETQ6jO0O18Jx0oxr9o
yeJ8haSSY6Eu9k9IB4zwsc+L+CEfADKbDiCfJVsH3alejUPa5HJLsTna2ZGN5mOzD+vln8Ei3oZR
gEdCHAKn/9oK/wDcmJfawTdwbv1eks7KTkYa4TnQ/tYm6lN6eqLrdQjYfBvNAGLAUKJbLBrvH0ZL
eSQFqFTr2411GcL58OJ6/BlL8KQQG3G8Rq/WUyrXXBvKqqHdSn/2lxLkoFljBLWj3dTc6tiPbmj4
PMuOc4/v6cOH9XH91s/8xLAQE/uhzfn2HW2EH5EzQuPMEo27D99RGTUooRQJ/MDBxwsJGE+rNNut
oBesqGvcRUp9XyvqlkrbbYXWurtIFR2cZLrm1DuX1WnH+dW6lZGJLLrsXYhfJ17aYSv29Tuyxl6b
xLSJDdHa/PAdRZl9gcjY+uCZe3xUZ9p+zWZIosSlUbenrPVTnzrXRjMbeczpIox0TC1qy5+o2uJr
b+Al1T9RePg1FsXdEhbbsqRaZ8nBKcG9A0jH2zfVxApmp6EUJbrdH76pJAg8SHe2WHbruV/lc0tH
IwhdDVxLWjrWVjcV6gZNMeDvJq++f5fiVR2+SseUgdcCmRB+FJ8Hl3u7MtOgav2M2llhBuwj6en7
IQ63qSFjZAPqCQVVJAWRr/k8BMhAjALAhPu5bJ/1c7uNDWr9pXkKly6a6x8f5XUcUGUaQF1IJPbB
qjQ70vikiFq/cZqXsLCrixYgExoFGQJtuZX5KWrI+E1m6EDEIXXEpDmBijE52L58BSwMZI4/gEL8
9flRjRxXOlQ9Gj+lyHKexvhWNCBQAXXM86ajWiDBnRnnx7iKJRw5A+UpTA3dBb5gn8tGWiFCnmfx
y1CRZqwdC3NqI9em3TKb45ZgDQsXxBfbX1MTXAS1c1nVVn5hkLz5SjrsFvylVpGuiHCCYBHpfB+w
4RWYrt5H3V9ejaF1NaTlBn2G4EdZdooLVvkcTJi25WsAkUGYbwaovgmUKbzXO1n3JjuJqG+jwq4H
5RXxm7XW4wSdqjRJvLGxKGzI0fmYStkaUsCuo5hJNiCTUluhR8VLeqTVkW5kJyww1Zie9RxyiGKC
IgsQLjSHraaO6lobOufccKL19wtPO8CJwNqgWgGMgJ6uwK8crjxwQDYaSW0DegYclJpEKRncGHkc
DbcWp1Yxxrdd5BB4TvZUrBDg732raGCHYlr1gmzMQ99r4xX2vSgpsrI9fcktv81xnpXpYXnzEF7A
2nXhanMg88jS49Twm1UTEp/XSvgrTHA1jZN+yyVirEKtBlwo23++f85jG8ywwHfqQE94WweokzmU
JwP+RMMB0ko/MoD4F+HS3td99vL9QIfn/ut8cnWjmMw/cAY/L+8RnagGciHO13KWbot6AWFjT5k0
u73MqZVBFVsPbfaUsA5OYH6OPSNELB28KFgUtvfnoWWNBlzVVY3fkse+AHa5iMxJeQqWIj4x0gHm
RSwaGNEyESbnKhWLg5GCpTW6TA4qfymsa6Ovoe9n+l1ImEFJ8xqp5b//8aSaqowsraA6QDcTT/7h
+FekIUCkBztxuYsxgYFxRhzsxoaJbH+lXOgQ0tFoOPGQR6aTQQGlWYqNHPdhlCHBT8smtPt9lJbS
FVqy5zpuKa6qT8WJkQ6hk2I+cfHjxVkyenHsks/PR3JhOzWYVV+1qhdsj35rFlUofJu9gX7FCvb/
buy7P7Xc4oWYp399P7tHHxSMIpGUBYnjcMmatY3eqMO6gaVGM9O4wL9409bTiac8smhM8MyCIOKA
Sz3kRDlA97ogKBq/XGBmqUvxEDd4fc5Vhg6Qcl8pSGZ8/2CH6Ki3eYU+gPK2QWHBOFw3dMuXqZFq
H/tR49GE/qVW7S6KHU7fObtFCAWDHc2sduYYqmtbbZInu63WY2eWG8Mcl100k/ue+FJH7mBB7SBT
EEqFX6JXE+yUXYQRLzuQN3A8aF/Y8+/K+Qs1hMy10I5a63J/Df+9pW9ttyeivqOvAUynAFjDaTXV
z2vNCrBsbEYHVsOIT7oz+tScz1WzuJzV8DnJ5nD1/fOKtXsQcsAlsGHgkNSQJB0E67MphdxARu1n
i7NX6/IRzYgT7/nYI8Gy5PIi1aLefhA9ATHrcUkca0Askb7Ru6HwVCTeNqMy/wyBs/bSiQG/ZCBi
w34Y0To4AENYnVNTzIxYVsE6CSQcxmkPYFo6/G6NSp3WjVVQ4S1tOrpjuzUI5XozfaLlfpmZ1dZJ
jMkPrPY33s4XoagsNZY2bRMrfvl+9o/tbR3GhAkzViSBB4HzDAFTLoa+9lMpebCAzY5afYkc5c1/
N8zBosJQJTLNfqh9GrvyivYADKspXQX4S504RY6EjxAW/98DHSwnRKKdeKFX58fL8heIxnU+SFdZ
bz50+XTqLR/bqa/3HHx4xwEY93mrwIlSIz2DAJRouPAWOvoWjuk2qXKJScuFbGc7Kc22qGWVvmWE
t99P6bF9AwvGRJcAXgp/Hww+xfGIBVbt52oh08qzh+c2n6qf/90oBzcPljGTGhGZ+bM9eNQKQHtk
J5KOIxGRjRYDcF8OfpK3g7UxOQEwzFqr/KafLoZyfKKpeau0ybUVBXcIwYHvdkAKfP9cR69UREyY
OUbFlfbgTEBZCbRhZVV+ADvDlwrsO5f5lsrqspssDr8gTjzZbJUtjpLaLlD0+xNf4EhgTcWHow1G
C4z9QyXlZJqDSZ1y3l+l/Crr7FGKUKIy0xF1uPzHVKdPehX/6VAEA6Gu5C7Oaqvvv4JzZPOTKzsQ
4k2+BlD4z0uojFleKR1PvzSawF+a7AWGze1QTJbb0MV1B7BAtCmyG1w+tH0O383vBnUdAU5YT+Sp
K4op6U07BxG4s2Iftmbile2QbbDNBYhhTqt6StNdRsOrKSLqt+Vy6RhDuKFrdNc2UXsGY+wBJh99
fszppslJ/a6jel0rSepbNHE8RRvkFeJ1u6wu8LqPY3K6kN54gbiVm/PGTGmZV6akFG4MtMVFgXRy
Zy29w44+o22qX1cNkk1RGe0jxxhXUAkxUx/zC6QYunNdRmFDXeJ134X305ANAG21/dRM56Eda34a
1TWkXDvx8sUc6Lmk8kqntqC7xdKu0ezNNnAJ7sx4VjezFJq7YNGuokkDBlnGxTpKx+IJw1zVlcvg
rM6b0W8XvE1b2z4fQIRtZhmIkVn1FO8VJXT1tlP2aWNjVNwUf3LDeo5bAOwFnrRSkq3C1gGlXDbG
Wa/AJypD/Z/f/BCdcd6wkP3gQj7Y60GCi2Muz5XfjUXiLeMSusgvwq2Mr0MnueWnTmzCI/eyTcJl
Q65TATEepvroK0EexcTRp4k+YzRth16PPn2gpHt7GWJv7IoTj/ilpMXFbKs2FEKkCYSOkrg+PmQK
ehNlc9qaJUEmcJgaTdw1ha/kriwsVKcKLC1rftPE3WZdOcZNnucvVdmd89WKi1CtdAT5o2ynOAlG
O/E0Xxl0Kp91SdU2vWK2bmJndGm+36aHtiAiSoWiwTHBKaWwVQ8OyNnGVw8n3spvq/zctqp9P0nd
fsmjK1uraHLY0DfQc0xWTq3+GST7Tm/GU8y/I0cFNGkiBBionFhf+NtjrVldb5XcNrlnZB0I1A6/
bkypTzytWGQH4aCN1wPnIfpNVBwOziQNbCAAq6n01TT/ZSbGhoTjRIQtjvYvQ1BRh6OnI6V+GOFS
raAT2Qyln47qQzs2rRcVBQSXaEtdJnZF9GOG2o3V4p75/as8dtVBHCZmMAxojF8unZTOOH7npQ/a
YC9Y9lkV3IOQup6j4tooIS0WyXBCtutIQCREHGxDpBPUjMQm/LDiUxu7JblTeNrUaOAEL3e1gQBv
DPhaD8YTgx2bWhoJ1INFt+NLdaOfgRNOsFH9zDCvJXBlnt7nXqqZZ5UF60W37rTavAMD9uufTyzd
C8HIRrqIetXnhzRGE9ycrlS+QNoo7bpCkBRGX9yjMqusDayoCMvSx+8Hfc1IDxYSRUoD2VhbpUQm
i03zcWoHID4GF5s/LE66Q7rmHP69wzluPOMwFyJqMJuuPeXPgNK3lJdWeGyeKbM5eFK7MC2WU68p
quabEDFQL2yQXaMNrhlrqeS4b5K/dL2iFii161AaWw8bYQNScXNnpcazk3ZPVrVoYC+VH1raGy5N
/cvFSoGEAFhx7TL6XWlq7lI1Dqk12mfUaQa319NolThptG7aGjS41aibPHWk1RDXd99PjyrOpS/T
QymNJBKmsqUfnFsGHvUV+g2lP7U5wZQl6a4qErCqlRGcLo29PvfWpgrk/Syigwju2S/A4xu608ud
HOmrDg25tVXmOwPR4rVilTqTgdhfEutPpp3kiPTHzgYz1FOVsiMXE+I8oG8QPdE1WlafXyxyQCDe
m4pbwkTbAWrc4tJIVlZjO4XndsVb7WvbPrF3jiSNEAWpuXMf4utOaPh51CybDBUnyNJvRowO+2my
PDWjAlFxL1MCqeQNyui5B5Q+2FRZrHgIt3CUJIUMulf7gV7g8zR2D3B3gZPIy00C72c/1Vm9lktH
OnGTHrmVRJCAeB/1EywpDrccMPSwtnq98GVHYCWTe63A0hw2BwBKcBjif/M1gekqWTXQiKnz7aiO
yqkY9ssaU8Ad0MFk0mhVHZ6oE9ZYSmCPhS/N6Vk2y5eyHEEKgtUZKatids7HmBDWbk+lmV/zB5S+
kGLQKXJiJsBa+fyyDNxqoJDEpZ9h4uxKiuNX0ZK6c2eDQnluguiOVepORo8X94ln/nIXHwx9kLrg
k6hEuZxxRXbzFoDrbi7pH1TDiTd8YpjDkrg9qFmEVhSbwBkuigzeWNf6anmq3vTlwhdPg8IQ8nq8
wi8+ECHs816D4OCPk97sArMuzzJFP8XCPP6+QMaLljkIefUg8FMXu4c9n5T0KdKN2ul3kalfmnH0
PDjOdR/mWNFm4VkNX0ft7fX3J+HxwYVuAaRz4k7t4DypsqEjGQgZvJL2Ra/d9EHy9wzJxZ2r33VX
70IA6p7d3MMF250Y+0ueKeb3w9gHD55IUhxFIWOHcb8xnGzdmKJTS9I3myukZO9rPfk52dL91Fbn
jmKcCHm+HKVieB1tQyQ7+Ndhdh8W1oTEm1P4g/0czSpYl/BsrK8Aj24RyToxmHiWTzfOwWAHNZFF
AkKTjlbh50BtBxsB+aFfAaSlap39l0OJZf3h7g9AYcOxtAu/RZoazrsXcvopwy2o5hNlpuMPhYoe
1wKmhObBSaPpfVWjUVz6PRC5dYWPgmgVIZZnLfMlOjXD/8+T0WoWgpcIcx+WBHM6khB4eTJMtvpN
rKYhrhtZtYH6gCjlpGUnVujR5/swnvp5Jq0xHXo156VBSLm2lPGibepdbUMAVrvt95vh+FC0FxCL
ZLcf9lGSmeowZCdUCmKQAJWtXzpt6TVZDrIuPdVM/xLsi8VIX4HitUySe/jeWkktEL0TzzUjTWaa
wDnBF/ZOt27rZZdk4BEk7cf3D/j1VqZzTz3QRJSUShpGtJ8nU29kSe4C8fL62CtnVUKXN3ruavSi
w2on6fl5HdWxGwr0f2fdZUNzIrk6cmt8+gIH+6LXK32UkeD06xjYTWZudToUmT3efv+gR24NlgwZ
HCVrmgeH8ssZNvJoUzG5raLgJOfQOw7T/tTSBHD19UShSGgTlxEJIkwgVtSHbd4iHBOWKTGsqUq/
IMkGt5gvmxsiAi9ri3U7ytHNXE1omGjzX3OV0Lyl5LdK1Vij+CXfpVL9B8hf7ca2OviWnTS7rqe+
ltXVXSqr5sZamu2stmd1qV0kk3ozFxUq6rE57QYlGjZjjANJNNSYQcCGg3jjwKhWqx/Up9rzuQxB
t1Pu3oRNoZ8FwAgF5KUHAoGoReH1AeucZrnTuBW0Ah8fHvtPiW/MtskiAyO7GPsB6XrotfwsZaQV
DF3Hc7CgV3rNxulDQ+kj7TaDYOdgarceBwfHAvCXfoGR1jrNl7+rDnOUOtB/htS3VhM9X8Etcq28
G3xbl35oSZad85J+GZmJdDzZsVc64eKqWrVsJ1jF7jIHFvSWsnBVI6t34yD1K0nqSk+tk7N+mbZl
hc6yk0ukK5D6b6JEt/2+sIIrHdMAsPgKVlYmGAvdIGsyFVyqIwNmWSA/VW1/P0qB5GqFemUFyi5V
qrmit6cam6at0KWm4fmE8Bv0XUNtz3NLg0sVSvPFnOIjGKVLcBMFxuBB3Wz2NMttD0aftI8aGayl
KB6OUZq+SItW7011ri5lWNYUEwN37nExcZLOAN2qJue2EZaenOu7Ro6MNTRKeTeiKqng4LiFJDXu
Yl0Z1hic3eEe8DvAusNNxrtY0cZ9rFg5MmtN6XV2+lehZ9XlsDTPpNkLj+2sNOrnrqMvna9pWbIe
MW0YwRasdQBh3IGwgAXQZ4uySuqqibIdKttz4KchUzhra9hBxoq2sbZFseqKyjvvbgyGyI+nzkLE
uzR+zhUSMFCSk/4McA7u3LYWIH7XLYWXqOWIEV+0R8ei/aEAckE2Ancex8pVX8lDc2Xh+LjX+3aC
aoEwqZfUzRo/9Z+l3WabUEtSb7TH8QZAcUB2qPU7qQ0uKnOWH0eU6RHfCdPrJqg0CapKYrmtM7no
kQTnpi3pq0DXx19G0SR+wcS3axkUgLYZcD2ot8OkSBemXqcN5ePGKFwlmOFgIF5podUGUbG96Yte
9a0FODj5WOpB7EKIUaoL2JBVdZbTqtghbLE22halHVw9+PHywZK7rZKP5W8D1Z5dkBi35NHpA71N
WXUHEJC7ejC735FW5esEfcvALeZ2fDGiSNXdTB+Heu+oNeJZ0iwlHsaW9/GsbC0KFgi9RF4XTOtK
Gr1cc9BYizpzP6nGkxVNylktK+DuqsxyR8targAFNt4YImMOc9hdtJ4MuW77ZqX0ZGxuOQeZVyzO
4GewrjlSpHE8V8PwdyeP5jrouF9zzUi0ldqEy1VXAS/zQ3sGXkjac2nlCA9UGkIGLuSJNoRguKig
4UvKnnbYLF4F4xq5gLBWfcnqx8SrmsnCWjQpqytJKoYLK3eGfauwZzZKAiI7N6X2LsZVbqdnpQ4V
K9fjv6YyuLIiu/XgGpvrctCxXMA79waDBxNSdslJNgPPPg+ScTeM7SXw79EL6uJvA6Fnw6uiOFxX
tbM0nhQb1CSDLDB3SmuErQ9harw0CuM2FXqHHRm0QxXmLMVB1M2rQF+hlO/JqX6V9sk1UMWbUdE3
UVA9Vk3ydzNX+D450pmRZZd2KCMlMe51SBGuFZtQkK0IC4VGeZSgVcOpBoLR2wmV5Czbz8Bs/KUt
z/BCv1lklI4RlyrWSytlK/KPn/jttiuUQ7pNKiuPlsGNUQsm7hxq1zDqYLUOveJPUXdNze7v3GZd
TO08roYx3Cm4qXpcOQ/IwgZIbFt/GKj38MW96OrhLKjiH0WvQ5B7HLoFJGbTP7Zm/oitkYiGJZJk
ubodne4OttqFlBepm3bluR1b61HSAT3Vt0OnP+sWeKDRHNfBMtOUjrchM6PMzo3UBWyxB6dvWlfC
oyIriw0ukBcFJgCWXRiu4oww2KlFrbBbRAOyic6DwvCCLn9JBibQeYhKx6sr50dRxBtq3btSj/4E
CQrMeXsRZtFZZPRriJUvclb8GEYdFpwy7pdUFcVSongT0Fii3VmKdMbt7ykkpXNs+BTP0fl5gjaU
sc2jxwEZAi21kKcZk9ob0+Ja1ZatY3IWTGFW3EoKOz1d8gdtmN0RMpxilFf0ij1z6AxaUdJf0RAM
nK7hpa7k+EcoT5Le3ugoyew4Z9weA2b21K90mD3Lgi41KcWzQ8EvjPIzuWlsP3RuzcDcSMpk/87L
9KLLzYsGeqSXDCxHDOa2c6bvu8BQthr/Y9KC8joJo2xV6wasVbySUmPAv4JQAhWPZKXPZufp9uLr
dXubFtPLiHbdvqZ33+0Rg4ch7kfmELc/52ga4hsjxw6pvAlKa4rWYCTNTRiny54K5p/vw7Bjma0A
tkPhwSOBwO+gZhVMgdVLM5WyBDtuyEPgAcH52U/qeDWr8hVo3IdQH7e9HZ/KqY8klvTcKffKBlAZ
ulafI7O6QAuMZVT6bdt4TmRvsw7tE+muzMZLJzCvtUraBTIdVbRoeJUvUE73mKbfdIp1trS/0eFF
LPNEqvY1+AWla7LcKAqJ9OIgVRv1UgpDuy/8MBg8iDsu0pyeBBr0+1n/GpQipULTDENrBZX3Q6RU
CiXaCYasYOHDSI9VV4InNy23AzQqGdmMsj5VEP36YDLoGR17UkpddBPE738Ig3U5qsEGUz0ZDXNn
KwP21P0F4iur7x/sSH4mul0wQelAatphBTRKYlmw3Et/aPs9miF+HkmgIZsNXMwTWe6xlSsSM4If
JOGxMz6ooumlOSaoegDNyEsCgGBjzr/V4kEISngwqWgKafoKT2zSxFN9T/HRB2WKj0MfwiMRXEAL
pGM2kfM9C2P6B04mrv5qN0JzXqC10ge19oNu//NU+9PAB3sGsQKpyceo9LXAuVcadDyLatPXxSXu
VCfkHo+tGEoINjuU9AlQ/ucVMy1GOlUFZSepINXUlBtSFK+0+xOiuEdOAcNQFMylaI/aNGM+D4PU
qGIutPd9LNVd03lUs5GWk7aFSrhOJesEVOXYokG9GloO0HQh2XiwwWWzt9Qq69gHc7tHWnCfl4O0
bez0eWkqSohMrxvM2o+wjvamdQoHemROGZTOtS1Eliz7oFKSRlk6lHnJ68PTEVuHOUVGx4y9plf0
Ezvx6xEjwz0S9Tqkleg7H+yOuUKeYGrq0ke10zirjBzR9VwdaD6MMV6VgLiWdpnW9tKZd9+fAUcy
+w8jK/JBK6+SCs4Gi4e0WnsnuocBso7fD3HkmBE1IF4j+oJgjw7eYriYdbbE7D9j7s4Kc2trlxrp
BN7vJwY6sjoBF4GsUUC06niqfF6dOQ5nUTByxthp81Otb5s5/RsG37puwzOrNU/s7mPLAx4KVXRY
IvQkD3b3ItlTkxJd+7TMPNzRN02JKOd0avaOvCCRH+KhYWEHTmP580M1cbagtMGWA5LwqxHQREO/
+f4FHR2ClgDFethZVLQ+DzFlxSKjOEHnMJ4vsGyrXbWz7/+7McQi+XClhSoeWZHDAYX7mkfb0e3S
U02HIy8EsWwOQJQXQTa/Nkg/DAHqZawoZxR+58gPdvk/7J3HcuRIlq5fZWz2KAPgkIvZIIAQ1JpM
bmBkZhJaazz9/cDq7iKD0Qyrns0s7qKyFpmkQzjcj//nF9GvHheQUJ7+g92Z37/oATmowhnee1z9
aGWjbDBObmJul8WvvcDHHda49/0jO3w/f42z98hMLegrvQTbg6ojOXPSu4Nl3VUg+t+Pc/j1/zXO
8ll9eG7SMAk4eNwPEr9r2cTOEPeXI/v/wTEwY33XU2GYvPfMCIyuDdtf9ifT9zpf3VbYwPwHtwGv
yQZAJDltH4strQkL7oLbINXhJG7zs77Xtt8PcWAlA2qE1IGMUOde9hZLubdhJ9rAvcWcvml+dz5l
4WvVZGezfaydf/CBEVNPPJVFaM2+ja1CarbB688342K7Ec7cUv+3uSpQYmDHENDDy8d2eLmGDy9e
sYsEmxYj38BDuiCbBlG+1a+1agmDtI4A1YfuZyn+kNSZyDjMvc3UGNpUtwuZsVr5em5uAv/YCnPo
c9GQhywRSLBbv5R5Sl0YZCXwcqbsbDlVFn4CxBgd4b4cGgYKig3/BZ/Zr5lGEEisAL+LjTBjR8NB
j0ijlSHqI2cb9UDVynZpUp3TPcHQdu+rnMHCLR/DtA0g9GUxgSYScqWYTllWrlnqaymGgWabblvr
Ox04B2vxzdD8IAHayQ0Ft4J8lfzE25UaYiaoEAs+1d4k5DNSD5/kg3abF7Mnmcm2Fp2jiIte149s
kAe24093sLfvN2EDE8AW+SZtBejya6upm1guzlWt9jS13nz/bR4cDcNnIZNjwpa8t8IE9hJoXjKZ
ozpy5fkSrwDk/FhLFG+RfaxJeGgSUGn8a7C9pTkbke9ZEYPJeHSwHzhhZzqm8fif3BKZPEthCIty
r8IgLqxtLGLsNyNJUnwwq1EONwG895La3jCPrJ+H7+mv0fa+0L4Hcy6xndtgO7M2xbTRpYdQPVJu
Hh4EHoe6sOPwpv+85Pi9iV1dCY3FkiZPyq9lGyuUujpyK4fWaSr2f42yzJUPC1vaY2diGiptuRhH
G/t0bkfHAupVtP/l7exN8RJydD8JBupF4VrZz1T9oVfqkaXg4MyGqSSImpMB//cOB0tKaJ/hAUcd
0Gyk4U0Y1YZYQhe4ayVV9pFD18Fn99do+1oauAtR1wyMFmiNN+ImhBeMM9HcD7u/TT5l/7GX3RSa
CH3F/clgVHIpZGNiMsgkqRXDOrPMI8/u4Hz7MMTeTGi6wJJ7aWQmmKoLqkyclBuK/2i+Idil+GRz
g+P/eb7Rz4l8uhs559RzPZRRbpCMInMqPiaCPPhy2OAsth68HfaP+YE2mZjrsou2tNxG0/AmBY9i
NXe07O77tefrSGBrCqffhZdHkN/yYD98Qrla2nIcUerg7rYWoto1DR2SqruMOXh/P9TXnY6hkItB
FRfvSt3PQ/VqGSodkreNL5lrq5oeoD9sQiW8kJJwk4kz2rV53B4Z9OvEYFAwNkMmFg7q+3L/H+4v
wS3NyPA5onMxezLRPkV6kTXDken39dNlFJ39yACoXOSWn0ex8W2fMaBkYsQzMbUZDcDMS+THqFdB
FYwj7+zgPXFsBhFFEfyFuV4hKtODiu+plRJXQWiSSvQLh9H7/n0dGEYByeODBTuElLh3U3Qh0ySM
p4xCC2uvQjrjzp2qy48sRMuv+QzbgbfTO9N0ZEOwyJbL+PCG5BmGb5RY2SZoyPd2rVJu76zYiI+x
xA/dDnoy0ybKBRHoPgoa5D0JaDY+Flmh3WLZ7iqDfoW45W8XwAu9nuyH5RwPP2VvjVDmJBWpKTIY
pEm9snQ4kpGkH9mPDsw3ndQX/tPgSFMIfX5meEqSENbO2Ua1J0/HcjqT7TPc8TwVDxYiaV6/nwnH
htu7J47WA+mecrapSGinJXFJMJ6zdAHsxRyvaH78B8PhOIJ/D2A1JJHPd5eHhaz2Rs9wZb3CYWdD
ssAmzIWTRpYT0xv8frgD6xKUF1ZAA2UE5/298osEqnCo5SzbDHOGQ1nwQkCLB71vZeoX0TRtu8nc
SsGxwv/AwvtpVPXzTXZGmcy49WUb2AgY/s6w3EacK/FOz4w/P+S/5S71v7OO+mQwdTgh+/+gu9Ry
+Pz37lJe+l+3L2n/gkH6R4up5Yf+spiC/cwiy74owOQWmtI/LKZs+Q/QcfROcGuXzeyjx5T2xzu7
3eaHOG6zTP/lMSX+UHTqew6VCzcXWvXfCLZGzsgU+bRyYm+lcGbkdyKX+LJAm9o84j5v6Ou49+86
ivDbZJSKF7U25m2L53e6ln299Tq7zPDir/1YrHps189qJauv2qAg6iOyiEJtSZGMnEaV+hK5rT79
KJRmOsXRNAtdutDjZWCZfriSUe6g0WpHN4+U/F7R0+jZN0R+0xhihvwWFso1JCVUCLaSnJZFFm7N
IICEo6uj4WQjYgQT7NvNCtN8rVs7dlUdu2L45L0Re6Tq1V639G8oq2TxGEaSMB1dT6anPG5IakhC
Qz4P/QZxRjVn0nWMzeF1pmT6rzLKK83F5Fctna6p0Pd3daRhUdSrFS66GgnEHvaAxVakqg7yzX2Y
bqpHJpEBI+1tp8pUo3QUaO8/6sKcz0ZVSdYVQMpz1Gq2tcJ0HQFpSigl3JIJn95yCLSXJNOnEz8l
ui618uFZ7SbfdspGEHGVaW6MFsGZGqv8RZD9DG6ICy6XVC50Kl5ABpU+aC9TVdTc+ijOFQ59sYeU
RT6BdL7Jh/YkT2zDnQ3rTQ709i5QM2wSW07aLpFfU+BUo4rVDc2i7FxJpfgiL7MrDQbwL6QbI0wn
DNhnTkVF3+LP1QQIzKRUvg/QjPsgC13xQoqbDFOlt8Ntm6Nxlqf2aUyqkgCbXNqmWVI6bYlDe4ua
y/Vj9UemkabkouOQnFiXLnx90Zj2fY8jKZFXiN0J26hi5T5R6otGbuXz2u8EyIWtPfd1+AxJZF61
uhSZDtnQzamJL3fg9Cn+YdUACbYyo42IyhOk+zm+hXl7DsR3PhndRbBoRcwk04xVZo0NDwVAA2gI
fxfMDadrv5KN8yRHXLsw+O6oxZKfeou8WZ9IhdroJcQNJpBlPc6zItxQifHKLqe7OSyCNYT8ctsK
sjmdLLeQvAoVsiD+4QR41q0InTjUIbal8W2PvmszWvoqwBraIf8g9TKRvxkDjBppVHsvIDzgt66g
xBmb7qXOiYQgV+RpUKfrtEBmJGNU7ORK350tTutFLMXAPd2zMWal43PXbq6I18qoSQ0NDZWwagQm
ZmN6hO4MJgE7lrSN027aYY2CWVFIZF9uN7U7QPUbW/u68RP+fazkd0ll/24UJrtVqJmHqe1VqbeJ
W5RK5ZA8bCOtkIIZ+wP8huaWQ+cqk0ytJ6VbkrxSU8YtvpLRc2HL8lOtqfM6UIdBXWk4OW8SQ00c
LVWvC2z8V6UVcyRulYhwbHm4bDUM09LMeJjw/SFWZRSvwISG7vRKI57qqdeZQH5NlulkJeWqyvEs
hctl2KtMVa7qTudrSiSNuToJbDMLNFcSbg4tVlkrpYIzWBtTv5otST0J8JjzEl8jmbDsNLrLqn1j
+l3tYK+uePWk2atIqnEmxyF3jaN4EUBaMejph3ljP6gjLuQSqiMWIHnuvZFwLuEK/JjuNFiRujsT
yxpcyANEW22iAJFEJBqXYuBGI4KDOtX026sR69wTu6qaR5hG/u04TYN2hbID+hHJKYivotdEA5wb
5Ckhx2cYr9I0Nm7pVumxKwZtvEqi0IjdQIGuNmMxeksoh3/X9ua81ZLWxmuvbdxEM9HuymXjxqwa
a7ru0SqbRulm6NsEGsZIHxEtUWzAE4RFkE+5jXguJn94GJWzYkxLchvT0V7x1zkOJFCfnNJAh0ni
qX+iK+Z4NcUxDPi4Lvrferd8YegWXkhMYM+wx9x/62yrTK78wKoea/wQ+IKN0rjNK7NRzlITH9cj
Rdm7UP/z5iaoxgANlpMbR+29+sioccEPfE0nPY6Tjk3nl+bwOakGLxZpLs4i8TTsghyOZnRKNdoQ
QaHt9Hh0xFh5mH5scBvNtjBcjujJvtTCnIiW3vvSqyO3Gp/IT8cVTTJsuwUyXJtpSWZRicQ1zITT
6oQDB5zUybnZfihLrv6850+mhl/3eRIV6frTT0G8ay4FxccTkgofZ9JJelj3Ic5qAZ6mldF5cksy
caSeGEHeORguw6azAi8y8a8pSVZdJ+heiuoxyanRDdy8r76/qveuwf4LMoFCdAWfPIqQvasSMSB9
CE9s3UmhIGvMf9TT4WEuBsMpiWaAaD3fkSLMApj/FHyXTpUWDSRi6S6JjAtaIZi4FnG3KhbNgF3Y
rqZnmSPTkRQoB1Zz073RlJ8deKIny3f0fvl/qyY+XMh+qnX/rZnqp3/174rr/4M1McepD+/ZfWlf
/ut33kbtdPGS/f6f/94W+a+ufmk+VsTvP/LPkpgKFp9EiFIW/6Mrzmn+L9dVAcsI0pj87qy6lKv/
tF3FqxUvTg3OA/1awrY5Yv3TdlX9w8ZNlPY63/hSSmt/pyb+umrQGgFwBkXg+jjk7x0d6bF1aZgY
xnqchsmj5HI02KqnrRxfC6mBKox7BlmL2ARabMTVoz9UZPoGmbrrIfF4io8DY56JdaZENx+e44Gv
+P1M/ul7wRyB9Qw4D7UR2s5lYfmAcxA/MKit1gebeVD8H0sii7ySsiTIV6UQyaYcmmD0TGTrOzZl
OT0rkXvAoUYzu5N9abqdo6n0KtE1d1LYN4sZRqO5mqQU21IZ5iu1bRXkikEYXcXF3C424L7GTllk
KkLpWG7drvD93yqHE7jiYc2RwE98tkANfeD3t/puW7B3qwsKhuwQmAU1ybKgfbhVQlEEvPTRX4dY
cdyR69QOBDqNISRjBVFC1EWQ8KV5Z0noqmupi35kein1TjOFVkcRhl+s1KrxZQSTc2P5tvULnqqy
6oLSO3KlX5ZWAfTEPrPI2/nffusF33S1l+0o3MQDqRZxZmb3lm57NcS8E853w2VfT9b9GI71eq57
7XK2S2sXk3XlJkUbdCsfvxtS3Yvo1CDrZ33k6pbZ+uk5ckHApbQgISZyDt17jkYxGil5JwTdoQu+
LdpqZCWXrdWgpNk2w676gbLiUqNmgRPOwU4H0D+Czv0p4dy7CLa6RZHLdXz1N4Q5CLpaB4JC1JDS
cyx9AnESZFZJfG/yFMRa6U5Ev6yaNCaITW+0lSUXCa7d9zPHMLo+uXKaVLPqNeYgn0k6itdqGFai
nymyg764oe4tdaeQSGMBcVwbua5eiUgfNqOmRKsyfp5IJMHlRo4f8HJIHdJxkodmqqmBTHj4g6qt
amm4C42wPK+GjNp0Uucew4IuugvFEEoOYhH6xX1hvgCcKiEVppqufUnVC7jJfe4afhfeZ3KVbuRa
PkObN1vO0GsUVbm2nAemoN8VtZ1ITjC18iqm4fnYkfzk0Hei55lhnRA5aV/aa7uXPVuJ7+Avj24j
CVVBjqb9HDBPfbaUpNpGFXY6xNgbrjAC5FU1kZB8y9T33pDqTeGU2Oj8JopDITwp0dF68XyHtvbx
4Ik5pRNcGT3IcTs5foD16ozV0bONt/+FlC2sR9gRm1btfI+IvmgX6mOxlbSqefEhP8ZYoJ9ZcMvW
1dRnJ6QToV8QhGJimlPvsqa4GPMkcxtM1M9yUiKQ6afGjaLjCFD2UunhsBBuQjI4zzAlCH8Tg5h4
qlX1OzJpbgXWlG5W9085J9o1eMFASOg0P5lpUYKIG/ZlWtk1rZk+Cp25se3ndvB/WNZwNU9yX636
Thd3BYeOFV2wu2gg6MgNrcm+i3FpfAvSMg5PCVQljUngOGYjfSINMQ+gYUMGdiZM9teAZ+NFoIac
O6RazW6NqezdKVeMDakK0WYc29spK4t1YlYkrTYYoUJkSVuin7q7MIxtN0iVqVthyTU6aVZInh3x
Eke1CNeVMio7DmjRb5ARfUVWVOoVg/VjwkEBQ4zhRxra0m+co5GYjE14pYvieQw5VRnkAULpkQfP
iA1/gxvkT2nicOCP9m5Mh/rSn9pXpVLV1WiXBECaQloV5BEWpDoR1YuqCfvGyiM0tnEjJlLWjOpp
P0vXYRVfp77eXCVLREVtdLs0mcWKr9Ffa53f/kpS/UpX/HkzVOFFRgLkOgQ+RVRl/pT6FkXIECzq
HVI04yjDfdaOeGNqVK9U3MnICfAVRD2Nejr2fvgm6qm5YK2ROTh2ofpjmJHEFUpirBW/6LfRDLS+
KuZaweU3mHY10iBPKu3fbNWNg3CE5I/OHy7LKZnXSRy1d1PKwYwoBe2qwpgj51yCrCvt3bLW4Q1H
pCqe6VWdZI6eRzJnKXN8RiRlv4qs0nZxHxpPEpDdMx4OmjPZWnTmZ2AZqy4lzwWDEBANvZlvCtWe
L5CXZRinCOPSqnLEhNNj0HD+Yb3Tz5pSCbZo6P21VBbaQ41+6TYM/ZPZT+eTIsv864RE8DOC7RZ9
nbFVFv8kYv0MjE8UNSaWKpaI14utCOSnCLu3hG/0WYU1ZqGaUbPLNBiD7cIAXy+BAisxxdgKDKmr
BOSMtzUqM6eJx/Kxy2Oxi7OBzw0FQ5dO3Zusz8NFodW1p891PnuFnwKvBEYSX9kEpK1ofD/F5XRW
+4O5I0ODI6lAsybrZnUSGhkWfYlITpcspAtrDozHCDpVvqqGMT8l3UdbW1r0o7EBtGopvMEcs7rQ
giDdzn3ahU425CeKCapmWoN9N+Twjll3lZtGbQtXVptmbRghJZQ8IsYFOQtJKw+iyyDsxLowo8eC
tlVEDF/flG7Wd7hmaDRJ26Anhk3LlZqM9crYFGZbn8iigchBCxLFjZ2t6BAVgSMFqQFIhEda1JDh
bmbhLlOq+GmIleheTnL5bQnVPCfu95UWX3Rq6nZJdqCk35Fbk7p5YKs7ZSDd1qhuu3Rx+LK7p/m9
ogqDMl+HsB/PA0y5dwmNVqcQpXlemRzh8rr3L2Mju87m9iHGSdLBU+mWbSo8EWJUvAE7vR3JHmtZ
LcoTox7OYqO5NCddePDrLsrIVhypKfRVEtX1ziyzzh21StkmBGSekhJ34vfydd6lhN9aQ+lAl4ez
UJPNe93jJoOiYvJXgnwYV66jcO3H/muOkNMNG1zbyDxLt8EU4OfVl491FRQvZG2V95Eap16kdYVj
i752SaTSN5wDMWVPtRgmrjauBEK0LQF9AR+opnqj3Yc7MpPMa621Qjecq3SdpRAA1KzLnNSqtUvS
WCsC/DTmNztfv0V9lpwWVHz3xOHiNZSZv0ZVQn5D6HoMQ0GZ/Kuq70uvJvjybdIyFEyakZ3Hvhlt
CfrICXTzB+A+HD5+E6mSvplBN1xUfRW4hPbFpMlPIyhRLl+RqF028MyljLApXE+A/qQyNndN74+J
Ewcty5cCi6JzrGDscX0LCgz0pS5vrNOauGHJy60ANKPqJ1kDIeolBYe9sZAz4OExFbfEBtUgj5Gf
5hj0VVXoDlKUq46Og3TgpLpip5uuFNnPnM0pPa/6eDBPDcIAiR+xMKn7hYoxLl3ybWR5JTOBim2O
k6+2KcesTW5JQcrOyHnqWJ/svES/qLctqX+iMLZB1SygJV2HYCfLY2Ws1UHUA6rJCeBVQh9KyWM2
4nTGGfOc+MTgrasn8B47DIdbtaC+umCadxxgaqzLxjDHnrwZkRaOPA8Vb13cUjpfkHsWxP3Z4kSb
ubM6NY+akir3XV0mG63v04syJzzOm3TJNaPMfpGTVmyBA4WXx5YJE7GfG5MPtgwTL9c7DP8ROLdg
sBDjRRdqXjdPtA76JphwIBQmvqoKuBDJMv0o3Fot5sIjVDBAQ1mY+Di0bRvfm/CopatM6zQ0sEZw
1YVRsu6BaD1WGfl07mRxLgwBojQU/g+yYTmqtKqZlG5v9sXkhWHE2mTXMUDQWAL8+W3pn0iZ7J8k
qgl73tCafFfmxnAreq06UbsOJbQq96YTRqQ+1Fo3vfIEqNO63C+pQWPjpiAj7CQkaJptLMOKUUVb
iXl3/1o2anRCbK5Sr2o/iq5U1RePRSmLZ2pt4fFP5ld6FDPpO0GOPEsqzN8ib0NzZUaNdmtmw23t
20CGRf6QVTXpQXb0GPHc4N6PjqHGFzjaPzZzaK1mjSgzSlGaLDRLPDVpbvqqF2dFPrVn80B2bUfW
htPmcgJibFT5DSK0KN7GGLCUHGKVIt+SwOQDkQapS/JrX69yzDZ1EFg9PslC4mA9zSSv8axM0TDq
PlGfWzSFqHlDn6TM62i2yZ+YieP9NdgIjmXKy191IFWnsoXbR66oGdmaavoU2gsprZFQRpkR+m6j
vJMKQyLvLKhOyh5bxoXseCn1cbSjbjVX8VQOM23bqRsdpSZCyxCVLoPZamGLKmfKUSir+cswDM2r
ZTfTE+avxk4zq+asSerpVxrHP8akb04KZVbJaCxKOkTYXD4bUcEBeCYmGR5gq77E9GJ2k1oF5y2c
iW3k9whGav1eNPW8HjoM8Zcmh7K0O/L3zgcekcWL1C79EG1pjeRECqBqNcKB2Pv37glcdjopYmmq
ZHRXQMfjC77f7Lx87710732YElwDktbSnZmXRs1ExwbzL8PN6OH09HKWMNkT+b2/Yy+tnmRp+oR6
1V5WSyOIJ0FPSHvvD/nvvaJxaRtFSwOppJNULC2lTBSS7SRLo8leWk6y1V4LP6CllCdW78px7j8m
7w0qKbfaja7x0ZgjiZhTUW5zdaYcMdlSsR6q6TukPgHMvbTC6Avvw6qm+rRIsxOBslKWGGDCXn+n
fTdeJk28Y99llfPz9i1675aVZm/Z287QWtOtpdZAaJm3xbZ977Ol6WCT3TklmDQr7dzsSq1sznnm
b7kcTfnKnvStKBp5lSM+r8k6cayMnOJGhDtJt9trW86uhzZK3SSxHoOqmldaU1FMivolaIKBqBa+
L70H/fXH9DqJE+V8xOXk3lJnuK/a0i4M3juHqa35+InZ2Rr98PjKijKjf0vcbhroUEoD46VKSW76
oDu2wRm16axwF7AAuz5ulp2LDQ3AkZbES1OGJAUDubdth2BISyczis34IR3CeKVXlJwU3/1ZsbQ8
KemSU21pg1btONyR/bBLx5aea5XeTjjROGqaEdhVGhzmgNvz+3IuiCYczb6n0dToBnJ2Sdy2YxI9
kuiO1VyuEf7qjLVan4Z4uzlqxWpuk21zMcaaulg+C69RUeqy44QuuerqpoYdsiYcGGNVCKQvclc/
lKlhXhCoEr9mSdacZoM9eCTCh5SszS6guaVJVvLDxxRD35AOFuzsWsQ/adM1j+FoDesIs/YHCluC
huxOOVsC0186IlUv56lqXFnAkl2uLAl3ZRsJ4gJyQfmAtP2nPAQ9fmVTaa2z2jD7lcxmgF6d/stC
iHVNWylOo1iNf7/DJ/8f4r2bSqDan0WXt/V08zuIivwTXrv0Sv497+HqJX/JXr78wD8AXtP8gw6D
aiFIoLeBqStQ7T8BXvEHtFSgqIUQDZlzwX7/AfDafxja4g+J2bRmACEtiOA/AF5+n23CjIPfbiyi
LWhkf4P0oC5knI9oFIQMQKjlD0Beqs29tlBOR6bR7FHzqjYM1+SrKLeqOQGEoD4jmXRUAUL6dtcj
phJkw9MStEvDONeZ0mdCkomm70Co4lbuYQNSJ7f47RG/MLaSa3eRvDFCfk+A/xAS9DE/Aoy+S+D2
rt5S8GxEhAXUzfV/BkZp08NQ823hpZJhXWWhH53adqbihBxMkdvm+o8ipnk8TQvUYyZ5eDJxUHJE
iRjKKTRE+bEV5utejta09zRv1LCSqNosOQFDw57Q6J6bsLghm7F6MolWctoot59Z+mVXiUVMtiq1
9aoap3FTibA/DW15cv25bd3MRlvQQr26kPssIlFKalBBSku+raWuq7GIT+ssG4+0tpZm2efnARtm
wf41EteQvu09Dx3aVcGZXXgWTcW7tIwaxN1dFZz6NpnZUySSp0qeiczt6v7PBhB9meB3cQCP/+Lp
hL6e3iK5cdgVG0Rc7TXy8jTPEJU3itcN/DHHtn1P+urkFlY0ArhixmISlEGaaE0x3D9IeG6fTEr5
88O3d+Ay9tuJbOJgquj9aKdgk7Xf2ytCnH5QmrWYAAlOjjWpjPKQvkmm9aCp2bzjORwzad/HvBnS
QnZOlgyMJpnu7udJ2Jeh37WV2VJ0y8ZKNawnqtMbsmSPDfT17TIQyjlEGrqCXmoh3n1oA+RlH+T6
bLSeRsBFSrN5LjZ+obfrvFI1dzRrMIXaUlE8xfoRrdsXSfFyk0gD+MZ07vOLJ7DPmw3Ksms5/qEr
zsqq9CyDtFyrCUwvleu7MvdR96eN2yjzQ+7Hx5zsDt388qCFDfWFJuneU24wLufkWbdeoftPsl+8
cNZ7ikVKXUB5ObTKOs+PEYP3qbTcNCA9a/ZCVzP1/SkdYUYj53CoPJpJ+i6Kggbne6u8/37Kfp0/
hAGxmCsqrRD6tMvff3it3ag1DcletWfCXXBB38Bfp7ahEIXx8P1QB14jYxl0DlGG0yd8//sPY5kG
+aYVqbgLz+MUgtB9pejgrBipR7JcOnNce5U8gVopqau2zeOR4b9+nTBZF6cytjf2Qn1vjWi0GTmd
YPhWqL/INz2Tx/rZlNtnEXRbog3XBRwFJxoJFwzNW1myn4cYz3V9hokWjfqmCji5d1YS4Ur84/tr
O/AWPl3a3sfVYmrT+wGXBvR1oub2la21r7ya7ffDHFgmeQSL6Z1KswKZxt6Ga0gQrjhm0jPUxluz
Jf2xEA+pqDGs6jqvkWKafOG5NUCIwtMQ45fR+rv6EZTXKsE9FsdqyhL0y58nXBSDHRTdyCSwqsIz
NQJ1h1JUR+502Ws+70XLKJQVsIAXYv3eXkSQM7QDuWeU2LwPJvOuTduHnN22Hhvv+4d6aFrxAS2h
new/XwgdsZbirKd3tSfmst7OgflErnbjqOAqm17HLAdbu8n5fsxDtyeWyg5NK1Eu+46hdg1tnTh2
JHlldxfYNq3lsEarZ570ofj1/ViHPlu0pIZJxiUjceD//MYqyZhVfwK6BrKmLUTW8Uq3kM8HE0LK
sIyHDYeEHrN766nAe0quSvXI2zw4b9+FqAhrNURVe99HN/iSjAdsjTGrdm6zxZ+SNByvYfm549T9
nngt+IrHkTui8aRuvYn6WjryzA9eBF4orP+0ExYV7ufnAN5aVGqYA+GPxRPOLDeTop6j5bkrlfKB
0g6+pjE7lf6mocQWY0HZ/q/C/kBxoSzr0/6cRoTAIkWNhZ3j3ntAtJ51HJtr3F56op176cxO8Mnn
FBh6rZ6vG7RffQIIZ1Sc+ke7xdQvFDrxXKrktS3NlXxSVtDPYnJKJShGCEUg/OfHsj6/Tk7ImtBG
qEi4SJJbPj8n2crNcIZLwMal3Ue4JJ7EtrUxrWlw5h7ftu8fy9elk60EsRgcDJJFv3hsw8MwujZO
aTnpTf8rSaJb+nWCjIdj5e0XzgdcMNJwiCTAzlslY25vTYljQjfGRCOyvVLBG8qnWSTaasqbqxFj
RwBorIWCGnP2KiNHPFBtQnnkYVuSztPJdL9yMGNQgdHC4958bg2r37YDzOYyz1Qo3hQTShhe1/0i
UUav7AAe1m7ZTm4vYESa8vgzaPMjFjT77wo5ENw37oVPm1m1vxoPXR4aZVjNXscBytP1zLoeg0J3
rFnz6e/mx9bl/aLmz/FAVDl5cpDcz08hyjvu5bKGrEp1flrEsn7dBL7hfj8n9pfkZRScSBfPc2Yh
NevnGZjiRpZFcjZ7qj+n7lyGr/MYPbdaedZktPTR2hwZcP/TZEC8T1WYQPClOIAsF/ShshnLIbR0
JZk8NTCDp7JKSADqKsj7yk8lTWon6yMAooI48+9v9AtFahmYmpi2FePbX9y0aFa2cWtZo0f2Dw6m
7EJqIe78lsTUBBzuRKWHE+vxvTW/hYZ1C2x3aViYBVIBQSZ6Uul7wkIIiyNr5f5HyWVxUGCNQs6L
58J+1vCYB22T8y14NhGarj8G2q70A3xTsRbdHXkEB6YUsSvvByBosWLfpCCZpK5N6bWwBhJOWM95
sApE6WomOCmNo8SbkX+6xqy86IMPr2BqVpz8pJVWaLQGUstJh3/wEf/tcfTAdIDDBNTFdkGd9b6S
f5gOXaWFjJWMXtxgYkgGZrYSFaGI2FG/qGJ6irsgAq5Nw/WRZ7HPMSIQAbcGToJoVeD36HtbBJgN
6/lIHPDUJG+pMUMsx2cUHgi0XzjdVjyfDXlXnBqpAHhA02Yib6jaX99fxrvPxcedarkMdKjQSHU8
Hb68ki6tRB90Uu9p6SB+6aX/I+mjy0FWOwL72t/J0Bl3aFf0APKMHdzUdL63aTq7mWqH15JV75LU
tM46QoS3Y22S+oT0JHdyqahPKw32libNxbUp1eFlicHaDlK2srPzefAKTBF/6Fmlbwsxy89tOasb
XyvsTRd2HbhDXqEEyZpVM8pONpWZm+L3e1EMWDFXOX4HU5WtjCFXd6MWv6JAICQVKOylaZXxhlxl
LhLvSIKNinWuqg/VIMabKZ1zx8Kge6sajX5R0aJxoj4tLjPMIDahnZleSFaXSzGa+m4Aa/w8TSrt
AtkfqIgh19bpOCjJfWIWsb4pzVbMRz7Gr2s8GyP8TvgmLFFEMXxenOYqtrQkJXQZBFr/ZUEwu1cV
P99ms/yg1/YxpemXehEs6j3QliMWCOOXNUmaqinWOxDpIBd3eqDd8w5fC7N87hr47RHMCXJetpWJ
s+4kHUFgvsioGNwwLXirRA2+O/F9vtksmnMrNNLeK83Af+iUEkvMyNTdjET1nyh4yYROx0oiNUQa
b4zBHx5TScR3YVqbp4FZGG993DMR41E6bTPIaY6URqJbIXVC1ecvq1mCsfyNjE36yoaNvWpNfpGs
N/L/Y++8eutW1jT9Vxpzzw0WM4GZBnolriAtZdnyDSHbMjNZzOHXz0OdvXdLSzpSu89NDzB3Nmyp
yGKFL7zBk3ohjkbdRt7H2+ntaYJTEPRC9bkg8MaCLjVHVOb7nt1UgS+1ZRVdYuDoXDhyYO1YIWbq
yEDMvVV6uB8PTSAwr47Xe5l7BUU1eGn8gUv79YSGwm8C36cM4YcxiqRJDI5VmE620woH2ouUlnwo
oqS2Fl0w2LQVIzNbWJmSXfhIIf8cnCj6EqDlSi4ZRbu8NofLyTd9KkhAGw6IV4xfHSvUd5rsfqXt
II4xYrcHLRGoyvaCzKlEH9XAZ482VdNmQ7dRorG4BNf2kAtxVO1UbDWtMA7SKYAs9tnd5GaPeg6c
LCybYqfXtfalsjP721i4cimLYoY94nae+pW9laZWXjapZi+JWNzrbjTksTe02gHd2tLOo2Wn7xQ3
rbahE2u3xay6tuoUGsbct1t66fIhbFThxb4F5GVAUETPJerOEdfM1zAr+jvqNu46MVAiXvtjAR6g
jIN4iaqOgn2arjIRWVYVZ1Gd1heDgiIxQPquOCDnC+zRrrvpUUla5ZE4W9zWvW4+mkPZlksFf6IC
4BuEoLgR8mFIoeBNAIJoo7XpBvTQtFMbJbpIfWe8Ep1fLDsJXUapNZs6eRyD7sKK4zHUWkEjTgc4
GywcczLXkv6fvqrLvDwie9wgwlvm/jIc4+EcXG+xQishKDcxHm/R0lcUzfJGv2EurL6+zZoGT/g+
UOUD0CO5qcusiBZCV9yjiIQ8r9vBx7kvyr85ehkeUHxGn6AI7JUbQEd3OuCUnWU38boqEprjkrLu
A7EMurZUTnsanma8hX9nz5iQFj35otyPWMRvtahMfqpB116Oo2Mtx8RFOkf04THNhng/GlBK7DhC
FzmfYhCt8GBqNWOpjXq8DnG/Dn1VaRdKgfFT07lWsdBrR9kLFOCfhmaUNYGEGgB1JOMN1k5DmcuL
zNExlpZWlcBRfCgSY0VSjNNSR68CJQiEdKWeBvEColq5Vd3BXcdJSJc27qAFW76+c7Iy8gwnagHj
WdE+jAMEWiuQbqqihdUy6twOImafjvvJHoMr2yJomUzpniV67VPjjm6wgBRnpQmNq5GVel+h23OI
LGkCZxz9TV2pIlurUd5i15iUqzK33PskdrvNgB/et6i1yu2UG0OJ33wSLodkzEA05BPXaz6e+0o3
LDVNaZyFmrnavjf9cgnuaS1Gp4VRZClsMoD1sTbIvVHY7v3YdYCtfXO4rhTiC7AiTnleYXe2Kbp0
KbvRZkYacWzyoFxO1MPOfWtcD2Xd74tE2EdskVDLCRyxstwGJf4oa5sFDlOOtUBuSdk3Y4/vrhVX
N2yTh9audADUIEsVcgqvqTR75zaJu1edSNlOZhOtJgw6b6OkwYkz8N2vg4iH6yHUph8y5WN2Qe9s
JIfmdUJ9+bxVZbPK08Q5jllqndu2351X7WR/17gFfri5wqfzs/irNBPNe/6mfZ1Y63SYMTzRAMyN
VK04COmGw9aGybWqs4rUb4y65tzH8CFZ0UkVt4IOwfVIW3+L7x6ktkgtD44MxgsFbT1Xr4fLNtOG
a7h20cEf4mLTUdjfaLaP9I7mKGta8haaQqZzAOJm7JMsfuytwW0XoEKUpaqA/Ekt88rKai4jWblr
DcLAZUSKepkHiQ+CMwvVDkdPZbpoikk/7xs7BnggCoLFOEHvC7B1EgHWbPVzKzI7fDnS/i5XyrVV
TNNNBGrvaMesX4aoqJvCM7biBO5pVVW6Dv+BW7DB8jHcd9hskZBEswK+z137kEJnPALskg9aW8UH
cALWTyCM+bIp++Kg2zLyMsBD6yyHsrEAvoIqQc9EfC1Ug2cUQ5cfzaLdVo2PsnMKHiF0govOdaoN
qPNyb1BOPEZJ6lwpcT5zkdvyugUk/W2q6uiLNRrjVe6GN3lfKE/WZBucPaBqqKGJoz6q2TKNsb2O
x6m9tP06FDslEO14LnE2QFS+nmmmeSztCxnHFQS/LneuKaZIbCYTDWlchx8mPLHvwDcN0XpQXXiw
eRt0wzbPq+AK9PfgbuzGbVfMcG+SIopcrKjSxgNwT+TU+xJYtgeYyt6EmOPRDaS9iwx32U07POzw
l5F5fiUTROaWDiacyyqu7lKYmsuwqqyLoveLp1gow5cZwczQdddvOjH4X5DuRFUrVEA/93VXfI2p
jtvA5RULYBdCVZvarZIQp4bGPTS2+hNTA3iqXbNpEoTI9K4sk2Xim+fAW+MvM2Dai3wbhmKKDg2E
6qi/pDjefcNZL3lM1Cy6LeQQbLJcNxMYh73WbLRBqyNOcWV6UIwuL1cQIh2JhPeUbc1g4rxR013v
6ukV/dHi15TryRKlkVwsmK/+zhr08RJWCVWRoB+WENuLDKsGqe9FGJeboMjbQ2fRk0mkN2V2vwYo
bDz2rtagkaYPd77vymmD30F49AtDf1LV6DvQF/siaMzqpyJT4sQWd4O7oedMoTuLyr8UA1FNIh37
bpo0uoeFqR6hUCc7N241Co/NcEsehOOCTNIDV2r60E6qCy2/CkF31UBp4GlXRXCjJt2BfKcGDKoI
8O7BIa3iK2yJ8oXbIQalDGzWDqL8jqqjo68tnwTHE41Cm1v2xKDmkF8DXtQ8VfTNKqQD+W2Ipyy6
t+vpYYyMUN1wSecBKc4cXBgdH6gu2J1h6O7HAXotcfg2Q62WlIOcx8ND7zLtlRwmgolLxSLUSm45
vdY5gg294mq3c/oIzIkzXPa9HwJnnKMgtw1CrwuluSvA30yLIcrKrRiivcMznhOu1JccpOnCbuz7
zJzjmCp1DwhMorodd1e9CKINV3d8QPDkoLYZ/GGrdG5jomkzU2vPbgmpQbwJ6JHptu2bjAMUrA5p
Hprymv0l97N1H9KbahVbcCFrv3zW1NY082kh1cxcQ+VdZ0prbWSYRQiI5c7CLfqv+NvDgq8HHrmX
DGgm4T0zlHzPyjCHcQmoO3Hs4Fi6JdG14+4Ql0e7N9NqWNCOtWvnolFVhsMXXIqifZ0GnECVP96r
atocwD5vGmSHoX1EaA9gMLICnIqvzFAAIBycZIeUt4elarfU6x6dqWIbyWFcGUF8y2ZOl0kwHVGI
w3ZElcm6HvXLxupVdr4wrhxfDNQSB7XYDSMGZU0U5hdJL8dLbZJ1tqkqGR5HwQlq0jC8qmap5wli
33Ea4wvuNqB6zAwR7Ei8kVWEo73l1pBLAXu5HHRX5tDSS00z8wzP1fK61wP3zBHZD7/Lx0OaUsBa
Wa3lnA3zP6j4GAZLQ43wESgwOw/hnAHIrJ11PSQVcDBw13ZXDvuwH0zqYUF7x+85dOyufUe3ba7a
i+YxyB5HG74pxNd+VbBqobCMRGQ6RtmlkRrEyX58prUIWfW15BsGfrmO/OwI+FgcFYO1GRNjKAh4
bf3aHzZh7eYLX3MNfrz/oSP1uobPPR5DX59WJsHgTu0T/U7xi/IszYPxuotEtNObRL0MWr/0Ok0l
ySnaRLFWQu2HbEXDdOD4FOOZPWno11TGeGf1slnEbhHjcTSDvhCHqJd2p8EcUYvcPNeDPNEX4KnB
sxYKq34icVsgY1Qe6JFE1cIdR5QwULRg87STiMclIOlk44ZduA70OsDsBa1UUJ/69ATLRPYrFJIx
0ZmQyydOLxvrEi9xnaXjVMW32E6Dm05J5K6Jh6HYBH7vBCtKFt1VLclzl7EK76AEq33sCm3YlJoi
E3hPPsdUUU3ZbZvGylmqGybX/WQRABRICTDZXyX4mlWLnwdCBXx6NTOG61rG5uPQZb+UuDSNDZUs
sGqDWq20COfSlCqIrEGljDL1epTQALwOyj6Y9Hgjkjy+xukK0cpSuA8hhiVfsk4Bgmz1kVfMd74I
c8KXNGJSJwgq1qKxC2fVaUSCEP5IwmCQX6hWDhTOmqJtXWg5lVxTrodUKY9D5i7zzkQfoFGB49am
48WKM1ulWNdjM43rDET2Bmcox1/WTeKv+0i3tx2qHWtrTOWPkeW1UgPb3PgOgmYmUeOM+RtjmM7+
qFyaGX4p5AgSXCBgmsaoxDqZsrGDdVOoiG8U1sqqHLH340bSGQMGLKlzL0hwnE09gRvH6hJnn9Re
1b1JUKdjWqrGfg9WO6g2qcbHgWy9L93xOBvC3E9S+WnncXDf9Xr0vWtUdTNhwfijVTLgHWg1YBvc
5Nd92gb72sTcclQ6znYDyYVQjvrCNHokJ/rcFTeuARByKScT7fX5kWqLykuXnjlNJeTC1BGdb13g
xpXSlWedgyKpTkzXNFLZljIp17lmt3uV6jWSlq6/F5OeeoHSoLkF63UVOJLNOuNMtSDvD/hpDahx
VOQvSu2eU6Cf0BubKnAiFF23ZuMO3YKIAcOmvPAb7tcyaG61cbLChVWIvl8kWViukz71Kkoi565K
hbbSzb2AXOFNekV4G+gts6gXxq4fUIgIdMxmi0jvvhha0u+kVID2+3XK+s2hLlFhyw9K5nLfVdqq
C28n0wj3iioKhD1CAka0ImjfSO5TpHQrortcJxGIb4M+8ne+UINVTkmCCsR4E9SRtR+7AO6b4wbj
XENud74uuk2uZ3A64FXgWcOR5KZFVi9UdZJLJg2RbnzBly6x+zqO+8RXF5DqsMqRLXdUXAv7rEqa
Y4uY54JrZ9lB/fgR0KmHG+I/uBqUgDG1KEYB2LsMDD9fUhkx4Juk1rLz/TPXBnBmNXW/mfzYXetK
sZsQ218ohvJ1qOIdKOinXMzQXGNO4nosipp4stbDBKOLaMH1qgbGzeyK1vvldNvl/LAexgi8DELd
BeiBxCrNK3KVZd2haV30QUkZBEdmlbrDWoa2silUKJYSKRtMIbgRYjwb8BHtz5yYip9mwKLxHT9e
pf54O1Z6vlLtJFlDKbbPsd0yl2Ykz/Q8idYICiCwE4px7YwqrZNoOEdJMOAETK/9xAHvDsWBJdYQ
7w6eZql3fITHJojvmaj70Uy2vVF542Ad+hZeUMmNbKy7KkCCN4I56YOY011ClGl0MYS2gTHjwTZc
YgxW7wV6C/o0xaiOaEq/KA0T7lcEIfbSmarhyojKQS4kpJRrwMnlogxiDe+juHuKXAtBGJF/QcxG
FAsjgTxYw23ZuBhKrEejCTAh8VsvHlzjB/vJXWBJnGwg4WkHy8SjZCEpFmEZgm0cbjbg9qxLxKSh
lIpO/9IJ/daZoMb2WSaPJqC+BSivL1GmRQBuxwS8l5gOeVWma8nX3EaFJpaRq5OZuV1NJIQqWSoC
8vlId79p9XSX1gGpJFk7tyi6NnKMf1KcSJalG91pg9ICxgy7pZ02P7Fh3XDaseQMkmvKm9qlqXXa
OkLr5Ty0DedKd1rnGIWiWAnZxluwcdkxwMRqlug5zlXvcJH3Lf50Thrd++NYcH0n5rEJG+08lUF6
VEuoxU0ZbNRe/+oEAmpdTuzgo6Nxbg1Vxubqra1lxsZXWwzDVrT1EuMPfjmhAei+Zvju9oq8LuKB
roFF6uJPYtpT46Z/YOlUy8zBlhurLestCvTZUSlj7KDC1P1uF1D/AFaijbNgAqimpQAKqmVQ5go3
Raha0V1DkQewvTP42g9zsrmgUmGB1SdBRoFZNQiIgyBYSbUNH21qIoeSPXFl8w0OQV/mh1zVR2fl
THb95FpjyHBhTFtibJptHo/BhW1LbLi4k38OcazcyEpPfvkyG8+GNJAPdaYn102j4tpuq1S0bByN
VmMPl77BV4iGf62tEoo1az0IWTxFYK70qnTYilr1NdDq8VbkUeUN0L7u6skorvi60J6bNgq3vk/g
E8RqfGZXQbqmVS8PeQH1Yk2+A8FDjNYBxldAft4Yy9YceiT8wmJaaQx9jsxURAetandx+Qzfj4Fu
1YazGaFbAAvsmqOb4FEWdGN42fpKdgOluNpWkUlU4yQB7dIyxrwuWZAfDdfIkCEyULqCQjuaU+Zj
MEUUKkBUuusuG/hMLSFDfEB3Ady9Y6ff3Yp7arJ7VK0G03RvSys0l6WeyeWUZsZ9PurBF4XQxi5G
d+0kZQHFSdOVlVOWhVyMA9dENinuUsLmuo9qVJQbewhuOOOvqegtVXzgsepCgTi8Sag+EqiZm9Iq
vUGvYgDHDgQDLjDHQaRIICArBMukddNvTUbxoS4GmyaE8gt1J/SMQ0mFG2mZaWqNNWXtbUizYTlE
eb5SnICir8OeK5PmPnLKHVu3/VG1FGuqtK9XRWi1S6wermUx+5L6sPjKEKumhFdfwFY0ISQo2JDY
brGeBry00y5pdiFV7JXJJfuk+lzRjZlpG2MyzadxEO4SXSB91RLowQMnMOnd7hDlhTybAaA76vXK
Ugk0c1VNXVEvjA5PdbhC6RLzsWEP5UcvmDoqfZRg65tWRYOD8lV3LgMOCk31xW3Stu5abXXUbjsz
D4lyAxKj2oGsYtWqsgC0arGYBueqpKx19pxwj2He3wVhLs50PehWRo2ArIpx99aJU4yput45RLW1
R6MiDeHxbEanoWZVgm33tEJrb4QhMq8zxm5DsTpVFgCgY0/vUndr9C1ELL2RD7A07Mc8jpKvlWjq
e+pqFkZ70RjEq1gLi0PWDfVPny7BAbUAfTcolIlHIp6zcrLkpRskGCmOweXo5Eg+5WN4/3HD5dmU
9XW7ZYaQ8QqWjVYSOKPX7ZaeZlQSqlq5RgHKWCo1mncwGO/yhJp0Ki9yX8gbk6e6o+fyxPVE0KJl
qg1UT0/NR2sOp/vAsTy7JNVP1fQO4myxr4sJubooR5qXrOaTZxZvO/Am5zxAEh2RRBq/J89sUGHy
ez0BvVnExt0YoU0VDnpIEiCxjDQAatXziaO1xc9QZyNh+2sdsLMzzqWTo1ulAfokOPpMueRt38y0
QWILREVJB4U46Xvqal4Gkx2go0rJuwZpQj/qyifBRCsmhGyGYsoCAmf6GSBp7oidfEIALnAk5i6k
BQzi9Se0zYkV3UQQ/QuR7t0CHvdoIXMFFcm+lbH+CDz9bgRPjJt53JEiEKibNAwWTenkl+kkU1CL
5iOlh+ScRqRz7COj2NklGmqTQrcNm8kC+Kw6N6kqQTMBIteKZsevCvDtgoq2TaQmOQbUQPvhV+UR
metsIaRY52HvehkUpaVJe/7MRR0HBQNYAzYiGnvLRTqgaaeCtNuybinHIFbTTd1DlYhpVflZ6ylx
jawabrJEM9mDA/UAKmksrB8Te2fB1isOxhSMTx9vijfIO3R2nu1hXLANSFufInfdsQAx2gMXlYo5
rvpq9FxEyo9U4hMvLSyqQaVlh7eto0QcN8nPSFjqUo/NPvmkH/pmpQOs0DTUW1DYFqCITz4thEhV
Rq1arJtRt64sFNToVej95fP7/hbX6V/TqnolaPW+Mtb/QDkrF+TC34jIN2pWXvv48yktWsnqeXpW
udr9/D//a/6ZP9lOlvgDuCHgSHShEdnRBRvzT7YT/wQmAEAwFDRypJdsJ2H9Abbe0FVOMDgG/Njf
bCdh/uGAUOb4wE4LOIqh/w7biQd7dSyAsoM1ZWM7hVYsKrMna8eSdPlHHfrtkIkvfgU6qTBoUqHf
N1B+/Qyt+oadNA+HChIsLUF5ifPj9SlUGblf0Jdo2LiGRQXKhJZCh7//FmRju5/6Ggpy5ED2p6Ju
hz+LFjXILbGn2KnJRPEDyQcVtWu71R4qLU23Ue4r111RkuDFYjSutLzVyJN1M02WlG9VjML0yrMD
U92kfon1QFRGe5RN831KdeM2NDNJLtzQ8XIp6iyGTN2NI8KES8v0m3YFhJcyPuFxsMimUVLI8bvk
qg9D3P50t4uvXiydy3+cxi9l+IxTpNQ8PcgrsUigAvBRTmANCgpWIp/m6XHT8lteZZLaHijJtaUg
PaJxEpM8DR1H6Zgr3/iTgbaokfrNQskbF1/6OFTxIcQcOLcHNYffZcX5yq2L4C6WGXXcJIrqZZNG
1biY8kksLPiZWJzHHWcxh6pYi8ISP+uui2NUEV1r35fxuEvL2CxpHljbQSVioz4WOwc1quUWQQoF
O/Ks3Uz2xG+yey2lx5qJ4IrIP/ka56S0fkQ17uOZer4mX15nzNRManIs7lCAhvoJtpFCQioFBeOV
iqsRArGpQK4gaDJkPVD3WYwilsi71IonEAtsRItbeQsaJcxU0k2hHXJStpumV00PdxeuixrWv5qo
9wSMgYcETrr+5IFnBsHJA4MFnlEroFlmrtLrlZ8GhMVoQtHNhQkEs93xt93gfo0qf1jYBn0EU9BY
16Fwo32MgFI2uaZHkfszp6bTy4KJgzPE5AFNZqXNRM6XoFC8k6YoQS5nBYhCX5uKry9zgVjxJ687
/5o3r+tYfAL2MGp883S8ABvGcVk6aRIjiYviC/o8Fc3EAfGeFC8Qap36sAXWY4HtdZE/oYy8hwZO
twXfJcyB/eKz2X97zCHz7mJpSQir47R08jhm5ue2ViAOmRpjeYbtgETgttBoUZoU93wAOleq7pva
Os8a+QgZBR6eqR1apMUubA2H9s6Z8k3Mb6cf2eX+ed9W5WeCpKcAYZhOnI5E2eZMdbW1kzU9NOhB
V76KMmpvaavUjc7RUt3PLZd961w0CBD8Y1p+60q/kE/5TVM9PTXnj/J/v7p/n0m0PwqJzlkQNv9+
0T1VTVs9/Rv/sf63TZv/fKQEkZ/+zKtfUf/78z/Dl5xvzld/WT/fllft00wwrtu0+YuzO//P/+o/
/nnn3n5CV36xeN/c4P9Rtd8fX17erI2/7m73D4iFzxQatq4gdP777rbVP1Q4fw7wfmwYHGxF/2Yq
C+0Pi6wDn19MyviOM7/5P6UoDcGdD/zUnelznAJ/vfWf1wMT9k8BvdqcwrzcZECY4SsRDWgsGBze
zNebTHEQabOVxF7lvciuTFpJFql8sO3xnJvVjPpsR+pFP8VRgr0Yy3byTJQMllKZkluO726vRoBB
ggr9KwPVYAhlpbiQEWLHK+5vc18VmFdYSmxfa72T33RO7RQbzUIq7nnGf2sh/tdiy/+HFyFf55/H
kf+RB22Upq8XIj/x10pEwxQaMdRtoibyjheiqJb+B2wCE8q3hZnPPwLMv0RRnT8IPAksZ4tvCI7z
pfPXSnTwCcAyydU1FiPM2d/izL/JhThVcUqDYg0iE47D6XE/ZR24DitASURX05Wpgq4ENbHGX/xH
4Tbfnci5akv0p0Mtkfu6Q+tnNChZvpixP/fHy/DpDcaXzTrvRwNhUIMc+5QTZgCVsJ3eMVatrqqH
1un2Tp491XF8Oyg1+g8KVXWak4siL87qWYnnk/FPD/B5fGJ1UO4W6gHPorYvLz13rKSowdmvMoOk
b0VVF+SRkZQXMjPDATuTiQBFVzBwIfe2VeSdnFIhMqmTftOnubJABS5CBwTYiqQWGYcrq2zThVYB
mkhTKYt/3NL/f9u9SMVmR41/vu2WJ2f//L//kqkw0CHGl5UEbOa1vUzcHOMPFrrGpoPPwKeeo9M/
t5zGbrQtQrw5QJ1lKVgjf205bhMOag1is4070O/lbadhnMpvgvnNXoPSz5lwEisUZdMkddN0Xl07
44YEKVhFgAg/CePmC+TlBTOPwglhUPHTVCy8uMleLmiAtXQBwK17iuz0xVDS39WANqETqbvrF/P+
zub9bKiTuDSO3R4iWIZ2EwKWZiPcFY05YxkAt/uEXTZH2icvxf03s3NUiMvcnq9fCkHQFGsBWB80
zYOVKEzlDKWZulwkTTg7uruSBECtN64u6ocejRoO7b9X2Dtv+s6nQ9yEjJ8IHErC6acTxHgudlqt
Z7WatQBxTWPPx/Tv41HemU+OfBYwgQFa8qc+4LUMa+EnZevR4FYOU0zeiwa1sqia0fqktvjeCyE3
wjo0uYaQ0n89oYQZjjIB8kErroNSqfu0ukJX/+R0f2cU3CtZjOCyZuLByVrM9VbOJjGNRyUfqVej
sW+4/PLffxeqIfbMKkC/gqLa63dp7T6KUmk0nnQa4wCy2r/CvWn4ZJTTIjD7iu/CTc75ABXNmT/e
i+yoaDSnLwAgeoGWVzvgVHRaS9XZpU1q7wOu82Vrh+4KumDwycjvzeJswkdQMJPTxMnIaqzYWZM3
jYfnQbtUCsy8+gjA8+8uPtROkPXgLuRh6Xa/fj97UosIxxvp0RkolgXUljPgeBbacVN18ftDQRAx
YM4R4SAi8Hoo3zVHtZYDbX2R2ftJa+1dVljVsbTNz7R13m4palYUWbkPjNlK7mTumpymFPBGyRJX
iblrPFQKRYs3yqQpv/2ZXg/FtfRygejo5xhNhnkhcgj6tqAzfQC2+dkLvV0Mr0c5uUSQZ2ulrGjS
ZVxXC5dO1XlUBMn2978QwZAJ5ZUyNZyv1+8SZRj8lUHAu1CE35qh1i9cxYxWMZDc1cdDvftC/znU
6UmEjnDjgyFAA2akEUrZb/KsSHv6eJB3l8GLQU4OIqvVS1lMwGdknDkeSjdIP/aKWNV195m15PyZ
X19VfCBEZhCMYLu6xkl1lsKyTwfeweqeCopHecvcRmqTbSIMYjkN00++1LvTh4gA5wIqGIapv/5S
YaBM8HbtwkvtSNkgW4jxM77Ov/2RIOLDQTUJoGZ68sn8lZ1i5xlpqJeEzX07dMlausZnwvZvPpKO
bRn3BaBjli1X9etXKZpYi/xGTT18Y7qlJcLmpx42JVj1yvrMSvXNtD2Phe8sVXnI4/bJtHFb+QWR
YurJzhoefTCRFIfN6DP68rOez6vVwDgaNEabwJOCvXGyXQu8GrMwb5CQd5LwiEtMdJaPNaruiYlv
fJW3FwIxyXNF78uzkt7ZReI65pcW8ky8FIqDFr4eTud2q4QEHEN84Aaob3JEIT9RRnqzaufnZNKh
WuuUANWT+fC1NjIjBBa9Nmjdb9AiTNCDRekpgWEDL+x+O/7QGYvscxZhmvPPkwMGHlWXo7mUeppQ
7jGS1Fepag+/u2oZxCG7YyRMN425jfPyRE6m3DeTWb8f07tqY2dlt/bNrv1k6t502onY5iuTvs8z
U3RuJL0cBltcHUCnkng1n+lRpjOo1lIwnkKjEQoAfA/ZLWVfoW45ZQOCH6HrlWhw3XKSw0eDFnTj
4N9+1o+lfZahBQWXWuloOWZdPa0h9xSbXhaAwdShk1cfH4xv94Gm0QeF4IPamsoGf/3sIG+ngksk
8ZJ0dBbwpIptpYzO5uNR3sROlLt0EiyyfFedM7PXoyiBq7ZO2SaeX0HhHmUslhDLgg0Wf9EBKE91
5vfjkz2Fzc3HAz/HRq/3HyPDHWenU8J7UzrXpZ0rjtXEno2WP3jSIdZvzGk0HwtZjdGyb227W1Ap
Ga7GGCzsqpQjDBVZA6M/k47LtkMH1/2WDE75LQitEQ4NDF1IXx8/59vt92c3EfeoWRfx5NJoTQp/
Q4CN3AShftWn8TdzdjbNm2zEnUtvPxnuve9hcu4R7KlkG6fGxCkCNG6lojWfoAm9zHLsIM059Vha
TeR7ViKNb22SWJ4crfzu4zd9b8GxEAjFiNUtTvnXSyHUqniswzb2Bh/KENA9tOYM1t/Hozxv7ZPv
Ttph20Syz9CNk3M3jwqqqJjzeWVcVTn4FTEuLMBf13U9GHs0pPX9OIrwbkLXH4sCZCX6svONVZc3
w46Ovfu717TOBphzOjA2nOCnd1tUTEIU0oKMmKkJix/1mmpWrf74td+ZXB29IFzBkBZCE+vkwKum
cZhaLCxRKQAsGmiZXIu4jf/FUU4+oYj8sYWcDT5otPGz5j5faDkWgx+/y3tbl53rUCt51gk1To4m
2FWl046AIrEluXDAPt6EUVBBJ0QjOZ0liwFvynKkJy0VK7pNC7UFRj37cuATrQJ9s4qcP7raT41N
9UsOOKH99gXD4eLQHaduRPDlnMx3U0SKCHwHn6C2H5FBcKZLI4UJ/PFMzC96upbpGrCU6TSRsp+M
gkuOCOJoirwIG4u9ia8gFKo2XBO5d5982nlbnA6F4iaSBxSgORxOhgr7tNZARoPu6vpfQ2xf1JGB
lUlj383Sl7Gjff/41d4UoWEr0dukrM3+oDpmzyv6RVYdOqIDDw2cTGnKxMta8HPoH9HqLEnhL4SY
ek+prOYwxCrcLTPIN7LQw0s+pfnl40d5O8vsHDYONhyUoUFbvX4SoRVIMSBdSESYTrcWgAacZnCB
RcI4++QweHvavx7q5HCCKwtwF8cbTyOs3tigpbYm/FBviNzgDHCx8S+ON18HLyZZGHWnYjAUeuqY
I+pVSP1nlCQD3CsLigtimZ9s3TfVOg4hbY7tLMc0mc2TAwLx7Kpx1SL0dPxitmWiwmGKQP/i9DV2
4lzJK8hJtsxXvt84DylyWL8+/pbvLSumGOQ216ljvdEDDvVEKbFTCr2g1Mqrqm+Le5ve5rL1ff3Q
85XXpZ2lXjoayd4NSn+Nyjfad7Lbffwg7y0qOo4I9zzXp05t30NYe26QVqGHMgt1PLYdRIyZaWJB
KvlvDIUoJZpyM8jtVDTXH7pKBAWkyqqCKzuNEcJNaBgsUw16yMdDvbd+6fTPvRD2CwXE1+upmeHx
bWoHXqmGGKCEQ7/OKtNfxzAsF2OYxp+sp7fXGiVXkijERTmauBFej5cgweeWkR54Cc68sBM68Uu1
8/yTqtTbs49RiBmoMmu82qnWUjnEsqnxFfHUwu++yBRPmjbQBYx5DBgG8rKVrDC1/Xgq3301VijB
AeQMqpivXy2g1kiomQdeqqvyZira/ioUev/JAfBOOASklmaiTdGNaPa016cozgCOOcZlMDWyq2RK
/i9p57UjN8616xv6BShQ6VSqUnVwt9seh/GcCA5j5Zx19fthAxvbpapdQs9/8A3wjTFmkSIXF9d6
w/IzIiygI22Ez/rU2A/dYsdHUeo19bG09EfASC+geQAOVRBib0/6Fcd7fs3wc0jrgExRpaIydz5r
ZOIIICmoHYqR1fuMDA5JzVXhBu0a300z4yPaf2brgQRr/q1SbDXUYhF3CBSmTzVM0Hv4PfHe3Xft
U9AS5akOqFPWW89/VAEjWkmUJkIm35W87nL0C2tEim9n8vKxczH5V2Ut2XnlujkfZ5kMSIkY9p4G
9sOPSq/dYw7z9tEFB/9Ywzq5R6UnvndxjUY1pq4/4Oc+72WKF31XLl6Dxz6gBimuRr3l/FewF9wh
tBUlwHxq/bucWrD7cN8PkFk6vxl6hxKwmx36NU2f18QuoU+51d+3l+LKilNyQCuYwoiUeNqsBOoG
8AZpuwbgzrMPiqNCunah/t4eRf4tm/WmgUdotQkdoKg2t588drFVTkqABs0XpZ+7pySGCdSYqJ2r
7s6D89pgHC/AJKq8Ard2nviUG2s29kowp9kQ8CSFujFKz7W8dB6J+tnH25O7toR0PUCo2DAyQYid
f8bYRYAB2ygmZ7jrAfmvyYcSme24G18dhc6pKeQaUiY4H2UoJxKnocVFfKhyr7ZScsFw3ivXXAnA
yK/w/EV5nfOxhQLQ5IDe2TDK2JrpS7Q4yJh08uyrKFYPVTM9tlWX7ExN/vTt7vhz0M05iPKlhZHP
6yXtV/HU11P/CFsXo+yuEj9sYwrvOsCJp7AO7eDNnw50CMKmEm3n6ttuH7701HOSSAncKBYndSTq
r2O9nm6PciUDYTMCm2Vp+YKG/PM/cr8ks7QJJJ8baIWV+3O7IppWYcdTJVrq3x7qyi7hHqOCa/Po
lrH9fCgkWjSsT1o3iOPR+exMzfrY1v20k1JdwEiJXKSVuE0gy8bTcNvSwWpObYGSuoHVGnMwW1Vc
4NCbVl6ZzOpPQ5tKXBDU5BeA13yFNDtGP+F1as/6qmYn24J0unDnvnSDAUFdW+1W82BXKT4KWfVT
XJrOYRmGaccw9UJfU/5qUL/oOuOfwUtuszgqj5rQDhM3MLO8fkbOsMNjTDNa3PIc3NWKuxQLxcWj
mrnAb1/F6LlqnPzMkJL6qGdm+BIvtp4Ai1VX6Dh8clDFojJKf5miIXq5/SWvbBqZOguqUZT76WWc
f8kmcwdL0QYnUMYSPdzaTbxlUvKj3SLO/78aatt2VCcEu9p+dgIHn873XBPdPRT26amZ13DnG+zM
atvEgPYVhnYFjT7OnO5TmbXqnU3v5F0TD9N/mRX3K+a84BWQVDtfwAEJpNSlOxwMattiGoRP6eBn
Rut+DJ3COt5ewivnDlk9etI0VLlMt1UfhYrPOCMaFvQosPhK7KxHF3OwnSldH8UmC5d3NoX18ynl
DL+kLXuCyv3guSVeX3VcFjsx5FpewmT+3zCbrZehHKfOObRTA62gL83c0PYOFfFOq9XfkLe170B+
oQ/B/fTVwSoGz7K67O2R2QGlTreLwAl8T17yf8TMCSXAUMCKCpS2UDxsb7DVhSi7M9WrCwrM2qJ/
INgmmwVdVzfTEkSBAgdFuxP/Dw87zEfu/sPmIDdwoTs51N8395uzpPAfitIJKJL/jme40RqE2p0W
yNWTxUNbdkB4qL1yJP5YsIEiDu9NtnvSDOI5jpX8C/685qmrw72S295Qm/lUbeG0kcUhhuJaPGrQ
rE69mFYfu9Q9LeZrQwEJk5cnTyfO1vk20CG0StCPE+BxWN0tPbT+eSmTgzshBPf2r0R3gjwArV+e
aZsGSUfTjdomR7jCgYAMrmqPZB17IpxXEiwoSIiOI3NCv8raRKWwRLCkHFM+0zSaD82SJA85aLU7
YWmGl+hO+ziWcf319tSuDkqGD6xJSjnbm8M0YiaIR6hlB+k41UfZATu6qNg9Vn2/vqds3NNqMJKd
UC//0k1W57iIaDNXHnSMe/7pUBHBjQ5tvACRLeu5mCYjQPIO3eR8sJ/s2MjfHjHQwpHlfar76HbL
s/7HARhRH6vVnrPcV215wGsFdctqanZC8JWlpJGJUwPoQcAF27OMLby6qCOjaPDcj4hjIgDPm+Kg
1U3po/vRfG5cnJ9uf79rtQP6NVSe8TuRPlubvZlWRd2OrDQgcpEWtCb17oMewfFGB6F0vg05MVLU
RvkSdTViWYnsqE2wOh7LLELenrxl5xddOZeAyTAcA5VJ7rwNnIY6iGXBaCKAEZscIKG1vqqGTYCV
0n/5rrgUgUwG9QfpVT//rgKQZptB+wpqtEY/jJMZeyIanZ2U9spNQN2O3Jx2B/rrWxIJFoKT2hGA
gt5mjw4q1urJ0MVvv2+gJVJmIqGjJLltwkbD2qVhyig15jW4eA3f13YsT7d3y7WpYJ+FKBNFfUHH
63zBMhtR/rzQ7CDp0vVoLFJzxxRvhlrJj6EDHAOJIt/Q8qD8cdwcd9UB5k92YLjoA2EN7XiTEw87
n+XaPgONAvtL+pDRtz4fxdCUvLXizg66bnHuJjQcH0IlLj4Y7i437tpQvAEBB8nuHUf8fKg1KnNj
WmI7aO0S/afISo4Kr5CgjFWx84WuDSUp9pjyAfhgI5wPlcXaaK8zwpAgFurDmvfFXa3ZxSFS8OO9
vRmuleFpI5HN0fUEZ7MtFGOkAs4amEegtRhPoeno6ZVypEj9t60gxKNE9ufSdQYfJRJiRqf/M/XN
j9u/4ep0QZmwUdC9puN8Pt0Q6SWsPFyET4lWQWU6VPUyUR7bxp0Ot4eSqenm0pE5ENRyWEIarIbz
oUz82rJCXaygq3XlEfML/VBHeuxXIZ7NZqKXKAaWzbHt4/GD03TRf7iDuF/hlfP8JkXfxOkIzVqF
o2cFuZML+Ill74/Eyp3ge/lNpQYCsVdeq3gy6JsEHb/ZEiVaHKqVyhXogiVh6UEVs38pWqM/oo8n
DnUXWggvp9XnYRJjgG5w9yJSadh3e8Evgg0/haAJVAb0Es07+ed/hIG10fQ5m1Fo7B21eBRWkj9Y
o/r19iD6xQ6iugbBjzolz3dum81nneoZUWtw7YGw4Daj1z1ojTe1BfBLdRzmwCm15VdoQNN9aFQF
GnRto66zuGtte7aBHrw3YSMyH/qpKuYTAmzueBrNrvxdTQhSe+5sc6u2YT0iY5k3aIgsKPv+Nbe6
+tnuaNsdRxQZsdyBbIpMISiVnTAng+Wf21bQVZEVWNYROUqgQOerGC3uVDt4tJ9sfLSeOl4Lflk6
iWC3rupdPZJWqKmu/Ht7Wber+joqRSIInq/2LZvgWptRVugaZAirbToErfPoYPWj6pVtt+erJf+q
zQSJQlxGVPVfr43zCcK4CE1Ut0awIIUbjEKPX9ZV2Iiq6spLXAs1yCLhfO9XJ9uhLWyXlqooORNs
QtDFxJ4t+s+NldjUy3UEHyCW39Rlf61qXR+KNmruMsuJ7ua1m7+/bWFfx6TyTIooB7Y35zNGh6zV
Rz6nyFGpWxF/QzOocnzgdctOfJc7/8+FpQInVBtQI8GVAL/lR5tOqkRGiY5RyDUa4Jtc42qucv5B
PHqKVbo7y7kNsHI8SvlsVSFhLqpc7j/Ou44dWjGOA7pJpdGdqllf78cIyShvSF7FlSZI2oT6+5l7
+5EWO3pEt9d2G3BefwAPQZ1oQ0jYVjgbN82d0MqbE8aGGOOYXHBeoc5I790e53LfSGYgDQSyD9nB
3hwOZ9B4aeiQWlwnwamhLvXx52yNknJQlcm9ow3GoQBHero97PZMyumxXVEaplhAWUM/X18hRU8t
WjKnbMz/yR0n9du6+bRq9h5H6co6Ui6CcEWJjOrY9kMatTMpjbagZkhKfV8gQO0tkbLcvXk6EIFl
2ZXrn6fL5kJcI/TO67GtTtR6pq+TESr35N7oBZbwb3e+2OWMoJXh6M58oFGAbjtfulXLWjdc0vIU
K8g1CrvTPIox+eH2jC4PHJg9ZHd4cZBfXPBp1GpRE4oISMiifHxwNbTUaK4hj4TSXaeE7Zu3O8PJ
bhafij2/3e5z2tZZyUvvpFSjiyqZGgV5Nu9Bga9MiocrLEwX+2jw5dvPpGUIZsZmdRqs7KtVrIaf
ZuKu6wv8HxR93FnCKx+KjwwxXJfQMghd5x+qT3rbJDOrTu2srh+MvlqCyVXfCquVDyzJaYXlB2NM
MnXPIpUIFXPUGq06NXUu3k25Nn8xKrXZ+T6X51XSgCm3aVwwJjH4fJR8KZc27wVUg1UNAxhQlOm1
EXXVwujevr8hLgJ1I/xSn9qmWqmK6EimYBI41u3gqeD/6NMPa3B7f1/7OOxuACw6D2IELs8npFDI
NvM5h6YxTZqv12sP4QAV3dujXNtwkvdMdxYwJiCl81HcuSIK1G55wkTW+TtepNnz4lrHzB0zv7Wb
cCfBujarV14atwb1+a3nbz5oRdboa3kaUrpWjq3EfhEr/+GwshHAdrCnKSO+prF/XI7zUE96CSP5
hJireiw7BIJVFCzfvuVoCEGYADvAZexuvhAyHRFKYQYagdNY3PHIKI4rywbgFEGe25/pohXAIeLh
aFN2kZoJhPLz74TwWFIoKbcEFdrec1IHkLLxlV7tjzbOfxc5RuVD+ReSjI910u60ha98M3l1gNhl
cEnIPB97akMMx1zuDnTqFz/VxhrEabk3xSsHmL8edgjoToiFWxddnbDY4SrGKBUyr21PgE27/EPi
tHth7zJ1ovhvSnYpCT6w683V7q6NpUCGqE5wNeMASyKcGTsDF7W8S58Rc9H9CnzHHbDP6GOT7/oF
X1tOevp0OyBpQtGWf/7H5oTSa9fNkFQnu8IIuVV0M6AZ2u/smCsHmw4EVzBYXOzUtvcViUahmiMs
pbg3u5d0VQB5J6toeMlkBjLRmfpW+Re5RdkkkBlJmnj8G+fzyrSiVEbi8CnvluaR9yGvv6gST62W
rrj8wBb2ABg07U40vno0XIIXYR+lMXCz5+Oac9QhKxsTwuaV5tSQKJ+jtswenFYXP+dKJB4SzMZL
n5Ttg06m+GUA5bPzIy6TVAo6r3AQkkX6j/Jr/PFNE1FM2qC6BfYSrvKQzmn+JFRq3p3Zwx9N9fEJ
RMBbMQYsOBg9eTtgYkb43sQECO99O9VkQC3IsbslwyDXVqJ+J3O8sl0xZiX1lgpEkkCymRrR2kHl
tDipqJR9WGMMfRQqC8fbAU7eM+fPJ0RBaKTKvSq/48VLzS6HMp+KU9j0yftqrfX38FXLw9z18SGs
4VymTax4VTNEh9sjX4k7yJHwtpCuekx08+n6YtBTtH2LU1HrDX4asfAyY6kCBDSnnTfbBdZPfjEK
zjanH74JydD5WvJvAQ9NdXFSLOunVpfvTKV/6hP3kObti96Pd9aECjf8oPtmaQ6Zkh4bI7rDrenr
7Tlf+aaUpcmZKUSCbdiWv3U0PMueS+s0DC0REGcgFIGzdWfnXFlZ6Ma89uVLCvjzJs5mJnJvWrTm
J2Wy2rtwIpKW0/hVUYpl5xteCXYsKK+OV8FB3lLn69ovuVJmJSDmGfMsr7MH5wCKxUM0FbucN7fE
+YqSSMdmJcEgj9kk6QYid0Nf29kpaWv1ID1iv4lxWp9vf6MrIUU+oqQ4khTJ2GaZhY1SvqFl2cl0
s/mfeNa747LiRlDNqfuQN6P2kI6RtscFvZCdlZNjZg7QCY4iCcf5Usarm5YxvI0TkNQKb4why08F
jJ07O7f6U5pGuE4Vi/5h1QrtACeBlrPS5sHUCXq1ppP7Ub0aJ2zN7J0s5KL3xi+TmrNScZJEgVbH
+S9blJxLOya/qoxq9FIltBEXx50H6M47R6TP+Ckmga4i/R0X79Jyei6kYGJqzr9uf5grhwfMB3VC
EkwS5y3mKm1LMZoN/DTF6rWHoXObYFmGcScgXh0F4C2tPfYA1+n5bCk1zoNZKulJNFMHItpqH8Le
/Hl7KldOKIRG+alBQ0uxmPNBujLHZ2Kx0lMI2u4wx/GKjxIcqcEddka6ckJp6bCR6VJyeLagaySp
dWdNl/RkzWuGSy8hrrMjvh7J//p1jbK99+BFbZ7tAl1KA4IhEYXMcju3KcvHBNabsybRg2nMZeUV
kZL8NfURlrDujMfdnLSHLncwPliW+LFdqtRfraTY2bnXPiWqOZJPjHAixbLzXyKTpVnD5e6kqWOL
fnGBDDjgyh3I/rVvSWXeAf0qZba2vQjHjqM8rtQU5m0VBai6NwcXRM1hEaW6E5ouJ/RawKVygIir
lGQ+n5C6xGKyw6I4wcFS7kU4/+gmod7v7E35fDpPCRgFU3h5MdPc3k6obELDxUm9OGEVZy3+tNRJ
80GQyy1HeGZh5+M414fHDO93PFnGums8rlT9vUTUg5ENp/UH5d989DuQ4zo1IRpihxin4w9qlyEP
i9Vn/cOs7AiTBijFYP2LsH/EvGNYDi7pquUXwO1/zb2RfJqKdr5fqmI5jqrevs/SqTU8RTM6EdDU
KIvTZC+IgRtJPlZ3ChHwi9pjSXXqzKX1Gdg9LKFm/NMYAE5QJDDwQLUa9bt0t/9XWYQUi+7x5EO7
2lV/xI2yaMc+H8I7oZgrUtt1VazemNmgN3UR4YRRtnayE3Cu5NGsN08vQoGE4m4LrYvapGmvY0OT
pfX6dWxd6xu6qYrvaEr7oS5i7UlDFww52VZ/sEs1PGhO9taGLJksv4G6IdA9aivbNwRP0FzH55gr
x1qjYNZHnMVqs/N6Ye89V65tYrmxaGgxIIKi55t4mLJB7TDCOek4HByrJcwOPHC6nRzo6ihkl2hP
SRLYqwTiHw8DtzbMsnHb/BRnoXFnFtP4nEOt2zn710Yhn4RWKxWZaNKfz0VEGUu64u6T19UnFQOm
UxgWyk72ehlgEI75Y5DNgsX6ksTZwiBZktLmTJ3sVOMq49M73yM5XR2Kh6TUeeeJvr38ykhaJbb4
7Y2RKm1imzAIAax6A/aAO7O6vJiYFWid15ouTYpNVrGC1llUK+cDtXX50NW9Dp+2QmY3H3CA8/Jy
3iO9XCZ2jMidTkFHPqm26WMatonbpoxoNp3xZFP1981lsg843WJNhDgLHvLG22tVDEr9VfKegLts
0zp8f6llunF+ssZkehgrI6Efm9Rcwstew+bKZoRgwobnPUeHeMumceZpXLHbyU5LUkxPeaFb37PG
Vt5ehaULLZtgtE0pXBqbS8juCvCBuLqcFlOfnvWu6r7hgVvs3EJXPhYniiyCtwXUyS0cqSsK8n+o
JKe0yiM/rhvtvklUbfahVWtP05hYh7G1nR3I3tVRTS5zHk0A+7e5P6zIwcLwPTtFsNOCRhiNr/Vz
+myFmRpUkUi/WFJe+faFe+27MUcaQDi6UtbclDMRa9VlYSo79bU23iVuj5GDnbxVoIwIj3cE7V/y
Tcn02EQRllJoXdVnp2ltondzHeaFV+FpuRMR5bHdJA9nw8jJ/hF3lz62xIz43snsnfTeIs+1vbkv
fqIrgy8ghienPHUhOixF7DwYfSjeXBBC/5mjBgiSpgcQsPPxu1LHUBCzxRNe0NItdVH9WeDQPI+Y
nI6daO+Vooi+3P6CV55IdBGpnVIRQk2MhP58VPzRi7RuGrQszBGrDC4a9zmpW4xvw874PWGq83Ns
VfuRtAqzYjWd72K8xk8o5JZPapGFOzvqShinCQg4xnIE2fgW+V8QO7G9qlOcnTW8spQ0P5aLph6a
2Ih3zumVzYsmoVQ2YfMC0d1Eg8IJF8yVeJSRVeAlGTfZsUyHvRzp2oRsWZ/CcwBhcFv++R+7SiRq
q2Jwwnspi2F0r2sdlGrqPBnmtNcJvDoh2bAl/+Xxsn2a2RV+P43JUHHj/hNZTonWcbxH+LoSZxB/
BswjhWjAam0O44BvtxTlxc/HCRNg482MUf0SvRPxovhxZFn3QD73XmbXZkaVmIyLMjyd6E2ykoZF
NbgsG+ICIf5Pjj59nLFA+Hz7LFy512kHcsm+Fknd7aMLabNQ6AUPTttMpveouLcvZRqibzLgBOf3
oWHuRJxr03JNlosNaFPH3OzAFCvMHg9DCida5ZxMRXSBdIE53p7WtSydlyTiZiwdaNxt9SFX1GIU
2Zie3HycHlT8YO8nfL2xNB6ylyiCsk0ik9+DKE++d91qBlGMN41/+1dcOQcsLRprKGRRBtkKrXVp
B9p5jYgzziq+uEqKZ6uKcEUbjnt0iivLymEzadgwaWyHNkdumIZpdoolwYRNLb+7iWB3Ykp7uD2h
a6OQjdE84zygBrS5+1J9AsO9ZIjFKNo/TQEw02hQKrg9yLVVA+ohaUlcDJQqz6MHlWXqHGWcnOYs
UnzKeiPWBdbiFbrR78zn6lDkexaK1lJye3P9FOtUWm1txyctVr410Rwekkl/UZQ0/A87gZI273QW
TVZazufE7VePi40wTWVjfVAtnXo05gSHt/DNvBAyB6g7r6U3+uEXeiwCxRWEFXQ0cERD/a8Fwipw
yzje/khXEgfkvyi3YjIhnZFkyPwjxKetORY6kL8TfUBkI2BPhElg4w7fHfmm83FC+XrxQwAwqzfl
kDx4jCvmDofoInjx9qHyITs7khO7fZtKCGkfdZwvRDSr98mYYs0IeNcjU7QPRVGGb32lyvEA28vS
quRgbUKy22stkldlehptuwhcdRo8B3fNnf1/cchIIElK0FWVAHJKp+dLKyxUdXlwJyfNnX42yjAe
VO3/SvH//00F5G89y/zkKFJHQRbpQR9ttr46t5SQE0y5FWoJGBJi2Y5rMXJ3edwZH53EzZ6tKQ0P
umiVk51qQ+IVrV482Toyg1HXZfh3ayOGMF3UeXmD6mtrTPNxBkwY5KaiHNoEQ8QYMwLFt41meVGW
xNpJ5C6Or5wD5qa0aHiv0Zc6X6kCZclWx+bmJOK+6w5NUwqyZMfKE28mod0JFrpckvMlg6rMgaIl
btM03rJaBL7ZaaRMKLPoOhoP0dKkRyekRPqgUjsJHzpbgm7zdoZaEM7NrxYHomf83yuUa5ZKwQ9e
cx4gbZe/YstQTtWiz4XXRWb1lJT2+BxnIjoOQ5g8Vetkg2odSm9EYNovjVXc933qnMpRbe+KSRj3
Tah8B1W9x6e/3HtMEWkH6JRQr4jy5yuaaCpOyQkhvahy83nBrcXLRJ3snKNX1tF2JdHFBgtiQ8iA
M3k+jJUakZanQ3wK9cTFilwP1Fr/GDc9wHf3Szfoj8IOX1Diyz1RiIBX8b2L7L8Xlq0fl8vLXI6f
wpHOxqROqtdObdDkg4H/duJXxrxT+rhcE1mRktwUEkyAh5uTAvvbxfIdFqsoRzy3y0oUmOoNg7Kz
vy6jGePIBwAAEtid25QlypDMQMDACYpwNf5K7LT8UVH2L+jV58XHlSruzoDXJiZpHTQ3QYPxv/Ov
kHX23A5cDUHojsq9m/Luwhk8f2vCB25Ooh0kt052jzdbynQTWIk0O6A4tBM+z9iOSaW9/zIXsCIk
6LIasOWEW0bVr3XBXPBKiZ8iFYOxusiSnefTZcAhyQJPLJ+NZNxbYmLs6NWYTTBD+gZHZ6uJvdGp
/i0BqOxM58pekNkcAD1EzihXbg5Ib0R9FXeOFZRRtDxOTc4T3LB5e4zm9LnB0fE/jcddI/GHIMA3
N1sizL5oyLLwo8r7f6YBoU2rQASqR3jzOFWauRO5r2w9ScQDkMq9DQd9c6bWrOw1dL2swNF7/TGM
TXy8G20ObicpVz8XqRA4UchrSIefb3DI+y7yZXJWBuihGEzKXWcsmM4t1h6h/toH4y4icEqkG3Cl
86GMxUF60FihuFD9fVjXxng/zvQ71ndmm9Y72/By9aR8IDJAdNYJoltkVp+YVWWEiRG0Ou7zcYvN
W495606Kd7l6sg1HS5ViKJfd63X4R4pXpeY6M4weOI37Y7Uyzcfuzw1aKCc7dbxr85Haa2THPApB
yZ8vXt+MGGlOuh60rpIDlDeHQxHl4ZsDEfMB/EpPms/E9XY+CobM6hRF0rp3wXU8yQbts9Jpw6e3
7jlgQLRnQK1RDL2wPnSRoIyrcNKDekH+EC2aJEhrU/2r081wZ6gry8bdKUm24A80bcvtXQViyJUz
6+TdzX03CvNxKOw9IcCrg/BxAPlr5ATbvTY3oYpEMYNYeblQ7bedh2RS9rpMlyU5mXWwo0k9JKxi
W1UtxxyN16LQgtUp209t3OcIrajISn5QBIn9ixZOHcaHap3BUwvLWvVquNXRfbV2K0JTK7Kfx9Uy
x73AeDl9sqBXeCCATsk/ON80alT0UwK3IhCRlf2bA7qk/682O53iy+hB2Vylki3pr7T9N0URt1iK
LjdLlUWmv+Y4CzLzUf5ujJvaN4u83TnZV4eDzklnWmqZb5W0oWbBdCkiNeDArPdlLfQgsdBmisYi
9ma12NNlvVhEycEhASC34f4Er3++iGOYCCxBhRmI0XI9IP3lUV3FnprhxawYBZgotzJPM9iGmyhS
qysCdINjBt2S/BJjb/tttwjkA/qfimIWO2/Pa3OiSMFTAN9pyi6bgD9jn9Y1Labscy1yzCbD+hjh
hbUT6a/NCdwZSSfQaQoU8lf8EYMbmIpJrQgRuLEVnWaXLoAY1+m+q21goyLek+G8EJ9/Jd5iaMdZ
fBWV2OzEZKBtM6CXGqRNSCexXsc+xD+ky1t/bQRwACHqOqY0raPv3q25bnpNG01fMOMw0wPSc1Xt
G6OuD74TT712zCtNMbg4mqr3hqkHlJ1P9bLX5JKh++w9QeuAhwtYdgghNOc3p3RIyaRSrRFBG+Xz
1xLQxRHnVOtg1FDZ0E1y3s3ABrzbkf4yZr2OikcIFRBJJt1cKMPsrKod8T6J1jh/rpbRfXQR+3h0
cme8ixvsI7zMqqaDGdVYkkkSXkAhsHoWVRr+GA1ruLv9g65sSQob4NEgTksx580xi9B5GEUKUd8t
Y/G8oCLkqfnSvfUaZdYIhiJyQl1V2qScb0nKZT32Mj3qGL1Y3omptqhi2frbjxcQC+4DDVy2TRV3
M4qh41Y7ZSLAW271zREF7EGww26v2LV9g4oCIEXpyYlW8vkoeqlmtjE5RoCxQxX6hZNjZu5ClPJa
a2nveBKJeyp6b279ytI3BDNIMTY0qS3BfM7sRcsN8jeFRqIHGAHCbu+2O0t4ZXKOTg+bCE80JPCe
T24qxaA2g6oHQip745teV0fE1rRDOHGfewlB0QOZ0H+5vaYyzG7OIuoH7BBQSWTUW+E/a8kFepsL
CYM2R96wzPmndJrto1YvDiWtcDhWTqh+CJ3l9+2B5ce6HFg2S2B/SFXO8/k2mo1uObGHrHjojj1u
xc8Z2vT3y2BpOyftwpKTMEnLRPa2pMQs6hXnY2XtkNTDsGhBmajwrNu4zn0U2DpmPddKdggpuf2M
RWoebLt0jjSph6OV2qnwxVr1RyTl2geuDNtPe4o+XSq0x5ZS+kMexXi/2D1yvwpdM3eokseGU+LF
i174Q6LV3U5l+krQoPEKSpfAQQd/SztzUehS+T5a4JqtdafMWeqHNE52DtrVUZAR0RlBkkk269UV
QqWK0muBYrXv2y60X/ow1XZ2nvxLNhuAK1KGf0bgLtgkAFVHQXNWBy1IlJWom4w/3LrQkRwb75eO
t/rt7XZ1SuSENl1BqgFbcHiZGPEQdrUW9BiheGpv2PfZikHV7VFebeK2k6LEzo1MLKSev5lUiTdQ
m8+1GqilWZo+DOn2G8ZilAWphjg/MLKOv1Sxnib+bKDlRj1xnrogHylUelE64CeeOlr3uzHmsPZa
ZD//Nexu/T6F7Zh5s5Ml4gglok18pRVm7rfgrJMTYn5cXrkY1hrBbdf6joG66x6EsaBrxj8g31aG
NLKujdAoMRYX5T/FFDq/XDp7/2q8gT+Nwpk+z72SCGA7hviGdUOG13zZm19F1EEhgAbTa54Kaw90
q+4AYctFpM5+gdTtRycbVcfH0oT2CPzO6q88mbJvUdvMkW+IQh/9Ua3W1tdqZ8aI3MJ32OOHL+bx
f5zKtmOnK7VgDPPU8qwIkLCnVk75Y+fTXGw3sLMEWIpOXLawq89jgOvk9Qr4SQ14mtlHfc5rb1aS
GoOoeU/F6ZIRwUuSWqmQ8ZRn2FbzXjWHNuvWZg1iHkONz7tvvefZXnL3FkXS3s9tOiqoBcbpcMiH
yPqC+Uj9Q6+m4nFIynDwl3yiSiqysvr55lWQIk80YJA6YqNu9uc8N3VaQV0Cr9novgsp8kADUfP0
utkrwF8GeO5qaQQCxoYgv1XMIvZFbmvGa9CG2nRELVcEiupMYAbHvQW/vDsZSj7guckkIHmTBg9q
r/ROZS5Ib4a8O7UmrD9oq1jAlIpIeUG8CxueaDHQsbq9nJdRhcoEynE0C9GdALB1vqnM3szjUMxL
sEzu+pBV4W/XnNSdzIBdc7l3ubRkziqpGTCOz4ep17JvZ83tgrCaMveucftFORYCy9qjES7zP8Js
wA+rFe7pntW71pcxcVKVdZgs0LdNF4aHuJpz7TCaRap7CN8qwkt6o0k8TZu0+Di7NTbrXP6zOMbm
3Hya3bWK/SlM5hSMMroMd1gHUrNqCndugijv4KOb6BAfyzxcjLt1iuvMnzvKrR4BH0UUPAPSyE9C
Cl/PdVFghLKsuZ36halHfzfL6Ch+7Yyxc3DL2nkHDC0Sd1bUgCa128r16mzSP6nD0ETeOBUKWUiY
RuNxtNoiO4ZRkXywQBEXdFwip/dfhd0P4aBGctLtlPlSflX2ObUwPxjaYtWeHurF38nSh3+B1c8/
jE5k/WrCQfkLVJqaIXpWa3/ZjaZ9HQycub25dfIBO6eKN3bTVaYFMFifnkSu6SCGzdl9Xw4YcXtu
ZqemvyyVPQdd3OSIGdvKWr0rUAqir7pWkFnGRMFbGclLHmRN7bjJM++vQg3WUetfqF13cD7WWP3c
jE6e+FltjBmyF2tReGtiFqGXGEhtnBqrjgtYXHqYHugHah/F1CbGccr1rr4r4nb4gr+48Z1maI9A
h0R9J601YhSuxLnnRJyaz2FS47gcr/p6bIQ7xZIYVhmnvqpLTJjVzDqkzlw4njAj8dttQ8tEAMdc
wJaJODJwCVu09+NEiPWyZFK/4MUi2oAcJHKPbJX2Q14pY4WmvoZ9krbqPXURK3Z7z15S5a5r6EB6
iDoqIVF+Xb5lXdawaI7COY0HZcFNq+54j41uzRlOEtpJbmgMP53QFD+UweoRxyjs5GHlv/4xRs3C
l2kdkrZpzbp3VEhWI6i70fg0jm4+kIOpcc+pjybXt/RZtzDaGuLfpVGJd7o5JS/0DlFyUHIneclJ
Rz86UZOTF7p2OR76xqFqr6Za/bNdJ3yMBjufmJrShZVPsJuQFh+M8aGKM/NHBiyA5hbFP2ZWuKs4
Rmm0/K7bzPxLn0bLRlpd1+hC9dYyHSabTN/HNJWqIxY4MUGqcob1DpxNV/hhH6kvo6XAU7do2XN3
TFFyrKC03xeOM4N8SZP6t16Z4T+o/TTfSgeGodfxKvrQUfA2fB3D6xZAv9Y+ddZ7e4zeNUkdfprq
RvnNg6nL/GYcutJHeNX+d4I48C1NB107tW4ulkAfjaJ4zC3BYk9J2v6EnWSWGNXFThzoQ5wlXuuM
6XMJwjb1bbE43+umGf9NqLB8YHFC6ALsodlX0T79t3Ljwfb/D3tnths3kqXhVzHqeuhhcCcw3cCQ
zEzt1mZ5uSFUssx9D65PPx9lu1qZclvti7looIHqQrvkFJNkxImz/Askc6X0Rtwz79Ge72/neVTr
XYVgMv/VdgcZ6IXQK79HyTn0ljpLb2kfJrmvMt8SXgmx/s/OpdexmfGpNIN+DlkgWW6GH/lYAq6r
Hy0vi8Y09hOzsTcA/yxSclOxr6Uyoxpnppnj6aKTl7leI9CFs6bNquziVbw9cXkFXWnHtacDRz11
Ry1sjkPkyIctO8p9h4O6g0vYNDMbN0TVRl5naQwVE8TvbI/W2HhLKrS0Hm9wTMmfhH7qVNZ8rRep
6o+pDjF3VGfjpFlcwZoVsTOedNpYw2ylBJI+wqpR4XGDI2ZxttWdKqaVXIWWnMogK3MTQ5VBNW7C
OCyurLjpLF5hJfDysqQ4Mmn6X1auBfPHZlBCeoV0TbPpDLwGFFeWAOD65GxBBPW2MTSxbC27NpuT
Eru5BqSOAi+kHQmlfjJk8dlq38LaMEZr2lbstmG7TLIqd0Of1iXNrNIpj7K6HYCNJAWYz6nqPuZ0
8Ts/Zqq4c8LIIODWJXruRTeaZ07fQsnOtUZcqKCcLH8s0v5cNB2aXgXGhzusLImiJY56yQmeyJHE
aCQexc60Vj/6BqbIbZul+UOsKWO0MxNnirZySMtklyNeRR1EXqvvEnN0yVHrmNCURkn9mQtMtC1j
0hPop664wQEjYyLdKmQCLZlYCXJVmTMfPXbtw1LgF7pr+8FWjzB41WLP5C1mvJgEjs3kFpPp6X3o
VB7cRvmxcBIVqYJUhRxT2sbyEYtqXM6WQmpXjpblx3rPwN9LxqaaPF2Hgb9J7SjpjkKCsRpoUW8r
KKpV9k2EArjluZxZ5y2bzj6x7VpR0Qg3chzm0zJ/zJO+RagLlaBPTLzb0wr91hCslWhpY9Y2efi8
1PNl6C7KgB1MWRDD29CcPDtNoU6nilE2focm9XE+haZXUQ3s+sZW/SWSZ9COusuBt89ZRC6XehqG
X93WrOuBR4DiA75f0epRyVC4vzSSKUo90F7Rp85Uit432wEAPCOp9ETtzfpLRYuNAs7szdRLDZUM
mzxYqYM8LcmCw3luhBfVVpUE82wrZ32BvCdNFTP+pBvSOl/mZkx2BEp9CmpF4zyLRap4tptiktgX
RkO8bNLp0uzT7lNRhXnl65WdzMRSM4MsNYo6DBZwGplXjaM5BGyY3N1ExSDvF8YPOySlZ+dkjJPs
qGk5OoLUJkm9z8zMWjZJNkbiOC6V+LOtDkYd1OMgep/BVHJUWWm/kVNSbbukhntl6Fkj/HKuizOe
ZUodllRd5SeLEtW+hlbdxZJDN/3TmCcarH0mrdu6NfXH2LVguFpdPqqbXDpowpfcbO+lguPaU52W
8CArq3uXtW3zKBsOuh1igiC29C6cKe4Iu91jNPYOp5JKX7YM1fmD0KficViERnbQtLNxmw3K+CDb
L3G+FWmxfMGI2fk05UtJRlfT/Z1CCTpDA0bgeMpgW03AezMZf2IMedX0jnyQfT58qNC0zr0Gzu5d
MtnDF+oT0rvaEvXozVpHemegEpjfrOnJVdzPSrwb8hgJSBf3q8ED0Q8fozVlP/qIYEyxv0wLHBvV
TYbbttXsD7Vjyo+Zk3T9BRT/8gHmb2b5Tifs1itCpb2wpy75aspS+6jpRt36kRGGXwlsHM2dZtB2
wUW1iDx+T3ndG6V4n6mFfTM0swoQplBQZGfynzfBlJCCBezG3D0mi7KmTVaJ6dhaWE6gaNfVk0ET
QG0khjHqRNK+wj0ry70prmPYk4hkXalVrkfBqMjyUx1m5mMGH48kOh3c94qpxTosfrN47EJXeVe2
c3mejmLaJIPI5k0p2mI1L0j6+6Komoe5kVCyijCsl9sRRhpLIpnim2p0SdrtKBM2hoUQBb0hRFCQ
e8hmCMFllb3ngWXDyYAyyl1cKUkOoaFS6oulaYUSDCoNysAm3tcefSsOpDRLTHtXC0HfEl2FyAzy
SGoJhUpXpO/U0Zqr911C0PC7VjeWIJtUoI5EAnmFkHhb+6Vrz9IrWKoXZduqV1DSLZwl1JHwRuZV
zl5NJ7TwRIxHquf0qTt7mYvwn8cQzoyONBdbN+zepjbxGOjW/SaTTnSHYaz7pWLGBGrOnuLFk2Df
brLGwgVHWqryucCBZCGTzuPrUeMU9ZKETtTUGuHiaTEoGW+qoqrylJDXyXYso/LElGKK8YkY9IsC
gVxt11l98nWSZU9lrWVh4KZTYUPxmtbaI9WF9HGJqHu/RVNTORnxn0oQZXDi29TOB4P4NyvTHQ6+
83DkOoucNwVVIHaIqtUwkMZjlGPG1RSTDqbV11srXJLyqAHPf6a1Us5Bpqe0i5fczbZholUdQnK6
+XV1WSYVHUvHPK76avoC0NKuTwpDj1qvU+yQ1owWFX4GzeCjrlfspEzaHCRV20/dOw3P3uIoavvc
9dvRTLJATMt0V+qyvw+BIEZ+1g9x52ujrO8TN2kjH4Si/VCmC7anfVkulufkvD8/wcba9AxFth+k
ynAMqFTh3OdVj9weXFL6TUVhRmfIrjfKRpWWSDd6V8cYu3Ey694ELDwKcitVo0BZooHHsySrPl+U
LcVu0AoYC5o9pAm+JEh57Cw7R45itHq6rlFa6eMFuhHleDl0tvVesZGO8cUoidqqmthHg9T7zlND
h64V2rEI1sEPmcGL0gfzzWho1KOmy3XtU45ZSH+hdF3t+MgUlefxHDXVsZvN8UVBnmB5fVYapUcd
Kj8huyMvW4EFuTctlZn6rkIy6rOzoastptaHfkmZUZGwMEj2nGZOydrTPLtBcSnXvX4oXUwxu74b
PQuh5ZIZhNuNO8nrdnaJi9OF70TxEJ9qpe7Op2RGOCnYtXCO86ZWQaOVaKr6eWq3N7nI+q9lRkQM
xmxurkcmRFdFn5HzpxHl4WkadjmxA1YBFl11JeMzpVbayXPmth7whywyVLGTiR03xWPVeqjvGPdQ
wbs4yCyzvpwmPEaOFNKAXZYxQdxUgxp+njOedNCS2mW+Ixv1qu4bkkZ9VKt0M/SD0q6Pxu6v6D9X
biCzXnaes7iN7qWlzoOTuhbV5JNq1ZPDTCwkejyMwQG/meI0Swg8J/HQyooMJKo/2Ioqk+MM4s4n
R0VlIFiWqF2Cwi0x5M7HGZ1DMii5kz3dT4SDQ8w15WxPjwVaBSfdYFK8DgueWR7cMMR31LopQsKV
Uwwe1PbovIOzeenEtXWlKQ4hWzRRoW5mpwk1b7DInmmjpplNoySJXa7VZ7Xvxo5LR2AZ1QdnaJFX
0+pJfmlS5k5HMMTCbTUtbhhYZVc+9J3eqsF/6fFQ1diHjdtsLYirTCN5bJRJNf3/qi1K9qZgEE97
3iZll6N+a9d0niITUTUfJVnstZBTcGOPJnRk8N70/Ibv7L6mX/my6YZgJ5hQpP9R1YIEs98psvCT
HhwtpyEVMcQlcnAWWJXTARIzX9O2etn8YrYI15jWHhSlF0O/HqTJKNJ63ibVwNncG+67eIzzL7/b
YqPfxSjdAV1NM/VwLiaSYa70uZy27WCco6dpkV90dIx/u5Nn2wDq0Du2YOXTIt1/cOncK0Mt1HGr
wikFAQz1qVTn16T2X848MCzGWBEOHfNSttD+VThFujhCDB5HqD49L9K4uGwLNz8Roalvm8rRXxFp
+MnQe0X8A4hdBRQQWTvojC5Joy+mGY3b0cDpzyQyFe3Aea1PdwoCKJ5TNobfIOTsmQvlSJFepRZ1
Qfu7Logm5CF95e/p6/QKiN/+jbdyIEeJNIkAUToejTW+TSVKB7/9ErkKijlglbljcSiukGkQayJ9
lFuImvCqW7sj4cFB5tcr8sUeQzGToRVYfHVFMRyCV+n05UkVDWiNh+NwnubYyNBfNncUCLn/60u9
2GLOOoQDYgPtGNmUw0vJSdbRMuTFtpF257dxmVx2UzK+ssXWpv/+0ApGDWAplPDoMSOSsP9y+PJG
0fFeeDk5c52B5NVKH6ZwoIOofIJxBr77NVD5i4eItpfqrGw5WEO0hA/2W97j9yhVk1dVppkvilQJ
bPBwPjr9v03Ng2vAuiC5YguQoh3sAW3pzCU05bw1cKvxEoqv3YJE9yur4sWreroKVA8IGgy0Dz2a
8rQox95omEHUyrKhIli8RVS/reu1XoX/rebqxN5DHFNU2KMtZDkzSpksz6Qvt00kHo9Lp3zXfv7v
PdJJ9/f/4c8PVT23uPPKgz/+/Tx5wHGv+ir/Z/3YX39t/0N/fzc8trJvH9+c39fdm21ffrmXSVUe
fmbvV3Cl798kuJf3e3/Y4NMr56v+sZ2vH2EFyafLRY/V+jf/1R++eXz6Lbdz/fi3Px7gP8r1t0V8
rT++/+j4y9/+QHyS9wXceKVgMRID2P5sg67X+/6XL+4Lfo+fJ3XNvVblm+Muvy/ZZ98u809/1+N9
J//2h4Ka89tViRRWAkw8zkrtjzfj418/onpdTZQRnQGhxk4oK6r6v/0h1LerEQyYkPXU0JjD/fGm
q/rvP0IimNkAQF9mjDiT//HjKV1+29rfXiVP7fuf35R9cVklpez4xU+6q89CwOFjOJQbxIo06ZPe
SI/74hQghGeLx4JzwqDCU+LSE/NFZgfaGMyNPy/v8ZhSy43bBil+nrFvhic5LXwa2bYvjU2VHdkP
GRQy9di1rpvm0govUNRi7xn5kb18cPqz1P6SDBUdFMEY6qExroRxFka3Q3gcR0Fk+/TehHmfxDdO
dqHQHahPcB7orMvKOTNSSobTjH+fKuHpkrzrpp3jlH4engrRAu27aBVyz3nxF3lhG7tIYcyR/WmX
R2F4Pbp3JkJ8ymPWlh5GVi3aip1L6TNs65zz+NIYjq11FH1qVhurvKXvl9FSbwIlPdLa43i81xhe
ttVKBez8tL8u5ptYv13UYyX7IJbPDG7s+DykuJfH1nwajbuW3zNurfooRRrDPbMEHe78zjUDLfMl
RV32bpp3VrI1zHexe8agNM1PmedMuC6P5/NwOatex/QuPlmGT0q1zTsaKPSl00taiGiv2MNRu3wE
swYW5GT9B4k/40M8XfXZbT2quAmcFsV5aV60xk3T3YT5eRofKSYCzJvY2SSlVzbMngKZ7mbrpFWO
bNLi7ByYhFbvmvgbFu23IsptVfDPv0FoWFG9//1jT72IBP9bPLbJw3355ua+qO6fh4H1cz92veW8
FQaaKOxSRCGQAPrHrrfFW/C1AOhXTiRsHgLC912vCH5EmIAqR8qLEMdKt/i+7RVhvCUVxvMMABzh
ipDyO/v+IB3lHOHbEVbWITYCKof8MTzcG3Dog32j0T0MollwpIyz3GR5qR6Hqexewcc+mdU+CzPA
6IAegIwlp6FoAP65n2loiu424EOGW9uddei7A3RAj66nc7Ig0RY4o6GdUTIRXpAHOcJ+JNp1MxaV
gTCi+CQNgYYwzaC9rDuDcQwmb34s6/5T4ZDiErOEcd0ac/45UlBQiUKhvFNSe4D23BXJ8ZwO6f1k
ZJHqi6pUg9iSNCYNg85RFW9FeGf3zsQ8p1m0TT01xadn6+MnMfYg4Xm6dbBHnNsrIBMI6v6tCy0s
QswN5C2dRsNPHC1mkKV/XFphBr++0gEagivBaIESuHoOAnZ64Ukh1bzVpVXclnYiL5KctrbdrEBC
W9op7lZ1ddqPkbb99VXXdf48i3y6LMebhq0A/M4XpGk9BmJQxlNx2zarp3rS20FOc3CFIa3zFI0W
QcRkHmPsM5DfD7PVTbe//gpPOdb+8gKtBiyOBAzAJntu/xljIzy36CMUt3pTahdR08JKd6RLE7q4
QBKNxpOejZtacaJtrC5Xatz1x+7IQlSzLNtkHRgImSnjzsrb7FNm0FSZyXyPUw1wh+V+Qh9DY8gP
SyhvZ+3o11/+cH0g1gW0f60pACmi53GwPhCH0vXcTZSbVP1gabDOlRNcYV9ZGocbfr0I6QcXQNFh
lQXYf0BMmBsliTLlxkKBzkoeZVEzYHB3U3r3dDe/Fer/xeSxfixvZPv4KMke/w3OhVVO5J+fC0FV
JCUHw/MTYf3E9xPBEm/XnA1iBfoSlKlrsvc9D+RHCJOis7wKvq6Sr7ybH3mg+RYkIXpuwLhhTSAn
/teBIMy3K2aYeALKbJUyd3/nPHiCJz7bQFS1gMQ5d2AoraYah0L29D/SWCaiCTS54lNSB4Gf3NBI
NRR0aPyi18Es2jWK+uRyc+l6yDN2gSlCK2iyguRhlKrzmJXpiTHMSgOYor4U5aTt+s6yMDwG0QB2
QcGzChXHqfbMyWYMp7nM7yn+wKZYChlmDJD7rHVG8kRnmD/UFf37TWwMxZ3VC+192RT9DgPe5cRt
kuk0nOqKnKxuQUU2lmZCal8uaiGb/luE+/9Y0/+2BZFFWHp9dZdvrh/r/s88edhb53z2xzp33sLR
ZKGywilYYRT/tc5t7S0bAIkXwJird8bzesd9uwqIQFMgSAE9Xnt9P+odm92BmceqT0x8pLnzO+uc
XbN/WLG0V31EVKxojMHNPMT010qupbOejxsgfI59mgJTmLeVRMd1m2V5eqsB6xo3jtEBOljCLh22
HTDvxuu7hvxcqJUW6EoWVSedmc/8RVcddr0AKuEnfZzcL70GXmrJK/0LSCx8azPAuYVX10b/vkzp
Hvj2CKLa02SkpEwOk7Y8BkZYWUHOhniflKIC/oLQJyMPqcvZS0rHyNCAThu8u+yZsTvaHU52XuZF
F3ntMLpsqd4OUx9070zWVKW2Ajg30y8yTZp3wkpl7WP4jZORKCYMKtqls+tNWNnDo9ubNmN7pZxu
W4YvxVHmOOsMngx0uGjiAnXycOjqxlfcGCFP1w2/rHLKvYeQg2YEA7OmGwhwuXVeiq52/YzZwPno
Dm5/kspFm7257hzGiO1UFHQPFg12+UikQbkWbS9fMJNst1I4SXFBAS/HoMOT4aZIASYcCTXv1yHh
ABMNxN3lYOL6E4xySe/FhDy2Z1t82oewNnUbMmYkT3UrVDR/VJNyDKpJ9vHnWJbqO2aFau0li1OB
TaEbOlwwfTDGXZeM7YeuMAfQeS5E52GjJHBoj5q6zm4ZYGaGPyRucaYn8TB5ICKL89Ae1PvRdtJ3
+LvZf2KhY3ReyFyAcFn14+SJCI4AqgNz+i43XHlXN27m+HrtqIlXTkiWBHGo6H8u9hRRgE7p8j4C
ODoChwonIIwWhIVtAzMVNIuyKIk/Vx0g6rbGMIUcpjHtq9Rm8uvhaD+Yu0WpGv3EMOJYY5Y0hoNf
IYyCkaspumv0yexmixR3eF6bg9QCBun244qGzi9IILVrOeiqc5Yag2Yd1b1OnrYYi9P47hRmReAU
U44pUIiEymmF5OR4XCqAE/xBm2kHKOwNGXRyqiM/lxGqi6lA6t4XQ+MaJPFzrAR9YeZZUGd6Hu6U
xjHODatIpR/JDkR4i4m0vpsEULxtlsyQh+Kq6687EduMl0J7fBDFOA2epaDG5gGXiYezkrLlE6RI
xORjBlCT74K/qT1bax3TV7JhOe6NrkN10hpVBCgtfRCBFCVaYGCCGjdw2qy6QUg3BItVKpHrowku
0FTJIch86k0ldEAK4vTE6ZQpH2SHF4nXmZNy1ybDOAZJYZt3zjiqH1ygqSElvFbavPHVLhAcR7sR
CWhA3ZmaB7dqEIM2UpUDr0yTGYhSO9CKyIZLZZomzHyGWaeXAJX2KxABLJjmDG4A2qArYkkWj3PY
tv1uspZ58pckC4U3uA6SywkejATRtvDzfDIzP4uj7kECwpf+mC/OWR0B7faqtGHb2HEy3cZ9Zl4Y
gIWBbpRuIwKIEsXWRggSeEM02wDGqjo6LnLuNhBSojHTo9VdBFWdKU1Ae7auAs1sXVhQQjJCKwjU
+HsaLRaRiH0AinP7pZs3YCzsczBfovYV2wSq5k6AXvxySKYJ5H8x6qdaZKKWV6jqQ6GF/X3ZGsBv
zBErbvR5csPwZmvpxW5CU+O9kaYlw2ysEW9MFmGNyk2cAOyKzP6DagHB8CJJ6Q0RYp5QN0Vpq6aq
ZOl6oxEDdXaMkbF6wisQNEmi6M8ojI1zVWbm6Km9pivEzswt/Giy1MZzKgWVaWPAb3br9HqW7p6d
lj+pAV+eOjqtOmTbhEnbjqnWfvptoROxLKZEbH6pxSbUQtcDGvKa99phJcbhpq+KJHS7bVgI1qFK
nNaqcd9NLaB75FMloLdWsXxVshn6fknP41RtQcSm4ecxi81TsYAhDQwEOb7lS3v94+ddxYOKhq8B
4hVdDGRSOOsRJti/27jTm7Gx9GZjVYU4ARwyfDLrtHvfJKVBYvFXGvKTB7uyGJ/nretkay356KhQ
W1Nf71+qLENXdDRvIbD2SeEPxmR2m0yMvGVX1o44a5scRkxcaBCLGFyqvd+lVfLd7+M/GeKzNvdq
CPXXq3nRF9u1j+X9l73yZ/3Aj7RQvEWJzoFTBloDxbhV4uMf5Q+wHWZqZGM2DJ216fWj/NHeIhhr
IBy2vmTyPyqjH2mheEsPjXbYahi5tjv030kLDxcsc1IIsgxn15Ep1P6D7Tljo1rWdpMGeqqkfmc0
1kYRQ3dkTtJ+pRB/oU61Xouvq33TNOWO91esgFcgJqyZgsZ0lfMc4IUXhoYVuN38WctWAE+Wx5tV
yWEeo/oyBzCAFTwYQGfmODTMKPUz2ezGfgFsAsJl5V11TP2VfjcW1bYYqpQzt3VB6oHALJ2s87BE
NXw9B71nxTUnh1st5I9Sv3r2wn+yF3lRe3uRO2P+xXQbnvXqrH3AOLYxrHezkMsvisi3kgrAF1NX
bTg9Gk+HHe/lvWt5C3nBKwHnMLx+uzKD7nWJUQ+vP39Gvyd5h5eL4FsgRBltkLwDbaIas/fr+3tS
R34ebLiMqQrcfKhH+H+HzFVgeiLpXTcJRjMd2qA11XqT9XEfqC5cdo54vQ201AlzDBWj8AHqZPRp
Rny+GdN5HW0o1g0UkRObs34HNQYYo0mh8DUeneQK3o1k3AK1o+ccqyIQvH2fnk6OSD+n7cQMxnZo
S8Ef0U91uBTH/WhOH55u8D9R7FkUQ/v62Vt/EcbO71ucs5Kmf3xe4D596EcoU98iy8v0UGUZPI30
nocy1j4ddXqhmM1oK5bkRygz3jo0Sik8Vfr++iqB9yOSGW9BLfAjmjirACmH9o/hw/c996uB3pOt
wd4apacPymJVCyHdQBtwfyvkXQ+eq4rLIC4bQJVMGMOjFBRN71nzvNwWQ0z7vM/s7TTqSxBH/fjB
WjrjsbDi8L5W7CPsjGm7a3XqMgWctAaUsbIrMW2CTTcpN4ZEpWFJW/c2SdHxtkfGW702usGU1eXn
pu/U2wollseuNq+iyG4sb9bVIUAJrjlNBy1+R8EVngAZi32ram3d0+bOuHBWRpVdwFoAXuiIL1bR
mx85RtrLedBjItjU3US11gHMlYWJ/Vqiy5tUKfEdN+v8K2UmLIBmFtKkYDbUO6E1+pclhcbgja6Z
XlGA9l6k1xJw/WQYla+B0AOpbIKNyeVgVlt96MDqVWLehHq0fLSsELKwk1fnVaMOn8OisT23HRkL
Ijtvb/vZpn7LAPUcV26mfcmrIdo1mbsFy3ZZh6N4D4Ss/qIni7zTlQpYLCBY9cjW8Bmclhr35rwG
GTZMaXNMXp+rEB4W4wReHESkeepHL4Zx80qu9CJKooWJKv6qNQBIDODH/tIAciiMMkJs1rQ6NwAg
rB6rs/Kd/flbQeTdr1q7e3iCf18EgbbqiPzzfOjmnon7m9NEyu4NeIE3F49D0j2PKU+f/xFTSHRW
AzPCg7Oi99YD7Ed6pL1FmRifStwjUBwirf9HTKE1Rvq7qtwhxEStzl7/EVTst2TD/BA6Mm0z3vvv
BBVtDRrPgwrTO4KKupKoAU5Yh3LkaZ3MInEiNUBQJD23KiO71ksdmxcoAtplCmAeTfQqZp6WiGij
m9XQeWmHdyF9jbnsPMDzE/qIo3ioaJJt1Ulkd8k8Y2G0kncv4AsylR+1pSm8wiyUU4j0n51omP5E
P8AiiUH/3Ad80z7SIu+DZ6/lJ1nLC6QcN7f21gFAIQhHDnoQMV2Lw7bEbDGIIF/dgx8XXydhKWcp
WUDiuQqVHe0hcawg83bjOoUr4DksycelGY4xEje/W13+ZwMdQHA4Kp+9qRcn8e1KlX/aOv598lB1
34E3+3to/RXf9xBzddQrEeYEOUPyibzOX3uIzjPlBfpMGm3f/Zm7Rh1BncypTerKFlolib7vIX7E
AB+bL5A261AEcZHfOZgPtpC5qkIJm/SU9bYOdPaD76zMmHpKXIC0MZN3c0EPRYxVFVj52t6VydcB
/cE7XayYg7+izk+W92Fp83RdBu4qeAOmjIcyQMtslyPMMnQigQ8HA5jm6xThAz9Ry/63kXDcI2Ok
FX68PuxDmW4eZT8MA5qUuRMBMi+SaAth8rUuB29kLxitd0Tagk8XkAIghAclf9cZdmGJVfkSu/SN
7IoRw1mRHXXQUuB4TcWZUoUbzdi13fjb/iku2nqM8mniMFEFybj/Fk1QpouTc+0JlO/GjplWKcs5
RASs+tpEbNqa3OK3XyASAMQlk5Nb0OXYv6SOaQJMB1qxY9gkfliqOo83RWupMb/DdP5p3+YnTxb/
YKbRVME2nRUOuOdllOvGNYxQRdkoXZ1canSkcQ4rk+PQtLNThfrUzNRTB1jqUS6t10DlL60aebaA
Xta7RBwOwPD+1S2ly7i2qWzqoXLwprGXnTo3ukfK6iCmLNpA1xYb4PLcb5N0IXOUgxIIZ/T0JftI
3OZDavKaD8JP9g/WLqhokUqj+neI7lyEGXeoeCobw8Dh22qWHKl7msYRrN3tr9/0z54AGFJctVZZ
fdiTa4H9rIwVTTomuZHE2yFyq9NqCM0/48rJP5M7m++bgTTatUa/VtPyuM/OFDqpPuTUdJNA6UZT
QC5XmQjFa2bAL05/dhsOfKjarBUKQNrDRV+oNT17g9A16RzpbW4XqA/OThUktSsqr0FI7TYHRHSh
D4sOK2+csUEPwxlRbX08GbVR+dBbE59CTisOsNZc/Kgs6+ZM6+lylLodBrKIArgdxlkSKX8WGd5x
cYwrt4enYX6UWqN5E06Sk/eVJ76u6OeJDeqDYJFZd7SKKcpe4MbtKqaZydttYzvbmvBNTmGdIg7Q
VSpt5bCK1a9TWMGcghI2Bboh16nDPGgeEwU8eNopns+ZqpEE1EPtfiiKzpqDJopiCGnY7m5+/X31
lzsUwBh6kCucg8H/IWAblU9zriYzxHYxrALZpn3jV2UJY4uRwCmaDuK6y2NREXzL/nxJDecy1foR
f4E5hJ+JPgqUIkOXMJomRpDemHXSN0Z6QZ7UXOb2kwbjnOZ5dIOe23iZNGp81YYRxZBSTTYSEpl5
CfUov05y04/ychvBiJYocEgD2GCnndBcM68TK3QmX3TT7FFRud64lMv7DPzL+xRsxIM0ZL8V/e87
SAPCNlUOauAU8DkMUuXn+0cfzMGMdCOkhEuG93k9q7vSacxXEsa1TNpfM+tVwFqBxbYdepP7V6mX
OA0VVw03buR0wajNj1VtOa9E/cNeGgA/lQKMZHNtDbwQGWeulyyNOYYbMVoyMNPF/thqGJ1HUZnT
H7JRbKvH1p/bUjv+9Rr7yZVXMT+4RPiQYV5/kA6nnXTnROvczWDqaYaYRubHYwbbvAWBGtnvGavE
d4pTvmbp9qQuevBciTEsbzIIiD+HOLk2thIlTnV3o1cqcjZ4rIZ3+tB29zCOM2ZNrakEhVAVxoVj
kTEkV5ejaipq0+9TDV2IybHrszhT5y+UHmfNWHSBFhI1PJQU2ttQS5XTIbbB7MLVLmDVlvG1gsvy
g5Urxju9dtPLqX/VM+rlhv0WOMH1UKGxOPcXy1RjqVDXqruJa3fYGqPj3iDCcN1lkgCPDOoWxNAF
EPB456Lp9soi+vkjZcNZ6oouQ0x5/+oZfV8k8VsXZHbd72RrxH6ooM1fKrW9S7NmeJdDBvLqeQwB
OlecsMLMtkuu6pdM6OZNUzp3mR1WEA3DJTC0BXUBFUB1XRnWBv5j4xftqAW1Wj9GDOCA8rT3DGPC
C7kO2H69Lp/e/8H6YDcQq/UVIwuSdP9momkSQzzY9qaJNPt6IZx4oeEmp3EhhfTmsdV8DVv54wT7
syA3G/d4KtrqMmy7V43J1hPv8KsAvsfqlrYdnb6DrzKVdI+SrGKPtHAxa7Vv74ceTQhL77tjZwF+
ascLPR0DdY+ma1d9BvtM6K28fuWZrBHtxRch2K2eNXAZDpeXy9tE7yjmizTtWdlrx0wZ1WMGMMkZ
GRoirrQGfOjrZ3OnGEc6bbKdwPovqBPNfGWx/WSl66xwFhu9ghVks/96YuSJCoXEboNokv4+ijPn
3GKngpkpmwDJOHtnRwLHIzmfKnbXvCKV9ZOgjFEozQ7OcxNOxUGOUjUo8aQNV5/cMASH7zpbvTDa
b2vwt0rzfxHc+G8LBHuSdf+rwnxRln/ra90l5QMEmKfyXMaPb75N/5Lysdtrca0K8T9aXJTnYL/A
Ja8LFflfIuGPFhcASEq5dTd9K8F5uT/a5vrbFUT2hBhHs+5525yWGQSYtaOOF8cTReY3qvOnyfjz
jUSvnL482Ex68CgFH+JjEW9onf9j77ySI8eSNruV3gDKoMXjQIRkUJMpXmBMBa3FBbCjWcdsbA6Y
lVVkZFbm5G/2m01Pz0NbVTc7iCBw4dev++fnk5aOofqxNClYFaWZuKYzAveoHaRflLMy9UHPNO0x
neH2uiq04mtU7N2D3DeuLFRwFGCxwo1OtyvdqqGRvqX+LKP6maoLCmh9DExJje5tE1ILaojhbu5X
B+YB8cku7dRfsPqf0XdnfxFNRs7cHEdQiZ7bcyWOBEwmLTNfJHjuRDiWXOs1g5dpqjG4M3folrrO
uu8coGHyXOUnre30m8Gus+2S1xAJtH6Er6Zcp7kuDnm6urnGgDbMyEDF0M27vmx/ZS98no7zFGC3
Y6TJaAQTCudesmBQZAM2T+ZD7Cs2vVimIBLFI+nj6CUFY8192IlfxK3vRBPrRdfoSb6jr/ZvZ5sk
D8nREDilvjOm6kOWzo81ChxXGVCXVJYOeKE1NykYXU83rWRT47j3i+D1jFU9e1bsaXgWrotwrV69
jp1Ww5HJGvkKNU7YganFCIR0pXw7Kdrg5UZsneTObv0YPdBWkVIpyGZ1PYf0UmCaWL3HCTVKrc4+
1jiYu6kmyb+4ST/oWqOsJ7RSu6L0AWP/9TdcrBLuT2lxk7THZDwNzHC10uSOPcIkSAdNCzohvTK7
xFvk6aAW5kWufaKBg4wNokVo+LO6laJiS77hLYPta1bpa8672U6REr2pGb9oOmmTOHft8Cvv0vX5
nd1cyJC08CkqUMM+/+pNnJYlrr2p30nI6papRdsE9MtzskW4I/jeXyTQ3x3j1w4/y5dWNOk7ZYd1
p3xxjLeNUXcGR0lJmKR5I+z8KGPPsq0QjQU5tqQnddA+DH3KyEleISHNFjRsAjlopwzQVRBMb/tw
/F1E/fO3wj+PCh3Wdvzz9bcaHLvNge7yBNtp9BY9Vr2q7tsdMbbyZ2no/Ofc5Lf2yv+IPpBBUvbP
++XD3b8eYa0k3wZHX2+Q62e/bZAMeCFTRRuioxAjpyMIfNsgDUbGmLBZfeQZKmMg/O8N0qYHhFcK
AIPVTwlZ9V/1a8X6g8YGzT5EMvSiDUZPf2OHXEPQy7fIBv4jYwJMcsVoGkNGr5ePhNBLRKUKTCcb
mfGZt7MdBi9uzPXXX/Yz2dj5Jc4ySBT8iqPB4MO5A+BDPW2xVAjM0bn7+WXO48HXy5A4cMyE+HBu
x9JLYxb1shz6YS42mIRdVBXIHsN5lKrhV6HgR9cCPP7VkIzy+1kocIyqbeRlDn0bJ9FY6VHSlm62
egaH87YpAc1p47FCtq3jRpQU82U/67s50nbr3XXEvJXRjPz8zz8/369//uoQszYHjdWI4fWDVNAn
QyXGQhNuy22t5btYRCjmhmO0Plg06Fgz/MI25VeXPNvedDDzVNU5YxZy9KacuSxK4amEsjqknpRG
6G2dX6Q/P1quL//Ks2jX25BwoFCHfp2nXirHh1jPdj+/kd8dSNc7yflvFTgypQ134vWdTK2ZQnXU
83DD6nqRy/dI9XcS16JCdTIL/TSaw7HrgQ311TXjer+6/vnhb70+JaK1LouRGpCD19dvdWNQs6wF
VzO+r/X2aukLf+7yXVY6FxggH+YoOaSGw+xzvmsK+yHu+l94TDyfuc+jAu1lutYAilfdy+uv4ISz
HWljEfpzQT9mSd+pbXFRU50CAfFQ1otfJRFyWxFoETp1RYUoBIXMjnN/UMKgbAYvAsaU8uKxFC5y
ZzhmDrIIOduNqNWMobr++TNb37fvvy/PjISPvPjcvqhp69IEvMojm81T36W4eEeBjguKJpw7WFJH
9IanUu4+/Pyy62o7vyxmLaskluPKdzSPIrR44UTJaizFB7Bp13U1Bq0Z3/78Mutx6AfXQURE+4Qi
nnO2IrTIhkLf4waaocLJ6utSB5dTLFpQ9xV8G+OQjsBII6ZsM+liDTEohQJnli7U2bkQZX5Tl8uW
EoIrJYs/WdGNydRkgaiml+A4azPxaGboPo02UpXvnLq5glLiI1JnLqOATawdZKYouDi81u3P/7av
Xnrf3UTOj6sOdBU9nL1uS2zbmdRbjl8qzn1sFdfqNB4jwzmZzMnnDKLRWslcVYNcmvT7yawjt8+e
hi4KnCI9pJpOCTt5N02CqkgY1JTsxXTVsPwmSffqmepcaHgj2Fg3ZALIamE0QkFlopYIae6WJb2d
W9ZlC5AqkwIrQ0mszFvVyneTOgYTaio8brdlYbiGPWI8TvsKUm6oElmZ1FE68cHqUGY3xq7ljkb8
77EjLo2muQqL9401XcZat4dUd4Fwc4OX+e0sGC4xnMUHBji4mGR7WVRcONYYhJ3hOU36brKjYL2g
XlTXvOUX+AF6FnKqCCZsb+bvmrk/Fpb9SWjSpgOXsNq/znF6WCb1IAHhDZfFR6q6W1tqhtw+IXg4
JGl5PSZw6KS4vaJce7KjeTua8dYAUo/BEGWc8A4s2JNUa5pXt9OlKnhtdfsR3+5bK+uvkiY3/HrJ
7kdMYdy2zK9TR98x0h1IURwMUX9l2xIdrOSTDcGYzWhbQTrO6zFILPVNkvJETfsxXfcFJiuYZwjw
iDKHNDC2hnbKWtsdCR5rIKnMLzH3do27673Gym2jlYHevCdw115S8j9pxqcJwni5dj7Y9naWWd/C
xrxo4YMXkI8kIY55Im3aUrpYf1c1Ltto6a6cLD5YcRh0fX4B8e5QiBVsZszbQdLvIaoEI3PpXSPc
jPGSQloesGA/mQYLT1qYTx9PfTR4kp5f4Du7LUEDQqTbNZJzs0YdKZG3kaKd7DzeqmYUNKmxg67q
6gPYwxKSNuXoEsrf9GGGLcYs5PofF3citk0ml9PcuaMO90CrJ5h6yHCjzAIRSnGRNvK2HgwXWkxQ
KN2+a9D/hzpns/gg9WJTZunBNKJAWONRq0ZaNLNfh/0+H6GliYWBHm6sZe6TaLgN9RSEfHtFMyio
9NkHeuxHTeGXgs+AZGdGp4fao3zsygLwqizcBFLG0OmH9VHHOf+dXlhmS4/YQ+yFLgKlyXZyBBW4
WefUgKZF04aSvO12Dut4HPa9iG5Jjg/ZvNB5Dp/XQG+yk+nRlzlbto0a4nu8+JYaMcgcBzruc+vG
aqr3NshW/A0OBiSNiNvaro8GFYLSJu86Gol6IdyCdTLCXmVs9aFQp19EqB8FebQknJFhsHHQOgu+
SwsS1aaLxnxOe2UxkBOV03YwfjUu/l1hZ93211IYtWxqaZSsXu+5aajndcOIoy+c7EvMW9yakRvl
1XVuzH6n6IdkLnbDWr+aqyFopPKaMbW3654qG+GbeGQldVNxa9r9G4BWFyEgu3T6lTHqd04YX78l
uhPqGms/5yzN7LU0LovQdnxJATYJYC13Z2f5KAx9h/XVYeKfkqMcILN/WDT1pBsT7tU0MqMq9X6+
c3wv8FpvGOiJ50RJoYv/+oapRi5yLTcdfxbxbdLb93q5fBiyedsXhW9afaBq/bEUzROGPl5jESx0
Kfj5d/jh2njxFc7uxjQWUgHu0vENbbq0GmjKcVU/pdTffn6dHy0OVIIQhdYRINbI2SIccfiWVKT3
/iLyd7Wsn0xLCjjW7frFeX5HyjEMLGv2B8JQo8Vv5/YKSvtGIwo5YbuXYMy0jnNRtcmhGHht4+FX
xa7z5gkrg/0brRYSE4d/ObsXJqgGZl0Vxx8q5sjmMYjBQnaoTlIgw2Y+bnBRDwYJum7EiBwoUvfn
9+gHZ7LVt50pKYMmMZapr5cDYBAtbibZoZn4fupirMHVjwl5UF7+6vj3g3MPLXoKiwxEUzw7LypL
tW5VWc7goZrumaDHWUr109D2a3XearVORH7/8z8N+dP3GSCXXG2iOPfDlzm7ubmJ0rlPuGStk4ix
cQyG4dktkiwS3VYBcG4BdV1/uJ46E/Rog2bXSDOz3boiZg5lemMcZk0Esz5uikXdGXO+M838Agzn
gcnNfddHb5dk2tSVvB2KMWjEGKRm4U98ppjGwCILaqPoRKH7okikx7qQ7qYsDtKmu1Lm1Btt5yLJ
2Pxi49C3FHYj45B1yaErENm06Q3jv641GrvGTN/PnKrmyXqU8+ai5Uuvn++ncTOncdDX2g5ZygEJ
KUOXQ8DcHyCk+O2ajQ1cr+yGI/YoQZ33+7GMTlOaMgfdX+lzGIxkgTOCa0VetjbH7PUtGRx+3rVX
MhHTyfXdmiwJMXhDFr2NdMlfVWVlnx5obX0Z7WyncVbWh+m2cZbroWR6N2NY3KxJEZNur5AHr5mW
xWbbjyO7W74LYymIZQnTJHj2SrRltzsACv+oq/1xiabLNX6DMTmE6vukCW+XOqc2KB07hyHasJ5Q
CRKtR/sCfxWY7iczLt8rQ7QNGRNuqvBR7kjBTfuCMoQ3j6gzeA7h0ntdzSpwkpuI7LMh67UqnMx6
52K2GMhp44PAiGC9h2PfXMlFdOswcgphcbt+LllIDNlR5cnYjZN2khz+I6Q7mMlfoMweqnQ4FvZ9
O86c9AyPuuemlxMcBfq9ms0+eNibjHYjbdTbxXKCtid/ynNfyPN2TWT01Hm0sYlyzVA7ddLkOwgM
Qs4jodNf4bJ+OSbjUQdTZaU8U9ZaBL1PzooLw5wujeJqsdLbtCXp7t4j4/Ho+V+vNSM7JK0yxFap
tYMoxn09A9ViF+ohXcNUv1nmxIsqcSw5nFZGdlNyYE0deBRSy23jw/GYkiTX8d1aC1nXiAmra6XX
joLwxBpct9jC6fazldFaXba6XLBeRYAFy94kuvYh65O5ZbWF4x4b3vpsWsxs6P14VizdWRU3SOLY
ibqJYeOd0pLJiXte6YefR4TvNz/8ammZ03Cz0ThRL3gd7WgMpQN/u8Otle7W84CqD8eFrHJdBmWq
75IsurPQ2iX6vO1C0kDN+cWx9LuAu1rmEu+pGjLdgojs9Veo5EZuZW1y/C6PgrHsgSzrDM3nu7n4
Uzv9jwrGryCbV6fEtRiDNgeYJQI6wuDriyklliPMdts+LpQHaQGSHM8MWgFHvrXkxdcW0vhOz24Y
QAka4nDaKI9NPL1n6P62nmGZU4E9hLWEqa/YcJBBgSY+mHri2ROMZ73iyElsUGiiMcNNpi6tSvEs
OYwLWITeXtOc9eZySKvraAuyaqfMHAoSpO6qWCnY3lrsWkyyMPDdW7Oet0LoDJMXGZy64YhM7VBZ
2qnKtIOhUT+yklvOH7cdrw5ii0uHFlCLXsON4VQzrU/yP+snbJRKP4lNtyushT5d9Ca1l9g1zeWy
BOEn+vUEmhOjNBX23FQSBZfiQm/Nk+jjt6WGhUtWXfdtUbr2FAatwaGiJl7CZiHGslZLDo5qeIut
0h1uQW4pJGwRgFHz1/eMlueldCex2XpqEd+CwFDdWc53ut5/kNr48zyZmpvZ2s4s62vbHPYjr69E
KaKLpNssxX1IGsM7nGk9ReMJRI10UWTRm17jRMjJsRxLeBXNGBAJDlECSzxJD6FdXvcGhzp0sIeY
w5pacgauxk3UjJPXRdFt08sbIrKWsdf19oWkOncZ16RkdqOE/UZe8otG1g5Iw0825+lccoL1vehQ
A2qlvpuU2WeZHWYO+7CHd2Bhd4Mxbvo6PtQgU7M2ul3DrFVbD0DdXasfvLFtW1evJf/5lzvpLpny
jKnHxLMQ2xlNvutVNsWl3WEFkcEUgSRt93dqbaxbMA4ymvPJMvvIH2DEK3EnuX3caDt0qTaQ9syL
7C9DDmynQ4Tm6mF8yKVsl3XTpWbPPkATr5PLpyyz75J2uNTy/MYktlh9dbEevFOCMl7kX2q5/xC3
OQ4QBczvTFrmQz3nN31vPQIvve1U+7YhOAfOUBCwaBtHXfiwHrFjeOjeZK0WhMj3iGgqLn+SmQV1
GAUmpllDhRZL0NGqOVtXUoBCci9zToYQ8N5MOMaTb+eKQ2OdmIl/TnisFA3coXrILfMecgNchmUC
OMmYFe6A8NAbLWdvT9855RjDPiz8gRbJcd3p2zL6Re685n1nkWMlMNFmISdkfu+sVt9T3sLTkFl5
2xFkR9xMNl4UPcdOLy8yqhM/j8zfX44hUkrUq+4Uucy5MF9OzHjS+pIDUj4c1/wk5tRsl+XTutLr
Sfzicj/YCFYDZEjaCIvBdptn5bOZCXqmJ4TlVwT9nAN2mzAdly3ylpoNngDZe3mO74SdXSRxscOa
A/ub9Ob5b/6tnuD/mX7mx7TIV6Nj//iL1q/zF7H2/w7cLK3nF6vjO1GNW5VPSfv5lXZm/cS31iA0
SXSmlD2xl4T+uz7bb61B+n9ri0+BcwzMiJrA361BFYjsSoT/e37l22iLAopJ5XDISl9F93z4d1qD
38HDkO0wPk9+wblzvdjZ0sJ4J0UOXiiYz/XKm9jEn2fq9YmxzbRdqFpichk4xuI5bd48Im2W71pd
D/ddYtpHw2kwLZGXt6HQceRoMnvwZKULmQiSMcUZ4oWuuciVwhWGFm86HG6g8ixDsJRyT+qcmQ/D
ENW5K9rJeQe/0j5h9W1+hnaX5m7Y2M1+mlQw51Nms9thlLWZYYuB6ClgPzIK0biiEuE7q1OWuxfP
8Ppr6HjZzzw//q23hWoQ6nkcCxjROwsobR4tihGqeOGNTUhtU6v8vBzrwOg0nGmistp3C9SYAg+u
7X/Xe/bvO38J0eXF4/julfLwwu364unb3NjLd+v5o1/fLQRFf9BDQ4621ktIHP96tdafULZatd5/
MVz/VKVBdabrDuFEhs4OfYLK0l9d9/Vn6+/iPaVIRw7Kb/yNtvvZ8AUhWQWYxvcjhwboaa1Xeikm
YdIwyrJYV6BSdSQredYKZoULK/br2uDQ5TQLZlB4y+L4pDUbHZaO0srZUzFq4qJoWzy8lE7+gKd1
vY/N6HqKtBm/FPWWIy6si7FPW0hfqnM/RuHycWwmxTNqBZ5Tqc+gycLuhG4l+9oQ/q194H8MXb+q
gUHpuiDEn4Z/VV/+ddcDEGfa7WP3bwCEfG5R/bPyw0P1+/Gpernwnj/xd1Bn7ARRtoVglrnaF2Rw
E2a4ySwjRw2E25xnCKh/Lj0i9zp5BvmRn61aWw5T32Z+GWWkDy0zQoWcEm/F31p4z+NWL9MhVh6q
EvhbChpC1GlnB6k5kXUpXkzVV1RV+sSwa3zJ2uvr41i38i4bQZkBGys3NbQ47FLldwsauiMsNcvx
NEysFmBWjc+UkOIECeacN4lkwrJSahawLjosyfS6a+8iZcTvGIxP7I5pZe2U2KGFXQJz+zKOcrJH
+hcaWNFXnJuLJBhTphZOOKMds9ZazVuT5Z2tNwBGDEd0ViB3FAvsmJwZ/1WSel2QQeJblBc+zpxt
TGWEYtjUh8PhRXT5QbA/P+SuwZ5TNjfDYkiPe/b6PYXGkoYyhmW+NOQHVB7CE6P5KCf1RDVE1F/t
PX7rBfrH/Odl+vNvjOh/Zjf+8+t19/Th6fW7xavw7d3S/lhHBWi2Azz4Kg7+K2HiRxAo/4J3vNRS
IZgi2CPAYnoVJejas/j2bvEjyFq8W7CGyJhM63eCunKeGawcbyAiwD6YIEImeJYw4Z1jWktoq/7S
O9J2zqwd3GIHGzXxRV3whhf3dK/BzGviYwfEGewMnPmlvtTKwvbxd7sgj1BPGF9Q1tX0k9G/+//5
w7kDBAO1L97w7/KHuwR5e8AexYY0dK8XGh/8ttDUP1CE0ORCaP0MVedJf8vMNXCnTP0gwWMW2EKD
/XcQt+BaAb5eT2EsKlKFlwttRQvJbAgsU2p2v4c7PY9K65EOXSBNQsgSLOuzdgDl9zlLS4XMvAkt
b7ZCT5+eoinqd6UzjF5npD7dVa1N3uRiDZeozVQj8rGFgfWAFoGSqv5WEXa6CRfrQ4SnzrbNu2tF
yG4/VJJvW9WdGmryVkvFTSUWr0/T/4odyX+CkJTJ+Z8uyGegiAufKP5f/zP/XMwv1+TzZ/9ek3Sf
aQLR8URN/tJ8wAQmYsGr4FjzvFrXV+BbYmH98Tx57ZhrdGQfe7Umn1fiOgHNaYbE5HeC3/cipTXd
4fejwmICgcHq1ztlB+LUkgbGxrDphiGb4jM59VLCvz0QBbdypG6b3vrspOG9mRQ5JpQJ87ntdLCG
3vFwsbwPL+zWdvBcc96KVLX80tH25QxVNx36x55pZS8rqpND8daSMvbfXiq9cQwHP10WZnYVadxa
k9VA5pzaYMZE9Sgv2SELpU+/H0b/E1Yuuywb4k9E0M/B9PTE2v38yoXnzw9+W7hETBD1+Bdw7npe
gy+DqcIZiCn0dYTveQn+tXDtP9BbwEVgZJVBSZbu38GUHzH+QvqqPCfYxu+s2+eT1suEmE17nYMH
p0OxgyRvjbUvZP19VcVMUeuaL4ooZxWtWHOjwVaGuZ/6EZ5z5oZVeT+UWL3XgMy9LMcWrKaKSpE0
fcM2I5ggiX+ltHjuIp99r3UWnPYySQ3/dva9RE4zuzRGDeofIOG+G8ud0crHIZ8/xA3dMDkP30s9
gxpxvlzXdYscBMSunleP8yLPewtFV85obVvbD/joyK5AeUmn5uREVMitCDYVkAHDJfW4XqD++paw
8sDIxsZrWy3d+FGm5x4+qQwx4JzgdRPNt252TRvqlVQvM+QE+UjBOvd//+36fz4H5mH+cwrsVjn+
xa+zYD7w5+tkgIcix1jJDYClSDbJj7/lJs4fMKWY4qE8tU67rQXFb7UNfrTyaVa7NNiavDj8xj+z
YEll/yBsg8r86w39ndoGBh28M3+v3RWoAVqPAjgj7pRgvtLaX7xTthhbVbCwg3FopygIzaWiQ5qq
OLKfyihRxb1EH1k+WLmQNFeOK5O6daXo8wdj7vUPUVSH1nvGf1Na2o4k9SDAATi7OKpHTE7V85LR
9a2k8ravnBU8BdkbIWufOka0tt8A5FXLXCpXDcotB5vqWiyu0WpGcyHLlW5DO9asWNyXSm2cRCoa
vKTG1qi0YMyMZdK9pW+ajgZ/M2ePedU02V5vqrbY6K0lvoii7t+nUQv13O5ROiYz/r+lyFI/dJLL
iZbofTsUpRfGlRUkaXUlDTrw2gL6WzInj+YwVB8loRrUD7FlBDj3QU5s7bhM0iGSo9CLLVANcZ9h
zV5mjVsndenWhaJvF0bd0f/XxywzOg9f6X6jmHW4n0fnaMCtv9JQhEEitzSPfshNNy+Jn7VYSCcg
R4MRIN4l49U50jqbQ74V34SFAIFBpchAl7rv47m9G8baDOwxsveI01UPkVe/0Qzif6FMvtJYVxEC
/H0zSofarr4o+ItrRga1porQWk7JA+BTgKVjtGysOa1ulFz94KSp7rXUpXw9rJuHmqJWkKlFGaTY
eNHSfV9OFWNuqlxtTXn5qJmxdCVrQx2oCW69ertMqA1HvOyrZLzLnOHtzEtwSxvW9BnuxJG5jMKH
1b71fcIK2CW4t0K6oSjRYzkBjL7IAUFbYpjuEwyl5U8C4+RHlSJE6jbCGsy7pkzmvekUoXboRvD8
n5jSsgGNV5UkeZ1WGEK9TBM40Js6Mfp+m0qmfFGri24HTh41DCEMNopTnKmVnIl1acwhlupNoggf
VLk9Dye712PzGuttx64C/NBLw6ZfF/XzfBFZQ+eo13SJJBFB7uhlBc1Ma9Slry/W2GxxIdeQREbL
cBvJdTUf7UoGmhNJLUjx2lCfrMWyPalHBDukcXND8du5GUXX7hgGB0+6wsYRgYSAGZPeBDfB8lik
wXYrdO1sLHLR7+KsbU5tmNZfEPT3Lu7bVeMhAjQPAkbt5RBlVtcFVR3mUvfYJVDHPSvNQi8bS9WL
IpFcKpN2HVmV5gOILrzelvB5doBP6n4WQiRwMf+oxyOG25p9UJV8BlSAdc207LrZqj0Uo9JRKLm8
sx0a2Si2NU+XpDlwYsDlcRI23QV+BVG76+o2lf2unEIE21U2Ox+cuAl3uTHWgyfisO8xRIrC3RBK
kTs33UPcVsZ7SeDwhkMAlnZ4/orNPNTxtV6Z89aSJCVwJMXZUNyRN5ScetCSUe3ZoW26aqHnSPqA
wuGm4IZ92exhULOpppRns7gNIcghPAFbtBw6HR0qQkddS+2rLlGTYxvW5b6OWl7YtfFuy63Y2JHe
vmU+WDrii0DOQQv7ZC8ifYqYNXMzrN6DaF64GRqoWN1Y/y8Lfn1oCfKtnQl724HSx92+tZKj3Y72
Vq5ae2urUrfPkWpgYWdQaADgc5Etjn1ZlSQ2FTb0O1lP0qOIhXSk5aQ/JIaMhCiCwdl1bR7MS7rv
4qm5k3lP4LpwyQwe/x2iKtuVnedv5TxG7SqTF6OTmD6Pg+smffv2+QlWXS2D7Vg031bX3yCZ4nM7
teQsRfyUYW1/nIQuHXDaE/soxpgC12v+b6kIr/pe6zzF6nJq/3WyL8e+33S6yd/XCHxu5crZGgOk
EqvmPJC0CS2jaVavGmukJU3b3EtqqKP1ZL6zwzl9er5+5ZjxG2GZ+TbDFcOTm8i5fL6HuMxP9zJi
ur0NNmM6RYzhvpF59T5FnWGfSi3WPk1pL990uZU+dVZewi/CmyIbtPYtWPLlw4SP4gpIHIDRj7gS
GlNnvssUadqTKzr3VjeNd+1SSo9JHTduntEXTxlidRt6WBdCMTOvUG3xJRFSdMo6vEocZXHQM5dO
bb9hUI8B730dppOcrfcYX1Je9aXKx4PG7EMaexmVhwhrRqSYMSKEeugPOp211q0tI9tL6Anuu8RA
imsx09EL8yqs5Lu+yW5ns9xNJfMMlS2CGB2Vmnd7csaNOsy7QdM+1DblWJkU17ejrjzIFvPxcW1f
Ca1hodvKtR0tb7DOqDwta+BjmDpQEeTo+FX0kq+PGLyz52Af3aLMwYEy2+iDsVqS2Brw08V2bbp3
QZQ4MpLtWD92WtVt5RhtojkmmmeWluJi5R7tGKGJqJaZheLNVHKsRlG9aYC3EYr5EY12wv2v8F0L
3w9t+NFonMpXUKoorWgu2Usc1ApzueOwWgTpIFjdFqGYUi48DTBvOILTXZwqY/Ixde3eznFfB9Zo
SUf8ICQU7CjQy1ZBxAMGVnGamcCt218muduA3dsxCuMWcy7YspIF/Q7iHlzc0VhpyMhM0vVZya7U
TLJOtTHFWOD1kYfaxz7OmPB5WdYHRWE6bl3HD2GJYlgS4eyKpjs0ffqm6ZdtbarTKphlXNjWFrdR
so+JnswYoyi4YlZq+6VnmIb56g6OW4frOoQ6y82VebcMUhPg/VIEsjOVPgcvRhWEvYn0ag/+l6N5
iuAzykHVgEKYmJcWdlDmMWHQsKTDKAOCkdthz/uabqVpNoNBqfe9s8bqKvbwAymf0jlBhwNq6kYw
QLaNxBjiF9o414XRN7dKB8lMs3IZQnlu30ECVrdROWu7rAgnVFV5MvlR0SU+XWBrwRxHL3cjeuKb
MNI4slCR8hNHqPuMCj+w3DpOLpeuyK8cOsUbYvWIucYsyTetHbZv2lk3MYoak2FvJwwQkZAydx5V
bCPmrPYHC1+bZLTnS5q14iSXfe5Vma74dl0XNwl26t7SNBFYlRHvhoLJEbY8qEyhPmhbuhCsV53u
SCiXzabF6v6+qDO9JbSBdxwgxr0vnVLaWoPR+pPRdt6Ckc1+HAuTyhsCpWRqpGNS2NneKDvlqJmp
tWNo3Po0DVXNkkylK9A8I8s0yi4Up8UIJgZHOpo6o0rmJCavjiWnwLyFIBOjN5kx8Zrpa8eJpS5u
2tezHyUS5jSqidNosliRj2hpIFes6lOVgP1JsT7a0MaXoFXI7V0pksybNTJG02aiqM6s+f2oSr2b
5moSeVFrRbccxIVvQUwLyknEn1OjMgLBEN8WIV1uujEguWCYldbFaQ5oMpm6Hy5ivq6F6tzUYbem
0NOmMzPpcu2/f+QXZ9eO6POgb4j/o9wvDyOqSzPUexcyVLpfhINWaNZ9M5vnzxGMgU92bclbybS8
po4yH1ExcsY0ZGgqDAXeMimyLAGzwWfiryc/Zk+y0/CLU9BIMnPLctmT3/aZ6E5MiVQ3OoOTniir
R1yZEDXFgAzKNovvHVJGRk6MZG9Cq/W0ngS0nwczSGd+kW2VX9jRbxcVhm3IVubSkrjEAuk2lPXY
FdhN8RIJddi1LbsJja7iRp/thN7VRFRrJutN7vT3Kan9ITK6T5YzfJRzk9zLkDS/zGqmd4TCZhap
i9kTLst2AyrigylSJPRR+mTlC7vfAsdJGZqrlncMrd1qpmIM7LQ1zCdSjQ7tmInONpOxlwrlJRh7
61SUpYrUFkVdOaHTmOQ8fqSxqCRu7eT2MdKIx5jD9KTKqueQfSPHwMJ+KomjLWc7N5LKepPI6hMI
a/6+FPUZfu8ERZzt5zqOsRCunF2oJ/XNVFrCG5S8ORZxVvKYmPNuc2c8DPK0QCOd7+bSNnd608hu
wnyjO3YiZ0RbvywN88mGs5KWurqRrWwJ5n5AKpiZiPWakOEXOc946Zf6VrLIKe3IXh/qZy2xLTdp
zOEare+Ev2PzWXQSiW7TFi6DoGBXtbG8U2NruBmlEl2ompjqYZHU2jMaO2WxDeFjRwmlRkwqzI0g
W8LRamn2WdLqW8eKW0zynI8jY7heZg6lp+s8p65Vw/3IVrfLNek+q7S9JtnNIdSFvOu1xLwas+Yk
6cqyleIiOtCEjfy8Wts/euy4XeSYm1oCZpUPCIsFtxF5jMJYG4f0aB8ZOsuZDNzvk0W+DWNNeiP6
MnXHcLpBvf+kIBt/KAUyxF6vbztJS+8jXVW3o95q7zhXdZvpf7N3JtuRItm6fiLOom+m4L3c1YdC
igkrFIoEjM4MMLqnv5/XXfdkpk5k5LrzM6lBVlW6HAdj778NzQ8FonfCbM9ZGKD6no271Wxv66DZ
TyGTVpMZMpGSnMnSr5ej1TpdzI37Xs7F2eS6fk1hHGLGdX5H64oWFdGp9Al97tLeSgYvQ41Y9dV2
RK+w9wbbNuOoku55cofmcXLDYacMQaF0iqyntEtzN9J+cCirNd1eE8pvxjRjPDO+BU2uL0E0krxY
G+PPVITdi1NY13KqAvzXmLwD5xdwbynJivPc5rYqzGm/+nReTZbBKywNzc00h9WGvK6jkXIxfXPK
7qfAoSJi6b07nB+UGvkt3WAwQhNcWpnHDQqSC2LmOskxwdwKDuckNxx6jJZa3Rb2Ag0iQd1iiy2e
1NH1o3HxaYo5Hx/mpTL283UPZVgh/d4dPBZvpd/d3EVY39kLGkgEkGw9eYP3FDHmWDApBT5tX7BC
tHN6+tzyYE+ltN489E+JFwrrVHiKZq1gYdYZ3NdlqrJEEb0dE+5vfm2MoNtPkDzPVR+YD9k4uGcR
ScCFmUQYM4rWZMyW7KZoyodRrQbtSb6za+zqa4hs+BC6iEnkGAaUeRFrPY34hsNcTRwbfqF2/jKn
xHznxTXc6xbpcEnWmzN5TyRMvnW+u8azX+aaTEI3um+aZkW3a/fvLSb4pBEhF7220jL2TCYRrWme
ThFCx+uUoX4fDPOm8fEsh5odimkjenCdanzqQztjZxd4ZmTrLI95m1lbduHy0DY0AASZ0GdW1GFL
v2twHHOr3+huKp/bqG5JJ194DbicsxckpOuhroYOw6NX3uo0HD+WueQcr5V9CMqKwjmywWPas5rt
3LrG6+D4MxXE2sEe0ci72ijVm6lceSq0kZP8Wop5ZykOl8H18pc+Fw+52V5clv8sN79Vnuy/hMBZ
CX2/1Y7IpX7fRKnar7P35WqN3ZbeUr8qG0tLmckwdqyp+KpkgH1XMARY1vq9s5GJiYqMCN1569n1
mp9mNFrUiufrOSVQNbZwnhycch6YJnQQ55h0N5HI+oPbkMDuGS6dg2n2o52dfpuK9H1Uvd5XXX3p
WL/6tW/vumBuHgJ/8f9I/RCVbZbp88DE92B0abEPCr1SgDBm8lvTeNWZS1dsgip098GCxdGkQfch
YBi/1yxbh7BNgXgBHRLN8GShdNZoun0elus1otmBrgqLP2ilL21xI2tj5r63WXOFzmgRSjxOeT/j
m2mC/QSal0RePe2jhiLDqFPGaySxsJremm/IeaufsLbNSZZnkguTq5NkHNr1qFCoTLGxpJYwr9yE
DiJii4jDfFsv9rhvMSRu9ZCq21Lo9HaOyj5hoMXOOjfut3bhj+rHTPTgHMo/2FLVjytj9bbJLeOL
P7Ce5N08bLQdlPvmihKYmTZ3huBtS/vfMVLmcODvyo/RDJgE1lBd3LHq9plLtne1FtX3JqBdfSqH
6hC0db8fVb289ZLDx8wQRsYcfO4P31Z4qts1/B56bbkVstEHesNC9OJNe3U9qVdCfJatKKjFjgs9
WB+RNpuXIZR0Y1zbaR4tGZp3ahXmjybCzeuNYZeg7XZ/auAkwPolQwEczjEVhc0u0iA0dspNGeWz
fAGCSt91I9pbQqeHpBmC9pzJQSXZ1Ew/ikh/dTK3vJ2yQh300DPYeNHc4tCa3Ud7xgHszmJ+CwuJ
cXB0w3eEmvkN6ePjoeTFXScz+svH3jPE09inHMKtkgmlRSzapIKc2tnCCKjyAmUQL6E2Z2uOs5rE
axgWK7wgbC9upNDFO2XOFQllVZH58WjXAufCSun06AgZk0GFQbzvglvHN8rlZlqjQu5z3+njoqbX
yR7KjSuD3omtvOClI6zxBrehQusWXlO0MhXdNbMIHkHbyosly+x7ZStZxERXEX480V1IIPX4tbbo
Q0gX3v8dmNuzm/npTeRrY1Mthr2zo2w6tUUhE+2QFqdItv6pZVvHtlnc9yob7+06mE8txSKJX7bF
PrUUZ2O5Xsj6yfYjeONZBGX6QDCTxVC6RMQdoLBFxBomi67kRaZmeuJsrW/z0nK2tafmu2sMYhws
2fARMQjJNnunK/vd8MwnF3D1jDPm64CDo3AIVqM0cNyYHqnGwdX0ndsfda11guXw29VrX1Vk/nZO
nd0ALlbPA9FlTEE2hdnBF3+S+GFQthHCmu0si/TgyTWdjcXTsHUWm8I9r4f7ybMkr2w7zmaxa5Bf
7T01csTLiQFzkSdajoYneiC5bfryMuYQv7qr1t0oUE/lKK1OyrFHusSXl6zRr62KaAj29LZvxl3L
NhpbqTlecNoVNGjVBx7wNS4sg7pLagw3KyD3TWA2AU6OisBXe2Jcc8Jsk1HgkthiEEcUeMNhmXvC
jDrM7WZUntouHXDWcZTybnffx0AISnJ48xfafnBaNR0Ubll3dIrELpxsL7vV/embsnvyy97YriW5
/pPDIrUuBM84sIQHIunxWgyCBvScnnF2qwjoXpeXqYnAXusBp7zyGrZIIV417rYNufLmvRCDcSmU
YYlYrNrd8kqJ7jA+EdhRjM91UVkbq6d1ylgmQkaHwUqU51Q75af5wziAHphTYGx6p7+sGRN9XwHf
at1lx6j3W/pa12gXdBN7lMOS3bVc+xAneOdbxsn5zzfjdniem+UxuuZLFyMRvMydTH1KdfF1s7Kj
HPOnZwZJ4c2nVNvzBqO9vJ1Ee7Rb8VX22WWUxoccBebJAlemuQTFrZn1D2T3ZvEYDEuSmWlwwFnq
b8yMPBLXC99Dv+/YVppXIB7qRiF/WaLC/LgQb5LI9Dq31/auncF/qRLbkjnqPIzS4QaYaiBpx0x6
1olErNcaaoN6tfKa7xfPU3iX83Anri2vOsKyPoZ1cB6Gftfb7eu0mN61CZQ1WIVJ6RZfe1G0W9aH
NPahh3bKpWbNK9E0Wmo1N5ATF1e0z7MneL91YLKN45+bqOxi5DQibvIcu6UTzJiK5mIrQrmj6gF0
LyequE1nG29g6TwHRv+mI2A6nG5hkhnBzBvTvElb4kXEEk6bOg/7GzecvvRLRPqDbs1dLc1XEToZ
R0s5HnwdPbc+I5canPli5wWmInbRfeTgfpSefgx8CTsyV+MtuQEZsfm+IbdROxc7r1l2kT1+G3Py
JFIgEdGKPSe93pSDfRVwyvCoZ+JcGB/Fvoh+rCiVwe8aQF8TxbBav2bFfMei0VKu1OZPhW4+Fvic
2xJbwk4TFXxxDesjSBFmRnJjFivi5EHuES03h8nR2DLDec8bk9IjzS0RWMW0X65rQES0eOXKj3Go
j3lrf0kVob5taT6uqdueRFaLc1ez2V5j9uyo+e6HOfhWzd5jFeO1ZNftj6UDN7+kvD6MJmworRIn
tqTsNAWm3NuG9aOy5HNWFt/HorBOmTSsQ0mdFcbOCiaJgfUmGzJv7zCqnYmW6XL26unQtxHWXn+N
7hbH/nDqsXoqTXs+toZaEo8+2gcnVCM1BXm7yXKdJyzv3UNGG/K+afRbMfMaOU9UGRf5M0f6dKzq
ScZOpcmSqSF2RvpovlGRbuGPb7jFzWtKUeiSjSEE38Ygx9Ab9ygBj9W0vtXaOveZ3q0OLatq1qeq
1HdUYYq48NJyZ1XibWndB673cXbcrddcb8+S19yizC2o674vi6eZAJ1ZQP0p3aT3Rc7/aNT1Taf6
ZUMVxCNM26Mzdztt50fphZvatgn8wNNg1RQjr0oON246bBqd35N7+GJkPOpyPpYlJslV6Y+ymstN
aljvfW0ePZ6GkVtjP2lxkWZ4NOzwyfKdivLO+jT3GbbHcosII15p1rqfBaGN8Gu0XINQbsgRO1Vt
H7FPKv8l75pXTwyMv418U7Nx75XIiq3+yVX5kvSrdZxgInO2xS08r3w1V3GbpzPOt4G2n34zV/IL
lakFi0u0a3zn1rFkj8l8sY+abKvbLG0P7VCkSRcW7raoKf0tFrguG7nSlM3vq+sEJ5JjyxO2FM2Y
lb5618nCM5igcMRtfN1OsdRZv62W+a3OTQKA1vRC4ASDmWluO5VyNvAcVRF6JNlGdxkEwi5UwSkL
8+hG9VbBhuc0wVcAMVxxGSXBTTpMdzhfb9TKHIeTVGxrfyh2QA3y1e2W4X4m+fVkiKK4RMhGQRII
7sxqv4srx9+DsxRHvIX+brArHKwQi/LFpXvi3VUM7P0M7sJN3lTfC99jW2eudlPOfOksiEn6Tm5n
RjlDlh++P7oJLS85hIypN1QYZhQ293C6tdnD5wE95aMbbB1+GZRqYotQi7c3o4mbWpug77aeBknO
QDOItH8qwmvuV0CEgNvrH25ZgjxAUoFZxFoXR37BhGmwBVTXzUZNLfH32vNO9lQ/WrU/QmkYu1wv
L27anBSmtlib5r2v13JrB7KikUK9VLm+n0b7C1RoGfsS/p9WJ6o4raw7NmtHdYMX/ugyZbGYm3o/
Cr991u0YnEJXPA6rfwxTipC1ctLEwSAaa3d9oJpbbql3bk/dSBhWtVTw8dbbOIR9Mil5dXXCtLlm
+eDxiwYB9tm68BhcicReIEbjEIDWQfae1FVaboi9vy2x4QcE/Ts9Fr18yIeYt8+Bcjgzpoth12rv
Wx9a3/Q4V0kHp7gdZWHFnRheslb/iMyBfEEqpWff245uVnAfO/e5nuSurXqooMr8QTR3faBam46/
AH4uKCm1g0PajuGqNlj0b7ph3GR68o9tIN6MFjKirGxGxeG2MyaHvEJl7dZePYapxcrtPQ5+0N1l
czBvunT2z11LUVc6AG8TuDPEHJ/OKaQzIJiydgMHnZ+GsXB3q6XaQ1QytkOfA6anLKEBrcFJl4Uv
ViT620aW3iUfipuePIctHaMHK53vhMttaF5fNCkLRifKbd32W5jLIh5LpwMBgsGlUftuMoMixkpm
xyJYmmQqinKnIey3OfHDSRliOYUqL45VCGht+ogJDdaCOK3Gs1e5T+M6+tvZmx6Ug2LEDMyXvhdm
7GXS5T/a/FiM9ndnBsZoaxKfmnq72E11MTO3YgCNKAKlIZuJ3GG7qY2gAcVlsSuAhQW4p/MyOnKu
6vs2k5bzc7Vlqjapgr2P/ZVKwaPTapp35nn1l1iqviI0w3WsLrG8sSSIIzQs66xklxsSqELBRHWZ
YYid10dTtwFH774LSRATP1u/fs2B6uaHHihJ0os9gZPxX07eZWD/bLdVSJDwPe/3tLvrjHb5Y8W2
R6V5ZUrw+hpv4oEolq7cFWkz4u+eoUpaCtRVi1LY6wzrjPqDgdBfgvyNPOPMuR2INJWPNqQY0zT3
fVmcZ69o9ePYpRGDa2bTuKvRKDWnJsuJjoiguwHvvUj7BHdReLNvfbODay7XliAMSnDX5XYiSa/b
pGkLpEUKLy30IhRsC3E0jlYxx90wze5ro6bVPEWLtTqMNbNrkfJzrZK/KxBPcB9PteHHloFterJE
McZWHUb3qCnCW3KX3mfl3YedR2rUOPpJ5TfFfij7iWwqFy2IkOrQp2kquJ109o28EnlvlMSKknU2
rLQQmLxLE7OxwiNCj8d1DLznOitfsy7Y+SIHALfSxK41XvXSuQ+n+sNBm2qgwKnpaencB4jz9pQZ
oQwTTkO9vriFDkMawjr7+vmjfxM1/ZdJDgSUqHxn0DWbuxSn11Wwj0S3lyMzcFedF6+wNqmwhrgW
LV18PtFZ6VqAOgb2DvKiOvYj/2UjhvVo1eR0dCpC9hMM84tavYPs5vYmHWyWN8bem6lemriOZvuG
Bs58E1wvUuM1DtB3t+8MBzvjHJFm4Mj3xghv8ZTV7EjqNElmPLajmQNuJa+gtIleMDLOUd+WXWLm
PCHTEFhf0j7gPJ5t/1K5prsBvVyQMoj0aIyd+5VWTOKCpvWrHMqPlqFjM8zdXmChPARSiYQ6+CYp
Vk98bWT0YZMsfdStvm2DrrxGLz/nczHfjCBfD4rCoq03Bd1OFOa3ZsCKVOQ9bxnHAI/uVpntBAta
ExMD0n4PQhbaaF137gxPPuf9MR3yedugXWOpUhARajlB2jmHIOIlGC223LoWmTJVVvlMCcGrzgWb
ctPPD5mV+rHv1Rkt7JEAPk6zAkVDdAmD7tFtQvmMZbdExrz6D2j6osOkMvzoolI/0onAgKkgKC1S
3gw301uHfkTj1XU9u4SAqc07O4sdvn3Me9bAdKeaI087uGsY3hSIaT4UxAHg/krAwTStd6G9mElT
Rh5pHIYdT2n5Vvrsn33Bq621xROJNnNSh3O4hYZ9Wue6vtDwDK0bKabBqx5749Vifmldp2aYQSN1
gvDWC0oLrn0MLErqCiaH9TvyMPu9QpLdPgwRy6ENqm/tmsqaUQssreh3g5mbJ0/U8n0dI/DAeOSL
nt2qXtvEqNyvZWEVMIyt/IKyjfJ6ENDEoBEs1mt3Wq9HFtrXtLy4oWygw5pzhVwwUSaYi4wkRT3X
4cbqjfXAzCFeRCkJ5J/z6WT36XziAGOwprq5TDrJfbBt0m7Kk05bTF09FXrmiQBUnj5n0HP4wdLX
9MmovWhLXkZz7ogKaF01neasdR8NClapva9tkowN/z6q52UHJyFI982bx1w2P+wusy88xA1K9cp4
oCD2gcYneew6w32CFrnGSv70OnGNpBFnf/Q4ClfXfZDa0uOmsFJjs/qZSNEA5etwE/rZN6dqv8A8
6s1SrFutTOMoUlZkuyA/hOyNxF3ApngPH0LlGD8bhcagjYKkX9q9IDsjmdU6HTkhdp6HqCfkIdnW
hlg0N3npbjAyW7yZ/fKSYd8eI7g9s7L2MF8ytt3pRrqDfbQdo09SVMo4tKfdGpZc+2nqi3ssVyPj
fAMfOeREvZMWu/EQCHyx5RDcZn4d9CyGVFG1ojMTWtoH0i/KJe5zu/uyivKFkghe3lp9sAANj0jw
UDm001POsbuiu5rnn0RhPwMQFTsN3wJT/5jVJm03XRQwf0/PjKAirk3OCaVLwju0/LpGdQQ8W02n
tDf5aawBTnzym+t2MXUTvrJ4maNBnDPPo1bYmIIvTum7l2ryqh1ChmI/R/ZWoANaonrdXqF8Pht8
69rOpxvtt9safe1wDnLVuDvbMt61GfpbcKLwaM+FeRvqxeWp4w5LLXQqU4f3HT2XGVNl6B8c1AEE
og3LkFhrad2u7fCt9NR00aVV7ivRL9tKZ+4NZGR/68zKJQay+Wi4HzdSF+WN6pCtxnWT/fTzAqWQ
2k4DeYvA5ovNkxapp2lskbNBWhxqNZ4DI9hY0ZgfagdBhzOsFsM4iZOtQ6ITHGfP/BNdA2/anYJo
6FH+QL2fIm0dNJScvQykfhAbQScOiY7Ceoqy4Tao5bmmbBBkjGwWWWcIbN3OK2mECfQ2WyN5FqIz
kO+IPPZQKm26hrLXMpusDY3UlMsVYXroO1ceNMAb3xfhVxEtL7U1UDkQYEoVXCXyw0h7FaKO9Swe
jZ7MyaFc4LciiUh/TuNhIvFisrz7th7Lm6rx4LRgzIu07m+McsLG6ssDVN28yWkAidsWoNIpzRHx
Q/hW5aYAQTF+ONbytEptJwPw+7bsxvM0CWNnjN7akifGeuiF7s8r+Hyc1uCnJQY3TDAKDNuSUYGE
znU9NlysS9pQplDG/yuI/+zaC3DR/bMgfve9KiFSPn7VFXv9f/6pjKfplxR7xAyuQxvNX5Tx1n85
LkYKnKNUMMJK/enaMzwLfwqqWMQTEVEcf3WaGB5GQMIASMjnX3mtn/3/Ml9/KgQx7Gtp8/UjrsbR
v+jhu0JX6cimdShn727OVzCBoSRPzSscTMud882kJPNL4FTza1HKMmkLtB+1tEhnSueF9+QS7c31
im+aqfXCDar+r+kCy3D2s/2Fzfn6/f+i2P/zL7vG2fzlL8sNYdKQToh65eQ1IWKLPJdzpxKBYeBi
N2h86Rnz6OYKzNgal+ppcBDwGLm1s80MfeCSemPirlUGd1jZu5TJcIOsz9oHbThvK892Hv/yy//q
L736yP70Fvz5l37yw5it9vMhKgk0TK0QCF4DexiM1i1LLsoaN7/x3blF4ZeXFUoh9BQDrPa/5M9f
vXu//HRsdH+9Tk7Yp5yhBEWbyuaQCeQE9k1lTqg8O+nyoQZABIzIp0lupDWNNz4QUPL7r/53e/Gf
35zb+q+f3ZLjtRILUB5W9IJ4ARAgPGRZ2x8NVP+JN0XmY+EU9DEOAYl3v//M6/f61dX+5DBlUzGB
Um1xwFlR76Za+zEC6eoCI/zx+0/45Jr+82thVvnr18LXatTmSkLlaGX5zSrJdJzLpn2u/WI6iJWo
PeGWYxJlTLOBrJtDvY4DAur1tmT3jbxrrqDbzIyu/XujfHfXFiS+W4aV/suP/p8I8l9dhE9+bsNA
v4OgURxstAFJ0xeC4Ky2p6jXiQ7OatJL7FXlKYtYiYLUz5+ppBbbzFI084F78/BmPQWLrG9Q+vnJ
nCz7Vq56vnGUXI5mH+mkVMxIDJLDv3Qz/NPv9smFWfdTMVSs3oc1xeaLIYZImlmMezK7nn7/u33K
JP1/vxvmvb//bjovicoTU3uoRrM64TZhRWlC4+BVkk2sZhWkM7ndGz1ysrVZuiMbS30aa3Sz5qyt
h7ArFlj33LtrS4WXLB/LrwMs+SGTuT4EGEeT0Ubqmq6Z2jteZWyp2hr3Xm4x2ffa2pbVkijXnreU
0do7+nGbG8THBALJmaolj6/c9dZ842YusGfZSuR0GKhI7bggPQl3NF06/1KY8OurTVbS3y+FWLxV
YK5tDwjDmbtlEWygELrYlEuw+/3l/oeTB4vi3z9DdQFL5TJzuQPWqaKCTx45q5Oh0bcyq79Oaffm
DnmzmdB8YXJwln/5oa+usV+cAWhf//7J0kh14HZueygLH00/mw6RIJNruS9mlo8/a3RFbBSCkDcM
40vpJlpa5ItGQ6Zi5c+eeVhRfbT/ciL945/z6QiWc4iCovW42LJ2ztNaMstFPXjnsngBUVzuqQmz
CurSgQwDoN8aVlkmVa+QoLiAlf/ye/zd4/bn7f/pNB4bOl5r02oPWZQVh8YGBCvHpQPaTL8oB8NG
0dRqu5iDEecT29baRRglwlX/y9vgevX/56H0P4pePLIsDKjX6gBSgerRNMINkmd105jI4TD5Zdvf
f9F/urc/Hc9UgPBkjcjlRzHX+56ELV72kdqYlnr+/Sdc7+BffZNPxysyUcLgZUTU4aAxzxHHhGKZ
uEblWfqoHGFthb1YX3//Yf/0HAWfTkZNMexaqzXDA9E7uwVE5KEqEf2TB6sPpeVTKxs6+dFw5R9a
u93Gn0XzL0/Sp7q1/75nPocCBsESLosajH0BC3fqpeEkZhuubwt9eRdpWc3WcyTAp5F73T6VdjZz
mUdSOwmH895NEDEUV1z4bOOAFd2igsNt0HmLPhTUN+wMREYHpy4smcxuJN9LM6xfKRyHkdVmPiSG
XTOqqUbN3YY82Bk4aZLLnRroEt3//vL+x2P6y1/z0/WtZ6Gp/A6bQ+jT1Rug2sxixTenmGA1ol3v
cd1Z6BBoA2HBRFSZidp/0OmMZJ18K9KKB3/elr7s/COl8Rfqwbn5qH0FqiWY+TJXHUUglljMH549
pN9VnVoayZkj3sql1285sjZ4dSpRPA2+DHlFfiiwM++qKxCJPHFp8qhEel4E9yAq9FS3EfocJC9X
x+Uy25dej8utk1Y2OXSVjo7VglwxwV9hrFS8pVQamCi3Z5p5jHzvN/ZqbQrH0fdoi2HSpqDBH+mF
oBjOlIsbhFUVjJNfN9ise9v4urhd+UcUGjUynQi12HlRc/bmMbbdFFrMV3l5Y20JQXadRAAn4hJx
OjuKtZiEj/gsUD6Fw022c2Y0Nnsb3+yzo68Y8NK06x9GKowfkyCR006NkKRtOtgfVLgiQ5CR4Z47
4UfPS0/q4NZy00LyoQvlNdlYE9xbtbp79aIUWSkCECOPewKwSbELnc47L2uWOMbAP7TbHK9QdarM
1aiwFRRAq4OPFyuxbC2+0wM+PztFXd6V/SiPqqmGvZddPQZD5/HLo+UCTxkrmS8IFtypOPRLXxgb
Nvpu4kKP3n4tG+vVN8cRfQhbegnR7pd3uCci45QPXv+TQNnqj0nICCY7kOhNZd+QIA3ZQYLT2NPC
0SFtUw1le0nqaTqlrW4On+tw5Ve2kJg9NijkSZiVdtjiQaj9V2MtWmB+AoTR7DgR4FcwWvXrVBdN
CgBQuNbWlWWDFdHOjPoQzbnzKhZ/pGWv7FCwC/Ed3br/oyZ7DVYza5fmCzm1/o8IJwWxwa6PxlCM
BKs++IXTqMSSBoaaEooDwU1pt49uXdcvmd02WbJWSKcPpdKo6ByLtFvQy8bFc9vjizEyQ++KqVtx
EfU+wP3cFufeWyK4f6gKEpFlMVIdFU5cGdyu+gFtNiNZo001JWHR20/aNexsUwy2G2GmgY7ERUp1
aZRbsU9HwI3XtURqOKg1LCudhjjsEKiFguUUllKsb9HiKRRb0eo3aAzn4UlJD+mI5y5wVKaWFPAg
ed+7M8BegvZ9AB/nvk6Q6HKzV0P2B0ikxKfpTTO53Jbwtl1bZiDKelXX9oh6NyPPh+QbLP8JUF6/
dqYhhy0QFfchtw4o4+wwDNGeJR76PC8qtEN+9N7yrKk4qLrgKdWy+cNwev9HmEGGbHIyfX+qxUGN
bSmNDB/p9vhFGL2NoJtEzfdh7KlyJcOx+dlmrvhS0ImDmchcHA2ohRIyJjJwsWJl6ea7QiV6qy3H
vtIXGOhIzn32uwKuob8amQaEs/jePCO1cIHbt2EfbrNZ+pCSMN5/zBmyU8TnHlpsT54yNAQI8eqs
i2dRq+8BtxMF7TUU2cFua7Erp9yp8BKEztvY49TeNll7msBBj2pIO4T5wlLyEM5Vi3p1EfNhcKvA
TlJA7vcy6iRiuF4s69bOBBHs/TohAl+z+jFV1cypOcg30wqW+mSiPbwU2lmPSudDQFtN0L64veCH
19ESnhFIoT8rO+IIQwNJjs5SjL80UyDF99QBDHP24wkeVCeUcAqSqbF44aWpOCiGpTiQaE0BK3me
0U+vNYt0W1eT+YPUDUVMslvgXmyiWb8rNoJmF0oOTzyN+LcT3zWqyxK1w0oEQOeDCw5SwMoFOS/L
LMSxSyfDmxmRGzlWE6dt1dtOjRJfFVCuZcn9jLE7pWSm5sxM6FFA9GPmuXeOZpfn8PevwH8YmIJP
y4BC+ORp2TGfDguSssYhzj+F4W1XJ938/iOuM+YvJqbPNSCzrvta1W17wCuFL2DAWJeJZTn8/t/+
qV/+v8eU4NPAX6w27GtgYxOFNdxaTWnuGSfcWOP8SNyy7Z8qSld2q+22MbCDm8yp4590x2gYwX7v
SuiETehpEnvc1sMsNuU7dxXFixwDa49ElzaJqi8OwgtEzE/IW3Yi+1u5YX9rduLfGmI/Nfn9+T0+
bQponsa0GNbqgPtTnM0V1aon0PYIm+6LYl2sbZ+116eNqH/FGLqvUjWfLTna/zI7/xpVg6P4++YU
MMbVZagKSjaEeSdGN73MkxSvhoLXQNjZb4rMyQ6GbvK9WLPlX3ZF+x8m6sD5++ei0avGXLvFIRVC
fZAzN3i7AtmXlQeTPGunxt7jZRpxOzL16QtMfv99YF0Bj9QLvDw1F86V0emDKA7gBbczJoYigeYp
+AfpiNLGFZ2MsQmNy3YmTubZqOqMxT6v2mjr56P/Zgz0t1VXEThLupNygPwf9s5kSXIcyba/0tLr
xxYCHEAuamOzz+4xR2woMXKeZ379O/TMrjJnuJlJxtu+XlSXZFU5jCCoAFT1nmtm3YXL16l5XdxJ
MrOIEMxzBAnaQXLqCeZEEUYg23boa2s1lJ7FPVUWvrnKdC/7EdRR7l/49k593ovbylTlGdoa7g9u
ZqefbX8YtyPC301URH9jIE9mY09c7ZYOw/AzVFU6dcTJDcEzFsv7NKMtJNDCH4MxqguTeOJBnEWc
8tUUan6JoUnYGeatj159UyGkWfc2h8zzkeTUF+jMC/QorYxUyNaSuYHGQN6xo+SK2pH2dI7guVAb
xfazpsN2RM/h0oHW5u5V79CLCiTM+3nhJ8xr/pVYueQ6qUJraB3BrkBrm5w6GS6HdJQGjyJuwqfS
BxTRktB9nwl8ruHiWHdRmVpPsEEQsNXEVGAXf/ObT77XE5+lM7+J49nAR5iF2cQHjWPzykl0GAA6
7I08ybU1HRrRVrlj92c5KWcRe8iGqThq/PzQOka/tm26q3MDar9Refmb83N7agUtwgw11VwNlTEn
GSNJ1TDOOOzE3SbuhX5hkZ7Y6ZzFl15gKoafL09hJfRUG2Gdb+q4Ef+I7vrvDcJZfMuOh+AqVfAQ
ytKq1siY3kH3cW/qpEeKP/qXvOhPhKslazfreicrud0fEOFMW73R+/vE1+58AEa34MFJpqGkxgLR
4ojTefLC1C0IYv9+urlC9mK5DemAyUSWH1JPLz+gruGBbC3iZkLDxfQpBICNyALQA5deND80WCce
BB6UPIhgvFKLEYxVoL48L4x/ZU6e0wjCRXhV212l7aMcoSsHuvlCrY3E4ilLiPiGVeb7EaP6xwK3
qE9qCFEG9lWmX0lJrWLjKTPwVobHcXOvx2AL1korae2RgECeRFwU/io1K7wuhqbunkKvjT9kY0rV
yczKfLoQl058iPYi9LlNTzUriaODl5MESXBo3xV1M90aCU2dURhHn1C5+xcW2fxHXwlA9iIG2oKW
qdwpwkMsp5+G0TxNk6i5vkT3yBfEvnb65Ivp/2+5+GSQORVzl8A43Y4gLjmUqGjYvhVO2z7RJKMz
oIOSQYbFrq0Dd5e48Vegn6jvrFhftezWj38UFJb+hTTWJwUdOPHBrMlkIXVPNwKx4ZVMk/BCQeZE
3Jkh2ccLu6Lk4gxdFhwoxbVXXij1dZOG+Q1jTRd2+VMrZBHaEIvGadFqPpLu1Fj5PaYdxIj4tqgg
YQxl13IBNLXvfzZliyCX4ffGzd3xD9wd67XT6/YVBDdgBYOutueHOHGkWHo4BAoEwMQVCPWDyh9R
kWtIGOhFaxp8N72G5sbz45inVvsi/ec2tK9pFccjeuGym6gYjTWCJG8jctPcZZqh3bVOHV/Xevsg
+PAflZ2mWyVALLaZFF/zHiSoHoifGVcMTHEETIdGf+f3EYCQlY3E+5AEZb0K/PjjFIb2bmowCeWS
TP+Qpg34PvjxTquafZCnZKSKlBZpbGHIe3TxA/rr76huRm64SAMjS3MPiNQAz9HCs2pzDkCDDb4h
4/VuvbhiO476+CZuESzVNUD0yfa+KOz3djTKNBcW2qnP1VpEaTS5OZ0MkluAU3Ddj7IcHUhT2Wt8
NuxNmVA1oPNPP9CX7e26MtE++3WJtVgK3uT8Ozux1q1FNMw7O3UnQ/gH3KX8L1JN2dtJlslatrpY
d8ijixX93t3P86M9w4lfiYdLI1VVdvSbj7F/SBql3ym7zreGl02Hoq6qq36Qwb6x6XkMjBpJourS
VTiQE0xlh6tYaM+IYzrhQKKs6zSu1i0wzJ1JT/C2Ts3pi02pZS4RRhtL0tDONTzFQYuG8PM//tRU
LW7GbueCmKAr+KCGod4aMtNXBKLxfkqtj00Yh09TQoLj/FgnV8Yc/o6Oi+OIFD1F03WQKXdx0xjh
iaCW/Ka6sbuBHNldd/Td3gRJgLEPSNw1kPp6U4bo2s7/ghOHL2sRZyOYVaGmNzxto9k0HtLIhRxE
v7AJn6rEWIsYW9aV20mfkoUvQAFMUoSHfOqrrZrYhd1hUGiLB7mVKVCyyirVSpi6/Rdp/+QuOc/h
a4twEXJ1MYVFV3CM0S2UAXkLJkmPI2Q/mawuPN+JkGstDpcknSJzGrXgoBAcfTI8OdzpGN/UDp4H
SPhQz5x/S8/Opq89yyLkOmNGO5GtggMgH3dVugMwRoAxN33VNBuZe3LvWIm+gyghNlM0hE+ZbLVt
aIcc+UCJUcYgt48wCM4eohXjerQktDNle38210ujHNADRjMimDvAW4iePEk6WEwyoWRiiQ/n5+DE
63zejY4+lRAfCriCbXhogtjdY2ffge1wrAezNS/5y57Y2MzFMQ5cjT4oI2SIOqqvVS/ow9Fidyct
+kzNIpR0NYp2S82ouLCXnnqoRbDRUqOcCqcJD7y+Zm0PEh1aAWDKtIv0wknqRPONbc5jH02cMTR+
ZyYuGSqlBe9Iwab7zq3kY1JVxXr0QRSNZd69ZdwSZXEYHOQQlGvLd6ZdpTJEYaaIt5aaWakurvRm
hgMiSYRmU1XDpevTiQ/JXISh1i0buoy1kOuTRTa3t6BXIffZ5SBp1iqcyv35RXRqnEU88uxSk2BY
w0MlRotiejreTLkrdgHpNEgxSMjPj3PqvS5ij5tm9IiVVkj2tp3wZh+Av3kuEPQ+SS/EhBOR21zE
npxqYCMmmhO6rve2U+Oad02Zjds/e4BFwKHjdchY9RmAPhA4s0PB1pPsEM5I1f6PhnhuOjpal3GZ
N0ab0L8UASFdWdJR97giPuCz11/YXk+8hWfXs6MRfHdsHbAAPETgOg8F/ctrN6+mR8htl97CiQX1
fDE/GkILwgnguJsefMANHzxPL3D+i8WVrdcAdhKvuTo/WSdOJcYiUPDTq6GNjQj8qXxr18W9H9XI
n3It2XSFh+6NNuXzI52atPmfHz3RZLOx9CPXCDOjHiAzFN+RKgVZhMC9MMSp/p5ng4GjMRpfZvBO
uugAG4iGeW3wrvUh1NZRl0nMVJERlHPJRs5m1GGMwKkCXnFdpY7aJsq5eC4/9fIW0cAJ4BkXAOIO
ARgTEKWu04AntYT44pV5gSxijKqrTnotuIeq/ZrWufhitTWQnK41je/NqPXXbjyLzGLuHLTGJVwj
HF+QQDn/Lhb+fP/O7xiLOJJrocX1np5do4UJF03629Fsqd3DLwI+UG2bgXQrrYc09dq5A6xxhC/a
6AjxUH5CiLesDa1b432Y8Br7xMyo9qryY+sLZ9/gFbrqgDXiyorsNfWQj0c+PntYb99UfX1bdimg
gxp9bwsTQ6daeNuNvv3RBp6yT30DHaZf3fAGy33XaO7GDH0JFLveiOpSjDixIxuLIAfuIJKFYKFQ
/5dXkRi4p7gRfbd6xWVxkr8QR3N3ryr3QuBGjvb6sdFYRD46NYPYGYLoAHYG9YDZ5kivylTPoU/H
w7QZdBy7LcSmLigLLb0TYd61JO7J723BFcBYakJaUiDRcMwM2WkhnQ7wYdd9NGWrCoPYa4pv3Vpa
2g4nq9kkKGNu15qf9F/SZDTUqss1D7miU1/JkHvBKiUH+yPo0DPhAFBVj1apdQ+0NRlvE0MMj21p
Wz9QqAQAkPQuqdcNvox3qNtB3rhNDcAgMqT3kLqalW86ze3f+JRWEQcXdt6iPfxOlRT5UDp68j5r
BNpWrl3UIOSUXmNiVkSI55oS91uDZiU16nSoh5QPhy3KdhhGo6OSWZFFVVBT2oRXOFhUtQUQCbfB
0Zz0p00iZzMoC3lKOBj15woi91encWik1MrKpR6hW/rIT5u8r7poUaPpKXJklF3WSH21Fu5D4XcV
pewRfZxZBW2x7kZbo7JQK3mb95kO/QsvErCxYFLhKpNl+YEGWtx6ke9Za9to0WfSJFPtbPCmX6Wq
auqaHliWtYVDSYCczhSfrKbEyDbIym0As6Pc62lGqkLAKItWODNUYu0gwjkYGo8T9m2u1g5bV/CY
Eg3EOvPayFiTKx9+5nrRoF8KuvINtn0dpXLHTby5ycX9XnqogEFDusnB100cJTNhe1gmF7hO063l
4xCNpVTyIysq61MycgtFsBPj+6MmM/rgIHhEBwoP+GMfBvB7gKIgF2qn3nnf5M2AH+DkF9+iduRT
meDx5XQrjt2VGCKjxXi9oW8MKIvc0aLTsqQnaVOmpAqfrFiQ/adRiNy/DkXnvC+kF/7SaH0KcWdP
UwCaae0dQJ9HGOuCVUNQM9KGgRUc3J5V4VhesrL9pjX3STzif2VUGT1MbVhGO24k1kSHcGoO+7g3
w5VhdIbczh4bJsQNFd71djgJbmq9/tT7waTWud04qxBCzXvfEPwXHJEhjwBKoRugGSddrOBgJdk2
T126t8pay76FDZBYACuN+6VX7g5wYEQPCQCcR8cdx3gVg2jYdzg+GWsf+fQ6sutu5g0l9W2fFGO8
I6tVfh670P9a61OIKCiJ5ixWEK2lXesuDuGhhiDRUfz0njLodR8K2a0NMh1PrUI+Bj8MgSxtNBoG
G21V8EKJ3uY3Nwra95pXpwMqeV1dR1IM0OWyTEeyqvToASxp+8lryw5dsA1rXKJdjtZZ5btv/bDW
YvptqYdS2nar6A2Z5nyfRZr1vbPHArJxrKGa8tKJXF9chu9BgKgfEAZiNu0oHZgSt679bdiAeqfX
i0rBrnGLCUZV4xV3fj+gqDe0pH7yrQzsjkPew1pPsesRrpyqxRQdqYO/yoMJap/eQujTyoFmMLI3
6XtaojUTa9YA7I/IuWkisCvRdYN0ZjDLtB5QEdLEn8ednWwiSFV7muUq9MOuZ027kmTifZIOMWbq
RJAQ1M8kCDVFp6EuSWraybBB0fD40eCpJBChckAg4CdN3SveIZmh3bvT1W1s9LGzC9y0+YGI3HJX
E9Dh3QiAmjKP6CmCmCZ8tcmU2GYDdI2JjB15cgNgZGfWwFz5e85aDp5/AIEZyeu2nQpzy6PTNljg
tv3DdTu4OmkvWlh1qfXZNSvA6uDgUFiCXOycK8OkP2qV1hZPwPLtboYp9tEUokB90HG791cu2var
1BigHDhuaD3x1Ze0EAYussaUlTxuRh/4XD5lLeA5svjfLKu7c9Lyg6/bYbURjuPeDFLzf6J2D1kJ
NPOsgEWHD2aqjO9e4COV6CI8YlaRLa0rn/Z6tTOgq6A6nkIqsJluqadiABqzy/U56zlAZoaPxIYK
hLkF8RxUDXWDOovhEULRovaeCgEnrlT6J+wAJBboqfdQgnh9SOEpvwtzqo1TjFZ3VcrCZilGUGFX
Oskfj96rzLwFJEojkgES7hFCrWVCNi3EZwWgMd9aNa1G9FKVD7Unm7shHN/TsDi3TSCvfqfFExan
pGzrH8lg5xBhaOwCtdTG6Re0yPy4PIzhaUaeWV2TYUyntWDJbsYi1/rVEDq6Bko5bt/Qkda/CSJ3
+IK8F1yY0xia3NqxVTXrpAx7aFNd4sJo8DSd8lTu6we0vTES5iT7NoRV927Ks/S+MJLGpFXMxysn
y/oy3Ayap3WIwQfvoOf1aOBUkM/sADUE7ToM29DYFwjSvgd8u585GFRyldJvXNBmB4FgNXZ+Bfgb
xWS21l3PbWi4UN6V2WYk+6jotrfUtS1Am7WxJ3sO9dOMbsMO+O1qsGT95v+44LVCTg3Ovsui9CP9
Ovy0AKrvx/NH0BMnsOcU79FRPfKIkq1uu/vIIViJUHw3+6R+ACmmX6W+Z1LcYqfp4ta9kK84cf9A
hvfi/kHoHLJgHpD9qHiKaQT+xT3XBhkefj//SKeyks8ioKNn6nWzDkwgFXuFFQzUL0Pf5DCNd3Yo
6m9gUChAN12CF/bsrEG74aZJ8uHbhcFPnC/l4nyp0yVqa2Tx9p3o3/nYwmFoGiBmiXtjLX2IfrKz
QugKrG3U2MlVUvb6TV+Cby/AWwOUSbQdstav53/Oidf7LBY8mooBYklaALPf633OtuN39g5Hg/re
DQNU5SlYL08P253PIeXCiCcuXc9pqqMR2TZh8ssYoYSGLFyiE9oYKUyvkIB1Rdf+8Gfr6DmVejSO
yHvdkLJX0IvNbAvFEKjLLL0vJDYe5yfvxFJ91oAeDTElXgHyQzn7aRrJvrj2QzKMtLh606XumlMj
LC7jdZQKQ6N4tLcd7X0TGcZjlIiMJpZRv5BYOPU65mV69AxlmiXUzEwKAGEJ2tCp05t8yMUOVWi+
Fy14qvNzdSKBIRZ3ba8C9FIEg7b34+ATl9grTSAQd9LgRxnm41VsN+pCV8xzuvaVZPlz1uHokewq
qXSa8oOD16LYLPPEf1Ru1T1QabJXU1PbB8Nu6U6to+wODRqE9AowsQwCINVsHh/cxP0Fh44zS9jE
twDnxIco7Q00PgDzMbNSW8ene8HMNbD8bZPCZOOkK5PQfjSaAZy6otZqk5emYy1DR65F8FtHE9Ah
VchdKUba112ZPGAuH+4NVcR3noIWX0Nyve20YtgGSk+vUvxE1n0SsqtmJkT2Pkq3Ma3qG9XSKsFN
FHeiqf7bqvNkseRUJer5nx9NWuknES10gK9LO6vxwqA0mg8JHuVTW+PmBGIrc0aEtnGsXddho78J
BKakiQNG4vwCEScC43O0PvoFsfRLWXmpt+/62sVcRkzJA1VCo1rh/lDtlbBLuXGaxIWTadb1107i
zmIPdrt38qLjBjHGYtNHlnXvRuSnL/ysE79q9oA9/j6MwK8bMOXBoUpKsc9C9iR6OeXm/EOf+L7l
4q/DgdDcwePrs1AJrPMEfLxljJh9tWQazg/xvHG+8jk8K5WO5rVF4BsYwRQfKuyvN7zUcVf4JNhd
Q/nfvYr+3DyaerS15bTNM8//3Np0HONKgw+XnMbrBLrwynMqfz+Bn9imtevdQfkKdyQr0GT67mNu
JslT3OTfK8sNd+d/9qmS13Pj69HPxvABZGxCvWfypmbb07a3BvyArdKzDHtq1GNl2N8HWCi3yWha
BzekNCNDsEPFTIIyhDvc0yLLp+eZ7lszgAAia1fcnP95J8KmnP/50a9z/GEyJ5dJ9ZxCPc3U4BWA
E5CycDY3TKp5IYV9Imw+928fjRP7ehr7QM32gTs+uqbM97FbtysFH3/FS9xPPqqGP3uk+Qs4Gip1
ulZAkfX2ejV0tyN9YWvuiv1OOjq6Q8Qef03d/3dA/6+fWRM249WPf/333Jl1Gnax/d5+/ZFXxzbA
8//gb8aFsv4H5wjXZveFoCYsW/7b/dGV2KK6Quk4GEh0gfN/9L8uwP9jk1qELIU4FzTGrCHGVqIJ
/vXfmgX8AgsFF2iG7WAc/A+MHxfFRJLOCriFA3fDkOAhlLU4mGhDTppUTjMvOYcjFb/jIr2u0l+Z
ZR6Swb3Ks30L5yP7kKhbNHdbAbqyGfKrUmv3Qyn3YIG2+jD+o0PM/Ktc3TD4tAF8KFMuQx2ndM+B
7uxuwfSQIoQxsKaY4G7rwGiphrvahU/luYH6PzGVAR1dx4WK5i0Xb265vEl4pORIKAl7G07kKpBC
UzS7b2y6iFYdrhSkpg2zQi6IuUO9tnVc+zAfwL+qFuTyN8LD6nU1ANe4byd6L1ZcqGAY661VR6te
r7UnUQbNxzLGAm+bISGLVzR0ggQqB1N+KnB88Vd+F8xgwAbnu1YN/t4j1VWQ9Hf66G1Ge57YptJC
p450sPR285PY2xpjEoH1C/D9vU2fZIJosAqda4rRvM0kysjGWJNs3uAFosQ6h+e7KwaBYi+cHB+7
njGyNonWJuYukUG7wwRFp8OiQCHCaSvr92FplfTow6H/6ONpiEjbDIS9yZDPoeshjfK5BAnhryJY
8Tsc0DqyS0Im9SYoYEdiA2Ri8JJZg4tiy8XoDzKEXwKJFSkp46ijPX+HF4fNGcwbp+8Oko5g5XrI
GK/xY7CwiYN2iJeAUefxJvP78aE2HIztbGhp1grXPkxE0DTmEDwdlTZbv3J7D96zhrlcq9Gtu4Jw
Yr1Ho1aN6yF37A+DxiGM01gvGrK2RXQvNEnu8Ojjf/xr2fxX1gKDxIek/td/z5v9YjHhFu8YDgwa
3bYVH/VxANbaKEyGdDS2ZmjUVBAT996GAVAAz6URce0lAw5dWuSm8D9bLG50FLPjhd/w8h44L2j4
OMJ09TlC6CBoX/6GWpLFxNxEbPNKQUNOwgazPrThMrqeVAZupdCwmV95A7ZHqwEwXL07PwnPF4Gj
WbCUNE1H8H4sXRLErMUv4EiLxI50Epj13njXxmX9yMm034xtWt22XZtdkffJdp4IsXv1QucWX6we
xQo2rFMS+Juga9SFOuXLs59lKUsQTfhFrjSxkrMWm73S7CIc9UhAlvKSO/J+7QO88+r9+Sd/dRQb
BhF4NQ6zyx4If2ArxxpBbKQxZDdjmCXbxJuM7flRFkmP+WEMG86RI6QBB0NXi4tYGemNl4OUxJMl
dh7dzrHetFVj/hSYGLWTY967mLITmjlHmRSnsBMMLkTpxRr77RcsDhqkiaE4UyRHSyh+YQtXbHLy
LTRlT6scffG697HJi6jWXLgQLr6v38Zd7Fk4RuZmGKJwpaW4v54KW7uOSvNLGZRwKZuipEMci4Mf
Y2aHAaqNfHw8P/XzMnmxspl5yY4hXNsQBh/6y28LuHGEXEmbTSJKf+eZKbnWwGofFeqqawiz9rfz
4y3ucn+9asPEQNqSFKnYHV8OGOZa6mE5psNXxw5NcwJFgbCQ77F309dSDdEVTBv3CcQ/dsHCGn6O
cPzeWok//LPb0/MvcSXSUmlxKOHxF19QrhOcOaTPLNPRW/GNyTcmjssX8jAvD8l/j8LzWorpFXge
vnze3smFwVVQbCJTj9417girLR7UOyuY3FmORBXbD5JLPW+/f7cUjzmCg3eEOMzR6+WoreaOcVKw
nK0CM0wqPfF2onPzQgyaF+fLxWPqVEv4coFjcC6cP6qj03me+9bI69Q3pqqDHbqPEiYqETEVUfL5
/Lr5fZ3SZOlKd96IdOoD4uVQkxNwxnJcHXufrr/L3D7/oA1Ip+JCM3EG9qN/lKGbX5upK9CbEoop
TMblJVgbBhIotHCTb8nLvdVpCafKHrDwkAYXhnpOyR1NI2GZoCdd3cQejYO1udhdAmVjn8SNagsx
DJ87X9DNRrXJyr8Zo1d2lB0lynoB/78jl2D2B6nXeUZVBozTbaoKvdnCvBkeex830G1cNLpJzQJH
JQQEs+3c+TexeOn8Wk7WtiFNB788l1r7yzfR+o2pqjyS2zDxSE41Y46vA70fugFx4/xQz3nnlzPD
WA5MPV1woudfXo4lpnZqqfnIbWu3+pcefUcB2dKq31dZ61InAjovqSgHibEPhwHvCkpb5rWgf56S
oWvquPmQHKLTlI6or9CKKceZsec06xTbgnd1nWC2Zue1NDeTsigtemJMxNX5h3hlvjg2mbaOE707
3wVePkMcu4OwstDYCgoitzLBgRojjfGGhFz75vxQi1gzvxqiGWd7DN1sR+qL2JqVQU1tgu0ZIJPY
T8KcnqzJqzlYRhUGBGhS31ll1F6IcIskjvU8rAHWiI0buiEHsZdPmGPxwlJMcQvKwvoNTi4eAFqY
szuB5m/aNpXogrVS5nDVxCh6Ec1I6peRFwCSjY06sw/NVOEha5Cjvg7taMr3cArCPSrmFPBn7YbZ
taDGZ90MfoKZoGM5IL6dBjrQKhYRdibnp3ERPJ+fx4aPzCujjQK+1cvnyRz6PnudWwo83ebOxcUB
LDU2YedHmUPwYm3zpyEiOTbeZGqZWvTQqqVApcQ2abIEGG9r/8iRwM41cQcHEyycdrHVT7dZa7rv
WjamC23Rr4zv8nUJg+5bg2rf4uSRsunWeWQRPX1Iw5VxU0gTnFp5X9rhT7pH2lXmqA+mUXw//9yL
SD7Pruva5gzKtBSl4cX3UGaaDLNet7ZpYXTbeKrqK71IkAh2ZbhtNKX+8Tw7BCtoLi4hBPjmYnWm
Zmm7vpbLLe7m1a2bG8lbE4/Eq5hrND4FYWBgwC41UAOzrXxogsk4/8DLIw9PzNWfb8Pk9gDMZ1mu
9EL8k6UqeeKg994qleKdNvZjY3PFBUzBNVN1ZCFQ7CVUam0jgs4Utu7Kxkj0fRna1qWO5t8XOLkb
xZIjC8DkLLtcq4BTuEbxA5wgGUynzH4ZGFNf2CeeH+s/C9w2uJZQzSL9wf+HZbzUWdBa1dRgw/Ut
Cgdsf6RvW9+LOhDDxvEyZe5SgvtjmAmaq5HkOBKFLQzUfa9nwS97KJLPSrg53HjSzgXeKpbLdV5X
CE9oGqh3RhRmkhROLvD9CKbkYx3HEy2vMd1ImDBT+l+FSmja7sLLfDl3z08FUo/XaCMTcMWyxdnF
vKXIQhNPiyTd1b7kIAspCpPc1P4+DdOg0+WRaF/CcVDVSgPzsm/oQAF1M4XDtp6wvDXDzHoCYRK/
P//TXm40/DKDFJNLsmX+caZtL44RrsbLHuMKsjtls02HzSAoRFI4T3R/Wh/+4VimcHQbnix5NsUp
afFRtW1f0uWGrwVw9nZTOX66aZuJrh6lXyrO/fZY82XB1iWXcGXw9SyisRuYDa7urbMhn2RAh+3V
lswNQEaVqAuXocU9nymcxyKDafNqLSL/HLuODrQJXmBwbhlLx3Fs4lcRkNB0tKlQ3108LLaOQQ4p
76YW0pArrwMbVI5bomSl873YlbFvXrgf/v70HN/Z1NlZ51vTkpYgmyozMGTj6TVzpOuwsUjo4Z9C
D/klqsWloeYN4+jhFa1DuIwwFGX2ajuS1VirOiFQNuASzi+flweVeZ5JUFKL07nqO3j4Lc510olS
12sdpI2Z3j12ejV+wG9VezMNo/PU1QiG4iQzLmx4iyLe36Oy47JydTRbyx2vGrMxcLsISKbfK+y1
IlhjgxlduVMtD37i4QOncnqCAoqhdlgHt8T0/DGgx+lHJypp0XhjdW+mpJT//CVzrbFtqNHcooS+
+JoQZkVxFjdqQ9+kuyvKho7equ13Vejp2/Mz/8pLJhXPxBv0VCm1vO/3Oa1GfWqrDQYI+sHwa/tO
wva913OVvD8/1G+R0jQYas73z/sMyaOX62kSRZnzZTNUbas1UjAa9fzxUnh4mbh5fqkOf92dD7yS
cRaj2JpVFXBe1CYYVBLtZCSsz0btZzdDGmHz1Em3pZMxm26czqsvLOPFzv7X4PJ5Mk3L1qGwv3zE
2o8nM/BbhUTXaK/JpNOVEpfmg516xSZJA5wAHMv6QFoj2aWqTK44+YdffdWX5YVDxsvT3N+/RFJo
4FZGNm1Z+9AzH5QlbujkqcfkDvuS+Httl8N9Ojj1waCFcqdyWbxXvd6+K+o2u1ByfOWDdqTBN0XM
f97yX05EjGt41MRocWYu8k2q6caHwWy9XdQ27zj5t1gctsGn8+vr1UcG3m9LhBbit53YzuxRc4ZU
bYY8mdaxK8nZcfm9gjigfWN7RUZlivRDX2OwEtHf9u788K99SaSOoO5y3ZqX38tHpkwe07pXqg0G
r+UucOAwDmns3TVStj/OD7XQpPz9do/GWoRmvchxcUgwo+2sdAafNdY15ibGHhpfeTPaQYXjtDLI
xk/dk6V6DzvMIf6cGbmNrcMY/EEMIS/Ct6073GiXaoTRHKm096w1fSx7MOfEUd3Pf3EYGv4fR1oG
Rs3HJVRjpIw+yLVHKnyb0e5HuUYvNxfmeP5bL46rhKvjp1qcMxJdeF2CzflGFHb/MNmpvx3GVD4E
tIYXdhltnSp36ctUXoIVqNHdVX2/SxL70r3w1XU13xjITZLXX1bXWxKVJtuB2hhgfTeT5U1r2TeA
+kXoXHjm14YyDPL6ArEcmdDFsgq8eqTRnPBlBAMd8uBPdrIcDFh/kTycn96Xt76/VjDrxXKBTQqH
usXLr8VNCkezBw6nfUZ50Qzs7IurV+2N6ZrpbgpVc4F6Yr7yNtl7CIimwY1zuaX6Y8sFATXERpRC
rVuqUutcyuHCBvBaCMLYgSBA7s7iQPzyqVRqprKERrSZ2SrXmINp90ZArk7TKwNAYOyv3SY07lLT
yO4NNGQXgv5rUfd4+MWSHTDyU1U3B32LvH1SB84uie10H/QWLnSclxGOyWh//k2+OrMWWViyBuRc
lwltq/N1FH7EvT6jAQv5VnI1cnq5MMqrS9MyuUQaHPzJ+L6cWS1M0sIEaLuJEjoNnWywoHPRY6Lw
Cj7/PK8GV74pEgRky0luLoaKK84nMfecTewmrBCtJA9ih81wwPR0k3nQ4gfZ5bvJPNC0XXwqLTV9
pZiuj9uCfO6FFfXqd6JMygVS56mXX39hVqqpamYXap/c6n1V3pkp6Pg6MnBQ7Jv26vzTv/o2j8Zb
3Hj0YMwGiv08fOAW67IBXScZ78IcvzYKqUH8BxybM/8SSOilsDcMndhKozC2mlXkb2hfu9QuemmU
eU0dXWCarE9FOBV88/YU7MHgKkQRU7g9P2OvffMc1I25GG1xDZ5/xdEo9UD2MtP45sOkrK5H5Yd4
QeNz+rkbKZ+tcgNzOjhTplxB0xNin0iwLud/wisfB8UWUynQjvyb5aUwcSMDP5fM2Qy93960QTvh
HBXE64wq+ofzQ70SYgAy089jUhChWrdIKti6V+mDljMUyIzPXVLhzEvOqEZK/qViC9slWHLszo/5
yntkTEvpusU1jTv/coZHrC9GxvTDctoEUSSudQtN0x+MIlmOVMgs67cdib5bOqSrxNm0dZZBrs9/
GSU2hecHeXX6aBng/2igYI99+ShJbbQjUhju1EY6u6rrTrzFOkh9nlQrH8gvx099JIwLo746gaTe
HCbPkFz0Xo7KSRxv5Y5RsS6L78i3YucVXKzkSv7K4sDkWvD+59yM5D6/CB21nMI21QShox/ifdyq
6mMzhPnOCdLpFvxh8y6ajGmPJVy11vRe7uNCjle1TGJrpUG1+pOVamFIIImcxJjFVHd4iuaW4hJN
chfRTB9mw87oZblHRtcQutP+bjQNGnzOv+FXwgGz8J9h51k6CgdBGCiNQ5PaWGNfb2XReT8nrVDb
uHHLDUamEZ5yRuWitrTGdTMg6jo//is5K4PdYu4BmQukfKkvf0BYDz5SEN/B4myIP7DBtSnEcasx
VlDl1Fens/ofU21P48qH4f8ul5n5VUsoo66adErzbTFZsHXaVFGNufDTXp0bMhukeARHpOVm1thN
gJ8xGQDOrzSOtLYer2STaPfclh3035r4NCDNjOomWUdYw2O90I6ril7fd1Nvmj8Ra31WKvHWmE6b
V6XrA/gOnegBhkwfYs/tdRdSRK99OJToqEsQuuYWhZdzOeL24qSm5WzodjHWtq+CK93DAOD8vLwW
FFyHTCNdAVyj/i97Z7YcKZZ03Vf5X4AyxgPcAjFqnpW6wZQpCTjM8/D0/0Jd3Z1S5peyuu8267Iy
q6yKCILguG/fvvZnNGjNMi8TT1IYG3j0XpWMAMRcOxy3GsvMO7dgodiPSmWxvnjdX48Nk1/GKhAj
21K7fTq5CuKbwNjTRThaFfkx5p5NY8fZVnbVV5TaX1UZXspgsIQxiQ7j8zcPHl/pXQxvgToW+WU7
9uSFynGY1iA8x2BpwFDlad+pdv5kp8P0lWPsfQf/47OJW043uNv5oPhM1jvzp18l9Pk5z50oDFKW
rE0/Ter0NVV6aijchua5zHQ38hJ2yE4tCaJuI7rxRlFzRqWt0bKibpLWITYkr+ZOYDaLHD1dyW02
ZUVF1kpodTLaqfVgPifLVA0+6etht+WEBLa+4rM83U6acRPZanNNaa5f8fjUn9uIbXIYRFlZboGx
NKZXEld0UXQSFtmfb7Ffb2RT1RGDMG5xuyJUf/z8LlNmvZC0W6mVjJuWtO3rBpXzH+uWvMrqy1iT
7dZh3sdXqXorsSI3RXtreqY6xeJurWV4TWFkfOGR+N39pPNpeLytc9nP0q2DzRCLOa+EZ7U62LAD
7tR+MbZG1SDyKVNfv5EUuRkVy/hqJvDbS0lCteWA4cXs8ulXw6Ym4QgWqjFNHVjAcarazRoJujPU
2X4EUFHvbFFVRHDb7XZIOAobZtUnPNQIkCGLQyppeGVV4Xj156/4N33L2t7SJazOLf7m09XvWosz
LhsQoObWMhg7Ea5AZsl4yxzIPJ8s0pnwRmjZjzkim4EEawfz5OLwI/SnCQSzn4t+/sc6IO/JpHdZ
m/x1tvzxjkhIIXOFO9sBd2V5nsku9Pp+WF40sywDsmAXcmDy6CsHze8ebAJzKkNNBmAUPh9ftdEB
3A6mRUm+5KMf6VaxpY960SaS+r646OsH+PBgsSgtdMGtQFGMK/TTB2xCrXVdlM6gJu/o6OBX9ipj
iq553PSniZPInkSxUX/Kujbf9tLqd2XhmGjBtbyGXVH9cGozfqkmXb0UylRDO2iJCvzzm/zl2F3f
IzcGdih+K9pnfS6MIiWGMsd7hF582VuNwkpNGD63qVg6YoeTWN2RBjG99by1x1lf2t2f38AvP5lP
b+BTKdaMBRgbs1CCvs+wm8fu3TLEX6mQvzwS1hehAaOw1nQHv8bHL112tiU7zplAOsqaIXxMM4MM
csU4bazhpDOta6ttvqgPfvvt44Kl50JXYsr68TXH2qxioZA44QiqTG+MSBx2gCPQzda7pIiUxz9f
yE/GWGSz9UMCsqLKpgszPyOcLQUHIwm6YWCrPVE5fURGVQvxzJul2bxNQ15/L0oCMpchH7y5xkcI
VPOLMu6XX9f6HigYVr+GbnNDffzQE/dZHFmlEiS4ZFk4JF6tHFTrvK/66ubPn/e3N85PL/Wp/mLG
GWGY4cYpisk8Sju+XnIt2//5RX73JTrMePn/u8Hv04vMtjlMkSJZwtezONwUS7U4JFM76o7YXvVh
wun+9udX/KXgo5vlKrl8m9glWWf4eAUVeO64sGoXNSlsTzQnm8/s1s6usilKEm+BTbAtFiv/4jHw
1at+elSlIYy9bIZCNBBOtLUwGL3pdRRt69YdApa1qlNlbsMvjstfv0FOF0yB64KQhUfi08WtU3C/
U6yHgSkT+8RUC3GqaVF2+PMF/fW3z6vgTaHEcSkuPyeFjDxenEUnaIjFy3kNjMJ3H7NAf5qMi/Aw
2ebRDlzQDONeZl+CUQ2+ro9nwPrqAus92rlKifnx60wVSsasJGtkdnV53q5tlj8UXQ1epj3V6xzs
Dpkyh7mN7Ru7Tt1nWjR1K5jlH2enNQ5m7WRf1Hu/uyCUeixZsQ2wmiU/vqWKKN+maOowkMT94fQr
0z3USHEfNloHulYvrbO6EGNO0hXJOH/+MjBG/HJB2LtyUWxcByvrL5bQUctnVjSGaBMbnXMSra42
P5rKpd9Iu1IBKqlUP6VdWRcy0qYW4BQryb6awLbkh6cLgo4cpWk8csiFtSv6KjFYlFGzB077+IEB
7GUZGi45bQx/zE3cxhAS4tQoCt8Ny5qxMlvPySZMSvMx7ns33k0GsbyEwrTNZa2GBnEcbHZfmdag
XvRGkyaeVPOG9FPki5IQRyVLg7p12MRmbIZfus8NTEmVyrfv5c1gvLBtMb0VuO9PWa9s3U1qN/Jh
6iyyTQqmvOjsrF7eGNVc3jdYYPg8MFTurRTQcDjAjvDgKRcwUg2LvxLWyTBrLuws8wsM7z+WDvqw
Z4kOsAx7QCJh0aU0p6OtDgPJZWEzkzxajgS/cTN3ezfPagvykpPTA4uqj07JkZ6xsZPY9N0VThQF
ol7UA1aV/mHCJC03XWUkRiAqskuulFFv/dyRqXObGnOTQhgfCXX30ZKcYfAtolTVmnBJLYD3oi0s
W+eNrd9pzIpojGw+X14HDnaBevStvArvyJJhxAHWpLzV4ohlnl1vd1nOYHBsSkgWcR2zE5WPRPpA
SSV6MLRTEViCzU4vymImJUqt2s9g49KnZmD45UvVhQNtkHu1sETjWFTdfUoUWG5N9P1sqKcg8exk
eh0sQ70iR81+jcfU7kAO5mrmZ4Aq2sBhg2G5bx3C4beiqMN030IBIl5mIQMAsA+DoaDSFBK5mt6h
bKvndrjR2gIpR8sQs4IKZg56BRG5upcZTbdsbHbUliO1M5lPiNzZSpiadT1wYyOCbEuWGLSjZVLe
5pp7YLIGDXnFjJpLlJYG0RRiVusBIYqVrQTDyK1uDOLcsZaFfJJeJRYsLsGPNwBrdmUmYANVMNxe
GAfYMgDCFl0TS1lM5OmE9uWAnbH1unIqajoAA9+VYuXp41xElAdDwy4/5aVz1c11dYMpoSq9pS4r
5E690C5nIHaYo3UQ1+tdOQ6ndVi2YjvaisZ/HzPB4LWwY1KPb07EG9Lu1W86P7Y7lJ5h3JCAaLCD
BdPskDSqOnjSKgmtpD6avjNwHp4Nt+U/xDSQHUMlTxcYNNWw3FhhpN4w+NSfLHTB2JNDWs7Q05fm
FlChNW0QUQFup0YoRKD3CdybnrgKfuLSSV47I5yPckDq9tosiS9DU5+6o6Hl+TFViOHbtZz6jlda
MUmTaqyM+AbHWjImjzCBwwrSolOnNadrBaLLEwkf1qXV2l28FzJmgTELUwvkoKPDQ6dLOSNND85g
Vtj2j7F3AbbnXCj1oChCXzy8gTIHPcqykp8zz1zQxWOCqXrVaGH9FIb5WgO5zy4HxYgSP4qlMu6J
ptQcqHD07p6tk513INO7+AaiqPimEd123yrEy4EpaqA12K3lPjkyGktv1sMK6aKKsgkk0xii3SVp
0fkojRFnXGdRkzVGvBulAeRsSvV9a8Hb8SbXWLxqOfZplnwn5RmekpZm8jG21GQGrZQ2PIAtq/me
D1F1G2GVJ87NEd2j1mVC2wvLnu31wdALP4XAeKdGQtzpsk9bMtjk1AbzmOTTN1QzA8TTZFrpZk5i
/Yr0jWHa8aMIedeJofY/kqbOdHB+OKq9XCYtkZPRrHSH0NSEsc0alClPayeG3cDyCO3V59BWfGBl
rdjAVIMMxYJUmflqN6lHQZUK1w35XEF3TtUnKDRLv5/NMtdId1S6BImLLgfe1ADDz25NILpTX5VE
DCY6WxQAp1LhOVVnPw1TG92bFhkh3tLGYejDc2bFbJ5UpQ1SKTL1UMZmBLRNx1K1T3N73DlSSMdn
HSTt91omjHtdGfpwV5WiyQ+tPYBiVrE7uR4urJC/jlFkb3s1zJMTXYAbieNWfdObdaHQnNS0P80s
2B5kGVNR+31rjuFd2iltcWnozEF2XbZ0A/dLJPin7JhKrxoY3AG6SMfH3racwputBDKHZtStRj4x
63F3Bkuw+UuXynEMKmdKIDaKtjrRenfcRfBz71QCNh9NKlBjwxPUBDpnhMkDhDw2euXIasQ5gTdG
uUnNopDfoUpmtafprFPjSHAZjKow0LjptBnwx1KBI7XtWHkeyN3O0WGQJgKSTgioWvQ4ecLvN0Gr
J9fgmlt7LIM4qrS91BLlR2OafX8Ahlg+q8xKwMpZLVDKToQRzw63IyPgmMDkLclYVjrAlbY7mtsR
g4+1wYSJm4Bdgw4a9CzmhyTvtHvFCMMKnF7Kc0KhDnl2Ejc6NZO00T3yNTjaVbMzbyMRKo91aw60
7NDPlEBpB2PwO1TSzpdNGj8YBfl/fpm2xV2OjUgPYFJrb0o9dK+jsczf2Jce+eHVpjyx4StQMhSz
PXjuYtr8uhS1OlkalORtEZZztMvsJDtYVksm31QU5iVCSkbsAQGNjVXoUzCTF9DdGY1MzrpiMZrA
LZf6vOVPhR7D2UpsVLB632NDi2M/kUVu+fM8UM4JRw6vOuiaJYjUUJzKSq2e+rKB/zCp5E1thrlj
AdkpJ+ukK9y2OyTQq7sdmaKK42sZ7PmAWHi78c0h5vnpLovVbFm8Ma/MuJhuQigrsE6qxKnOh8Uc
nUCMyKCUcb1rM1XgvvZYASFxremxtXt0QcAoIfhoIcE/w/ycdgXhpYbMldYfuC5nil1iiSajbQLT
F2WQR2s5HUOdwIXRyF+NIZ4Sv6pN5SwzYpkGC2MbaxQrGZFbiNMGDWnYkbWbnmROVTtb1R3lt5Lf
I+HtvZIlQdFU/eIDRlMenVbjR2h1cfvczDOZnwMdvLURSuUcC7KpIPkqKtuVGva552JydipANXbY
eb9enus6kUON2n7PJztSN4A59cQ3nRzKGLbudSOVBgEMSN2GCYe/vRwNwunVQC7KeNIofXyOd6xI
A7WzzessST1kRgCYwjL51HkqKY/NWucoGfUqYyNwAIbileFC0keaKQRChVMF/NMoo+nEgXcW7qSC
cWBjj2DfPZ78Uxpo7FBtCGaswbXHSf1i5lP/5qg1FVERifzMZdXGgkg7YMPPZilU1qKIAfZpmxro
oPoC3ZGIUVclcwmhztNqUvp8VjXTyqfy5XHmMrxnv92yinYzSy7N2mTpX6nW72OBT52VjQ0JKxLW
cl397E7NG9yc2RwrATsp0GkJJSELN2zK6mRGRfJCMRtHYwglkxIjvXDsbry0Fqcm1jEJbxKojyQ3
28ve7SP7Ol9cC2E6CU+KZiB3cBiMXdkTCCylqfvgWROKiB7zOphST6btQkxxfffn1ug3+g37pSw1
s1+jAqf4vD5fL8Myhp0aBqtvf6eJ3jyYANL9qjKtM+H20s+0UJ5TYMNMnljdOm97EX/hhfpVwGF5
noae/my9uJ+FYntyx2aYMmDI+pqzp8r+mmcN5Xgx1/+8Mf/wUp/6UEXp6rqUKB1tQQJFnGrtDQxh
DXkjb3bZzKLEUtW3JuXxw5+v9G90BxZ82KWyHMNluWhtUX8a+AjCu0bm3i59RaNvsjStNwqojS/a
7N9eSezMdNi4H53PyupC/LaTSekGbIjlD7lhO2TZssG2Q3X7ckvn9y9GO40CaMM++KTfuJzoZpOg
35hyKoOmZEhK5XkNybj5ooP/tX/nBkHM+Pcrfbp4Zd7EuM/51hiITfvYDsu9MwN7Wiwb525UjT5g
lfj2z9/YrzIcotjqHmCHlB/7ZyKa1Y9hXJFyHsws/wWzbqdBop7H1akWhl+tYK233afnCocOw1Zk
e8ES8acP2JBY3LV27gZhrZuvo9taY2DA4Lspp04NsiEpbuPCyB71HuDvVFr6/Z8/62/uTqRTax0Y
aCYD0U/juFGElN06urGhj/Z9nbHWSKbH35GL/4MX/QQvWqW+/xtetG1eix/x/9v1yXPx/DPCaP3X
/kYYWdpf6+KSakPHYQMCk+h/EEaW+RdmFvRLpEUcHcYaivU3wsj6i2GDbbCkgeN5pRVxC/3NMNL/
wnrhrFsA6G4quqD2TyhG/yJ3/PdmtZhk2NgymWrwIjRfv0ionYbmUIws+kThkB56BeqNP5tOJemN
UrrjWace8dmHnTJ/TOrxm9HEZk8ec1qyWsch75cTjVnAQlZJAB/g8gnmT7QS4mfN3DKvT7eJ7IAE
dtYy7stOr4mxambH9ZJUKKOPpiSe4xm5xuuaOLpoWqVMtmzy0GZGFStRfqhXtFeGhu816OdFOWBQ
b99cSI33Q0UmnifDqrP2ix2akz80lCYExvchgc5zq1S7RkJT8dswDqebHofIcWyHdoIt6zbfwFjF
nc9ar7iqy8m4ElE65Pt8LuVLqsz1daq66TdXi4Zx5QzVj5He2b1HjKxUzu1inPYwNuuVeVDPr7le
qjqQwNL+0Zd6/NgBE7m2jCyfA/j1i35qhppi+MlSLKFfQoa+Q6gbUsKmFUkdPCr5i6aHIr9Xo044
9whKGmKLwo7oxtEG43Yo8jVD3rZR7tTF6tkgz4eMHlpMSe/1swJhymFXO7lU8yiC9u1iQ4JdbPR8
i/EwwaKXvVKfpW28xsY1bMNC1G1IO2bkUh9N3alf8HepZCDPhqzJvpkdmFWSSZeXho2+WlCX8jzv
V6VNk23bH1kng5TRVxmg/ERjPO2Jpa9HzD6sykBistKLohpavk5d5FUAa1PGJHgV3UvsTjo0m5Su
/YAHtHmcVcV5LvTRfBExtHWC6sV8b0oleshUel8vdchu3uiVKXpvgskCKR5ctE2rPLZt5aP86mem
XZuvUVEX+QXUHJNUm0TBtOAN+STvOswWZtCR6sLRlhuILXq/7t8CO0nPNJbrCi9BQjK2bVb14tq2
K8KfVUWoBzabV4FyQj4NBCJoHmR2HcW3gAlohrxEm8fJqyt+Z/5gYdolCDSHkdxE03e9XBMp52FK
SAVN5uYRD4bGbLrB/9TkwrkqYyrfrTEsWX6lYY1BD3bLUTmYmTm+NV3oJseslXH83DUzPHhDCw37
hMlRA6N5Rm4PDHtlZS1ZIcJtkecKLWI7VITuLlMhaEQy1EYtizvXG+wiJFekrbMKv3YUSdh5ZfLI
1CR+rdGdsHQKu9I8bIz0v7ASx5zvyij3kxUVV2zNm3jcmDVwN6Xc70Fim0sHRIcBJpEvhWME9EtD
HCiDa74pcKjIzpZrqJorHb1l6Twunm0N4JU3mkZzA+7XVLzYaIBGkHnvLD6YBbM+62Mo/gSiVaEW
KJEak21X6v1xbKayokUS0VbTKzXZT0qR7yZpVU0QZ+pwtZR1+FjFEQFuTdY55zlBZAhzrtbdZk0e
54GrG+lthIUEqLU+2Q9RrrrXVZfplyrEpTNpLIafRaIvA95O3AeM/8uauOh8FKSx9GXPj7YWTzwh
kwdSJabn0Jod5+DQAGQ+T+oaIDygbFZH0rC4QDMY4o0YdX6bUSHHyzmr8F7mWh+aSFNpWnhosDQH
i2K5wNLy0YEGq6f9tLbb9j4iyZK+flba6ZiFPbmNztiH3PUDBNBNkwx0/e+n1/9O9J9OdErpPx3p
N32TFM/568+n+fu/8u/j3PiL45gdWeEwC2fF/6fj3PmLEQ3LWSCO8FdhPPnPcS7ADjIu40+vDjym
sv89zrW//uUYoyDGCIiJ5Z+c5gQjfCg9Oc0Z3FNyMg01ONGp5D82JpGuN0IyT6TxSdB+K32hkQZd
VjYQ04QTbx0tq9hQVEPSTsiRf8hFMZ1YUTjqXptKGe5NqUX35L8UmNOStli81MxSHblCy7c5GRj8
rS7qYiOtLtnKIQaFFo8AuZkHaomPZi2fpLKQppkTr2HssCkRwGfauToF4WjlJzO7988mYDwAe0xO
e89Y7Biyjt5gcocHr+s+aRJrThXIDhS0pK8u3Jlxjz9XbJNuZDk1DO0UFMwyaSPpSZ1olgBmOeOk
Bduc7WdOY35nujR1wVgusbbthUirQ9TaaFRItFntIxEt6RWYfbBIXWTN+cZxWgQRo5TuSJMlIPLD
okWKd5z4vlDGcdmqTZdPvhZP7pUZTeEbQmJ0F1ojfBij5OOQbWs8NH0UX+uTPmle3fX5pjf0HJXo
/VmANau4kAXL1H7bUKYQ+prHJJCiXzuHKrKnZ5J95APPU/GUJEUFjUTGk/AVV6DHlxorRkHlsh0S
pOujSlsfWu4y6pfwncPrcX2klVGfrfmqaXabvz/z1DbpbwnZ4EkImsE5r9+fjwxO3cdkfWhmlGNo
f9GQ76pKJZyyWB+wEegbwrvWx24zZEnuESavMPNL637akDwi2BMh12bxk/end+tGPMmn9aHuvD/f
a2UonsP3p77+fgJE2XoaRCMHg3w/I+r386J+Pzvk+zlCgAlnik3BZnpMaDhr5vXY4cBbA96GKfcR
NTiX5DDWGutO63nlGFXyihaYPGbv59k8J3nlLyJSOirW9cwT7+dfmBWgDtv3c3Hh1KlRzNfzkt8R
Zydja+wuxfuZunS0oSdxA2YGrVCT8XOh9UpyjJJyessdc1IOlWJzSksSLvOrKKsqQoxE5l7N72e6
jlkh6E2leZwyQnuPmpmp8iBwRN10Q1+GkKQnddLvqG6t+nvrAmE5wRPFLLAaB+ehwORKwlBC7oGv
Qf+f9nWjhDc9CNwOMCNdI2pyZpce6yBZda0Ikt0BZSqFU/ukIFBfx5YenQ8haYIeNm7mH4R+2PGu
0KQhT0d9HM+0Urf7YFTVdbAVdQRN6H1JwCEDn6W7DFWlEkHFyK1jbt2uHlJTTJw1gsFE6ietlMWW
Lcyl3hWz1PrjEFmUCKpCXI2X5oU5UQ9ZTDBItB9O2zJTKj9UauIwi7iUklleVZGtIijGeINCvdLK
uL6RrprGmzo1re6gWFN7K9pIsSkjO/elGFllD6SbKs/ZWKQXbsL2L2ZWvgsupjSeTQKGnsYqJjsF
l/F4bpMfQGRGGE+31eImua/WZS6JN7EXxQPeNSisb5eEQ1d6XX1jqABKQnda8Y2gdJJuasuan4Hl
h4+qbkSvRGCXb0Rv9Jin2fE2ScKpmP+XHXj9XS0yuBeta8enVlY1zYljhOkL0KSCqwdT+kJjfkW9
ii4qzmsz0XTmCosmyINfnO9WQXqVb0S2M/tFm2XyELHYe1W7grxqV2oEmpOnVRcE0sZdzOSt0R1f
KavqFvJpFm7Y9DtJu1WJHwY7XZgB65a1a5ckI7YliWyCS2K7hTjgZv2GcWx+bull1XwnAJPZHCIn
G65uhLDpxay65ZvaTO3jmPaNTfxTOSgbHm5+wiOQnL2laZ6gv/NnHbOpFX9mUSfZzNZ4lgr0ME+2
BIZM/TobLBxSWPx+CqsnErwGhgPFpNIYAFX2snpOvoeDixSqSsudvHIk6nozOfmQ+26hGxVms3qu
d07TEFFDhV0/QA4qXwdRLC/FrKgXZJVTMbayEWTFZLrJnT+1imRRmZGqx/Jl23qYQvFBpDjPCy9L
Wu3NGi1SwPp8JA8u5Ou6QlG2noCKzRvdMY6Anhyf9RWk6Rgb7XacJ8FMmgziW7NLoOb0jPNvdP6D
w16dLHqeTi3770kv9Hg1drjfk7EjkSQ0Y53GOWHZx1NwuFGYs52veHNSOwcsRJrpDdR19wN+QuKt
lwTkZMUxfhbmcZQFY5P3N7pi6LYXSjPqd7AG8kcR8vkOLQ6hfarNXbxTsCAx4FdGGGidPUiLyJQh
vlXmQX0YhMKvIy8oA+g0Caq7MmWvQrSZq+uoyCEhhZYW050MwuKMK/MKmy4+k799fP8rJj8Uk6io
/7c+dPncPEf98/yxmORf+Xcxaf6Fm2wFVeNBgKCzovoIa+oAVQv9L4HVHQmCkk6wu4Gz7W9tiIb1
L31FAanUAf/6h/8RhxTdRlMSoAn5H38VQBL/AeP6kybMWbMialCmgNAKB5HqYzVJGeboI4rIxoiy
m0LTeyBRuUHoX/QVNuv3r4TbXsVAzPLOp7rVHFKhKSyi43Wa5/OqV63LcUmhhU2k1P30HVDqzFFZ
/MwY/t1LrT52XXAF4ZF+UkcRTftO7/hQaqxdxlmb+IpmXddN+MW6Al/ezyrw+8UzWMLT6R+EzTX8
ePHY96mBL7sSEpgOQbilU/UKPdZOSDtmQCSj9OHPH2y9Rv9V8sS/XpC9AZoTFt8hSX58wYEouQQf
JLPposku3NJ5kqNsznBLmFv2bRXPitsvmSTO+zbth5cFA4Wwzsoyc4p/tT0/z0JwsdaK2xrxBjHa
vmQAm70W1RySWkoYtkGM4M0wVeP5nJIaYnRttacxyY5Y6O3z0O6twGqMLLCqNH9wNUhbMmrG48CE
4nLB3uWbeWOdxnPfHFwKk70WCftGkn4HxmxipAZUMfSXnOQDLy/h81dD5hzFVKbfMiKrNwy63MxH
3yxbv4HWEagD+RrenE3aY7gMHVmFqf1twCuxiw2lM712bJULPEHOj1ANzSeTrw4X2oIQlDfpxNO2
7+ZTjsru2S6zlzgdoKcZ9vnQ2vIk0V0mywQcEkBudJLrYdsEcFmEdZB3dsKBlu1pv4SXdonyoJmx
c27Z9bjR8qHbCtHXyRrmON0XFKU7pKLkIh0BTmZY9A4mGZF7S82f1bLW92G9Pvlr0EX3Kkiy5wY8
yE1FH1N6KpbCHmVo/oGIDM9MHZ1su1hjv1PMkPi1LMeQooieHDs3qbjAGQXKhSXVuiMCbcq+d+zf
+GEn6tMYF4T0215NA0645pFczfSaena8teNKOzgrAl1XqOQoxvXvTBNJr01AXLYFLo8AMLVyyhqv
EygJyPFmdPofEQwVDxlWu1WMil7MKUMr8ecul6eiJIR2yLPwAIZd3ehLHREi4bbHmJTVC5k10WWX
1eFBs7tlwDJmpPs+VxVyz/IsY1w1W9uUKHpBTMcU+glr0Ed0x+5mznF5ohoVo+Yhe9rHTlrxt4hd
Es1bHLrgZcgEKleKtLWoxpHxUfGsRy3yWtlJ/QdHNvVbmrf9fgTliQeya4SX6Y2z15JESo+Mt3lD
J6gFZl4OO1h6F/iNFpIjlv6l4xFwzCeX6FpVjC2uBKPRrju1a157VW1PZBiJg1C5uAt0gm3SLrgX
1XRkXbKoqb0qXZIYmHX1Yy2G6CAGaZAIiazUuwooY4NlF+ZJRYF6lCyBMQ/jfuV/3nfjUF7qcEQ2
cVSkPhC58MHpFknvLsWjYubqkdyh9N5SB9zodZ09AbdhqI9rlkgd57XTCor8IrEftVKA9RXdfJu4
eXRdDJZAyDPduxApAE1cODsKv+jodnFxRvSqM/lzqKl3xhKv7tcqPNcgiTDAX7B2xKGlBoTDhS9J
EsUXQG+lv8x2euKyyHSlWG37SEdnd1ek49XZBv9N0f5QYtYgNvrs5nLfFbNaboF6MEezqVowKs0x
2M/rJm2NehcNel3vnUlM+dWg6jIOavRu9aVwszFDY11tU8VSO8UutJwEKc01yvIspjveQwZ15V2a
wszyojlTX1pqVHs746aaN1GiqeAKnDLFpmfhBPYWjBCOH86d+bTUiuiCCaXF3uL36btACVNzBOpQ
2S1xoM6l2uV7W6qaxXa+SUfWuJU5BthyFbkvLN7ss2PP/W0ylGYaWNRi9sYydfPMcRZ0cKJd8vEY
W2NYHlk1Hh4o4syB6b4xPecDAx+vNlur9mu9nX70YMYWRP3WuEcsdO1jasfdW161840257FxKzHq
Wz5NPmMVO9eX+NAoSmoGuQ0e9CSWhtbhHjCya3J5HU9JMNyGabNT8bx5rKrA4G+7U0tlTsw5jEjc
si3Sd024HYYw8hvXRuQvx2OE1FSTBusz9Q/vjSHB/5xL+WbG8+IPVcxKSe1WGXK5mPiDlWN7plJ2
O3rJY0P/gAHQVU+UXvC84HoclEF5lZaNcdRUqssOcctXs54uj+npvlyNK9z8Nym3V9mp4NO1dK/y
ejttogTvYve27duLRoh9WOROxWs56hYTza6KxBFeFhbjgnFKgT/wQjfn+369RlAdOIE2Tt2cYP04
EbFyyCv7JJuy+3GsH62SrbwpnH9YtfZsDLUnO3OnNcOpJqo7R42HO86hXT2LvSpYSRANNnJyFhnU
jF3uhTqzkijqiQkpdwtBfx6EgPsU8ym2GDzVFdiPLGlOyzQ945TcdW7zRvj2rjTMC9Osgjyrbso6
uyoMt8AvY+5GAZUYJe0JS7ri5dB2AtMmM5DEVi8tWvN8KMK32Bxvk6a7sDVuErfAzNyfVzZBJGXs
PjQrvdkNZwygmKy2UdteORX30bDsbbU+ibN6F84AohcZ/5hUsp/Zno7cVxyz2JktNwCLeU9v2nkZ
2x9EzdKGpAm5SSFSVV2cWtb0LRH2ni0kKLuTDy6KiFWAtBifzK57bgbe8aKdxul8gb/i2MRt7ZEp
Tb1ZLfyJetuy5GpL+6JrxxzblziPSp1z3+jPLFCeN4CiN6zD7OphusWGneJ6asqz2gn3SGHcR3q+
t3ptO1cudths/hair5CAmx3HsSNwwiH/F1csD0vl/7N3HsuRY1mafpdZF9KgxWI2AByuNfUGRgZJ
aK3x9P15dldPBDMnaDmzbauyzAyLCMIBv7j3nP/8AsIOkVGAh4K67OA1u8Eo6PYEEOFIA8FQhVlB
DNQmYLHaKcxUQIErL9EGQDGe6pMQ0rRKJlTdkuyTYxcZJ6VX4TX5KAV26dyFNjPQ1Ou7aKOSj+3G
ZJzYBphdpFEaikm+12shWOJK6HVztBZnc6s14WtaJO+5IlYXGKKLyQgnW5XlDSa+vFEI39CpX63M
3E5VoBxjZCOOOQjWigtw83G+MPzJLWtF9IxWqD1hNB8nf/pQ4akCeeid0xW3KOuwg2ndDD3ImWSc
ZSMuD+AtTLyIlrFFsT6UZdZC9RW6M8x2a20V2hPdN4+smbaWEfvejcRazZm4ZHjbXvoaY7aiqAYv
E/yVNcvDqyyM4b4yZmND3tvJj/LVJPqdo0IN2yeCtq5MoVihrVnXQTO6oyG8KJz1K4kZiJ2Z0p4O
+pyPA3FecgDrW43j50Q0nVAoD8SHNU8hHZIz1Mg9ukZeTv5wybMmcdsueiKhsPHqkfw9Eqf5M3Bv
R3M8N330UEjDBYBvaw0NKbXM7VjcsGwHWT5IhrAfDKtyQh1YrWjD6ziJB0np10pWni1l2nRRs8O1
cRyZJsJCtUIiYODD75FfzwtTJKq1Cra6Wq+KcTgWFZLRqWMerIFQTdJnEg0rQ6kuVeg/ANNfFE05
BEm9M9LwlFhd72EBiqH3fIv47hggT+MPXYygcAoE15trq61XzcA0r1KJAoG2qJqTB5t+X4QBqtgk
9kwzOkAmfVPGDO5ltOxbBs7RxBYkCeaLpFaXYMLZlsHFEeh4AWPBA+tgEp8m5LhmrhTOwk4X87t2
Ft8IwhRtpMBuKIyRW6QFhmyULJtGIYm35sYD00rsaURnr6doVkLkFAhQ9Nuwed4x/tzNMe96U9fs
hQXATRRpysWo2oPEbwIvdRIGGiC4Yw1HoCwV+OdlZ9gWuQ1CI61z0p8XYj0bdib20xp+ruwItfwu
mnyJCaoRS4AGICXCjzJVRRhFnb6BqY64Jmzu00K95mEn4L3cI5zHLwBdgmaFjDvr6KzVt+Bmxjs2
kxRc/grcfTuz/9EHhe/kfbnv9EHYYKGwmHm1WSrWE56lL2Odu0YTz9d5JFu5VOC5J+hFnQZOhFcO
luQRpvqotf3Ejxyep0zaZynnjaETZiiVUGsFGSq1OjcF8+kmfpd74w3riiX0he1UF683TuxiJMGe
bWqBP1hip0HaeiVOUnalS7MXh6D2tVneaBz9lVEKh0upr7l/bkXPD3FUfqRjs4XRGXLS3HLEKyUC
zYWrKpNHuR0tlfothmGrZcQ4tUQRbf2+UT1mscJ6RooCTi4VOeKFJF8Wsx6LkLLLmJo1qLA9Uxjk
FFAg5q6ESdozVVc64Me8zImFrKolWQFaDtAcMxNuxPFhTqdxA8ar/UD8k9wlVn1omhjPkqnOrjOS
KCZYQu4OoS/vMoL16LNavXsQ4UiDt1EfY58wvOUAooEjZyEZT0phXiNZpAII6Plu7yKrLgCIBmMp
PqQxnHcCyrUH8Grr07gxettBwQtDz4giniLIpya8NGthEhnloGUMLyHq0NdETMdVrSr7WfFDb8BS
50DoX/QBp8RoXYQnDISJ1YIqT2qSI1FWw+n2E5TPlbVGmTzKNvz7aR11EvrreJTJSiUss7EDKZN3
UFLiTcvcxVGHqnLzqJ1Pvqn3nj5o46FOivbaIr0/QqLJ9nViPRczsmPCJ9UPP5Uk3/YjjL0Z2ehO
kLBGC6stdjW74FKFrrwr60S/4kQbL0Sl0w5tLgD5yemIgVNduSUDF8Jttf6IxbT+MPUYeeJu3dFE
TWWz14fe2DaR1HQMOxr/XFr4LidSIThQ93md+qp7jKZQ3jIaks6AA2UMkURJ9ijPoztEMJS/vigO
lZNofuKxYo0fqiQgUuIAfRxZhZ+G0dWLPh7kN7Qj6U5MZjQHJLpvw6yGvFxrMbUF0fE4ZVTBgNZY
493fJMMQLOWgN1aV6rd7zWcenkbiR4d0yQtEqyWtMzTvYjIajpUlVddhlgV3agbKs0xah6QU2Elv
vve15JN8xTnUENiQMJaBSSCWxcRAdO4uNbldoBpGTNAIcehV7kLfk6INmK2AxgKlOVWTfEpF1u20
EzMcS83PnABss1iYGsvhBNt+mrq9qFaRNLgVQ8XYNbKWaK3WnnRzUBYY7RONmg6wfhbEkKdEu4+C
tG9qzVdPemJKj62aTaqtMecAOlaL4JKp007SVDZXVAJrMQz60pajIlkyyWOANGHO0M5RgAhugOVD
mNhC59NTiIYK0oBa9iQprXalKUNOiMybcq0XF8VUdQsNqfBCqsgfxV5c83BYG1Z9B7kcYvGiVqbK
4We4SANzj0GPAQQTqw7C2dYFJzR3iqSaNjasp2qgWpJGq0FXY43LgoN/duJYJgXO4OtKyh51Qjpu
MGAvl7T8V+gxCMOCwVz7U0QkWVst4nYI9nEzPqvm/KFHY2xPAmK1XmmFRS+EyiYs/SVeKReTkUWC
WGYTEHHgWAVDpzGYWhfylOaNYx0u+rLrNm0S1fuyNQdC+eZ0G05qSt4yg0RhUpQn3yJHk/d5GaDi
dlUxyj0UcQTm+d1EIqh6R4jQypi0xuuimEi2VmYcV44WQROtr29bmemBpgm4dBKQ4vllXq/bQoNb
hBsLZyUivQOzYB2Ghze2aNuNktmGps1vVh2y8hgJopFUdG+SiLqGcYepUhbqZ01VtzVKE4zA5x2f
R3M0RMBwyJO4sgsLk4vSFNdzVBg7XmWMNmpsWQVo0OgIQ/VYl+UBiyxrHepi6wXqaG0qa0DCDIgV
PzZFhh9Qg6Rr3dXpW4kgz9VTpC06ZLNFYybFcpyg6qlNAOlMVDI3GprXaJpz7GdzolojU/BCP0BV
Bin+WBXdhRms7hp18NCLSOmMaUgWdTW9wNbCt0LsGVjJhbXifYfdMupMXiqL07oXvSIDhuhzSXma
srzy/Fto6QhOYA+mcgDqnJhbk41HV5m5tBjdViP911GaRKAkYlznwYW1CyoOJ5NYmIGY+AhlkEhg
8+1vadReRTn5rPV8G5pszcOcpYcY9+99ZPlHU0tpJ2q5f1YsAX/uKbxpInrlEyNgv7IrqcvvtZ5d
MM2CM3E30c4Ucja1WbG8XiRkGdqH+CyxMa/LRKzdNq+MPVt87GgVdsi0MemCgwDdj2mkzhhH8mKq
DW0tNlq3SGVpfJqBVxcNfvo7cPDsGI/DRKMT52+Cj5SZfAANmoOlxc9amyeL0pT8tc/NLxrGgItK
btXBBsL31x0sp42MUYwn1q14sUotTp2pFionwCT53iTly2G6RFZjlnfXPBeULb14ubgl3T0iWxwc
Cau0fTzk1lrwkRza6hwDbKIUozmKLUIDSZb1D6g0JKepqoepS+b15CeK00NDczSlLvE5kDMm/emr
HEmcw4ilUThXD7OqHKSgFI9o30jCMCyqMqPK4xtZlIxnN5ks40GOhRRbFTlYjlYtbCDIpreYwgwQ
orhP0L4osysVfhEajk+UGcWiIDgDwkx3GhXTlrT5ieUQr5p6ZgI6xDIBi4UFo62nBEWmSXXTs1JU
CuVGeslQn6yUVgJ0VqAE8D6d9LFvsPrKTK9LwOtjSKmOZZb6qYdGfVBr5VCXSEft2ZhEtIaivoar
et+m0r1kRg3QZ0gjX2jUf1NFRmBes0uwJMwaEqIC1VNp9YdKYPSdq3ALs9mb6RKHhES/LkedVz4b
sbmKfeWkTOZLNvZvlFIaJW7cL6vBbLEHHt/Vcla9WG2yha8atB1N8xYGOCMn5bSuIhK5y0ps11I9
aCfeuXo/F0m7qzniV1ksNW4ZpdMqrIJxoZdK4gWRIYinRC6SDSzevRZNj0o1vQpx1dGxDdM1n8Xm
og4AHPh1BgQiQltcyK18LHFxC2x1RNCSDdJAuMmw7WSM5HN054+4/Y6PmlLSRymmsC86iuc0Um2j
ZHgamAihEVxf9d58wIJpC/8g9dIsQcWnccLVgW7XY/WM6Xblyv6wLHsE6ka4omhwAXR3k6GaL9XE
OZqEIs4z+ao3uutQk+kymi4K4ItewnIEgfe0GCgkEou9OfcytW8OFx/JHbzX6AyN2AUAd2v+UqGx
FuOuWg95tDZG7WBE1pNVi9t40JxSlSFLxpugUlfmnN2Nqoj77Y1aEHWrrmC/tKJzI3R3fVje4qKc
ujBXYKpeOMIBAg6xsn4TNJGbhsiefemjZUBAtKg76c0px3ztBV2PWw/kiUsctnMJKaMSCMupsdOa
5sfYyFYz4kMt1Jy0vxFxDQhdwraueHtza6sYkpf5/eCAOnijMDqsjBNpOJ6lZQ9lhq9lVD8TRGA3
oDHDrbWZgw2qJwhbpZdIoqcKU/vcZ7pXJ/g6VY1d1jL+AARUbiZLv/chI2FLvkjVjlU0u0Rle1OC
yjsOfRwHBUeXOd/gXpEpQCxz9p4pZXUYM6tZDTJxptO8gXtSPg2Kssm0ekms2loNOdUjf1wHgeKG
BVawKmbGgLu7luxcGlPWqq/s8nZYAxg4Y4icj0+aBMVzGdcuwkmH88PN8vLENPTJENgGzYBDG5+1
TMsveQOAZInwWAyi21DAY0ovMRWQ+DI6Jzb03Wg0y1DvHTCPk6KUihPATk5D5kat6QlWku94lHtL
8+9a3DQS+YcyyLsmirwxSk7qoG6Jt0pwmYWu4qenyYRmM4/8ENBnmh1L7r0uCHaBVTBoirKrL1b7
dAL94kRXWtmdq6x3R10s7XxQzkEIR2a2XqZMwPcba38OD/BRYTXKMS6eswxhfdwldbNvzJL9wtwL
XblNm8qFmo++sFjnPm1/xztmjQz+7HLoEN0X2blMg53Sxy9D052mII8YIbQbOZ6dECnfBWB9ogxI
3cLv2oWuYeLeQeIRhBuAWcPmKPrxrCQysDaEARi/8YkD/5zq7b6mpJzFBABBBlrj7pN+pNi32m2f
h5cqKju7NvptmTaLsAOITWHMRCGZE6pEYAKJH81g5Q6w04nQ4J2qZCkuiMOl16YrIYWuEctbXPN6
J1eaYdEppPS2FrupL8C0CAul89pIXEWhT+/JuqK3Xeix+qKYvgki0T0XavdQq2ydQoq8KEEFrsqY
hQVp/S4OcNet7nMMxzVSrrVaWO6YR899aJyZGN1j6oVyfupeUqXfzolprZlF3KnsWiWzQWac+9YK
36Z+2oS95fmxfpqseBWYPtslwx6SWUO39i3PkOrLoAEqyIMVOVI0bitVWmtJduPG35uzcCT1rrGx
XwzgYqnXLsobx69bRw3S/dBnH3Gh2Le06HIUjpYevlowshxwF6TsNH63Vq7g1gehONKbuIqYbLU0
3PrWeEn06tJhrO2EWrPJy+bA+fdSRJbq4KZ2nwbhuMzklvrJMBcBU0EI4/nRqJNdLXfJ0hfmRybY
9pARsECoRRpCBW1nX9yZsxhdpYA+nLheZNYzUzlyJ6FAT73cXecou0viYXRCH5gkEYVggv5e03ah
flgbFsJKSUym3SDh45Ba86GscRkxG94L3o903UyVsQxG1Tyk7CGrtjKk++k2FxQDPLByySTw15Bb
a52OMH/kLgfwMescNwLK2SchnshXrg1r3kYoaPbwoVonaZu08opKCBdSXd9KIFP3GCQzRK7SZJW0
aXjNZj9+SxQ5PqVTBeqTWFNlKwNpk2TDyZd+irSTYoQiN4O8e5X5ifjRY3WE5lsaOjYiP4qdwJ+J
5RHDtzQkr3rlR8SV4AkUdM8YQ2APpA7FcJKqDonbaJkdh5WMeQI/+61LfdkhwLc+V0wPV0UiG1cl
suZHZBTmscx68yBYeL874Eb1woqC2W16VVyENZ5rQIfKsy+E4ssAkryCUQWvSkv90tPxo3FixnAp
fiE3h1ijzTzfiIYLKULC4qa5WfhlQ1Elc4blTRC9WpWhgFjMnauPLf4PRalQj0/sPnELU7gbFY9x
Aizgwrcump+mzJgb+saU4gJJsiArngRKwsbeD3u1l6O9OWk63xHSjoc090fHp3Pf9NpgvoaZxfks
g4IGSafaptkROamm473YtbAaId8RsNW4xQR9ym4HDgDEHOWqkfNuY3b0REPUvKONeDFarT1GoAcL
aUiquy5Txc5Wi6bfWWNSrKe5S661BrBaDhGgDLiqiwxQcoxCIzyQUYoI0ZAnkQYMJQFQMV1/I8+i
GJDCW8N6FJp0WeIbC+trNjzDrMptVdQ5LxBbWxUQSVpIhwLM3RuB3S6WOCfbCMcViAlnRkPKBZNi
6uCq5o+LsHrc0czzRU+1/Tg247xOFcSjctPmDepqzn8twL5iiKZ+0QKhEocM1NTjxnSqoArv/cIQ
DlMRQmk1+psoQotwIIGwlx7laWBklqvBVq3HgbNj8G+nCYwLeyiD7hA1ioLlgRRvfZwdzuTwvFS1
XHngPw1hMnqKkdVsOYKhobIXCw524j/ag9gbRcQKaBg2JYh6Np2WWFecCS1Icl3RvM8SfkBO0NWZ
VxlDdzRLMaNd01Hmd7PcLfvBmin6Kd9o8Q11OatN3VIWQOKz0Xyx0cBOVvd+jRFbYwbtRk3KlKy6
asa/QMc6pPeycYxXHQPQG1059qn95Vq9g+FHEos2KrPDxBAEoA1m64j6S8AfYRImKsZ2OoxJx1QL
NuyT1EjZKumjkOyYIQTRabV9xKCOnynoh9LHNV4TYlBKOOEzeqlCtv81k9GolZ0ElGDJEyxTMxBl
n/3ap5UoUl96svRYD58QvOIcMKKYoQvWR1FZ/6sNpUqqGEUugh6CFeMN4tGYjbWVeCDouWmX/0qQ
5Tc6ojpwMYt5VhhxLWdijY9OXE7hQ+Ar9MR/coX+h533EzuPFNSfCFTua/v6X795QODxv//XPVT8
L+S8P//Gv8l5CnIOROz4KdCxUvbAwPsvcp5m/qGi6oUKAotMRVIMtevf5DxF/APnQiKQEYHQl2s/
ST0ERf2Dv4O14b9/qP7/Rc5DUkrkIZoPEUUKOtJf6V7QrXtVHQR5MWe5+NykN3BqDqq7VhxBT356
Mn/Dmfti+IaZKdeSRBUtMbcFde3Xa02iGBE0kCgLMjLwqfGRGPbEW3hKghK0IxfomsTIo7Q6nL9h
691Ycr+wy25X5pqSDJvRNL8mc5ijQpEs4xqTBMDnhZbdIIjvHOz/Qgm8XYSYMow2Uerit/rr7WVq
1ypJwUUizbw2JkM8vL6T2f39Q/ya3/WfT/Gny3z5xqS+aBg+c5mh7qNDl0OwGKpauCtVAZM49h7s
W0cDZDdM2a60NHmM5ukcjl3wDTXxT4vavzxVyJ0YRaiqRmDwrzc8pNIQmgPf5+BAMXcbp9gLDmNB
R1tK/FOqHezBHdkGmnZa1zzTVzrZGwOtDaPz9Xc2t3/7Hf/0aW6//5ObQo45ho7iTln0Q1DQzGs7
AX+QbxbS1+/YEHlVoUUSG4wXump+ZZiq0zD4Xa4sdLnUPEFO00PJaYj+cCxWv/+iv94PRpQShlwQ
eDWST7EX+/V+VALhqKzjeSFC/rOrROYbbYkK+P1VlD+NPH/+FrmOgYuCxJq9mR9/jV0X0WqXnFXz
IqnH2IfUMoXzSi66qSHyKPTzpdp3YbjE31B9wwrAIhVV95XyBaIgIXy2IZptD61S9KkWhwF/tNEM
/XIJGxI2VtJX1S2eRRTVI0b1hAtFSsmcqma2zfRNbSQMgWSZhNQ6jZhZ0mmmlHl5qRdn0pAg0KjT
hG9Wgelaitwhlc19NvFk1nGCACSJiulg3rotS9sh4QroDisximwBBzwHQdEowfMyetWFODjdG0ML
XaTuK5VsEFVo01V0++eyTKLGWoX1WMZXRc5LYJ2hgsdpVqQBuvSJ1oNfdb4PFa0LLDgvaHTRVJKw
bsv48sQ/snxW4QkMpfQ8Zy1M/TAlHX0RQJJvIc2XwoOJpT4OUhZUhDrIm3jZqmpUQ6Eyg8bDuyiU
Hewd1WWDzRAeaHFIDVBKmeQpY2Mytwp95WkMJRTyihm16zHDjwFxp4Db0GwUCRPh1nxXi7GUjlYa
gAFYbdDK9tj70DfDVIoYzHSisI9Ih6mWA4KKaTHoqfluiTGg59KwRlwwhYn7tYyp8T1BMSsR1nGb
viqxAsZcZ/08eXk0wu9JAAwwaatR8DE+yjE98wPpJNdy5Nu6PpmnKscJjMmoca6lRH/TeEcKJ0XL
dLH6UOrtIbTgqEQJyiv4b/rcuwrGrp/hqNSdq2mRRc8/IhS0SzUc7hINjgOzrmHWGL8b2D1RENXY
ppVy+oPzE3x3kPrqOVLzNnOaUA6h7ghYjHGKqj8EpguHQGV+ZPPCoiwJyxAWcWkEAaV4G6TPqpWn
kt0puCQ6g2CWn4leT3uQf/9HEJTNibp7pomNxqB2ZKPrj8NU5o/w+9hggzIIjpGiCCEAUWKeG7j4
s63kqMRgBwj9dWQQ9T5g0I+7qj+MBSNdARv9VBfCx7ka/dhFYlz0thkNdWirUp0eYKa1CQ272e46
WG8Q3PSmP8udkiJXVKbhoARIhHG+irprLUMEdgNZbO7NNLHWJFGgCZRTQw9s1Fka54Io4EE1Zeiu
hKgXz1OYddotXr2E4hrk8IjmWUBBhB1hfpSFOpqxFTRw1BRSgBu1i5jKN4mEo6ik9uK2sDLMsBio
vcilUklLlpl5HKo+Z6DVtgMCMyMVX3Qrx81UhLVUolUq1Yvl97yXfokMiuGk/trOE5MVC2nOjQYi
xcfcL6d7lhSE6CCUULEENz18OMUlpDg2ygM+rDymGADg0rCHSKBIfA00zdONA8bgae9rmYoHp660
T1NvZkzqMBEjGtYwL1kOVxymWJ194O4Jea+OlYR1O0EU4eGIJedWjq3rSq3ibKsRQ187phqnuOfJ
vNyMjHGoo8HNCYJA38RgYKrx03GAqplqRLCKQ1eap6Rz5LAsXpRBM9gFJK0/jehkRnzvzOpDFAVo
wBgQwxqdMK3c4b6QarsoqdrGTkNaNc+IjDnxGsxM1cWgMRtYVLqvYQbbI7qyUTVq47mMyzwhCaKY
mAtlJQ66Mj4Q5sZv0I7Zs1bVPbZTI3Q+da7qeSfhHPlA59ShEg+i/ho2qgjM1ihi6PhRr8D6lBQt
XaCsq+f9Tdp2moVQlm2JqD3FlvPmCP0lLheaBLMc1IL57w1c1kBO/K6KV+I0YawKsjYqKxX2L1+Y
2OadG+hq2WDfL2HPx5jTuvZVDFcliQRAl1zMRX2pg5uxDda6ICDGk8Z+ScoFpBwV30xs8acC2egQ
yGGLuKvDWCurIOzajYFRgz0xihMh05dZ6THANYZFEoldBRRjDndqohk2dsbpcNHrMgLA8jVZ2c4y
z5kJ5TTC5e/D1FzlKuMnFyMH7TTKQ40HhDEq2iIUsb1w5jyCUCEVfHgv0wpZwIxQ1mrsIAlUdnHn
FPaxVJf3FJiBujDDvj8g4hb0BYEaqblA8QDLssD+SVykLXgEYjJAPYduWKocXYx1eaehj4E6GWgp
IKYYEjpTEmXY3ukA6oPLwak8aiNhPStmJKOFWNPngQl5Xo1eKIs1ViUMsQeb90srsOyUsJBDxOj3
ayAnRVjAjVJEG8pi3tiS1cZ7ttXYAuyC2KNih7YSEWxeJZzy4PL3vnaF6qXCLvblnKIROaqLFwUx
5ljd4gOImyK+lztcd4fPEm9YSPNZXJVOxnlOLz3n9KLEiKjNJpVIwaY3z24jKu6tgsZjyI906elx
SmT9qW0ReOyEUGgKdjIBxwjEasquUhoIkCrpiolXQ4F++bPe+Z+W9ZeWFYnV/11Q9vCRf8zdR/qL
2ZCs8nf+3bRaf5giptiM6LENk7Eb+u+m1VD+wPiKiEOLIpi69KemVdL+oAXg59AGsa6hqfy3oExE
hmaSVWgRU4S0CDsK45/0rPKvVbhG1DnttE7Gs4zNP2YFXzotMU8J8Som3304znZmv79E9imyj4F9
CO3D6WN5v/l8et985/P/xRXhL1f9UvvP7Hta1g+++1LZD+fCvkM8Yz/xi7ePHYDN7dcfy8Xz4+th
+3DYvd5/Xu+37+fB/u5zUPf/n3r9rzf/pf+DITQKc8LNF8WDJL7V4fmnxfA3XfqfGWi/u8AXvZ48
qq2s3e6zsJ8ezqQD2i8PTw/btw+QNPuJ/7+Q0WLfvR0v6+PL3Tqw1xf7tL5c1rvD5bJzDovd8rJe
Xi6b238tNpvF9uV62Dmb68Z5vh6c63V7PDubz+31sDm72+3nN59fuzVGv/n8X6V5pg4eKeDU5u5f
9k/nzWr/cnzZPj0tl3fb/VNgL3aX3WK52S0ul+Pl6B1vH3Fzvp6318Vh800P92fz9LvPgm3Iz01p
AaOqbBgA8CzfbsuGZ/n2dvdxCuw7cAge4+XjLuJZMk3jPxHk25flx90Hj/duvK3mR/7kY2mfnkP7
8/X58Pn+/HoO7c3rmdX1fPpkdZ2vnw+f79Sh/O/h/PlQ8UI8nXe759f37ec1tM/v3zzfP43nfndP
XxvTpAXoQkjiut7eXe3d2789216sPW/p2I69cPiFvXJX37Wqt4f1uwvfMg5+6vAx7rh5Zo6+yx2y
DM/vn9u3I36n9tvlI7AvB55Vbu+eNw+vp9fDN9/k7a363bVv3fpP124HlSHCxE0L+qrSHyPxJUhO
EbMkSMV2IT78/h2Ubu/Y18uBGeoG4lnpFoj46+W0BKdiSgjfnctqHw27rlFWmTnYvfpZGXgVK8nL
PL5GgrLI+4vaP6oq/kbqRphfp+R+YBLS3QVKdPj9p/rbffc/4UhwNBHPo18/VZLOuWhApmU1370V
7H6XyH57O73uTq/Pp8P7VbQf3r97naW/23Z/vuiXRzGHdQWVlYs2Ioxi7dHARSJh8jtdTSuw8bbC
K20rtd+AW385YkBFaA4tAL3bkfY1nGIS5BsgSZRnUeHLb5DRiitaNgTu1Pbzj98/16/XMrDMwzIc
UFdHkGV+Teuq+6GtixaNYzgb/b4ZJuW1Vwf5gqtydvp/uJQuIQrnYL8BzL9+g6CTkWj1xPilVYuz
/Ry0sYOlOcbkeK/d//5at1fi5zV8uy0NSBmMG8iVYuHXaxlFl3dqTZ4eJGLtiH+lv8DeKv1mUf7d
VW4xWjoGqhQW4pdNoa/RYYCWGkxiunnpD4axzBH1fbP3/GUV3m5GNyl9QOpRJihfbqbUIjS+GH66
cjPqXgjG/TjMaaA4uWb4myirZfpcv43dKjERtGL89CPOmQHZ//yZIpIGYlaxhqJG+/JMuxB3jQL6
AQI9HTgJLtLQzK3zD69CzBAibMo7WcQgz/pS6eDDX2Py1ilu19TRMjFn/EZwRln+06uoCAeIwQKT
ROL+FeAMoKMNoW6gzalEEUQwB1MLre9SHf/ycoFNk6qI+4WOkTB2l78+Mb2Bt6zdCF9od61NWEmW
A05Psx7Q8Pz+huTbVvTLiv9yrS9vl2WlVgbOhy16HduEqqMEMnDKa1dd569jo1mQJP1YmC2ia8MJ
5nLFOlsIle5JI6b88KThMy+0cX5VdNUFioZR2I+wUqT7Mf6HGwFivlvqLMcLADM1/pddNZSs4TaT
7dyOuIKbz3oxnmN1UugHsRfqF79/Mn/7JSgijgJU0ajnvjwYEbtB6Pk8GCWPC681lSfFhOMYxUhe
fn+lv2wHt69AZWFxY6QXf7WAoPXPUqXA/chXMgalBESTNKMY37wgtwbj6xfNq0H7wb0wyLp9ip+q
gcKHBz5WwDqR2RvQhaLBS4dePugTsvLShGz5+7v6y8pibEVHdYtOpOPRZPXLex+1ApYXUj250q4+
acfuId/XT9Y7kYmwJR7rbfwwneZD+Dp/Ridr4y9qd/imAPpzRvbzPX/9CF/ueRirVEgHPkLxoFzF
i3FUD8Wnvgw2CnHQ9nAyoSbfi6cYgsK6WSlH5U79Zqv/+tS/foIve3AfKshKbvZeJBTjepav6kD1
ZG3YFCg2fv/Avy4jXg/S0nFVwW7v5mr7ZcEK+EGKbdMOrtQj+pTMub4C24tP31zlby4Dq5stQWGl
cq58eaZBqfgSGt3JVcNsDR9kcKdeejLh6gFSo96voUcliBTuFWlYjkwkOuveyFAQlr4MEZykITSd
VvU0Dx65pmTsbNN6WGVq42bCXgYWlUToByg3lfjVQuk5NW/t8CxJzyOBEn65lqZpOYvvMl+gKDwa
+IIleotNP/y76L1oS2Dc1NMgc36zU/7NfTNw1rGVZiILXv9lUy5i1Upnn9vNitl6G5NAfSmy7/LF
/uYiVHCqAqyHkTXhnb++pDHO9a0MlcVVp0z0+rr/D87OdDluHkvTt9I3wA6S4DoxMT+SzEytdlqS
F+kPw5Yl7jsJgrz6eeivZkpKeZSj6uqIjmrbggiCwME5533eLyhj1AlO/d8HITqAfwLHfa3vv9wJ
0B8AGrb6KaSpft74EA83UEOzE/vn30Zhvow1g2KQmzkKvB1/siPXzCZEcb24wll7pi42eid2mfVY
f/mFs+g9g3QKxEdT0Cmzfn8vdjXEjY6RtHIKVZ5j00AD2K1PDe4aD1RqyuA4gnxW5gl7yvUtvBmU
ygHzp/MNuEcfdRSXdYEMfQpl79UXbtf9bOF3pcFSaMgy+pbeOAOwRgi81Pj4KvRW91WDNgwi8D+b
7ovntUUJ+zWvmFVbIOwFkYc3kGOenfjI//KA7CV0WfCQ67XpaFa9OdWXTpPgT3DUyexivDA440+Y
2BrHm+P68qw1+eaaPIt33FyhYUjS1X05hThFCCoqVEdbTLkPcpq9izyaqZnlqtz1TmXyV4Sx7ae6
v8eW88ySk2A5Te4mK8q7ZnK3FAlPeCH/CeaOXzMgKm4D3AdMwz1aW7E50j3FaRka1LVpUsTW6Zet
jOZzl9KOsYF1e+M4sjpbuA1zjTfi/kuv6PEOdKcwKVwtZvX4/ns5jknWCAgzcxrliKX5rY62eFp6
HTQwEOToNEPUMAtkHfRm7opxOvX5rj/q9cOzM7gQnHzeEHH70edrN17cUDsbQ4kd6caMTIUX1gyp
xqF+hc4rvVqEfobI84ayhjoRq7x5TkPXvRXk5PB/1oX+ev1B1eg8gB6YWlGljgPXKtYauCsLcz8l
RWds35/WN+twbVUAabh6thsMum5lLz4qffWWKqinhQD4PmNr9aMRlPEid36gZqyf+ILfbB4Grisr
dx60GFuWfXRR0TTKep2HC0OUucMW/rK8rsZlPHeGXt70iLM5YKZiH2Wxt3v/Md/slX9GXiMSppdP
72jkQkNQ3/V+HjozFU5Ta666EYP6pUkeALOcVXUVn3iPb84ARiSEdg3TZ8+CbvZ6YlPRK/LqDhtV
20HIx2CMTuq6CN9/rqPXt1oJAC3iUuaR5BfWcadUSaGoGNyFopWR2eKq9NKivwE7qUSgaPjw9nWi
8ubEGXC0RBkUiCgrZh2TkvxxtFVh+01zZFeiaGz6xxT54J46H8V1AFPi5/sPeDSN61j42q61C84a
aMpHn73kWhCJnCrkMKTGlyhrorsUj+uPvaw/owAqswDSE4KQAHn9sqKFwnMDYCQUsMH2i5FkPzsh
ko/OG+sBv2zOe1p32MWOPu1UtbFTL8wbvZ6IzUpcXb4j3GuK3di1/Yno+/gCQNKDlkNggGsjHU4U
K7T65Zc904FbtBKIR+p6wjt3G4tMSBULJAleZxfWF532dho3qnZenM/N1FX3SwOyGKzLOGfbAodX
eLopAqyHsiu6X2i7q+zJq+APA0mupm2CcH1aa3+mlYUKAXt/KRez9xDp5P6XDy4Dwm5oei5RNzkq
Qz+K27R+HLsuiTyAAEmy8xZSHPidTCe+pqNdApIwo6zIQzja5KeOQ9A4rttaA7EYQBuubkya9R9a
zZP3WMJaKxlkrnAEtJy7Dz4bL8qjLsb6o0pmHIdULSIRerp4UWLJ/KAuoKlRr45OxDVvdgrBtssN
2yRoY1N6E5POfithRxeh79M3sSktPBFCxCbYsw16qz0YJBbsj0XbLEEDNLq/Eh6Z0TdPNjB3kJWr
MiTd2G6nzJ/XrvX6xMdrCFbyi/P6zzAOZkkm2EpyCX+y8y/OsBwtBnBZOAWtQlGM6jb+NGE+G+iy
XS6MyWtu2wIlVZyk8a4fVbIdvB4HUsAje7ft4zOgXMb3j77TNTLnimE55tphehRFlt5gpWW22g9A
jjpLM3vaZRpGaP/BKMSoBrcmzm5znZgXD470OS3LllGyzk5vvSRJDlOGqPXjo7A1rqkTi37KtfL8
chStR/ksOqtARGqisBm1cY/Kt/oP1grRjmmCsncwgzzarnJsabWi8Qtiegm7Rk1mSE/Ov9wOHtX/
iJ/qwz+L4iUHdP0px0uFvdAnrcVA9Gm+fpYFUmVLzIpVZ2QUz7XQpy0oE5jY70/Zm42EhQ8E1OLN
kG3iMvt6GGKCHo4dwxR9rX3RaH6Eab/QmYLvzJ6cY37upoiA3h/0zbG8DmoRGpM1xfhQP5rBJR1g
ohMPhJ4XjaGRK/0MkxkNdFdXfnjLYgMhPiaWWztsjxNqOa0ltumrJCRTzDXMwHzlKluKvAk/+kis
BQhzBqG8ZXNovp5H6FIWzXYkmStkKj+aiStHC/8zNR3sggdTPL0/3NvXZlKagNYuSH2iXT+awcLo
nJ5QhOFq1Eodu4S9m6cZ/UsDJW6fwzY403m1+48Oy5vjoF7rPCTy9XXrfvEZZ6BaaKcs0NPqACC3
jgEUf2+3q7xv7GY4z+xZWRiXZXciq3x00WHjXJcMqxHmIUffn9L8i4FVZ8hBYWLMTjlFl0ntlue5
uzrEqHkOYqz7EFHm2ifazbJQh6Z54rnfHknkk3TUWz4JGZ1A5fVz07HSKfTMUeDSAyzhqi3Jajdh
ZAAeS0H6GdNYaZxYUus7fL0DMChwJ4eTiXu3sa6BF8/sSR2IvIMJLzRIbauNOZ2iWaZOjPL2W2QU
5tfEJVKYLKnXo/jZkCEpMCPoHNgzXuE/QjZwSGiDCWG/oPF9fwW9GY6I0sT9kfrMuq/9cQh58VDx
qCx7RFgKUGjRAblk3wqhW2dmC7v0gyOxTjgF/lxNWTXHI1GR9On5hUifR6q6qGhJ3vTSyBHVd/Hu
/aHWj/vVmyLS42PgHXFro3//6GvERtm3FvoTg8R0O4ABppJfnLHQsJXOcqHH19xoUZUN2RADCcJM
qVIfDdi5dKz5GVK9/CTXPDotit7qqFUVdiAmjiOtERijozcbvtWtZ330orOOheyREg//MY+bpGZ0
tWXtQQVLsrG5GHOtvjat9NR98c1CYRTWPFahBoctm/frdZnN2IlpZPaQeOqrf6WlYaWMOy4smnaV
9354taxfAU1fJnv3Gl2/Hk5ZHTVrThDkqI68zHITnXOljM9uaZXb91fL2ydjqDVZQ/WfhJp79MXF
uaiSAjRrgBkWhtzSbq37udUgHbSjqZ04at9sIvbrwY6WppE2OVLs2QriSU67xqwwP6va8sT++LdH
IhXOmU5hns9u/fMXXzUb1WzOprRwMHCByGRD597EdEdfic6zh/9g/lw2LZdDnZv9nzazF4NhH0F1
emT+EhHZO2sodJQslnZl0u5/4rne7PsIV9bqiWOvyX7qcq+fa4lm2FQZQxnu2H9JFuGFi5fr8BSL
GapzVZ74jP/ytshW6OSdTOintn40jxh4dyKtewt60eDeyVKPz3y3rMP3F+BfR3EQVmEQte48R6d4
b/hNjWWdFaQA2T9XWWGel2OWffgizNyRf6cUT5aa6/3ruVPJAE3JLVjm+FtvsA1P9sa0zCcWw1/e
kCWgvuM2SZ2Ss/L1KPzopbcqHa7UELu/eYPNdnTQ9OdtTwWTDnN5YvLWV/B6r2d5k/jUyb8QnttH
A6JH6TTS+/RnaEhRAn3pXYtWiVZ/ItFNqfL9V7We8cej0SihW8wke8Vxjj+VhWu3MaMhIfZROCcI
zyvUytfx1MCFcfzPctLjEwkZrr7rU7waF/MPLt+cKSbBFvD819M6yGwxl9yU1O/b4a4xQLqfDSId
rmjnEcBfGhu5Y2X22r2o6uJaB/ZG7n1uvG2pLZm7y/0KmpFbD+lNnInZ3/QWqgQojRZC6M72MNEV
cXmbN1ErNg6mWX0wOJD2d4RxQxMgpEpuIz4FnAiGob70GiQjQYywGSGi49gk8DRlfjVbu78vkbLB
rogbZBjjUJu72F0iOmkGy3q0+MfXeWMtHp5UblZvCg/EQ2jFTU5FcnQHCSKsnu/gSxjnXbJ2WNR2
XF/ome4++ZoPzbMU0bDP2yi7gj0Ukz8UkR8HSW9nn2llKasgbqfirNOmPN4Ore78qi2SWZtxJFW8
Gfq8vkI80aINSlsNYHfnmogYsiy+byO9QZIU9zxTr2ficnbw/rpABeiRCZPSQzAwZ/X3PAFdzRxF
4x0Xwvx+lENUbEqOx3wTgza8GesmmwFUcdxvyEilP2zcglAKmU4974xF9b9jQ6szRHR9fud7hZjP
q2rwACov1Rc6mkBnlwgn7qSoU/T+xZBejo3j1kEmXdltWhRWZ0W8WrCYBqwepBkDpFu9abWD3S/Z
j9gg3RQMSe3h4uMgjw/cbLWg0TzwsojUtOl66Z2y3buQJxsawsS0bCYVIyq1lmY6g+vcqY2XWGLa
xli238+Gk9yDvALT1/XKtM81MAsyHOl/eOrp/boiFmbS5h5+sm63qoPjuMRXAMJwcRWZ6/3McKEy
N3kcu2UwrMLhACMNZEODVQy/3GbCXqBMc+u77Obu5zT39jX8HeehpbLtXtZAx6bNKN0W7tSI81zp
O1B5kCP2N3EEWzEwrajNAhO5LHZjjovYHxHPAjxxlqW3lX0jzu10SbRwIIKmlq6LDkZdzmCByD1x
3qMs+ZWbqjj4kPB/j0nhf0dUm6lgIcF7GTdd+WA0Vv+dSpr2NcXi6TGuaEADNl57WeCQ9Gu3riv1
8yS1CMScVFrz1hori3K7GIUKqkTqnwfc15ygt4VxB5YE2/e68ocDMOHGDQjwoIyA7Oi5MiZOcSlY
QM8Jes0oVLHWY4gE0Z23lYv4VrLD38nZn38AJh/BD/cj4EukLlOzKSxvmILEbc2tieVCueP2GGe7
muooFm0yAXlGqnna4Yvb731z1tZe09ytiFTHBgN2y1q+lYVsL2Nuk+kW5wXr9+xKiKoudPT8zPFl
C91R2VHQEbvhDAQDHCxq3CFZSfxlvNBJJ30nm7TYu0oK7bpF6fmggW4bzuldqC71KG2gESPe+pJ6
XmHt+miIz/OlzbKQUqAHyRfBXb7T6O6R55NJRLFb+qW47l1pP2FLqG6ctloccAuyQ3TMFKBgLYdO
D6HwFndaiwefhtr9szn1CFfjuZTxap43OMFQpN7DYqj2U5nxPWLtUcb+lpplbe/KzigvpFDKDZpe
m/1tKkw2KuH+gcLjydZt0hr1W2iQTKDZkTiEubOl/Usu8dThBLWobxxCjrsf+xmIlzK0Su0MzbSR
0pqlqnbKy7MDTAhPD6fRtu9GA4hq2Ig56Tdq6MZP/VLihyytHhuGxnRjK8hzrYejxEdvBFOzUDOd
ytbQQ68dAM3D8/ydDrYHLAP/uvux7/vDIpr4Sw2u78HkIv4MexfHYbw6RjJwRlmELJwcO5sCJ4og
taLqKU1bwDNdvRTJ51anG5Z60zzfZqt9I23PWfwIB6V8Bo/szaEiKJdnxrzKelWCJzJiZfnNHMb+
IraRXeLspbI7q+2dnwTwLVa+uGh9ovpvPEeqrD5rkAnV1pvn+ufU8lFvxrwXv3zAMeps5NbZbPIp
Lx7Ax086zS3+Svfh2h2mAle2iyFNx0cRYf2zaRZN/aJXSek7n/m+tkH34Ytqlaxah27qnVNSqt9G
quNnGrEGF9rT/Cnfm2UqvyRZpH2hKqv9nPVl+rQWBx6mGoQxJnLC+FahKhwppKYjlQwHV1sYXor8
aGIrqiCo7ag1FkAzL0RVjo8EU8PdpEYWm+NV8lbHWuQxSQQngpqghm/8wmh/xo6c2RqziJPEhubL
0VwBLQFcllSB1MGsBNyPo2/tovuVfokijXN4Pwx5+UXoIPahrvaiChtVYLadY3B36Kx++C1FFZ0r
NfSPSZdHRTBWvDjWG4sX4S76Mg425xekXRupbW+ob7EU2X1TOE23E5xEVeDGdvmsqc558AtgzIBd
GoSFYrSalEq5Jh+MPAWYojTd2fJdQWahA6G4yl0AnljBTUifZyy2mR136j3uHHn+NUcM2Gz8QUsB
QdNsG230lp0P0SSULXhHLkbeEb/pBrpunuzsAv4yvy5EiospWWGIumqqJZwJZs0dDo1wAT3EmHKD
BwCj+qk0k53lNEj32N/tb5G32POZg+zy1tRo5tvGWlLjTEOH3UIrf40aOJqiWGxE28sHJM88Recl
9Wq5ULo9wjTl12y6lve97yOPZRAnfheOleQBLHpkIcqmEm9Oi3gEIWvrj19Vvri/e+rCHcbDniGY
lt5XOJFO3iPWg+b3FjXfpSXn7IHMVPdZ6+PlUU11g0mJgcKYIoesN3S8R8aecz+7bistGgNUn7m2
6eYk+RRZKSGQaY4IRiMwNP7OTB1Q2kvTAMGmQquHstPAeJuAjLKNZtXarxGH4l/NYNRj2Odd1jPx
ymPTKazvOl3FEHgGbOz2Ti4n1iFUGloai1whDo6IK70wJeDDqIZk+pA+mn5uuQDi2lzb5bKu63uf
+1caapwvdQjK2L6Fxh77iFHjhH+EEBZqZcrc74dKxk+Tp4MQzhZPW3baWJY/CDtRNHFBKJZ9P+R8
McZCaQuTpDqNzhSsfj474MM9rPcxgWIurAbxvel1j5m09XFHjbFYAo4l1LhJmWE/kaalll1IMrBW
CF3SR1CPz2XpkpgAc3JBIrHnoYtMzy5HkFWQilD9Z8kYpBDx/BsPRwPA+NNQuT9UW8Z3bq66KSB9
2uUx+NjOic+pcWjLN0/rWufzQM1tOW+qdiku3KqgDzRPR6KLIPU9s7jUCqdGjDmC/d+DSp7zL4lI
gDlmEBPDWOiafiGJtc0Lu7Tz4beVEGTiUNRpYA9KSpgFQs5yxOARptW8n0YvpQOQIpkfbTU91eMw
kY3ECCJHpXIfL0sTqTMKLW2DTYmIZv+C9puyv+qMmcCP7cQabwvim/FSSSjGXwRoQhS1Kc023Zaf
LbLdXMeT/xXGLc1mky09/2xii7BuBCFPFEzU6LLbGqfx8qs3mfmMSYur5/F3d/SwaRzc1NN/ZBVI
B53vBGYnh6fNlYG/aXvnvdVCAq3KBJsVzLhovcnxg4DxyTlqQIHMcTkhSCshoHIY2LvU5bjcdyX7
9J3R8uKuxgW08YWb9p3ESWOAsDa3qSu/Gka+LAcrIQOIV2+hGhryJnryU3i+lZvIJy+K4DhCsp+q
XSu0EgD9NCTaNxePruJzS3Mx4MYuHu0ldBo70i+4DK+I3hHu5sPQUP/GQnbi2gL3C+JLAkw57r7V
E4DtbTzSfHCHgS+2OEDKhLZPOsyqrjHPaKwW/06psRvgePOjHw0+LWknRr4T0dIR6Tn2eiHrhxV1
2qiYgXl96XmDxRXhlO9GrbExiC76T41eSTZXBB4A6SQA5uUSh3fPefZ1fy62Asq3+dOpqs67rp1y
kDeNV9hiP3QYVRI19q38hpbCXY//qSzm77MxSJxGXXeMus/w+0jZb1oNt+egKpKOK5+f1sNvPfdy
QrWBUj8ZCTuBVEbnXlDVojivZSqXczPTbJMzy+jLGVuHtip2aZLk2ZXfJynAySlz5cHQFTbSg2ON
965EyvBZdCTON6Lr9PE3Qg672nq2lN9VZrJFe+5ktaHldSWo+2LxbygSGdVWAPiug2SmIXjb6pCG
92ObGHB6rcHlRuFbdqfvFtUpd4CiCJBkm3VR2xDSASF3n0GfGdEn1WuEd3JexNdIyXQKKqL6eTcC
+YaPbpauCAcT6PYl3QFILPRSQBz28RfEqrXNpHk38BKrHZyCElNjvFH0X4ZfWM6ZC4RcIKEeBhdX
nlbVxZe594xuA/p7KK/zzIvSa4CHdA/NEKXBs2nT0tySywdWO2rCBr8om2z4Oll1leH0BkgPsEkC
8mLv06OfnsdjvlIHxCS03TB1zXOE2+0Pw12WehNp3eieO9gelxs9NuEYy3iKb3w/wQYqBsXcBa0u
pgLaR5vXAfZtqNhGct4XlGTFEIA15RpFJk0zDn1F4QbNt+LO2nigPzZ6BWU+HB2iI/4/POJ5MdR8
rRgqQtdL/MwhyLDNDLZJrWb5S8155R+gR/TRr3QxqgSnmUJ4l/BHvPy7yklqQIbW5+oqEVhofJL8
4ssnzTKn6bqEasDt0y86sMbEtLAdrISuzbNGV6z/fmosBzaH7YIpVVBMXGK7JS6/ARHVmocla9VT
qiYbrG8VMc6Npw/sXGVKVnxbYot74XrdwsZFDOTNX0eIa+3zDKM8j8/Swe+Ng6MX5TcDhIq7VaMe
Haym4q6ejlW0HZsM3QYTlj3jFtz7OIpnntglYCa6DW5ZYxry6N4lvs3ecAkAmOt7IXzrAqsG5Pe5
sscrx+5ACQx95VXb1oZ6gTFLZT4PE5Z7IQkGToY+b9pHW8YeF7HeVYfMpZOOr6eAA1k7eWSTsYN8
uuPn0WVnarH9gytuveyXURVfDWEmy7aEcVEGsGx66D72YF3NWVyLbS1rs9/3q94JZE9ejHvYM4VJ
0wh+h9tO5u7z0mV7oI11sx+dRl7V40oAbHzsoTiby2mzGFPUb4Hgt/h251l+6VZpl8K69PNpm5pN
uzVaqf8SfVrhr5Wt33mnt1BOvMz10x0VyjlMkWzd8UbIIhA2RDcDiPYK2uhkdkHWzvLRmQznt3Lj
qgg0qZabZihncmy60V67HUjDADcg+/vQZYDtXZvmv1aVxhIMqZn+BOFS97s2lcrbc6esmk+dpjeQ
UVJd6fEmKtL5t4u3PJu5SCNY6xp2tj/tpbSvTD+alsBX8AC3tp7JWzIkrbHF2L67LSDpY3ZmLqkK
JqMZv8FPAZRRTTT3hhMNdPed57t4hky4EQW4gvTAXEWjP+NXPltbZVCzCOZJH5azTDNIu2pd1jzx
4gqQFbOGbT1Ss/gBpLxGYsDq8FFCdJ/9MNIS+A7cUg7P2G+qh7o3crFrpDZHUJmkdj9VS6bhJVzn
BvY39mga21nERCEZl8Qx6PvKAJujpMEUq94ig13VzS9XZHUJEDdKtv6oyqfeTHvusPX4A8LX6AYw
QoBBz0IjME+4MnxFxzflGw96kxX2cCJBRygnvdPTDmOYYbA8OzBn+ZxUJHiCuQGpiRF1bP3uxEqL
Llg7n0Wk6GB0iIzJXnpDnoOErMbL2bKN35qdjWoz+e54Z0w0lql8FsQXLem+s2LUcVaxx7IxLsxi
SiAkw/v6XQ05fuZd3aU/qoEcEvcdgv5Qy/SlIoq35hrKqS/vIy832pybAvGGBY8mx6ZzMxame7mI
TjQbFcVwW2MBiQR+ZzZwAS79+l6ZRgemAmYwxZO0iLmfiQHLjLwsnQXitsZmayiiWtjasWeyz042
ycxunroASVLq4KI8R78VtBScKSLLL9nVM42rkO2JA8EQ0WzhRQr3ban3T22qGNmqy7gMUo9zm6a4
jq6FYTDi/BxfQM3DuCPNnC0Qn/RZA+0CN9/L7B8q99M+jMqx5WPPx0kLcWUnQdy2sks+Ya+Hs2vE
ljZdp14BTmgovWIK8q4xibvyprkiVsQ9MoEViyum3i/fLdFSiXXnbpQBXhd8JHiDtsBdEHWtdGPl
PsVjNAEBZ081zzAYyAXc0A5pWxrX/c956RW5RrlivwZrgCpYDaKHhEJxDasAfcKDISHTQkbGtorb
Ri/m8pOmJV6+NRM/fWAxFnPgceQaocOlaC+SJhvPZetg4uGR6McrlNPdpj/ViM3QxaA83k9+3Szb
KPKibjf2FlB9ioqVHcaDavpNJtoq4YhzcRjyKp+Uxai6OiGCBcDqd6Wp4yMyAGlC6l6ocKSUVm01
yEhD6PqDA403t5LuTIsqyz8HsGI/jSnM2i3WUIoOLS+Ob6bBVPiolfCkx7YJ+fH0NMJd7ZGJ+h20
KWu0ZzPUpVF228b05YytUd2B8mktGYVevjj6Vtpz+lzK1sPTVS0iOS8Q2GGOwW1FqlvoKP0YSFrh
SBv1+MdGHjeYgLZA/ckro4J7PuHiZVPqqt+LBe+kjcvtywgHYcqbYXTFVz4PKNEdVWKQ4LUBXUsr
xk/IWsljaGUuKXBp2LrYWROHsMf4fMh6fc3M2jRZC55+H6FXSrd+DdEFBh5tSUDXsqLYp4biX6us
wkrEXjIy4UbtwvDqklTXQq+ISO2SLdFuu6xMYw73Wn80otTBLJLMTHK+TEOh9inVD29jyqr5rCqy
ABhnkRDhxjDO4A5M6V9mcLKXy3IiIA+4/OrVWTPYZYxRWM1eFXu999VrfI3jj3gqDRc69ob4hsJG
Uh46bhufUphwSehCvcMBaK4fG8214qAc2uLZb9vlzqZKtWxWK0yD3FpaAGuSBn1Xylql9jYWcHJE
2IzbfXXmRp6dcqAxyeSU5v6zGscF8HY1EyDB08wvOzhR/rb0HMJeW7kX7JzLj9ZGy4YXaINUmhhv
kntSqtrZoARorhoLCxJXGmywf/rjPkTC+dw8VbfYxD4N1z+b/7n+08e6wRM4ToY/ht///m+f5VNH
c9DTf/EX+//ajdXvn0NaV8f/5tWP6P/Xnz+mkW7Fpr76L1s24WH+Mj518w3FgOKf4f71N/9///Bf
yJu7uQHE+oicfFh/Wsyv9dIrXdBk8f+G4dziLFdi9X3eFz+r3/3xP/yHiMPN9b8NtND0jdDU5Kxc
hH8groZt/zeVe5pEBb05Nn/2b4arDcLVhYzOvyCXDmPx/+JwNMP8b6rU2Idjr0qPAYWNj+BwjtpV
6QWl/WJtAHdXeADNV0e1zq4qMBB1y/RQjpZ50QNN3jlc9MMMU8fQ7iN5YfQ08HF1jLaFu9hbiHFq
B2tVbEpnHPeu4/in5EivK6L//E5wvSj30p6OvvGo08UtYzVYkAYOpI3cHxFka2tT2qq4E6COn6a5
QDLHXRrPTQU5D4Ju/AWxILalBLLkTiqaHbFVpSSSzav7X2OlLcw0uIg1l9Jqenzxzg//VExfdnH+
aZ/6dyH1n1+XblSaMGh6fctFEKQZHAibKT5cmAOENUmwu07WbY8JtKsdvDlpcDiGu3pesffeqNmu
40DEkA1zaX7iOmJ+lY2n7qj/wiikhts9FUkd7TXlRF9m0mXPJvy7R9tKlq8zQf0tZaUb3F21b+8/
yOuegf/zHO66RoEE03rxuiBsJKRxOJrSg4Om89yLLeoztEHu3h/ldXH9zygsWnLFpBhc/veoZ4DW
CC9tB8WCIz8VSssga6va9hJgxSlN/evGgX8NhTYQ7SNNTP5xE4TMU7/xHB5IS8fnQiJyHSLzute4
/3V4H3z8uWicRB5CTzsAhKPG5Km1LXNMrPSQNK64wl9t2FZV5l0bZa9OCOL+8qLAcLuo76FY0WV+
9H3AHEmBSnbZIauSdDetRdUFiN6JLoi/jsLOQEst/eyosl4vB2zL9VSBmTsUcZnt+BsdGD1yUO9P
29tRbHoQGIb2RDqhgXu9aisyIRcQuRrZAbUdmSOCw13kZeaJZ/nTSv36GyWScWke4cegLjtGFgzK
StMqyVkKxEZhhV/jmcaetknJN7pxyQS2polfmEe1V9V4OdOFdqLx53UH4boaaac11mbyVWqFvOL1
k2ZYjbuOpFg3JeYzKYBuTyg17JPVOclaUqIxyf13IL104ov7yxR7yNs4b5hi1Lnrn79opiJUjxDs
edkBV6A4pBKNNXLdNide5NuPDVkUsgr6dCjRQgU+GmXwTP4nzQ566xO3SfunOVffNbwDMHo60b3y
t6nkwER6Qy+fQCXzeiwYNMncW012GIiGSTcM9ha6kLZpvSYJhfLbq8WirlOUYHPfX67G27PJRtLP
juKyTf6B0b2aTJmMHlmsvjh46iHv5TUpte2UUgvOdMzPtLsMEqMZ02pbRaHv6ttyuQVD+pM68EbN
VMtzN8zH3+//Um9fsEMTlu8RTNDQ4x9/qY5sE9Oul+Tg04/6DQc5/4ZsSLd/f5QjePi6gLFP4kSm
FX191cct/RGGQR4FlGw90XKKp34eTJMznOEumwLOTdwzV2nZvdON9RYlin/GzarHaac+pUp9+/rB
W62KTZbb2jR1vNUaVudFMsMFiBT4WdOIgahEVxiArFBSvbJ2tGakNzTqJsH7c/B2kTMyXas8/SpB
8Y4WOWVcgMyKhacSH1vGOYVS6eBb4sOQxsI000/M+eue+D9TTjqE0wtqIdvH8XimgQzQxmbqkFI5
u1vI2dJIpLRmwO9M4NhumUBRUNa35blWpGQQo3g58ch/e+3EojRZ0w6MjdJqafBy+2jmVMzWUGYH
tzGw+RrIVzrELJtmxINFSpzjSP0Pt5lyYfxROwk8mc6BzU37RFwoXnesrbOx8jQ4ygXAeItOkNe/
ydgYALTmcjik2M9SJq4bUvTwTusRgzOD4lOmYU4TcH+PL7lxbx1AvnjGdZRHg5oaSx+0pSYPVkR9
ZVtHZY4J3kgf0aaOaSrEAUg5NPv3IiXHOkTeVTdU5n1dJUkYz7GPx5yqhh+utNRNmY0eGTGzm590
taTPLX7TdxMtA3SQ0Nrz3NA843x4gyUmXr9B/sPHfizMSIFyW2WS94dak2bQF4SavYF0ADNZf0MB
S9y+v9bfBmoc/Tq5RhPGCAHb0WwLV3q0eaj+ILq2OUNMi7Pz7NKMUev2h08ohmLjohGcjnDe7+sX
a4xNOw+60R9SjuILLRer85bu/CejIKtk10Bj8odM+nIhtzMMAQUy9kB/LmtFNd81C1eX92ft7V7M
o7hoXbnvifW+9/pRKIZj5ybq4TCS+94VS2xuZn9JTxxDfxkFKgQ6mbUtlv3oaJRZaxuKM8NwsGKz
2JKS+5UnJCA//CiCiMUgRkc38oaB4s3ow0CPj4fCHPstDYFPch67E4O8PU89QdzHLZTAmbvHUSw7
cLr7gzuPh4zM1nlsz6TGfL045/oZb5dFlAENbqcOkL9N33q5hoXGO0Km8volOW6LxGsWDKoPNXZx
ciSvUpzirf3lAyLmt12uOYREb1Z1WRmd7auuO+Qptut+m2khBt3rLRVrvvdf1V+u8Ssvz6I9n1hd
sPxeP5Eoe0+Coe4OWT3jo6EX7pZeQ2PXjG50HZmDf2VidhjAJmrJy5noX+NW3BZtnW0d6aqv5jSI
D2ko/+zWDoES92IBc4Ad6/Wv5NgSZkhSDYdqWfy9G7tPkeaJ7YkH/8skc39YYcMcUKb4gzZ5EdwO
DTZ1emcPhxyXs2/a3OU4DsZWtealp31SUyyhcxSBOPh5o6VBdppL/L8ymzw7Zh9Z6Mh+6HezV31H
TGqyx/l1WZ34Lf/2S5KLX5UgvKA3yKL0f3N2XktyItsafiIisAncFuW6Wy1RIz83hCzeJv7pz0fv
E7FVVEUT2hdz1aPIAjJXLvObHGGcqqg6v3UX+PFMwzvUcWw3MZ37H3YCmcJ/11rtBNuu9Jz2Qedr
gJ2PFhOcd2akNMcS8NiDOprRsew1601luTj/qcCOc9oTXpYGyTnRwtGz58jeePyVAtnLVljUS3SH
07Dc4qtwVbRTFEyaNfhVidhFkjPSMprKZt6FRdsPocUW41/0v5mhQXEXR9csGp8OUKV6sm+xz1wG
0nKPvSUyGZEdCd2LwqlBv9DtWhtYeVa64JI7eYzACw47C1MA3HYRBvdFCTZ0IyUylvvouprkWrQg
jThUcsu9db21HTw2oee7nR/XhjykUZMABcAFoRhoQttovdMbS34lNs2nQMr+MWgfAQm2C9A4yURz
mIosPM4dRkZNhaKfMem0jbJM/1Dmev9zwNhjYZ7AvpI8aWxZv5kJm75j9uGxjBP9DR52xcOQDO7J
Ae66x5ZOPig6w0ZgpbCN3GbYuNVuNzDh0qTIQJ2FO21d3FWqjS1kpA6+qkjFi1q3+SxEU+5S1fg7
TsmyV6CQ804RKqHEIiG4frf12PWmmO3BV5rJOEUy+1XTNT+/HjZuLwAWsVUHyiD/IcB1vYhi1G1D
aBp9emzDvlRwc6a3t6VUJm62CZ0uGqCEJgsynbnKoKY2RaFME6PfJ/JX3DqPiT0cVRgEu76tt+j3
9z4REk4sg5KKSX/4+pGCwcTTswxGYHm4lAJVmY45XuC7SsH8+/W3t9KL+s834rah47mshgHB9Vou
rnnBZKWT34RW5bmhEz/UUMiPeg0GoC+U+tGdUvlNi4Xeenw+8eTgyot3sCylS+mSuy0joMZwaXxg
VHRq7XT4nRiMQDdO6p3vDOoHJhnlIv98XbsMEgkPlUvYx/ik8tQO+wTRMBfdeB+3hQk9AWpj9JaX
zs66p1nnumLnGu9jnhNMaSyZgnbUUrMBPyYaaK+NrTZnkBMguE0ptW9gcMLwyLxYvg+6cNqiFd/Z
ePTjEAOm1cTlu24QWtgZQzKrZn+YY+3bjLUr29tO/MJe3KZHaOsbL2D54NcBEWrWHwuudnqsIvSQ
1yzYMlR9N81udmpMHYPtTISPE9jN3dBVwZdCndT3bZYZx34c/45N+rIpSbLocZmI+0MrXTLNPzKB
KLRRa83H2a/h35xmJsGAKpR2Xxjh3zl5/f9SbCj6lSbbZ33WuplJeJwPsx+ImSaIWzue0cG9NAcp
t17tcjfevFqOGIYK1P/0Aa4fC3IBY6DBmmk4Ocap1x0DbhPummnaOGcl6k2aD6gHRvHUHWY3aPa9
0cReYinVh6DRko2tftuQ4EOjD4Mgmb7IWy434x8vWakap8CoZvYnosNOar31EWhpAtCgkI/gRyUK
Ze10IEf90TS9spFS3olx5JNQNSEBcgmtkz2tS602idTZh5PxpQ2FvR/z8pM08OJ+fUPfmenQaPhj
pdVbh5SFkuAAii0XOC0HauJqR02XEPJcrW3fzaYAmpwFWQdh3wDt1YeNTheiysVpbp0RBjgNuA9h
C79hN6mW3uOPgt0ojXu3PCqF3vxwsFPqEO2FePGGE4oKDi6LyZuiLmEB1lUU1hvPdBu1Fx05BAAo
GKlL0Fi4/naWHY2FZimG3zh4p8OYUU4Lrs+PTCD7e2eoJvy7VCa8O2PUy4vLMPDzlJYqqrS1E6RH
UAczBi0uGMgUKBQ32aC8T5Ve+/T6y18H7UVADGM5GLICvV9Ua69/Zxwz4p6TUvqBplheohkzkAy5
pR1wu4pNKwAZGYDewmJDX68yiDxdgMudb4o2PjfGVByFM/VfX3+WdSSmbUaFacJh5rjgfLJapXCr
vhpkM/jj0E5vQurZXQXM5qMSF/bDlKrJ+9fXe5ki/BkuDMQJlvyJfAPOGUHj+rGqTEOgWmaqD+vS
/tGmJPa7WrNDZdfBgAy9LLFp/eNE7WC1SIe7BRprWAlyylr4UxopbPxGhg2slz6KP9t1JzVoSYUL
ZFCTWgYoHwgTNcNilma3kXin5TFQoKoWoG3411BGDQUGqyg6+b1ptPBZdpX9FA0KeuZlZKl4WM29
yoVUBDTWYq2RwLtBgZqwfKAd7So9XZiNDe5XeQdrcB8NJgKU6GTBkmmtyMIJzzKq51hxmhSa5Vj9
eP0VvghKX79Cx1xk3hxmugzF1zGu63AHLwrZ+W6sYbVLuTyfXVgHb80aloWhfLTSefo6owH54GDx
tFPRgSj3jCsSzLHNxH1Uy7n6WYBXjXfpjA3wPk9i5HGbtFQ+T72tSZgQtvoYNZOs3iDcNz/EwTK+
noE4fY8wGINHabfumc/Ll8kHN/LVRjQfcJxiuhBmjvC6uUnVXdK1lfHcYbGHSiJktMe8a41iZ4hJ
pRE5ITS9a+Eu1DjX9+anrgtBT4cyUU55aoUOaEyslVCg1ofnaK4x2YugA32q5gQIZNnQJPEW+a7U
k0XXVbvB6awLA0CQ0DjCRo8TcNCacB/MBxA3eLPH7gTUGRR1Mz8pA5TzR7032496WuDM3neyc7yw
qZPoyRF58KyEc38pSwe/rixU/2WHdWCOow6oc5EFiLpPdh3Bx7CjAX0PzFG7k6VDt2GrheVDoffl
hzhNa9BNAwhUTKSqdDzkYWGBSDWrU17kU3TGQg7EaFMEzSfdpISBAYL14i6fjS+B0EDMEZsb5/T6
BlpHFrJNE0lQmn+USwiJr+KXnPJY7yq981UIwgcNuaoD0pzG8a9XoWHGXJbyBZ2gtURVleWYuhUF
ObiJQ5qBId0hS1H2en2Vm8EpD8MyyCPQVCLV0Vale1C2eRco3eRnUqI5L1q8Puk+eokxD6fJHr9Z
pQamfTKAenVU2shayo1ibSnGVufR4hguk8uFjb8mqkd6FUApDToGp5q2LwBwNL2MsIkThZfBMzvX
kB9sd/q18ejLHX+zLpBREiwDTsM68yrb3jYUp2ZgIJG7B/OqyM85r6HdDYrr/i4gdPx2SUJSL7Fn
nLuFlh8hkLi+UBTTgx3xSSuGAoQouSFG91PT7pwBDz1ArpB6Xv+xd38rAyniFjUg+IrrsC+LXp2T
zuz9se+ZaBe6+oCqRXZAWE89j5XbUnvZfydUSTbK3nBo1y/3NePAtdQddAt89TLR+x24ZW9QE6o6
mrd/mXKyCl1ExEvxrkB4Zz33KLSytWtVGfzBUeKz2s9m5DnxDPQWb/v8awsTCJ29qY5+t5Cmai+o
g2mr43Pn9XLGGDgCRkKnYd3/SPoua7JJoZIfnPmsQdg8hZMeX6wC+9qsCT7kra1/eP2T3vR0lwcn
0aXFz6wC4Z9VJw/xYhH0oTb5seqeYbXvyN/eUjh+0JngT7Xqcfd96zNznzqtXxHVM033IBXsN37H
nXjG72DOjqbTy4z5em8hGdsSc0OqnbEdH5xIN58gC5mPCHHaOyxFUXfVIzDklVaB58e5ubAmm1mR
AvW7A+OfF7rmAdPZ7P0uuczqgFLjsvGW2ET5uXpBGTqDWpnyw5y+G1GiiH47Ct2WOonLs9SJirXV
QjHow/RblgjnOJcgfduC1PX1N3Rnd3AKQHcsH4pIvvz9j6LILQOUOpdyOxw6WC5j0b2DGafuVbwX
vdAo0Q5Tpurh9UVfQA6rp18ySlJlOv/LEbleVVhZUhnVRDEEGugUiD44iiqVp2FWggfgYQWMr/B9
rWXdwURlCdPSjJfBnADDgNa5UF9BKi8KjdF9Wr8xE2vaKSBcnwAWKcemm+2HHkH/H5MbDw9GBGNw
7J1sr/ea+dir5ieoT9GBgEzNwJcHaFsqT3qL72Y/DxA4iiKnzdkARFdthittemCUmCHONxnPZtwX
G5CodZ7NWWEatoyReCMo+axqG2naQdJn2uxLNPUPTg8J2kViYR/lsGcTfTI37qR1JbqstwgqosVl
OYzglt/zxyevW8byaRew9fRu8FMBXxfudntIoqY8vf6h7xw/ElG6zRjustFfwsQfSykhzIFuTlWI
UJo4D3NknnpX2aoO761CP5uxMnrKAuWg6wdCEk5LSqtXfWmRzOpFb597lXP0+rO8pAvrTSu4OBYw
LGPWF7DBHw9TzAYZu4w0P8i4X0HJLPmeQT596UWRfg3Hsf9suVHUPsKgif4pw1HLvTqz7PqopKZa
e1nZKFszyHvP/tIGZhyIYtJanBg/jBj4qKv6rusAIIF54cXE2q1Ozm2YWGaOpDD05dCgXTeoSjgW
RszV7Keg2qFQuSFuJGoeQ4CDJP/JKJPoM83bqdsHYVj7SW90VGdpjEb4MEMgZXhoxmfYK8V34UTy
rTFmttzZcJxczzShi2+EtdvXwu9FMdRZiliT2dX1lkh6l3baZNHcUCeuVRhYe23qt/yibk8urXgQ
eUguvWggrjYeJb4DQbvUfVsQPDoDirpZG+2bWWbRORnmId/4DncXpCe83ORgSNbniasunCc5674I
nGgPX1nuADBph4Gq0htRHttv7PnlGrre8zzhHwsu7/mPPU93AEnSztD9wph2oR0neyhgj7Fpv6FZ
HB+1oXTOvdIGh8QdgiNaE+aJVk26h/Bd/0MnpNijDDM9lrL+NqbYg9RMKh4KMSvH0drItW7DGj8V
WQGwerQrUMq7/qmFaSUgW/ipUoGEyPUKdROwpAcvId1Y6u5n+GMp43opl4xnHhkQ+K6Zt3tGBfSW
MlPbiWGKjkqebKWR93Yzp1toHHBmF+sMOTQn2CJ6rvtGbIYPYazyVEhMbDzVvTPOyeYLINWoCrHa
zdiQl+OQ6mwuqxbIUdS2X4g08UxykiOcVvsAgsz9/PoOuy2QFm9c+tAG54gJ62rRQtV6N3dSw29n
Q3iwX36rleV8YMYt3kgVBR5GqfO3IEac6vWF733D5WFxeXuZ2K1uXUOgCGhpieGPVhWfidrTntHz
/NbMs2DnTnr3P6znEJA4u0sbet0Z7CoLVmI4Gj6ugzReLSV+tt0GB+nIxFqKXvBGVXXnOLBdqDnQ
PQTZvYZA0e2Op7HLZ58ihyQumfST0xm/YDSlGyvd2Z3MI0EnQ5llvXWfECf1cYitZvahl6mnIrKf
wb5uAejuPA4AYIfpCIswqFp9rsIYTWdR7PI7xPjP5GTRftaZzQRlE248z52dwRQGnDVlA1PJtQep
i5cdIiLKzJdy9HftWBrPaSpyDFIm7UQXMNs4d3fXAxJK8UsCY9882iLxtshQ+Ekym0ebgu1znXX/
Koadvp1RItkYRNxpi2AHyGAXKCiCwTc9ngnyLLaOQvVFpaI6MrjNxYhy5EGCAO0g1YqOoVNruypz
+qOFX82jHFJlowK48zn5DRB3ML5AlPMmWGttN+Vc4T6SANUxhnLLtDExTgYN1o3Xe2d7kvGicUNR
gMT7WugRnn8rBGhbv4/14Gkaw4RWXqNuxLGbCQXqjsv4jlrQBQYAOuv6TsDwwMn7JeOYbKf6gRIG
F7IBN9KCg/8o1Sx6UttweNRR7fEMs40hSbfK0aiEfipFmT9kRvwLYVztPExVcSzSIdq/HvBeWhqr
u5x+x8K/WrAJN2my0yTOJNVc9Se3S84hhrZvLLwoz7GMv45y6VFqRvyYZflnPSyKN/ZUWadqpAVc
VIn1WZlAi7eNA4SiBxteD1Z6UIqm2bdFSldpI9G5tz/4aiauLHSwGJpdv02nqNFLwYbQt1unOSnY
fPzT2+ZSngdb1KE7N5DBjJI23UJ9ubGG1WczEJkVaj60F+bfjB2exyYr3rYikUCBXW3ha+FSFOnt
z9e/yL2H5EbAeMaCxo7e/PVDDrEuo6SfNYgdbcAUdP5XWoN1zhJty4fyBgi97E6u2WU0oAM9V1fJ
kRO0MwI5Uvdnp3pbMgQ4aWHefudqKN5nRiZ29IjkzmIE8682lvpHS2bT2bDjjdhzJ8UgzlHqquh5
E1xXTzxGcYxvS6/7od4MO8Ld22JwkNWgU7KfEwfIUai9f/0lv4TP1bZnqs6V4QBl4SpcftMfKWxl
90o6BpbhQ8RuFp5FlL3BwYVRIYPLLEVOI32EqA7PzSlTfGWduLHsI/ZJBXJfYkr9orZ+M1lsor3O
POXgTqr7WbiK+K6QaCrHyA7hcDtxBRCqs9Pid5IM4+DljqxSDwU1VM8aBaWBg2MvzoVO7epftC6f
3k7WOJwwzFHEs2nJ6NGuaVLs2Oa1lzp5/hSkg2AYi55Hy3zCquQ+LgMESitl6J+gJPVMqmY5wUFT
oyzfT1o4VztLwyjSGyNNoDTA1OxZsycNCAOFUgn8WUEFSVidHL1sChayLVvlZNkCGUKlKH5ojJXR
oyDdeid1AUhNrSukXOgZll7dOuVnQxlUfY9gjINQalT1n6s5znf4wCQ/A6spq4e2C62l24cZ1C4P
q0WQwi2Tkx0E4Rao/N6mBiyk8aPonEAnXYXcmRkU8lvS8EHmvLPnSnuDiub8Efny7rc5qcNjC3Fx
bzPu+1qogTICgq/kWw3zqPPre+zOFUMhBMKM61uD2bM6XcPiDqEHg0GLtQgfGCHCPrSd8PTXqyxH
WDethUGr68uv+GMjF7bUg0QJDD+rY+cY6CI9IKL87S8X0enUYAGjqdjNYL26epRR6EiYt63w43ao
D7Up3P2Mp8DGnXwT+VjFRvVloc/psFFWk95Oi8xRDTTbH1HF2SGcp79dipxzbZtboe8mvDPH4uQv
nGTSbjLI67c2DKlptHGq+KWdGCheVP+k6tTusrRQHpGGa/eqG417B82JjWe8s/ACCKTAIPRCS11l
rFYyz1qJUJEvmEZf7KYavKzOuwOuWz8dNbLQ3p/bfTx0W7vxP22Aq5AH8p0imFpRRfifeHv9zDXA
U5RZ4vTiSJsila5OdJToWT53UonnPfMvhdmw1vTPjAGTMx4k1aGKZ3DHOSRTM1RpXAjEJt+Zrev+
yMvE/hQjOPCuV1Nkud1AluUHGisxSgvpVARHLRyEPJL+lAeUSPOA4jGq5aExcDC0pRzLx1roer2z
KwA3e8Kr/S7V7LbbuZ0oa0/JJEK4DUrC52auwgqJg3n0XcsN432fZvFFKG5/yXIOoDchOeprde6+
xZc2+5aUGsYJjnRlCGUOvH+qiPRzEk1av4OPMfwSzdzNO9FK/ZdmB+POmoY637WDi0uHacpnomii
naRWT59ba8DX3AXngLsR9iWLqrEc0S6xjJ95E6q/S2i/VKWJ1KvdAiZ1D0hmwXWOrEh/mKw4tfaw
TOWvNM8eFCIT4T8MYPEYLZvhrKTpgASRa75vrRkFlDDOxLkeZoGKDKKJ86Fz0Wi2c/AJOxlZU7Rv
WqP72UcjbpDx0IeHsNeN/qiiFyMP9Mzjs6Zkerify45milMzsrcLOulBqRdHdEv/7Yws/Zybeo4Z
SF+6ystTJY/0AEyfRmHy2XRqGXnI31iJhxau/NKaEulel3wLW+M5OZpuFT5gRZp+RYvKAPtZdcbb
yILxgsxphtTKmBZyy/DvJklYdi9dCKZGfGP6Ate7d0Cl0CY1iC+qjMLd6KrKQYtluUeAsz3IarL2
FaK3GwnnbXeXCQjWF0uWhCS8uybzqkptFqJzUkyGGMRZQ119gjE4ebWiVGd9GpKTg7DbCeU2a5G2
1c8Gw9wZ+c0nW4r4b0tQeNCULDRimODCAF/i5x+hPhF8XjcN8gu/Izqg52zsk3EwdxI5Pghdgbtx
tdzWhOTSFnNKhhCsCffhesEuy9BZQlLroiVptzNsZT7hPWd9TMtcvpt7Z3pSU4RZZJVrpxjtvH80
lE++/u3VQ7/CpLTnO3Clu6urR3XQvnGKRL/YYYCmOjqQT0LPt4yrlnh/HRvFomhBtrAQt5lOXD+p
3iErJNrIRBc4PSnmiHBcpGv7rIQIGunRW2eux52DZNJhmBBze/0Rb+89Fue6o6UK5wV7iOvFCWi6
DVbN9C2zCZ9tE2nurAiVfYCmwOsr3d4+OGUuLF9gVC8f9XolK0I7VG1SHlPCE4mYhkzFlJwQpoLz
2yPsVuudQZwW7l9SxRdhD9IOOkILZZyK43rhYopAl8bS9BvdbTyh2PJbiGX80R3c6TEVw7AvpqA8
INm35f505wjTAF+w7jSC4Wuv/f+kjsRmXueWH+TTpyltxQe7EwmgUit61NLo1Jb19EDMifbCLN23
o5Y8uCI7tUr0/e9fPs0NCjvCl30z0ROVEJnbWZaPBkn3zpqpp3dV3+hnNVO+8vIhoEIqyckA0vnj
60vf2960NRc6Iu0dIDbXr587M6ny2LCABs6zh/Fi/ia2x/Ahn7LhXdk4T0mVwTZOiKwhVcrri98J
I7RTYcowi2PqDnjwenUjKlBHHcke+7hEHqSIq3MfIgiEOrzzr4161C4yJSrw/Kz6AmAnO6A03rx7
/Vfc9NPYgX/+iFXwdAO7w8IoEgxJetUbXTM8Ir0fYNWA2AQ0+/jw+novV8N1SMEwSkA0hGFOMrbG
kowwCQY0bIXfqLkC5CzJ0i+GSPJvFhfFP1YFZNVrVScLvbZqjS/kExpSZW2KBFWsT4uCUxQg2x/a
CGAfu0HmuGOCV/1CQgFcDhUw0e5qEKwV8q0S47QJgTuYmXjU71AIV74gA6YrMMfS7pxp2iARKhuU
H2NDzvP6k945YWTRTI1hO7I0QM3r71uXI6lY4wh/GhmPo/6vPLiycd8medAdwQvDaprQdwWwgPBT
Kp5gInW7Cu2zo0R3eGsqefuh+TVk9kufFhmzNYpA6iWmQWUtfIByzaUo3F8c8OFsR7nzNKDduXv9
6W+qPJ3l2Nl08LmaqV+uHz4GI1jH1ih8TYsxoy8RgoziPnp4fZUXK771bqI8WuQ2YNxBWr9exlrw
2QQv2zdrxfoOGJ7KfoouWqy77/Qy49wqrfLFmBT5oUeF7hnZ26c2cZWf0MVIqfU8tA6hjt7fXtXz
wHfxA9mrmZHGXqH10wZ2YTlLtz8WjjWDKYLOOmuyMzWuOmcS/mCHM2DIUD9IwIo7kHT68fUXc3uj
0ZGnWYYCyYJVWZ+yVFSDiCvD9tMBnc/QdbXTYE/uUzgGxk4LUnj75eDum95RNw74bUJqW6SjS04G
N/qmYV6gDotpTBRetGkez1OvhA9dFsqHTkaDF6pJfmDwXWzE0ttATg+Z9I/RMrEcjMz1NgjnAk1O
x4ouiEJkT4jh1Y9UfNU+rnVzN87DjLw6bgMg/d0HEP7z/vW3fXu2luVx2eAKp1uHUtdVBlqaraWr
Jcv3dSDODJM6Ri2IkXcKmGeQUls007vrkXwDTSG2MA25Xi9VczucMie6JF0tT/aQNWfkojQvzZTo
44AE2sbrvT3MC9oGZpXgerbAnK/WwwwbuycK854xCy0OUA0FQqAbIeNGcmWpYuh1Qu5ZwCkwEK+X
6UAzM47W4osejOP7CVMGucNnNjOfw0lBcz0osuoDnEngvKneIp0a9iVCzhE4QChAYZg4O1Pvh2Fn
mPF4aWdh/MqjIVT3YpL5u8RAA23jJ9+5zfjJJC8ABpHOYGhy/ZMdDVnnxqiSSzTZyr6II67PNNe/
YIehnNRCCfdV62jnSmv4tU5QPaRGbQO8N5T3lNHOIUgT4yyc1DnHWmcfpg6dEy2ouosti/ixNabp
AGvbV0OJZU+cGPLRlo48CyySHhGf1vZJgUgiWpndXxdVpPzMDvEfBJEk1oFVuIGFBHKaXHKaA21D
46mPY5OyGz1UUen/vn6AbiMjq4E7BHGA+Aj31PVrbKxotlonTC5W5k47oFbJXrek6rn0lDeqtzt7
maVA+yI6t9TLq02WLVbo2uzEl1Av08+lGuW4+Ui58frursKLcxc+F4d/Vbv0aa2EDbr2F2OuwxME
DvyDFjfv11/bnThA3vjfVZaw+EflqyALOlsJq0QG4vCdii9C4OJKoNbaESbN/xDmKANBhy/oMaaD
q1enjkNvO72aXOzJMt/XXTV7/TShSh8p7mM3RFu9udurBEi6ELaBcgRt3PXIJ2pUx8wwHLnogP2O
8EhbLBVEdBp00kBr8YKY4lr8fSynpWarAOF5SDoK1+/UnvIQ54MguSxEmTOi1Yj3A6Q7RFH8ozSS
rSrgzs1F6Qe8Gsi9abARrpeL8L2JzHZILwluKjvbKJ7aUXmf1+ZvvTcu7pi8wRTq7VgXfyv6QbBl
vENJj5myCRhhVXpGdEcsLSOmBx1w9ji0jUOVT/3G27yToHEbL8KWFNZkBfpqi7ZFIINIpT+FjAkc
DkhU7WesrVx1N6SErd2cKdYDwq74W7SCrmcHkxPN7R5RoVg3cJjQBlP9hd60H83zUHp2MEvr4AzJ
fGx7HKN2SD6kW/2tO+cKXgenFgr8otm5CkcjkulzoNAStod8me239SkWaXxK50R4EyTNjXN8J/yR
FC6keyabBkjw600AQzCbnCChndb0X2P64A+J7H9BhdnSeLoTlkCZQ0Vf8EMsuTz4HwGjHgM3r3o7
v4RhDE26TEyv1e0tG+I759ZZBsSL5gptG2uVLoh80syyM/MLKj+M11RF7Afoal4p3PRQINq0bxAp
PbweC28xBQvkBZwEhQfNSebh18+Wjw3JZhcWl0FrHA8wZX50c6t+cgAVnJqoHC75aIKvL1FmSzLX
+lbpc7Gn8rdgUNHT7WNlOKKIXbxtOqd+a86bjcM7n9khKV4mX3RroQpe/8Khc/IwFFNxSbIufXLU
mb66iiJ/NTrtxrm786H5yjQGGVDRoFzjONoWAScbJv5FT+rRawol3amZzI+vv/Mb9ixBBFolqAMu
hJd04fqJVHvQUFpKywv8JROQuGE9Bo2Vf5nr/uVAMz5hzvpmTsL+ROZTHqtUr59RH6XVYVn1sZpb
GD1K9aupyvgIYKo4NEE2Hvs5jR9En33VEwtit17NP0JYdV6mQDl7/RnuvSlwCUxEkZojB1mVDsqw
KED2TkkurWoEYCmQvYi2eCUvCLLr2o9kHRMfqFVktiDArt9UCOMPYJ9bXbDkTtmOSR+fqrxC2g1r
IyPbd0YVf49SmMH7Wm+NT/MUVvZuwPzqG+MI7dKP+vgx0MPqPe514ntQTFIeXbtJLqWlBz9g0GGq
IsieG/D/rYbovIPr19+/qqXzvbScX2QRr59hdmujjsu0uhhmmXka0mnoc8vc/fr6Mrd8GHYV08BF
LxlSJKXH9TqhKyo8ydz4YgQBYgoDxjmMUNKBCZikqy9xR9QOSY1B62xJrxuHBzmoz+Vsn1//IXfu
ZtrPDEOZrNAjVVfn1UBZgA9aJBdRVvC8cJl7SCyj94zElSd3Hn5PhX3sgrb5aIxFtoH+uPMWSE8p
4h3wiALJ4VVmoKV41sDAKy6NgdPd3OK+ZkRYvMAjEqcET2U8zww18Sy1jJ4HVEcPleidExxVXCWj
xjoUplFu6HHeuc4JXwtNEI4UMCB3dTNCjwsXb7qaAz+G3xqZontugNz6OmEske8UnL2cnYp9FEp1
ZvyU1I1xxgALOEMXampwiPm/vme2Rl00xgmUkrYef+MfCl81KQKV4Z6qqltTjJec7frwudTnAGnQ
GMO+fa0PnAT5mEEmpSaUZvOPUUfiIy0JOoc4ry1aUQhLlnuqDjfA7tSuH/gi1Qn16VjxhrjC4La2
Akwl66Izv5eBqj23PNxRL8aGczYq/eJ10yVw/wKlVDxJLFzaep0OXH/SU79XTBg5dqXIr5hz8Ddo
gc6ANmuPJrw5Ju+cKZ6cfWXUQ3XQoEGn+9ZNpmcsakJrT3N2hM8TOtAFpFtgnRRUijgaNZDcw+DI
GKsu3Har/azWNl02EEoPSthF6qMyR/KURrae48DgFBehNSYY4WZufjpQhCt+HVJl1H5em9hvETGa
/WoAmDFbs/iBIYTA985Umg9dq3epp6vR8E1tbDP1QHwaya6SafEjCPrya5vNYjiQTBfn1kF8xUtl
YOkQdvEI8EwFP4ndPGIB+BgPqehovuKM5mnEd8R5AxusSZ0X1qVNrVqnsRtOP1M4R7U3uZKpKZbD
aCakGYqTu05K5/dkVgxiN476zTWwHLUF00ajVtC2Wm1sQzEtLBOt+SLqFNgQ8QBxyLqsVEwJMMGA
cDzb5H7d7BYnxc0G9WMCuPXY6wWaf6BDNHxtlHmsdrJsjF/6OAYfLMx9OwYqSeg1Mx5bO1zcMCYg
2dP/rfo5aD2Yc8MTNHsVfiuf4J+4o547dKGpf42dNsp309xADDeNRuyTSRuf9LGdIeFGTc3SmW7s
JsB63+JCnz+VasbBqTEJMfZBpma+hqAWk6R2SrGFC3D18soyLqpDOmJYa6Krqu9L3Wn1/cCJt3am
Ow3QMjKHqg4fDuOr2qbTg1njW4S7cu30J1crjWHXmCaNijFrsd4BgoXpB9a5qVcavWsdna7qtZ0C
S6KFpz5BrbGxdzlgiJTvoam6mWfUWoFvhhX9DKqwjAFJhhHmdRk2wY/w+fDfCxIj+q3ObfgZJc/k
vYbth/NUNwK9wGphJ5iGMqk7hjLuYchnMGlDluI/pRj5/JTCkS6w8RXmV/RrA4JlF4bfgjqEcz/o
EGabwY4ggytAyj1FqYPnKM3T8m2Im+DwiPeQ2p+wF7XG49yU5fvX99iSgF5FIaZ9C8iE6LEgetRV
phHFQZLhCSovQ+JknlVVWDvozUWqYbPrLRRJrWz4LkfD3Wg731QzcBQglDGrZtqyCENfX6cTBtVz
Mk/NBaNswys7pJPLUEd0MTDrU9tvMszuPOfCVF8a0Co0tjVeSSYFJjdmwHpZ8NRl9Kc6TGAA+OZP
GGCc2FvlQerGXxe0ZKE8I5kmvThGm6vXq4tQc2a9l5doYUEvgvAH7BS38BY3OTwDDXuBn4JRogOy
zuPw2OV4qnl/0Wr7MnbRtwxr+TcDFk4bu+XOQqQ+izoKMGn2zfL3P0q1oEUEJ9S77lIigL2naIGX
yTDjmNbNVhp/ZynA7cgsEwAFDYFV7Bs0kArkj+OlQGDYIybMB+iUzhO8tXTjqW6HnnSr/1xrVaUl
RglGqRvHy5CiY9TWjADDGfEwI9WRueAiPOFdYX+yLG7kKkqaHT3/8vD6QbyN9bhwoCPJJqUDgsDR
9au10xzMiGOPFx19vb2Qwn0spnlLm+sWccmjUscuqTJbhYbC9TKiSdLaapTxMupaeVJy0T81ysT8
wxymJ4APjocFYPKPkwEbyhbxYXBomFHh9PK37QV+yIuGNi0mqo/1DxmnBB3cuh2ox01M8IbaOgDq
KPepG20+9L29tKAHVc7i8vird4vgC0CdrBkvEjPJNAv/HRwn/lrX9Q5PzRNmNXtMyE/T+H/sfcdy
5Ei25a+01WpmgX4BDYy9egt3hwjNCOrcwJgU0Frj6+d4ZE03E0wjpnWXdVYUySRDwOHiynPPLddA
NmyBob5psPtIoaPZt16NKxQOawtm/A+GhAUArhGZT4Q95u5E2MqhMbXmcAInZ+KAJrI/ohmksKkk
hJIW7IgfXQsHCO6wCVwWIr/fr7lZJt2oIOpxqtQGQDR0cbyOevQcS2WwRH2+iz/mHhAq0pD0RN8L
1KABu/L9tdDYLxUCXxFPPQC7cPvQu2plKzC5MtKZJsr6wj4qBHSnS2Hpppy/8HYliMIurAeQ4UaY
MolMuppfldCXPRlbT9n6MKMjTpuKSga0jZYtAP60rxNqQo9JCJ1Lq6F/G6Y8foayaUc0VRKmNUp9
oZH1ATC0/eT12V8cHsONYnTcKbyQi/JJfycKATvqZH/UxpMq5zIqQ4qJBAhknZFJKBe8rh+tHxLJ
31BViFvOzqzQtZ0wxsJ4Mkc028riLkGXsxTF/WOwSODKI6zf2wO4LdRO8UwpomX6bP1A+JZLk4Zr
qehFR/OmLFC/r4HWPANruSwEexTDCCxGEb2L9dj1kpkvCAZ+hdkIdE4dBXoB+JcAIX0/sYkpqANs
7vFUJ0D4g+CLtzTzwWoqTPgnCOEfk1WeIW06oVvW57v3o1ECAAiKw1Uw+HGO7pnOQbJuUgN0Yz6p
cGeIkqago9L6Ek6RggsP4sLlfrCuyA+juBm16ID5zgnlSi2pOl0fVycThTx6KJW3cio366FH1fnn
N/YDsY8qLV7WBKMLXqc8s0PQQLmeiiRRTxOwH7eeCRBCZBo4OiW6hZukA13vOhcAnCCZloCP1JzM
QWI++h8Cllrrd58P56Ou4wB4BH2xvggHzisbM1DWVrnIEcGD+Qj4nALmXKNckLAfFxMFQcCRIcLF
AzbznZxJZliWUqmeKiWI7b5D1/pIUqK12BilFXeNuBCG+MFNGQiJqNwKA0ngHN2AADzINvxKOa3A
3EP6DKGvKjcb+/Op+8FdQVsCmGZCi/Nc+/enoy3qChHyWjtllZptYpS9uK0vBw68hwHAhtXqL4Vi
QRzwwDXg73yh5jzaXl0m06iM2gmpFBH9vA2gnFc9AtN+YrpNOS4VZn88/SjzARYL2RkwXOLn9/eX
Zj7YH8RAP4kmYEge6s9R+dIIa79EmE2c0NN5ygzdmYTg5fOJvazP93IH2viCPQSvrAIZ+P2VtaAB
YUiFmUUfrP5NUWBK+0JSWWor3GKK63OBfD8LawP4+lWC8psi0hhSuooFOoTxIAboLm1G8tcaxiEB
53R2MkBabHuNrpBQRyvfhfF+3G9QPnCdILAuBbUzOVnHaOQ1tLJ+QjPCzEKPdoPqbR09ejm42VY9
GCLRBzZkcLLGXV5nBXxiP7TEphBYrWsFCVBvT+MeqKLPB/ZxXIB/AI7B4xVI6cxxIF6H6VDRWfjs
SYC9j34j0QiklEta4qOiQrE5BBLoVnANdHT5frmAJ+vVCNnrs4B45AkdDwX43+h5C+KZoumf8sFT
TnqJoAGdkE0x7MgHgRDaf4tiDn6/Ck1g4b7kxwTaDjVXQWh8RcOpVtoYaInkZpFvOkEUAfuGPpzh
SIYi9HvEu+pyYqNqNqexVNE7TMvgXpOVGlUKOsGp6R24xKetpmUVuqROgYm6B0DOgU9eKZOlB1Hs
RqbZpY9APU0gtWjLEr2VdS2xEKrJ780WVftodhqfoZ3TF90PlcYF91R2W1aKCXhLEUpnb9J1G85M
+rQq86ACOYeHzp0abuYV2ILVhA6w+fQoyTGac9XNCFYJua+qzVC0lWf1YimuAV6JXsJCRH/7OE9i
nxqpUpXgqdOKbd1W0VsJkxQ05pI/3Ze5pB2jsk1jEMfH8iGVwC7o6Do63ID4e+h80nYtatEqrwgS
J+mzjiZBomFflQivAuc1NJaUFOpO8AHSBvpc6dG5JNJicWE/fAiLI5YA+x67ASAvhM3k77dDM4IM
VU+a8IzGt/7R1Hq0g0715qFWBJC3yF2zqXQBraNLJLkmkMYtmGgfxRYuf4nWIa+FTObMcggn9J9R
PLT9yWL5IR0ClKkEsUb1Hv1za1lvr5AumUjfgcP089PGP/g7qQUyVdhIAIrDhQHb8uy+tRAdaVqg
Bs5I5lT7Idc7VgWauIkQDLNVL/L3sPmFhSP+0ZxQYZlDe+PoAZMAb/X72RYSnEucJ+nctGm+81TE
UvtUGFiKnPu6hN22VfPYQ3vnOEKSYMosI46zHcpzywX1dDFcZvcPXASIZYHrBEnCPPTRVJLYYyzK
eQo0IOqG1lAFK5LU/jgYo3gQowDRXi9fFTLRFL8FaKlTH+UavQ9QLFp2YM2v8nrbwTvq7S7LlENl
9qBvytJp1bMChhKYJQu00aCd6WV2H/k1gMDg5yFg12t9C2BSdMdVcnTTjeHZwCydQLHPRDErwEmG
mHhGowqIeuCl0dEbceQGGuzzHfDBIsAiQBTiG3qCgShn5h1oTVT1Feycs4k4LdBnZkpRJDnZRdVn
Fvp+hOzz633Y6jyCdomjIb0KvAYfzzvHxwfXNjpCRvK51qp4j2ZGMsqOPSO5LVf5TVytpMcy79VH
dD2sFwoTPmgWfmXe+wB5amjoefKpkoW6loRRPvfVoKAnvZBQgG6W9NcPNjeyWwiRcNOUR95nE5qa
6dBLRSmfw9HPN6GZoDmmmkZuGic6VNnkg+9Pig4iFveLOsYPBtpxr8FMvUTs9sE9wO0Cp4B6DmBw
ZCRov5/opFDaKPRb+Yx6ifFm1We5axZI8gWN4N99vqY/mtn3l5pZXbDtUgUdl+VzaiA4ORRoOwwL
qbc+v8oHGQ1QESA3QP6ijQMilXwU73ZOqIsrMCy12jkYZdGOV2G6BuJdRi/OMXPbAm3RfUlGT61V
O+3HWBQXROXHMB8ATYh1A38ArD/mc2YyhEoPta95yrlQBsOKjNQJgwgNyptyCzTuY5etDvXUrXOl
OnZ6uHR1PoffSyogd2C6w6lWNaTVZ3Pc9bqwarJAPU/TgH7QsSifwKIb7Lu4QR929KQmKLOtXmN5
lX6pkuQ2y0NOXFtFS4YjVwmzgcDO5UViWAYE/WcqozZbfdKrVDivKjgSRNR7ZLJBytIcKzx3paVo
B0vKbChk9C5X9Lfeb90GQhZlpH090qkpQpGVkxl9/Xx7fDh4Co9MorILakUC7my+PnXsAzwOaNhJ
QpdsZ1ipO8MfZVdXcjlHv5x03IC6t75SY2BnyigVEI+Is6fal8Ol4zA/eih/Qi0dggCIzsHKnAPE
RL0KAw3R5lNWSGXA6lEoeE93GPFmXMYZRZEMchUq+E+mnVkIAJEXaQniNl8xmwcD7/XYADr2Eei1
VpTZJBsJT4D1SmhVExiZyEqpNYhNoJtBJ5pN2c7Tk14nVR4LbpUo6nOJIoIdMgt9hULQsH40oEtb
gvqXoifgKO++Ku2k3JurItyV+Qq5BRmOk0nzDOV+NK147Czy4+HOkMcGGOUo3aJToApSrSiTCKy3
QmIVXBkB1CXFNNBmSrIIcRake4k4pOFSN6oPQCjuUMFkQIkm0K0f2X9WfpOJfVHG174SV9J6mIC5
IU3gg9kx7IxaIpD38WsXS8mNJ0g1IndT3FxLTSu7sL+Tr6EYKUBYI1iMsGFk+gEFAS+iGCK67bwt
7EMuB94fEIwVjUWAJECBO/BKc9cimdS8TiOMFVW5ILKMjaShXVeKTiqvWkeRgnwdiHnqSFEVX4+c
sBLgiw5t5uOYIv65xKQizg8sercg6wLoCa8ogf6bWVtg1g3HqhSkawHNQ0CS7iI4bYnal8BASKPW
bM7hkmtPqRgd1Akzl3euMsR/oYGNQaCEAr1VwY6DWpELScc74Q16FRXt4qXVdZK3GtXQcZOuplFz
Oljem7RelaQogv5LD05oMHcu2BwfkEowcBH/NHldHLQyJOj3qqNpG9XTtVS/nqSrMNnX4jFHVtaQ
WwZ+Ssb7qCmg5I2is9aYaNz2MKJQTVYK6qv7FBZpZVhKJhJTuo+yyFml1YJm+6BaLuMDWPK38c07
oA1GPwixmOjXgMY6qWWsO8sggxWQ0+d7c65C+XXAToFEBnYn4nmzeVD6YkC/IMxDTCQKKhTakZ7h
CC3M9wdRPL/OzMgLZa/oeg33s6IiqWnAwALJrIgAG/JtX/3X8/B//Nf86tu5qv/nv/H7c16AZcVH
377vf/2fffgMKzt/a/6bv+1PL5u96li8ZtdN9fra7J+K+Su/eyM+/7frs6fm6btfrKwJm/HUvlbj
+bWGUrtcBCPlr/z/ffIPr5dPuRmL119/ec5Ru8I/zQ/z7Jffnlq//PoLJ5D6r/cf/9tzh6cUb6P5
c17/4X9tX1+TMPP/9x/WdfKUvdTzD3h9qptffzG1PwIjhICYCeQk/Eyevu5ff3vGAE4QwQXkQ1Ch
gg2R5VUT/PqLIIp/RFIf7wHGBSheXicNDqhvT0l/xB7CG0CqhSQcIny//L+Bfrdif17B9z3oL7v7
ncAEGl5Csx9OOQ/0LoCuMwGFZgQRIrmy5GhdStRuG/luWG1BvZam66ZiGnoQgKQoQ/Re8UHJ6w6N
q8lbEIWRMZNRTbPJJlYm4Hkk4MxCC6Nuclc9lbVNZaDvh6UhxKbQumBlfd1Fjiw4gudWQO3qVC13
qcThZyzQQLy2qbK13O88bd0HltdSNWFa46TDtkCXg9z2QJU13qQV0D77YKvf1TfpCzjk34Yn4GeU
wwhwcPQ4KuvUW8Jz8vPy2QzNfApQ96CrRaCAwU+w6i/jq36ffym/SBpV71evXUD0r2LB9K/5l/xL
+5oFJI7J9HUAwPAalSCe3Y6vYwhkDCQeyVum5m4fbdvoWYsBVi+daNrXMh0je8zXTQxiKPC0PibC
G4xoNHAIyBBd9eOCiLiQ6H1yS8bMPdGTopY9H4ve6w9FdTISd2VsVeG2kFC5TA7Tm3AyHtpdejPd
xY+yJSQkfoSzVnYU3RrMkoICE+Wvxbn3yAjurAoFSETGG98dqt/26vu9uTjMmdn9LxqmsrBB5un/
38EGWZIK86KV/zyp8IM1B7kQjBkOBIDbw2N770yqVASbkJZqshNmpUFAIJ6gsQVi8p7G4rFZqkVY
utpMSP+NV5tbbFwngE8ULivCU2BRmFtElTLlvtKBTbilmjNStEClEYsYDj01LYh4OuGh0pChOJH5
TF0QT7DTP4rc9wOYG6xpEk+FB25WR3F6C3SH6B7UAmdK6gQcUkR9GGmzA5CyUWh3YzwNLx7aydzC
KQGZP74LDRCDJN4U16gKKlEnOTkVPPSv4SYdKDpE86z0bfrqnxpkxTTqo5HvrXCQddJsw9sVqj11
5GAIPBo3Wf32i1KQQSfowdRHQE2RNiK6FecEYfm4tqKGNB7Vbvxd8xakTLgV9tG5R791ZCs2/pX/
OD0VAwh0aHboWXf2FeoldOeRdlfdaQktErLTK6I9iHf1C8oajuN9v/VZei4JqiTDM/gLkJVaqeRG
tkGY4pd0SmiOfrMR7QN7ekRaNGAgYw3fAjz7Vjxnz8VzFZHe5//LBdEOL6uDDLXLm4lgwFQubhHn
B4w0iR3giyswJ6HZCHphfJG2IasNZEAJj3teN46HmmdAFrZAUi8xry4v80y+/1zm3+MyL0mTecvx
v7c0mWVZvgkzTr0J/kkJ0WcuW99J6rIbRCMYE8UpJP+1lxSwZ5QhafQavbnAkUYFWVnyt5cuOVMO
f49Lzr2+b7eJykiEJwHwBLzg+9uMVSkuTTlTHED76cBqenMP1OWBtguxhMULzczhv/pC0o+UHjr3
wClBSA/NWmazGEp5IBl1iaYVnudR2ch7kunolAYgiCuFw2DXxeC7uokCKxmcmLaAyBiptFglVTUa
FufiRDuKMV2PclBsAnQyoQpQ66DtDEpbGyF5q0NZIMmsGRDJkRdnzItvBklJwPLW/KWV/ZcFen87
swXK6lgLESpWHFOmKQ16tHuhE7ymiZRgakIj7Y76GUtCBmXWgeGOrB4G9Cgrr6A4vI4gdqYP++wp
SYkO9C5dUro/PKbvxzdbVz9NVmjbgPGNsOzXoCgs1l4CgiwaXVdH40FzDVd6KOAbGMf+a7cfnGof
LmQEl5Z8Tl/1O19ydabf/tlLznfczAuEbfenAzbHluZBmq0kAWZe+VSC2AblX091SwATpJ/7cUtb
a561+EdsraV7Vb4Xj3/1vV5oj+aTynsaSMAF8v9mUqvugiSaQHvqPDys6PHok4Y8Pt5eXy9EJS6L
89l1ZuLENzKQFPLrjBv/3KyBBiSrjef4brP+WqyrNeoLLY3CQF7XZCCO4MjUIwWBbbcrDhl5etow
S3CsjYY/IpN+KMi9QjSSkQOabxFz0aiXZpH5i/x7PzFz+VINRliiQNzJkQs4Q/55qDM7mXZwJQZW
TMucrtbVRDMwJZ2KTXmsVhQtRXWUjN3q64UNuTCWS0j4nU0AJo1/2FiWNsxF374by1+7YX6ot9/N
/4Vd7N111MBHKDLFhuls0LFpm/rLGkomdxQThATWsMRDsbTel8zIu+v1UVmvkKVUnIYNz+nAzGNy
A8IGFeCegAUhg74DsKPRSeTKITXlm7hD8JCWDCV6CdylJazF0om5LMS7Af3LT8ziis0SBn/ris35
5eYndI5prrXW7OIQOyRLae6s4BZTz1UUJr7JNIjR+5QJf/MumYnLf/guWZyEmVz9e0zCjwKIAAaD
0I8X8pkfCnvkKBanHvg6h7EvOflS2L2z/wKeZPZgR4y8+hapWc2M4yM91ZZM3OvrA/L7ZGTudqQP
LnNvI+J+LiIBsv6BdfBuUMosRpy0jQHWagxq5SC5zaBoqHZSyWAHN5rTjqRjQYff6k2+rTc4yA/a
HvnuEzJFz3hlQQV3xNFvbJncCfZL6cqPKmup6Xq0dNFg0TJuPTgnJ8863aH2/0qz0KiKyO4adZTU
YNoagTQ6uAYLnYboFF9WQ5wrZE3tYRvYr6AKsiZas8J6rbYKugXeXCE0JViwnV/zvceUq4a8CtRZ
x45udZhAjVDrsSExPj6mxovBXhNoO4tWZAM+SDv4ClX91XdqG61o8WIw7dLnK3VP0t2VwXRLtdYm
NJROC4xDYwmxarshq3VHdfxZwStAn0BDx9tl9yEuqTH1rB94uEx0Vuv76K3ZtPY9GtdtcD/PMX3W
2O6xZ/cHg9wjvEXvr84pddCadJeRfA2eVihj5x5PgVafqJsNcpJ4ubxJeOxtZaORMdkcrk8ngFUJ
0IJEs7a1xR8PIBIn25fhiM4HdksrVlsN27b05U6C6E8JeL9ZRF9UvA8841bFsl1KOvth25J9sgb8
mUFBsJ4+7LfRumKlhejQMdhtsx3/sIJVdrDuN91DibYMpMhJT8dNtIvWLfCsFJkf0m4iig5jVxLC
h9Fu3MhHflk+Qo96+LpD02E8YvJyeFQd72iQJ/etJXd3qxMgzwNZEVLuQK6JOS6smq0erMd43Vga
6ax8/VizlvVs2vS2vsc0C3Qga584IxmJm1G3x/0tnARuGn6wtP58OuecxUULeCIqGhVHJbWV4E5x
A3t7nTshOe4HNtnZrrfYle6gsnvzWK8tcYMh2qNtUbZg9S1Jink13D9FUizNzwyTVDVl2YC4gM8P
31TeXj/21h6UqEhxfxHZxEyS0s3TuKOW7OAMZGRl+1e7zeb6tDA9y0JrZub/FFo/hdZ/ptCa2Y7/
yEO5JB9mAdh/pPwE+eMPhDnSWuhpxelVP4D9BaXxpgDsO9BNFavYyuH6sbY6u7Nbq7Ume8LP9G6w
Bxu5J8qfGzcltGRzeR3PSPHnAKW086dsLdqibWwmJlGRqbZkBTS1Yiu0IiZYnaufO7dzBaoxGDTM
xM8QFrUKHgMitVSv7OyuZQPVyK5lVmepm8568pnJDItrUpDyrHtLuB6hRYFQs3v8FR0LGfI08Nlh
MSSwaiBNDxEJyO2TTJ8K/J27+DAanNeUGlc5tOM5dq7OCmtgGHXknNOd1JJ4Zx7KZ9mZ6A6aNiO7
q939o4agQEDcBObDXU5MMl20NtT0y/ZOha2AeIZOYAGC6pecWvLC5+aND+j6Deobz/d4nhsVLy8v
yIZuaGTFtm8nTgrjVSGj3dqFxacFoMzbko22ZqescLhRgPInljif622s58Jaz0z5EEximV/liPxj
9VrMXksNfPGVl6HK+UpuO8YznHwZlU1vFetsbTjFemCjJdsrpB4lBFEKWOGhhdZgtm8FdoTfMsTX
Uwul51hwmel2gOXnfysddCBFMCOyQ6umCZ7Hq+2chtbkpk6MZwc33sPnRWek1THNYdKs7AkmKLiA
duMD+hPjf+UoOpXV2/V6skYGS9+zJCLZg4UKAVjTBWww3AweIkYVWh5uQ8PXaMF6Yzos7tJqabot
LfmoOaK9QiAoWXd2wdAZBha4im1vYGVyu6GSW1CaAU9jBS4pb1br6SCf8l25lnaNQwPLZ8DLUtSB
YDjiJnNDQmCeW6WT2all9+vm0BxW9oplG3zS/sRQckWDDXrWUbSQwBbmpid6/NAEhiQMQxredfg9
sXI24BM7ZJPRXIuiswZrrAZTsUXcCQYomvJZhqXhS8cNwWjnhweBAVffmbvQdk1A57Sb8djaJFz7
awpyJCdY2j6LomIWsPopKn63ogLFZp+Lirmz67WKEKN8ngfHagiK2gI4FgJ/sL3T8Jti8HCWJMgI
/oz6AOoJyAeRrawRJ9BzVnQESiJjkZ06An3u4LBi01rrEAQ5DzXcgZZNVspC7GcdhzChibNh2b7Z
92vtYcB+VoiHOOy0GY+AHTCcCt/KbMDPuX+B0ztSJP/xkcpxRQ7SQ3BuaLIx143TODh8tuwAfbUO
DvkaSX1qXE4OpJ31uUgFucXCPM0yGlUXoTC2rxRHRkiAn+iWwpPf95Srx9ZSnye7YwXU4mSrD8l6
glRCw00mMy4n+UMDJlWjrZMwwKAhMRUrYbUT2QHmzce/wSLk+pbHAMLHT9/KHX8TWoldO6UjfuWy
N4ZkzSBfI5Y7wTV/Xwp0Cn9teAqhfAGpY+Ue74PsFb/yTxDdyC7x/oBhbayUekzAhHfb1OGv+vbK
+pW/IscjsPl3f5PY4UZ0Swc/ccXQKmntpBh3iHVJbPSTx/cYI4ut1CpsjAn3mEELoIkERsClvscC
3Efq4GufOvx+eOTC30RscnM+Hpv/xDhxJzlexa98+TpyPcHfB2F76NwUIpeLXR0GhI6AQkiv4nUK
m2GHNoCwHxJintRNvU7O0Vl5yNcQ39CtzaG+ETc9G2xw+DntxcgZ4NlzYwbFBExkrZNhFRQa0Bha
rrWgMSC/wXLk5BcZnbPmMFmQ7pRrFwnr5bt8Pw5YgxVOiWcVtKEVXTGQqp1VKiKhELPAEq5CO7YD
K7AYmKRhnAhMgHrnqquEQqhszxrdxPGh0kZ7ZCmea2xEErhBoWCsnc1VdeDwOAU4baAEUD97HplI
d4ZdvKkwLDwa7MGtx0aiXiG3u/HZdQ7Uj4NemjRzjHPkhAxq3oNe8yiMkhFnywJ/ClUxk0jJmIgC
5RQMMY5KTadc17t6pzvX+xKqsoIa2/fQoRIGXtGYPYi2ipuuMUG1VWDb8/MF6kGAn2Jbpj6AUFt3
a657csfv0MDEYMgYPnNbF/lcqNwWBwSjZZXVshyhrcLST6j4wLVNi0D1dYToiBpM9Nb1oOdhl7kI
ha/rtbypd6IjPSjP2nPNxmcfO7Nm8c7Yde4afnVOJ+5oA1EO8yslW4Ry2H6yH+zOEvZYWlievgOU
2pWwGZzEom9ghqNvbwk9vSCdTq9vD08Rub3tyQusPg8LRls3utUObMutPZFM5MxDLDW54Vcp8Y8c
1zJhHoJMFBd8ebkz3YohDML4Niut3jWvfKywgZkqYU+P2Fp8SVVm4OWVjXiT07v5NsfCcFnIZ8vD
0pTYByPA8MgLwerZAXiF8F5vy5vA3WAluTkOli/sOr6ZkC3HFvJoRGEsYzugeziE62SVsDOp7uRr
3RExcfJGexAQGsoc3BY9SEylIyZmRwOXh/eIZTqWbKVH//iWAxwfOR72foYHcG24BS6oZfzVxBLq
DIzd+BhhIWShXuAv8/DSO49kHtJRCjQv7YYaeZJLtK60pItPwg8st1D5oUAG5eKfDA/c9+AHOj9A
+di+iw7HNirQblRbZAoVdyIEbHvwtzp+b9YrSw6J7yqUn12N7rmZqu4K+6tI2ltIMZYdL5YqpBqX
Y7BY7cyON61TQt7Bej2Nt61TXYNMdl87IoG0w+sgCR1xi76kLpfMESRwDl3FZR0sX8Q2Y44SxANu
hglGyCNYsa6l63DXPooHdR/v/LV66O5zZyAC3mVaPESKyOqVCd+Ay0Iuh9GYi12kLDRD7MQ4txpk
4bfPFvCbv1NIBY9JgQ2LbeP6toFDxleJBxhhW29Fa6DBXW/jVQjndnhPf9VRbT1sIZmd5Nq3+Bgb
FwFbhsBdY8GCzW59lsDGRlz6vr+vnJaVsDtDyLcYn49dYKENHcRLhEM8QmlP2E1PFaUwqytsT6wT
VjBw6q8JnJqCSSf4cTj/3AWKHHGNaCh2IcKl3LrFz87mK10h1MpVJxfNPLrO/4UwI1R+CSBPhWAs
vFNsRNgMTngcEeMU8ImZg8pofMrlYYGfFbKJh1UhuzAZAXa1iPh4C7N6BQlrOj3creLtACykre94
kFa/iDEftjueQhVKju9wN2xuiaPPCLQKD7Q21mBN8BVM+Bwy4UeYH1cTAtuEm+pjRhLMOUgYr9J7
iLm1R1O4M1gr7IQUoo07vHA8gRjlCYwGn8/dnXa9IhQSHMdJv6iiy8y4Aj5Sf+y3wjrAYb487GTT
OQ0119lhBbBkdtdt1D2WiwfdSfAknKDILe9aQ3IAW+ngMWONr8tWNABX/aZQwYd9H2MI3IlQDwaT
8cWVa3zrrYUzFPM2ve3cYcsVM4wHm38CWK7widyogFFiZyx0uTM44RB9heddr2uUP4QEeggPvhoR
hLZk7yRbt575Rg5hFPROABcQRgemIN2hbPRYOG5oZ5Qmry0C1QZWt0UipMT6mSzEVm4ctN4oCX3B
PsYE8dlWzoHDdzX3kMt7PtvQinB2sNdvuBoSbvhr+V8NWrv83+o6cqQz15zcGwwcuFHwBvFqim23
YBAu+thzDoOfPvZPH7tNr8AD29S//iIuuROzcD1qTVG82iMaF8H45YqjhpH3xMWktF8CZS47L3w0
7wAAP52Xn87LT+flp/Py03l5X/77vkCPR0A/c11mmR1RSFPf5OIbUAPEpNeODpt4oQhw6RozgNBf
dY1lJ2yWKvjphP10wn46YbC7fjph/3onbNGKniWq/iYrWl+Qx/MSjdWqjFNzQKakp8ol71GseeI8
28lHnljlyDHkHwmCFcjuqpccYgHfVEfceGKKJSGPoSLWNCEOw+Pb36JGwOkZ7PmVx2Vj+pqbZPVy
P20Q3ka9pKU6PcIGaHxBB4Aec+YD/sYDMjzm8S3OuuX+8RLua/FOZ7mO3++dLqa/Lpn0d57Rf2j6
C5ybPzJ4QJ3ImaxA3DiHkPdVB5qfruGbH9E6xOt4zO3u7uVupF8RVAUtO7nDHwqGaPoWMMEe32Ue
WufxPsSh1hP7ep7IscRLa4qg+o1AjoASbLJjdqwd46q5l67kg7wfTspNYRUIaJdAjuhIV9UILZGr
q6tnkJ6RK0Q1E3KFUNS0mTarNTCpm8kpmYpQf2vniI4Gtkjz9Qgwawn+F/DZwLkObIJ3d2TaPCZE
P729XQfkGmkAjFVgLyE7vSEHIOMeYiT20CuG3nHYpmBv77YIfO/Qg5i+vEQU2A9k/hD9v6vYHVIb
iAuq/IYB4QQqpOU/+TP87k93mIvLHOGT0Wri8goOKji9fJ6Z/HEU/d3KzHz7JIzN2IhbBVhl/tgi
5UO/9NbAcvKgE/sGhTj3HfHJeSA3l1p2B+BlYu0I8C87IGhuUSNjoVcMQ2chwtN2HZIrdobkVWSF
SEzgXiLEXO9eALUZL7P2BuxLZL0t9Za6wEk/GNXv7mRmVA/oLa4OEvIB2pfiwXsFzNrpN/p1+KSd
wK52Gq7Q+SkjQ8B413mNrkwCcnNhIvreuEZxoIK2HhGvphm+5s8aknxMABY7orWHCi+KwkHppFld
T7rHz1dAnjFdXaoHAKj609mYGepopQbCXg9nA3zKIfK0rzwFmtJncBAR5pNwj75St6md2okFEvrr
+DrYo9UyMnchMkI8ps3xwZ+P6VJg99lczsx69AJS5LjguRVkqBSKTBRSIbLd7AzguHg+D4AYUrsX
rAltUMYvWjmQQOJ9b2+AXULFFDKbyALWl6QMmMFphKECE4McUY8UZrJHzghWU+aojyhRXUAegwto
Qd7w59/J5Qgk1HooYPw8W2BgvDxJi7zBnkN+RqRseXaA54cyAJd6yz9z+FKHTJx3h9wP8GjNkaPR
6tsEP3l6myeZPaSfeTqdw5l4+puD7Pl+D2mK7LtTFZavMPnk31TmtlRYCV55BJ5HNwL8ukYGs2bh
bkCU7kk7TpbLIT8GLaDukfjFKhpInNbI+3X2JZ2GIDQfcbIeLrAkk8XArylHjlfoLHmzgomQIVH8
Vjj99uXFs97ebnevqXO+ymKSZQTnDzIqZPgW4Axev5msBkKNR8d5zJvrff69R+QbeWskClqX/86z
QDxWjvQiguvVJZ+MlO3fuL2kWYlEq2ShN8rY8ilZXTAIqNd1+fT2t7JbEp49C0lAQ4gSCN7NBhLj
uqAjKejtitym7Pb2OmepfblDyMTTy0uG2jsuRT8/Bz+2EP98Ni8Fmu/20WrIwk5uMdDynBwVNKRk
QJo5nZNzFJhTYZGmnXS/cNElbXmpEHt31Z/a8p+lLRf3wwyy/3fZD0vCWJoF+/91p2VJ7F6Qge82
7k+x++8ldmcW0r+ZVl8ylKR/gaG0ZHRKM0Pp38XoXDL752S//75mv86jCR9MVXCkckYxFXb0TDqq
eemDdASmnnH60gG5c8wHd33Mruu96ALkzV6BpLAS8hrvfVhywB6w9hYwehpuYF646QbYHgKwD9y7
54GqTg0sGTirHM2e9jkiMREBUK/bxxdcRUZ5lUFwa8LyDmManAoHXZmiU1WSUwJPD8WaC6bs4u3N
/LPf2e1pP0xkg+FeFEE9jeZpvBThncYw0joNQXSLYtmRZjctIDLKvc4euGnOsbADgzFOqxu4H3BA
YjfeahesaEnbPceBRjYvE+nAXoPuMwTtUBOO2+PFAyw6AmRlp3sTLj+HHLXIkHPAJaA8VMaagvLd
QT9Ykouk1xxVtM3W+tyQW7y5mbXwu7o5+YfI73crNzt34yr2MwkExA7CBCrZnu4Q17h7gB8N7N0K
URDHuVIQcenoJTp55VydCpTLiBT+yP9l78uaG0eSNP9K276jDBGIwPGwa7YBEDxEUhKp+wUmZUq4
7xu/fj8wsyclMJuwsq2x7p4ZK1VlpZTJiPDw8Nv9m3EnRrV1JgE+7WTyRHIHk4wijp1c2+vN8fId
zh5zojP/E4/JR4peOudE/wFzz1frAqGafDHWkob7AUEa24f0ehuDL2/rPRWvz9uli/5Rf7PeI2SD
6TT4yfUbih3xx1ITMbQxrNAvXpRluWZ2fEO36kq90lfx0QUKweoy9cYdXdrxRDsOjqGleocdY7at
fYWA3uWPPwFGXvr8iZtfAaMupRqkRwGIaDQD9Wb48DY2k5EtM2X8mqACk6/GCs2xEj2yyMomV2PZ
+OjBe7ZnHUpMF/8o0JWPiEW7VUwC4eAIxYwOw6IQKE4TTbtwDpc3PkMXY+r/dqoseQPoEt8+o3Xs
ds7B/r3W+PUkprgLWd55lZJjgasKXcQDqkIxLctMEdtDCFUSdyNnDPC93xBXtddiiU62BN/g9hvg
ZMQ7vt5vMOvmvhDPAM0ShcAu0dA2Rgg9eOGbQhygC9HgdEQc7wPQWyjL+5i5XWWkwoXbnYKTSdkg
BbKHQ0Cq9Nj8kyGecgSAx2jxy278TmMBwgnyfWyC2j6PlyctC2Fdvqy5d2dMxPi//rubgo782Xc3
x74TgVv/5ew7Ebr/nuw7Edf/Wew7ox2nYIZ/SjvOCeBTJOuT+fYvI4Dp76mCRJQGqKERIAey59PG
k1AiJVdbtnzz0J5ULlMM7kGw8RGyzjzCRLmHvLPQSzEmqWY6F4g8CoxzwfZr8UmCNBoqmkpKh/7a
2Mz3ATqKBvTC9ovdabLXdbxQVgmK7cdyfgPNVB2GTaHO88jRCPV2VRxdYHHnAliHJZyZHD1do4TH
TA1l1VjOM0rS7f1exjmo9RHgFM1Sv5KR/g1EjK6c1FLMo4z/7dfdcmw1ChCw9215BXwW4aKLBEma
MdAaLOgqhP8T28EiRok1fojuDwoDmlqyRa3X0Y7O8YPLwhZzN2eIM/EI+tzHFEoHN2Np6KTu0Uwz
SvyrFKqnh1k5/laG6N+9yKdumrG3Bt3G+I4mnv6exRq7sDv0liv2qCNSMfYGvBj4mzm+PVpNYyfO
2I84ftpLLvCzH/94N+OfwfxgOIV3aAFDEf9Y5p8hmYGU4YIiOagLdBuaHdq7xiw7Rm6Nv0e5PzqS
0BauoWOgOTVYAEkNP1kkwlj+qN4nGwIF1WEezWWS/QP99IudJvopdklcpyHYSYaXlIs3V6xz83AH
nJjRNCxFYtnjN0YeiRfJ+uXlsbceFROT6zIYPa+v3zHBBjo8EN9vPzY+uD4zPTBDbM3d7Szjjxbu
p1f334nxfzs2Std/3eJEqeaFkzRZjFs8mfNjpGL8Z7y00XwL7Lv1HXqI0EuEBvKT0e/jfu/e3oDU
LG4/Hh4weuD9XcfspxD+sLMeLTz00243Hx8f6CU8rswPCenY8XI3VIzv2TyiRc9Hi06GPrxkiQa3
MV8bbI7eohczMm/2dBON/u91unmhNdH1/yO0ZoXWxDX8pwmtWUth4mP+pZbCbw1tg8gEgDaEKqfg
xCd56TiqH/UddCG0FJCg8aRTCHiMuhvE5lW1Af67mZHRvx05q39acnJcn0qVGlAs6WnkeyfrmEqh
FwBgqd6Yh/bThjTLOCCFFYZxbCcDZqQyglGjLBSA0HpqWwzaz+OkNCU5u4kb+pZ5wGtK+mLJtbAU
RtvIczv+rcHwa8dsYsrFQRhyp4TgxCSSBn24KMnxzGytiH6H+GCFxt5VhjEg969jUcJm72I+/4wG
PkX5zwy6T1uYGHRxoQEtnGELcKxHEX1wF2Oj3DjOLhLjWJixb9BFndAtrKvjR4RaiMs2AB2toks7
mFhNcVeXoZdjB7vRO/5+uxsHIl7bmOlXjVNt7jeBuJ1Zco7uU7Pjr6f7aZL5pVNP7Ikyq6tWknBq
Yuew5FAXlpuIfSHUkaOsIF8OeC/jYARM8hkxw/bo4xtNw1jcJqgm8C0USPQrXMlo/XKE/RHlQJHS
x8NlSv1e1n1ij4lq7/RGkmiCbT5AW7+NFiasMpidCGmMJu2TtWxMzCPKxM04ZPEbw2ChcWzjcl+M
fsjY2L1a3Y2WwLj1dozHmGhEf3j4OH5c3uksI493/kng/PWMPHulE036T7rSOTE5wp59JtQ/X0zO
vdaJXI/dUGnDDDwYi93NdibOO/Ph09rmP/fhJ6CJC6/8VB/xiSmDTuGy00Il4bWUeMAEY0owmMQM
d8FjJbZjF7xvRvsUJVU1Ro5hvgbGfWVij+EMY8XT9zHj8Ly4/FLm3vS08vef96bJjBExHSL/VxgR
M9roRLxPN/YXaKNZJpnI2HjwVQ3o32AS2cQoMReFvLCWoAFKcxx9O+oESbx0Fnz+JUcRXY8ASGg7
e9QiLlHLeERvvjljmczuaSpN/xX2NJGvf+Vj+glHefPjLU/wLye//T//ty6r4jXyX5O/ibp4f63/
ln787Vi9Vn5Z+d/KfwPoy1EE/GPoy/0IUPleJH/bvRY45OvvsC/HT/iBfUmY+gfwumEz6LquakSH
fvmBfUkY+wPfAmANoDGBD8zBVD/BL6n8B+dATZdlAohLFYiZ/wF+SdgfhFAKZDIFgMQq09mfwb6c
SBR8vsqBJK4TAiQ3oGBOdAkBAnXaOby7CaVCsWSJvGhhDiSYRNaAoZ0MplcgrfaJWj9Z5HPL5GjK
fVICWFOjKtCpdcoJV8lU3malriUK4JRvhqZubF8GeqaXA2rz8ipTTNtxGYXpUCg6ULAN/PtVr5Ms
iNqYkuamIF6y9YJ4NXhBZ0UDo1YgdY3wSuruwjZcd4l+VKPMXc7s4Iy4lOtkxGEmyggKfsqKfZKd
qd7U/TD0xY2eVsA0zkLDbjPObdloMNqy5OEmjmXEYT0Xdcd5Q9dSCEA1JTWiVUgKjBJWi/6q9pRw
RyriXrlN5r4pauPNUGpqKsoyHRGjqaJpIwgqoPy+UkoePBaohCU3gZJ4tpoEMKETV1q2ScxXAx0a
eHtDyQBQkO99CWX38pA9E88LzJgN3ytA5n5LaKXsA7nIN7ETdTvPCYxVRLXaBvK6ssxcPbABDZ2t
mFzftGrfPhEFGGs6N3pcA2nMsJKTFzXojjNXMEk84mg6AflPwOzAQVcnHmUS91LfKCy64UbINnlC
OlMbuL+VW7c0jSKSzZoV7Z4B9nrhJb1sJwaAFy5vYjQgv/A7hqxioj0DEjelBhBtv5I3LdWW6zwI
b9qkoldRxB8DgJ0vlFat7V67NgYXmWq1mJveeP4AuG5AehgyMHcZ1aYVz5VslI2axO5Nq/WeOejk
MfJqjAQKuGQ5QWms/Mo7ag5HNsENS0sqGklcPvnUl0WDkAHZNwJyQc4ZOpu8wYQYaRKoiXEN0Kpy
qbkSaunzQTu4id8udIDGL0l/ZG5wXdIe+Qogq5Z+4dikpgjtAyrlKlRyz9abqL8NC33l+UAtTyQM
mKvIUxVRs8IMJG0wZvqtzwQUB6Al0kmUjejpXJ4o1rBiGfCwqXFd+IZ27HnbLKo+d2bsTjI+qy98
gU/XFdBHZ5wAC3tCHNqlqZtq+nDtB/G6c2tp2REwKWqNRB3ywCZV0b0qGXvzawwYGtRexLWuzQjj
qfsjyyrB0ro23o8ywqZ95U4pLLykSQd6nSiOvOdZs5WHLnpuKgOtWE4GxMlcCcmWAhZLFYHcvHGe
q55VZ5oOxsnD9JnznVcabWpWoYzKK50XdJ3wohSOFjCMuq3yUZew4mWoC+X9ModNTeJx+7oGxHtK
dCgyWZsYZm7KVF6EhnztxXxbSL77XCrgrQBw9BgdRfoG5YC1EewAxZLuNJ9pjui6xllrDZcVm3kh
Faz3yAtv1XKHMgwHs5qU3t0ljjzM6YOJb4W9UoUTTeboEAIO/XTMGTW6MC6TprpWgjg/UM6rZZs7
GszakNiS5GLwbZNoV0mfdfdxmoGAMUkR3Gh0iNo8aEozZEkWiCwOqmtJU3LbSxKj+fFo/5QJ918T
0XwEBPzHZp2ZpuFvTTn8rR+mnES49odCCdAFVZ1zpv6y5STIuD90BltNhxZF6kf+ZcxJOtDPZXRS
KrhyqsraePF/hzKn5A8Dg7hlgzFKFBiI9M+Yc6Mq+SVSuAbdrXJYG1yRoWjAbV8fs8Y7XquFoxxK
iSJ+GbqFybxUW1ZcOKiTBHuLvu0EGYYZRftVZJ4W1jSQB4i5CuwdMpEiMWKmvHQLdgAMYWqlmodE
tjbMWSrjp3w5Hixl2L7AfleQ68cr+no8njRBHdeVfDtIyk7S8neHSOgtkrpN2H53WZBsNCLPiOmv
jxYnm6w5kdJpGRVZF8jybek5IvZcjFUsY0ySk90bPStmFvtqMf5YjAHPXqZorYVqmJAxlWIHgheL
eUkrWwaaOQH8G/aWj47VYyy3nv2Jw29+kO6zKT7RQacFOUQnjHCFAfh+aiQ3dakUTqXR28IND9Rh
5bZw8nUShmtXau8K1ktrnyIUw1ZOvefV4M1YCJM2nNMGNM4J0QBOakDtjuT/bCMrWV8YVUpvsZSy
rRnd+0aaLXOp1VZtWiOxrZYYjdik1FK9pDqGdkNrBFizJHj0/WQtrauyqXaXyXJ25xiaz2C7c12G
UwQb5uumXGhJkkW+djOwGm2bZd8L1KVj3memDSu9y+d47JwKWJDrugZjQ4dbNL33olFLVc8H9Sbh
hmv2un8siHRF4iy3s6DHwM+KDndR0nXCyyWTt5ga2LaA+sn6bE2hay05To9urc1ZB2fyBPvC7ATF
wLgYTQN67FdCyLQL29gYtJtURgtjxNfADniJgzpfwPAkS0+Vt3UxBKs+IsVMnvm3NDGYKquqAqmo
T8fqFZGrlXWDtTW33MZa8GHAkr8nbmdjt92jZtTXXoW5pgMv2IIpzF0byGilmgIXqun7rdE51Prz
fGFoKDKCn6QZ+qko4hOzShTy1c0prikrwhtZN3Kzcuv3UGLPSanTGS6cEn8EUNR1ZZR1cNFB/q/E
b33HYfCe+EE36lcjp+sik+xGyu+6jr54Q3Xf+RglnwyzhulUmBtQbwqBGjPgEwIveHLrre9l6GIe
yIEZR19LRai7FosV4W5czC1FbwSG9daV4Jha7DAR+L6lzLVSnxTGZ1F/2gNl0LYEahWs9/XwqVso
bGgpOTTort1pQF9T3hi1a3XPCxO88KGpduevVAmIsWaWmt7aGUTA/qx4mm5jIp6iwu8jV8I23A+V
2cU3Uq+ANF40pqRt1MR0ahFgDParWlga2bC5XODEugWPjTfxiQoTFqhSN3bkHsu3mFtHVi5dNb41
+AABvm6llXvPiPAKsxjuI8znfEqimxLNwu+XmX7iR55vYsIOdRAn8OxkcqjV2OT5c0Mx6ECHrdp9
S+TbDAxSGAjn92zONZlqw9PplTE8Bg9eZdpE9TZy4bu9H9EDA6KIZzJ5BAuuXVPtls1wcFxMvlZW
UA0ibHdB2YmifRnSfcI2fWu30Z0GOFeGSjrl6NVWnG18to5D01V3lK4uk+hkV51xK96LAs0NNcam
bMKlukhDhRzCwu5QPNaIa7Wz9M5MMUAWCUCAPQB7IlwkRxjx+bfmo1zzBKPCO9hlkZ0ly7ze50RQ
QySYs2DJNn8oU6v2zFoTjJhGvaLDDGtPHL8f18qIDCEDa1E3psZU5ulOLCkNPYRo5A9X/WtBt24j
pORZw0T62PRdoa18hs0v8mCBMQqDezu09x3gSxILIZ4ZaXdK7k9p+Hk/k9vuSOolqVRjP0B7ic3e
NbW93uxcDMrxbVVbdAj+h7vSXSul5XV2nN8Hyor0GCxSX7svMQRRdBvLV1xeyb6QMGBHfvRbUaQL
mm804N8VDK38y8xfqogfPIX6beSs1ELIB4A6XmaH8UFcOslEdhlyVdVSBcr6w0tlrAzNjlBDoL/W
/YOi3Fxe68yCMxgEpAo1Cf8C0YppiIVJHjeMhJGDUQGcULFjzNN3VsbOeNGAIHt5sUmqDDwzWWxy
shaoQZqngc9r1EQq+BJVsfBVJLO1hZZueCyMZBN6SxZeNY2pOKYE+6kbDj7qTYCCF1w39R4DJuQM
8Ds5Rhyngt/K2yEE9qooMSAmEjWKMI/+EUCoOaoAnpiNpq5Q3QWeD6A9SSjtXamshmbnBYuAWXG/
VVwLf9n/pqaWJx1osrl85DMz5MeRDT6GsuDyTXU+rE0msaQnh35poF41N2MMGv+mPLWqWVLb8ZeI
jzea5XvbPDSLfOaVnvKtX3hppDiUMH6BNoCB/FUPSm3EjCADxQ13GWASOyZBD9YogXmCSS0aWfTB
PuHLFCEPu+MrLzK77wjUtLpVEZGkuxZBAsdu/UDQ4GEcgxIJB9Uz8W3SWAxvLdoO5YOeCnakK/RB
KuGieM8xuDt+MtKDK5kktT0UBel3A7mSM8xG01MrmYVA/RoK+8lXsKjgAVM0D54qiT8ZVmVWGtrg
gsgRZocPZoiK31cZ0vNBRfYvM2uyy12bdpsE+eB93YhKFQoqd0s7UC25XCIMePnWta9x4/MNTRSv
UzUkLruOHPTe9JFvpA8B27ZAdrjGHJkm2uXVdeNfN+qmDq6IukEKo5YEPfJCeOjLUkUYCAb56Vql
YyUJXBerw6Ukwr3WPdNLzfqtfNC+ZVZ/8G75q+oI7Qjucoa1raJKORKpLoqDbjtPKhXKAwmFqwr2
AdWic9E+xHvYAMa1cROgFyi228akkqngb1Er20jfL9NiUsfxkxaI38JD05BwOgtbySqyVFJLDtLR
uObfgu+GYvK3mF5VbC0TW5XsGuJ6W2z4ezEINxD5Nc4ev8IQN55Q256+SsSK99VBWWQP8V2+5h/F
HiwnxyJ5qnWzgtL55h+SrXOFALB0CyCKdTrnTUxdutMzNmRCYdfqTJcnQXiqRWnVGTgEiFsA+QSt
YYWI9xLm1hfLjAsSrnBt2nsFXNYEXgVmkF8m46kPe/qSRyePIYIBn/vEcp94vC0NKVY9jx687wkK
/u89TPFfhrVlYIZcKxCViVo7MmwITR6Y8hMV+lV5lxxwofU6zqyEiYjBs9lV960ndLQZSMvLO5zg
/v64aK6e0lVwuOBFfZU1RqwVmaqDRgCxRX1xJLo76H9+uwh8s7yp0Cv9/7ngRLgVUVxL6shZSQFX
QqjvCZC9ZNEDEqAXw45hFDysumTGrpw954QXkjBx9HjkBed++FZR0e7rd/2O3AavzavxEM3Yz2du
HET3J6pOU1CSGv9czX1wMEoMqMWv9Dv3RqBvf7Z8cW6xSSrPHSrVKzlctx4Iud1aqU23v05TdA70
aJhInzwtRplnJGBPpahBl20mmZlu+9DAzl2trVJ6YwyrzNnL3BW8eGDJjoHdGnhe/NrJj2k3N5P8
twbMZ/rQr1znBZJUKz5EbQ5ABs/q75N0lQISwhcKYt/fkJ5KgjnGG+2Us7f4i9PVSSAxaatIdT2s
6eAeiOj7hWTYSXmEjSk5C+Ve0qzkELgCR+c3Tjb30H6n7hBXkSmy+/CcpiMbJLdNWD3E9OB8yK9u
v3GeDbJI3rIrwoRUXfvxjG19CuOdnffXgtNMNHWbpDTSnB5UY0F1qwtNbthxf5fg7DwXDZ67DxQt
eqXBzgpl1abpDMlH2XFpBxPGbAqjZIqGIzd3BdCda8sDBq4v+vDuskw5s71H8wGiTNb0MaI5rV/z
3KLteseRj20Hn7EQUb3pc7uJHZF5VPjG8+XlzuMUk/Wm5wrrRCt8rBf2i0hf1fGiapYRoB1VcwDo
X2xVsUXz20izQjjP981tCVTrhR/O3PDcsSePqEWK0WkbbEMnGx0AJcAlKjfEffYTM9b/vJSZHHry
fHiQDrrjYTUJOXyMV8SIwdIGFLrMhQskLrZo1Ot4p6N8T1+43Vp+TiKhuDtVQTbCCh2BLxegLL4l
pWahmjlBSBNhfDOj9uXrOQUJv7DdZKfsq3DhodPoWYqdRgCPqUw323oAVWqWASKFe69cu+kV6j56
AJsNQimWCR5E11DB+28527MMNrbjwwOOLSVDMKHYtUA6zfchOpWBfyNRswOQY7RFAzhy6Mta9kwO
xaWanRSZag7EGqAySauUpKYMRzXXjnHz/fIJyUjrsxOqRGEKgtVI+0xCD1zygtqnOGGTXL9kBkbS
YgKbui4AK6M8K+HagGs/3ESdWalzevTMSB6J+2npqb2g+4bsyVjaYwvNWAYtiGDWaFNHIyaeAuZ8
zHXDnyuLyZITiyFB3cDP+4y2qbyWza7ZNIYtq981lDjIO8VYaOWMuFbPxDUWpajFGuuwuIzCgK9M
5Emyr8pBT46IwlX5msnLHGUrCoIzNveEgVrVSPQPEiSnYVF/E4S25i0JInGtTTE2o4LWXMcARAKk
UGYFGKcpmY62oIHFWsEP7bOxkwHaw75JL/2zC1508dGV5UUC/jFmWTaHAplq4CvGprHTfYEwY0lg
sI6Gqo/xnPrWyGpRsUc9X1buRi/MNoYDMfOUTjpxymhUUZHfowqqSaZVQpER1NStJPnoDwLrFUhb
b5sPDHEZbM25NjClIbHABcxsvLca5Zq+hedTPHYboPsaQr+TDihuinQQYAcDj3kLWV8ppV3rK//Z
vQt3Md6l6PjC162oWXqofCrtThdqJlxASnX3hrSo2UctbVC0o6RmW9tDIHxd0CVCRQOI+eipCMe/
OxgACR8NUeFgxoQ/M65OfPCLAhMhWxmlUdYB+L2kt1UGN2LpSyt1/ZrH6CSV1pcf9gR7FSpsstpE
yHqS3kuJCnojyLIuvmm4ah2ISjnsxxQdu5mpA1XwPYpEjibAZElhNG/gY8Kv+la8BKGAonHewrkI
0G+kDeLR4zwKpD/QyfT1KaDWTfbDISBHVAsqpWhcE37J5YOfGyvjwbmsavh4LDSNuCR5GJG46MhR
Q3sEAAjRz5uK6nv05lIROGbVWgNm/WQicVfu4+W1JwVLP4n+ae2JvlA6xfBYjLX9UrAH7VF+17OR
Bflj89ii3iUYhxNpcMefEe0piek+OoiprELQ2hXyTB3S75T6Z0JMom2uIaet37XkWMXmAJzD25ib
MsaPuoAGunzuc5doQvOJFkmMoZfiYiDHsk9WeohgHl6jJQM/lWw1aHUJjostybu+nhErsytPlEgY
956MJnFwVG4hwJWj2xXAzgCEg4eC2hwgKOqCAzly1gscr/JMnn266okqicOAKajtIkf1pX4onsFj
6uugiyAR0oP07slmnltRJ2CZzND6dxr787WOYuZTIICXcaBrIWjNlYMCzMLGcvOlvIcBqVz3r+y9
7paZgpseZthpUuf5d+Ye0+2oNkNSd2KrGpFWKU0rE+RDzADYtYop9XbhLLlRWf2Lqjei9u6K9CnR
BsGCb7577O+HbFMozzkhIiY3bYgMDHKxSAU6GJJNTZX2QvELU6ElMiyLy4T6Pfv/2u5E1nhORpoK
Kx8dBAGYmUHPlGuHPCD9WOdzYd7f6vgxuIUaOJRqTvszq0gaQbgyckyqRa5ikFjWmQQDqMdSg62X
ScLx7czbzIY+lZG/z9jw08ITbsilVM9qnuKUMNsjAR2ItFEeWhFd6BhtzUTdWHFjDY9IhITUriRT
rdGyaaEx08DcH2VRA0O4RvGq5YXrvruiSIZXSxbYirpVtduGHV2Mom7WTbvh9W7olk45I7B/qxZ/
nWDataknPpHKOAdbMbNCZLoAfyAa2gfPVYeaa9g7oXWZM85DkqO4UlEzgm5ajbJpgUZEBpa2FSwy
T1srAxdFsC1JDf8jsVi0prVVAuQRGJ6yWbBVX8Z2Bx+QKKaK0duFHSUPPN5F0Q5BN4oh9v51N+x0
ajaSpVBRZOu83WnwmrT0sZCffSB/NosheorYukjWVF9FmNkRDtssjkQW5YskQLycIqZCDp6z9cvj
zGHP3gESAApKUVSEx1FGPC1x7H3ue2oHQ8DIdilMO6YDnbJCmFlfxg+Fsdaq2yC7xmuN4ys3XmuB
PURIy97yUmSqcEIzyczWt4z3ysCALNIvvNgKqVXDVoMRBuNhL0mLAoH2BH7bVbXMIkwDifpFV9il
tm6fKGaOQPWCIBVm8iW3l493yuJ+eQCT400UgMSHvmpKHI9h8kYND9EsMd/qVTclgHs3GEGOuSiY
blLcIoqsURB+4WpXjCMgZTPgKHOR4WzM1AHnTBcYu2K0HwFAi+miBpmUZaqaATFLaZllKDZexDHm
U7PkWMiCRWZbripNGLopexbfx5pJAhOkKXSLu2Y82Gr4GteLiu4QYi99q6YWMrZFLGq0JOfC7wTK
R6uXLhfZC9zXgtpRNgjVMZluF/wxM7aXaXVuGo20QjMJk2UdcaNp60RBfIJKGxemEVv01Ja9UAzV
TeJmokJJEJrLmVnWN26+GUbbu9uo1Uww80xaTTYwMUqLhraVmsP+04OVnt9n1V5TTY1etc7MEz/3
aycrTS2xjCuoiYKxLTuLCq5l3z8R9ZZq6zwTdboxnFVYXGm+laZWOTfsjpyJtMniE8tLjpW8c0ae
zDGHrjfVyDLADN1GHpsitmWz5p7Nu4XjbPxiSYK9WyzVwjSASQC1OBc6Oy/AmOxmYpwNBUuIE3jk
GCdXlbbSkZ2oF+yYfkfdXo7ygXLOJjuzUCYLTp4kKnpYMVAcHwWOSf89b9ax7gpVeZTjQ9JbeXlb
x0+gOkwXpyvXl5n83PFB3QeVUdhkaCoqZs8Kv0oadcnAwmOManQY33oiWBX7i8oYnh0txQA89PDA
uaxf3NzwrsLR/Sq50lqlBm8o4Zwv+8LZt0WcmKzvP3SKImpCpPeiUl9g8/VLJe6/ea7dDK22g8a6
G8qimDG2zqxLHEKBu4x+L47WqunEuzFVryk+CY9FMhZVqHm36KC2lpdpdR4PgTtOVEROUb+B9Nzp
559syUrrFClwNe+Y6+pzl8YD4K4rFPimFVJMoUMWKFXeGpBqKE9D5rRGUl1p5s56LpZOu0D5KMZv
ocdGnwRIukJPXdfpvaPaIZUZlq6l52pgJnWprllhpTrKpgymoMVGNeN0JUnbMqBHLSf3desPM9w7
voZP+kRHzw+qpigKIlA1hOaXiV2fd11eeY7jHjssYuV+dPS6UhNy5X60RTHb4jJ5K+NynBmIgo2F
/SgWnSwX6gmXByPF2Rtlq1Kf2ESpPDOv6L0TuSLKmL+qqFIssiR+zUN4UoqcSlelPDylDbR41miS
YGqWL9wo/oYEqFvXfJU3CrzNjimmD8FCOLrUPJVHM1bvtAZo3PyYhUCXHAqXFHnaj933KVrCUPlw
oB1SH0OO8GFBEmYbTrh2qmjHJY2sE7erRC7FnqW7sWS7BXJIWR7mQlPThz7NQ+HLdE0z3V0q+pXq
9ZIVaABg4TXAObgyd7+TMS4whORTmRVFXYuMUD+fWMxt79QO1Vz52Klk78WyaHMWWK3ul1dD4NxJ
fijd0nhwkXXvtFXkZckiKam8DPR2z4Osuuo6BAtRXrrt/bhf1woxM4fvfNR1i16WvRsH5zTreoAV
oPJm78l1i743OTDTOBjMyy94Ku1wGhUFWIaKmmLgx+DrqzdYqXVg+Fwuj01gAHrbA/VdqfRhXCTa
ghc+CrGCJ00ltQ1AHM90XBTSaHGIKrgUNluR1N1GklpEo5BZTsLS2Qc+QnDuoNrAuzDRyprfVlRL
YQT1GP7WZIAPkwrHQvcRnfEDprkQlEqjWBQNX3h/hjZWM389itx2RmPEmXEIsiK9kvz2nsLUjFVt
z8FIZqpmpRn59YoPiJUqHW/3sYeCFoXo4SYi4aJupWCjRIGAo5paKHcKLKpA3Z8o/j/9Lf9rlLv/
uL/Ffv/+XrxW799Pvdjv5diVferzSd5L/xU9LknlV/36+/8+fc7P5mVV+UNGvTNyaZDrKG+EIfSz
eVnR/mAoD1aQRcV9cxWX/bN5mch/oH9BUVDOzyGH0bHxH+0uBD+BWgSXoKSZoGrtT3W7fDVGx14X
Q1WZDEMYnXo6OvW+8puvBGlsZEm4k0vfJHq1cEMJucxERDEVrnH3iVo3PzTI516Jrxr952poNVOJ
gVYzNGd8XW3weyL1QRPuUqlZFbWyYPKMeX+2Ano0CRsL7lXoUXaySj8p867J86xOYrZDJx41vbhF
wN+P5nIoZ1RDcBX6Gr3XBPV8Z5OoYl2TGq5H1S7jEerwao4ekyKul22deYt8SBFYzgmbMYcmhgqo
B38d/4FcGFdGAuEr9So/8bNUN8pdqdXSljjJR6b1kRWmhg6vuu2tgqCCn6MT2eoH9IQgXYs4SNKo
s8nLr+70z52A/RT0xcKJmg46Rc17KxmVUuyqxNftdECBoaMU5EkKNXfltJW7MCLKbOYrgDEyJE24
MdI5rd6kVi43ZN11YbjoIyW80rijicanCozkPFu5XfOUJgx1u2lbWkle60sS8waiXGXNlUoK5+Ag
W+cJtGRVZu7o6lZ2UnXGn574Ln8/H0oVESvAwzjFTj5xUaQHveRinNcu94zCVnj7mGLCAJrJqWal
buXaQZf9P/a+rMltHenyr0z0OztIguvEfPNAUVKpypJKtbteGOWNBLiCG0j++jmo29+1BGnEcffr
PNgOh8OVBJBI5HLyJDl05egFeeQmOxsagQYbHu0jRmQQTcela45PUeeVbzW3xvsoT9sQrh28Grgs
M+7+qbsmPxc9Yz48Rzj7qCmor3lejGOXw8Js0abqrIWLotoARPiiJsLH+0fmcFjnl8w1TGJgwARe
KWCcFEW0M79Ip9SiW53SxVRgXsTQhtcthfIQyjWdylB8QtI6YkT8SrfNElC9HmTcePgwzEBbQC8C
dHsvTcDlylAP5rT7fDddA5EHWpfRbe2jM/b0mlW65sQDGty3tF2h/+4LLUDp7413I/p4ry+SwIof
+dl/LdJHQko62bBXKjLVbJO0TkeTblsMYqMP7MnfF1+cW+i78ca+YBzYuvgy7M21u6pWzXP8E5Dk
w67alRtzjxqK1S3sXwL0lns6s/unsfv5dynuIegrCsrTiW6JuBvhVVSFs9TqFiC7acWoGyS5t0AN
8vpunGmVhyZ/uHGA0sONRhh0uu/WpHEz6uiwbXnxy0rHtR2Vc71yZ2f7KcMl6OhH9yPcn1MZRtdU
ekHAroAEDJJ/GFmG7oDeuh/SmSTPubFWJMmjPzIhjCUscmpIIgH68G/tGxZ+tzFoo9lXM+7v2WFB
0me3o4OXHFVlGV0dSYrHXM8cyRjBLA68OPo2kHExxo9+eqXIumayIuTO1DDPHoBPmQja4Ip4QGAp
boOVTSTqi2rY+hkmviBhHbne0k22nv/YZICi8JlnfU6e6jhoLfF7A/IQlQJVWW77qVjFxi+njTYx
crpmOiPwkjLKNCESA3C38Mfppupm7w7cKYetIZJhI0DEsnAzb66B5OzowGkBb18HLB5MNvD4T6XE
Wdllwm74zu1BYZ00CLW90Ae+sUxyBLHxwiuTzYB+l+s37Ww3P8XC84PPB/ycGmRMWUGsgXG+03x6
0LV01Uaw426z5Gb57mcozQLReV3khZUi4YpyN5oQHcRrynXgrmZYkVwp+EOWZR5tbGKtGttdTXq9
iMz80NnFbeNvrks9u+6+47p4lD34TLgYahdeTtEXKypn3FErCkdrXEb12kUqm1XF9+uSVKJueOug
4kECAO4nCoNnb6JXZrWVkIlsra22t27FLr11MC/jKcJjhQkc62pZLC036AC8sGeOU/VG/xIthYKk
x/ZVAqKhJKPpI3uHyhRGk8IPtJkfjIAdN+joqSHx+lIvisPjD8Q62rVgcU6VFsQ7lAwxusdjD+Mq
xT2acdeZGO8oQXGNI0r6O776f4gYPtd2JExxAxyKGJlWn8LuPO3dmJs9ot5zE2uw0BcKNUEaD8QD
p4sx3aolVHe0LRcRBpCXE7jQRkDyrq9CmsPf+TQPymFZ0mHHL9DXIJV5KsUyUHUw8zLeFdzvVwVv
3ssszW7YSMnquqQL64EUOOAIHmFXVJxVCahsPiUT3bUNo9vEKrywT8hc/V29V7D6jukTFNLAQoXk
l7JrsTFO1NbGYp9oxFlniUeepr4yvtEE7RVcz96vL0q1VxAHkJwPchJot2GqHplV9yyZMr/es8EP
QZq0F+ik1UcjHBvzUVQG6rsz1/nCAhGmfh4X4nJ4aKcHVvFk4oz3zZ6QDMAZQ2zseAIJPMpmvHcf
ri/vTDuwPPiZkmwCXdq+yp7ZlCXSg1Hd7FuYY6R4QTtuube5b880cJzpBh6bTxYtuO0eWJTkoo8c
hSitioySptl3WXlHu7tc99fXVzInQdGLsU1ZiqJPs+euByjh3ivSGeNzYa98Iq8TtA7FDRX2XZW9
a/Zx2+xdOG+afms2G41W4fVlKIUz3Fe5U7+lqFjv3GgwNCaFFOu52rt6ML2m5UIDhdeBfgcsLPuJ
Wl3JZpYmN+fESChCFd/UHbKxzEsIpXXQov3SWEYkBPzannsvLlwn3F1wqKAYjt/UVxFNNLzxpL6V
wFI6Q3lvRZoAwgDkukW91FowWIs5jK36/ssddYGXgbmG12F+lj+OdC+JjSxq/KneoxnMRNp7R9hN
Q4IqBl4G9dYZK3gWwEtxng7GQNR3YTjUfitnisbUt+0aB2jfVPfxhNEh5G66w9jD9bRON+TWv53e
tR/CC6qf5et19bl0C46FK8bDqnNRTz2E64D3kPI+desZBb10gig4eNIKS2I+5VXMo1L0fQ4JeE/C
BG3QaY5Z27GNeY7WtIvG4r0s6IwRvnApbGmiQAYHEh6kvxT9RELPM3uiif1gGODS6u8d3wRkpAkN
lMxR1EbqEO396fugp0un9AMh0JldzHh05/cfvE86sjLg2gKYQ5d7f6RHWl30I5oFpr1hFAsXSfh2
2Nj+j+sHeGmpeHHQVOIBk2MhLXoqhdfeQLH1494w0Vwe+MbCIoH53XsbdiLg3/qX+rmYq4KdPzlY
2ZFMRWsaI+VFJGKsrMAgxmKV53mQF0h82Pczq5Nff2pobPSIIr0iWct8tHgoq5soMpqVMe1zGBpU
h3mQe6H5w33vUfrNw+YLeZ7c5XWh8mdekynP9ejcIvA3xak+TvsEcD19eK3QJHhdwmece02E8rwR
g/ZJZunTniBVRO74dgjQZ4/xdfqdttFCiiEgdA2KPFoGdFOv81/J2n/yivD6Z8wtVHkCm6aKESQM
095P6K053LhONROafjrYZwuVKRLMeYXHqqLIJ9NNOzI00368RYOhsy5fkh99vUnKAIwSYp09eo87
Y6kd9O/g1tAO2oHt6pf0iYf+Elimu27GrThLdaB0gYSKaaF2CzIiotYQJmRhXW7n+j59QdYBqblq
aaAL/ZFogft1LqS7eDePpSnHnFa52bq6lPar/2GTjc3XfhM0gPlLcoPABmrupqSraCYQUZrYpU9w
ukrlYEniWR0RkJv/og/2KllZYbpx7t275JF+Se4mHuivw8xVPbfzUqYP4hq4vrJ9/vTW6Miaj7EG
mfovy/2S9jf5JiOPeKxnKRDOnQ9EDTDtOETJUaRO9eu4XeLVcsb98Nau6If7NH3378qHFNRNd/oz
mg3Qol9D2YBmfutu/vzKoB5koGSDNAhRmT9sLfJ9OkbjfjKdYNAW5jTnNV7wB+TyfotQDs+1ssoF
xGDc67c2SK+H1fir+lJ8MdfNbbFhG2ud3nBrSXYF21Bgo2Y8u0s24Vi68lyPIsnNvE6mfTZlWlAN
2op32Vwr0UUhoCqVbiuyHmrnsZeBcKuou2mvWbgOgBk3/PX6OV16e8Fk9LcEZRla3nOtymB3mvpl
ouldNro3PNdntOHCO4hMEYib4N0gy2gpbgal3dSO0ox3/s4fV514rYul8a8K9vfhf8Y/y/u/rOVx
JfKCvjtQdjyDYAoDT5zy2k4eZyUbo2kXx9ZujFcdey6S9jBOX3zNmnn7zn1f6S2BWBC1Qkkjq1gs
b0LfE/MLe2cyf2H0yfPgb3R650cRCpTAZbdFOPVzKYcLdlJyo8J3wYkRlLKU0+Jj2taMdyDF6Yyb
apo2I0hUIk9D+89mdNtl3jrLrChWff2tRz+r5ZmIdPrVdZU5P0yU0Fwb3yDBRKD8OjVgTkIqr071
YUcjVFDM0V0h94+ZJLx5ajxtrmyhNELARqOlBtV0TAgiIHBEPuxUXJWkjSYGM95HCEWDobWWpRZv
2gztTFm0TpCvGiP2rpvJxosf+rpbVn4844acXRIUjzCgSFKCo8LtqiO8ox6NnWVs+TvKPdxBq0Ll
xAbzhpXGdKYgfFGUD+Ih+TghHFZOmBR8EBTO+i6yJ3uZZUB46k2E9ouySf9UhRFpI6PkAqCF/ASK
f6cbmw2tTrtYH/diAmAelaAh+UmH58lmX/S8B+AJPHIzJYazWyNFyjgfxykrZIrJtjgxawAJxn3D
2wDZ4ZvBN0JqkXtkUBaj2W7GZlpPopvx3+SmnThXMusPMmFDZrbQQKa4/iWt3AwkF/W+N7m5GLW+
v/OzCCMNQTsRMKbvKCBTm94Zy5mrckF5JSwZCWRcWcv+ZD89dpFR8eKxl/EGktN1Sd0buwDXgYGw
PLaTbyjsLGOmr/o4hOKt+8gzAqd3ZrT3wuqxp3g+QNGHyFLtG8uaehgTl9f7dNL0HiAQK12CtbFa
oJ7c/AAKC3CptjLue3CrzzySCpBOXl6w8SMFBjAmKGARZZ7qmN0DJJZmXb2vbY2iJ9TRMlARpuBL
cctiCz7r8c71k+lurMd8UXU1CwQI9kKsA0kL1x8WYkxeR42RcKpH9OVEvQVclDOtaMnQ3Vh3wyat
nSFwq5yvr5u5s7dXfro0cSCaQ0FFjaiiqZiSOovqPRVgbxY5o+GgOf7MjVBAzH/tEBJ3CHtRZIAU
ZYcsXk1D4SNDxJgPN6k1qqVjd29pyoy73kN/gjVNh7jI0L3KiLdkXs3/sEYrz0j27wL+girO2VM2
0SJKQKfX7J2+6jZTnRWrQXjZzHaeX30kROUlAIBZJirVdfqALHgRafZN41jocZ3yDxEV/sIZR/GY
Zmm3cJOO3oDTXOxKbmUP10/z0iXAPQSZPsyOLAqcKmJtCd52udPsBbNk+xInISt7UPCjGGdUgq2c
HuA7zdLGmSsgf7Bie2DOMcgCzDHooVLz3J4WDUmUCmeXtqjgdJgVsDYb0aHTGe3gmP5NbkDT/f36
Ys9kogcVfKnoQseD6eD+nS42R1XLSNyY4NZ907QtFdHC0PXQyF5ELGasy9mDpciS1+goCTBgGILW
VZG59wHJTD3rDiMR7kB0PCPm8pJkpRHDhglxFH+rnGKApVPL3Fs2+HBiZBuBXd92r9c37vJifkuR
X3G0GMfv21Zn8Jp6PtyUpbug/W0STzPB9ZkuyhZhWETgQwCFRwr1VApioxQs6qm5F/XKmW5Gcjtg
lHG7NMr7dphRvzNnDUlLHVM2kOKDm4rX71SW1o6ZnrkDVvSWOws7Ww4vMdlc37Wzqy1lgCUZBVkg
GAGJPJVhpMJvWmzcPrEwtyJq0ucUAG4PmJLJahaRUepBM4L7vo5n3vXz5/VUsgovQXKoMyaf64iP
QKjXlfQGftJCm77XOX0odRekaU1oOtqynd79Tg9HRmag4nL/Tq63/ALwGAHxYwA7p3o0eN29NB4q
Y++72crV4mXiv46CLbv80MZk5hKc+/9SmrTSgArC/1fjwRrOKZhouLHPBiMUrrPGMJdlk5ihaNmL
NbxFmfmWlI+2qEKhoQeqqzcj+IyuH/cllZJ9ulguxtQAzXp63EVulClLTGMPvHLYNO8kBxVI80Nv
tBndvaRXwGnAg5ITcRCsnAqaUt9jdV0be/LI+lVXv3N6V/7Iogdu7QHx+fNVASprIJ7BK4zS5Kkw
qhtjk6YG2Re99+BO+p0Y0m1b52916s7clwtWBhiN36KUOzkwOlB/MAlqNeZD7IBDqh0Avhczt+OS
asqgBSBlORJJTeHxvO4sZmCChc8s8Lsy/y3qOxq0VvdCUnHDHRBWXN/D85QMYlN4eWBBcKCdZ3zd
VV50NDVAAqjT3HvLRgNTI+p8uiVmMi7iPK83MIc/Mz0FLWZqlUuBhq0+6b/YlQ2WPx1PVUTzcMKI
k+2YTcm2SpvvpZHRNbWb/nXmY8+PQQZZoIZBV5eEPionbqegUUYzR4tXEh0Blld85X5bLTGTyF7E
NUyyBVf0rjd9LUj0Vl9mbtUvRw5OG9BGgYI2EWhq63ItKDN/jqDn/OxAiIfoDINqDHgNKjlajedB
oI8W3lLvgZqqZV9YnVhhbw/oZHK0Oy9ic23lSvMwtgJVQ0m2DrQpgKQIk05vgJ+YraAS7yqi0X2P
vS75IdI2exxFp2HSOu3F+5ATv1xMU55/LTtKHLRXainSwqjfPA7cozsPnKBNUAJNWgcjph09pxnT
3iuuGznCHhe4YG306Ts6wKYqEFASHy3zpnlgSQvaQz0xp1vBWvtgVabWLOo4wzQk38ww50P30+jJ
szCPKxgHcyoW6EFpdoVWIZ1pGDT9iuz5yMDJrbnvFsb7HlJw4KZBW3Xi29g4qOz2OcufQK/BgdfN
nP4F4JH8mxAdaA8Lnsf7QaCcMXMj5J4dPw8oyQJQgQcY3UKSyl7xjvQqboAccfgepjuMBzSnxgFJ
2oUh1te1WVVmVZD89yPPRWi6aAiHoM7Tw1brF16290EQcF2K/Nxry1FUpECep+wLSLF1YGjBVFuC
jvm6CHXHkCBA7g5vHObvmHCXlXSP5WlGWxis32c5+keTfNNTnwV+zdAilyK7dl2auiCUWoF0lOOg
0C8FeLKybawAhK3K+n5PE2R2Rh2dOI0HvP91KWcPGdKrSLAgvkI/IroBlW3rHWfoDY0CpJH0y7qR
xIGt+9BysQItfzD2E8qRHub10vQPtQJxFgSDnNcEihyoRyUQ8IQztCXPEVyC+7YEwZzLadB7M8uT
m3SsFZ9SUJ1HegPbiefzVPcQzwHERgokObQ+NLu9Z1Dw0Bh/qHuqFPWoaARiA6dEmMqyYpn70Stq
D2J1/aSUlk0YQbljMkTEehBCqTnkzp6EnngMcWIbhRlz97ycgrb9iTruIp2qJXOsG7CJwXZh5gc4
6ANChgH/Im4qbe4qnKsNfB9Uj1F+w3ehXHS6r2OedeVgRcm9pE0rfOc2LatwSgGRMttFZFsr3h4a
05+5EmdPD5pfQGmL6RboBgALunkq1Rp9a0TpiN47KLz5Kzrc2tMiBkf86/WtPr96eNqQepCocJng
Vc7TyuvGMAuN3mdGq630yUFp3AZFxXUpZ/kVRFgIf8zP/qRPzOHpcmInc2kWm3hJiT8EVmoaQPmI
EbQXVqALF0xp3LOQ3mk+mhERCy2rOWCdulB8wWfhAx6fLmcvKgstBOUdCPTAjAzo9aIccwFygryc
cSrnpCg2BhMrgW8u9XY/+PHezgHwd9GRM6Mbl4RgyMfnniJn/EkTdfTKDCLPsgE53D2JHTybqV5U
z9pk6DO3UH7rsUGRO4bHEpPGwOeAwYuKCrpwerySfl5Ct1hxQeswT7QazZkeXfGG8+V1JTlbFlws
E0gNQKhhqFDVOdURzJJjdkEMvo8dUCC3v7j9fF2APOKTBX0KAFoZigB7rN5k+OZOqfc232duHPgU
fgxKRMnLfyZEeTmHuoAGGBBCwcbD+KuYHrlb/6kGKCtRjqZI7ToG7R/fG+W7AIySTuOMnVetHjwZ
OV3n771S3qycJ041JITvS74APyD4xnBRGarUQdQuxVwxa+5kpGocaXQZDV4GkBXf5+TJSKugFHdI
YMxsmmpS1SXJjzgSYlRkLJg8/uo71jNtuBUMLiL0GTGX1fj3zikmwMsxfQYtSXw/9t/APhXQuRBh
brPkOo/WQSj6V7XB4nsPuXwtv3ftJ8P79Z9psXIXs0zLKcsgIx6BB/Y+SP4Cfqb/TIZUwaN10NLB
ELYeKsbQJd8ZgGZlr9lsOXrmOFTAqZga1lQ+VtKDC9YCaTcHBen1hZwZytO7osL3sgaLqLjJ967B
brgr0JawF2a1JNW364IuajDaA0A8iIYPZBJPd0xvowTgR1x7hBZLD7UaW7y7IwG96UNkz5RELmrZ
kSzltngU7ZdFKUOZ2geX6Bejf3ZAsnB9QXNClLtSg7s0E6a0Y30VZBiX42Gmw78T/qE34Pe2KRem
FalfN59SzGRR2aDT1UDcqNNFV/y5SgNAifIGEpEoln8Oaj9SaUczwSSt6TD+TrWwwEOKeBks8TNS
LthmJJOAJkJA+zmP71QNeNewqKobvic+KsYIrjFzMzDBCkdQVV14c+HmhUOCOHjkwMQhKXFWguMk
Qj1eQL351wmpq5RgwpK7uq4JZ0nVz9D5SIqqb4ON2cMppPB8KSOXXXWfHhiI/qug6QP+fdomh1nG
3otLswGhgHeKiobajZy21NTMpMN5+VkYReKnAz47K5sb03JRzFH+QXmuXQ8ZclQi4HiwjwFYr0zb
pd2P6xt4wQid5DiUB9u0jLS1weSzZ5jZpFuH2njGwPv1BBq464Iun9TRapTrRBom+raBuRMgNjBR
zgsmb9jWwnwrszgk4PZ1+m6NgvSD7VYLMPPe9i5Z92b852b3ZMXKG+WWKdKqQloo1oKH0wzBbBMA
9bD2qj+k40SlSMkgKW8VOEBKAy0qfN+ARLsOiyhon5oH9yYFjc6C5CHqYCU4UFdRPrPbF56v40Wq
XIKpoWWpkIINBnpnjKHox8PMecoAVnGLT0SoHmuHsY7IW/A9yA78tw7Ufd9An5O26DkL/XiV2zNL
mtFUlXwqNjA22AcUYg+SlTAdtyZNAS8tQB75b1mu35qqQi+pnSLZRCGJmnxp0Vue9isjfbm+fzOX
21ce5Tzv4rr5PKFiuLG7OwLidp3NmMcLL//JGSnWMdIa0yoJzkjPxdroa9C4x0uzE4GW7mojXl9f
0sUH5mjf5AkePWNGVVPNlvvWG/D+wYfflOtqAumN9ey2uPPoFO4w6PC60Dm1UMxKP/23UODYYVb2
iXj2htepmWm2UMu+f91k1MzQ2C07rJW1gUC5KLoW7nlblKvU1gOkogMHIGfXr1bI0+266fX6wi5L
dOGxSa8N+MvT3cRgZ8bzbML7WfkYbc++VMW4KDCUSbe9h9T3wcY1BzY6A47/tcrfMpXXoI2pL5wE
sXSBESqCvA1g3PdIv5gEXZUliBfMjeEvSXNLZptYz84R3Z5AJoIyCpUnpJaU5WKgs5M1pmbv2uor
wayJFl25pV2GwNYv/3BjFUnKIn2feZbIY2dX6/cR1zekwQIZQtWWPrcVptI7c3GqwsCNd0ARqVx2
MjrCMSKItNahedu8mNMCNbMBLCpNACAJZhLGy3yBisyLfTs6D+DDZ3c0nKtnnFX4Pj8DAB600BgG
eoaUnCTXiinrJ3wGfWk+xC+Qq2+ah/oxPrgP1TL76DbdY3kP4SihhbPl74sHfCRceS/GQUyRY0K4
s8VIPB/8IUZA2II0i/4ORMv3wzp7LkE2+XOOPuRcq+XuS+wtgDVwOVVYZkpy4jV+4uyGOuz7wMc8
njastSVtlxEmvobm1plRsTO7q0hU3n09G0eSlpDIR/9gFk/GRDHqsQ/r6GUCvel1fT57SU6FqeVG
3S8SnjRSn9EF5tVLz+Xh4Oszxn1OinJ8mTYVUZ1iSZiKErMaL0gclMb360s5s3nKUhQjIIBMJrkj
FTTJ12aLkXKFf0PqYVnnIOvhNUaE1TMB60W1BOIcigHSF9ROT80sBlTXqItF9i7zMAodI0XsNNSy
22Suyevy/v2Wo5gAmmVmP02evaMx2p7IrtLXmOF5ffvm1iK/4egBFmU2GU3pw4aWTxhDFhKwMHpo
sCrs1XVBZ5WWT0tytGvyS44kTZFOygb1MkyNCfSD/719LPSAfjE32bfuu3gDeYYHQuE5r3ZuD5W3
XtjDoNeog++KBtzJArTJckjg8/W1zQlR4gPCjZhVNh4iS/OXHgXPeP4TpJvL61L+L0bptz4oJkLT
AcPxTehdA4Zqa48plv6H9wORj/Oq6WGH6bBzE7qua4epK9a/bIDgRihg73i5Jv5d5j41aDhI53Ak
c2IUQzGNlZVkMQ7JjqsFKC2BAn4rMPvSr2e28Mzd/DQW/72DZ7UuHW1YjIw4KHBlY64v7JFsDF+D
s0TX5DjK6wc2tyzFTrS6ppeph91rre+RY91W/Bui/4XAzJDrgs4DZaCYMMsRqScHfUNnndm5VbhF
0wz2bkD/HusX+QO485Gs/+H3oRM8YubOx3WJ0vScRHJSoOzfRz8ICt1qu5c1AkZeoza888lyxFQA
HXf3uoQLdwoSZJ0QLzAoFxVl94EVJ5oGCXrCI2TssmY1liDlc1N77umdEaX6OBhH2VsJmox2uSTr
5UtmYpID/fUfrUfFOXheplMODMtONzGou6lDp6kWmDQ5o+Fza1GeQ5MB10R6rMV1MQILhQedfpT9
XIPMZYUD0AUlXdloqKazHH/Ki5br9g5k3LvohQ9gikA0b4WY+4Xmu5oHZhuAKuff2cPfUhU7W06j
XpIBUksJTXpq7Tdnjobvkt8NvfstQ9E72QA1ueVk74BU+2Jj8gqGlbs7zLp/zFZe2IT9L/Zhr8ki
X5nf9Dbwv5bf5mjXL5/h35+golytCPAKg4/2bjQ6xKd+iNA0K5+v7+XlG/xbiGJzS4NHmP+JdQrt
ZUw+pvbrn/18sH0DiQjwKrAVwME4cpFHz33K9ailMe/uGzZlIZoFf2qDPtdneNZvIo2DxB2CC07y
TqtQFA+AQSNrjP4+1QpdTpqPtHfPq/u3dJy6r5ZZcAzEcrr6lWU50qFdYlEEDhEGiaRdPLxQYQBa
PmameDecyh4WgGBgcl+FbtZXUlHOFgOS1WOQg2CrCHKtaTV02/N2xodVfX+5CiB9TUx6gkMJHpnT
vfI7UrWxlbX3iZlNT33B+4DVPEcmEwTNhZFvJI3nzF1S/eZPmSAOwXvhg7NPfdpJ1uUl90l7D1ve
/zQEEwsgYGlQCDnWuCLT11Tvnwdib67rxYW1ghNZMl0CHwG8ieLUMt9oUe3XxT0IgQ4iocUqyRnA
zR1qCqAwS9Zm7v78c5HYWWgh2BkR0SmqPmbAVIrJFiC0ButoEvU/NVwqi+hPLZm2UZf1f/jwY2/l
Uf4tUDHCzAYRLyeuuEf9JFmKTHvyc0cE5oh2rKaJ/jAcgTSZLgA3KFDimGikuBmGVzks1gdx70eJ
iTENNXtwIvFSZm70o6n7Od4S1auR4sBxBIQ25AFFoSgrHhjTyeJC3NsumIHIiBF9MYjgQGifRhhk
yb2ZKPLM7UUbHaB0QKoC1YbykHrHY9tuKkyBI/eZ+4uS+MEGh2daWTepDt8tkqNIvDtT5FvGqy8W
m0vIn90ToOjAzwAWEWBUwP2s2DG/9myNodPunozsfbCaeDPqcbsQRfviV4QHYAt2A1bNsTCdtTpg
1Sdy5TEc2U8ROSIbB4JVM+N1GK1VYpM7oZnoSa2CqWyDBnDcuok2TBiAwQ4EzTjFjI1Q3whb8qag
Cx2INMmhquJk6szTNTq5zr2d6l5YErsIRDP+KSbzUwqUBilLjFVHW8XpSg2cbi3b1O4zLeLrIicZ
nDz0cFw3AmfkfpJYF1U/dIOCd9vW1S4c1ytJV3YaPQyD0z2buYfpiJGI9L0/RUWJ+fGF81GwBs0N
GS0TjCHPWg+M+G5RPcVgyTzoNR3WbGw3cVOmqynWMV2Gaeyvp+D/s7L/Q7Zz/M0aGH60H/9iWt99
5D//6x+r+mfxPfkf9wgyznnY8T//4mHXDGL9E3PrJR0UgHXupy3/i4gdoYD1T1lJQBikY1jDJ+r2
X0zsmvtPYN1BdIiWJYwWQCITNrIpuzb5r39opvtPsHcCBAZUMMGfyPX97/91wkHQKH8/5iT4bAD6
HRlJtK+cgyFbj6HPgGso/mPLBqOlABxuBe2iFYeDctcKBpBsj+uZ1qLfdkMrlobRegHItqbbriiL
pamnWShqDNRidjWEiHZAeWMl+kpzLBp0U5bfckfH6PKEdk80dzBaophe6qF75iP9EGzonqK0s9a6
jbBP09CucHQYctPjsjhelgKrxLJgB/Beo5HSwe7hfTu9pILHfom7MGwx2cnbgAFRf6+QsgFJlrb+
/FAd8Ubc0OTecuiIULec62xTiJbxCfgCywVrFR5XFFXUzlmHOj4jlaFvp6RfvXl8LO7RPc/Kmz7V
loVXDytjiDDAKrbM+E0OCqoWvRe1r/pklAcmCozKLJ0Rs2bbErPd8xQw6gCUo8VbV9rsO0h68j0j
aXcrSOMaQaHbbDMQAfxGMrENmg+sL3XNS8xuLf0G4646NjQBbzCmwTAz3w6AamUujPBcckRJnH2u
G1YYbXZgO5b0a4r7UvOkGw1eD9vc9slDFrd8CkBgoHVBaTX8l0ETUK70WSZWMH2AHQ0ism4HG+38
JvcDA7gkYNDGnH11kfzoZ54IJRKUX4f7hOsIZkeMOgC3/alisJQyPxOGuWVgb/kosgSzh1yM3Fnb
fLQweFnY4zKtSbxncTXcZj2I6xaWiQIs4t8BhHwIjGF8RRrNQFdO3y75XS6mGEJL0KkIJ1cNohra
+E5aN2JbU/beyuJX783jY08r2p9S0LmAvIv0UdBVrbxdfWTH6HTn01ZH+LGoawFnyNJwd+3kMeW8
vYVbMf00ElNbJpMOtGmeafUqr9r8Kc/KmGJ6SZs52IueBRPmf/YhePDAxJwTbU3aqYeHWnC0kPgu
2zlgAw2JMbYgaS68Q26ASA0jcfyP0S5BgTEkI2CTjUGtR2vw8nc3r9+pjdrNMqEgrkefZhJabVGH
IkO5OgC8HmOBGhfTXKfU4T+geGmIZzibc6Au6C/MBkwvWuDg9qOGdKoh9STMkiUDhlJ3ZftmpqOF
SaZjYdf4WKIttJI2qwgFNKthFYaoTZ376CQ8B/GGm1M/FE/FgtQs+zFj0aRinhhqWBEX2oGef4Sn
6As7/aymadpUVP64LSqQM2vRZG7T0cnDyCTdJhf6tMA8GbGZyl68TFPJVyOz3ZsxS/O3mS+RDrry
JbJJBORUQCQDZqW4mBjiGLOi0vStNpSoYkaZHYMFgOCQWGN1oQ9Pb8XikmG4R6mP74jmajMoG2xg
OthltUwd3KWgGwcnvP5lp64+Cm9Qbbh/YJQC0BN4afnhRz5oS7I2ztqoP7hp8VGZ2CbPTtKFDrbV
RTqYM5GhemMluwxyl0gnYYwUiEOUbdAGe0DbvqMfmoHwr9aQJauc1cXN9TWdvWQI2OEigOABAQW8
QBVkpmmmnXY8Ng6jDvLKvsm0ZcNzkH9F8HHHHlVdjL17r9wIo6PBafXOclHMhTRyKccnjm+Qzgig
UpiKBldGiaEmHw9yU3TjoRv8Ye02RbUSlt4sXRNamLjervfdrdc47MZFtxzaMvoIkzjTXY6fG5SR
DyCBTvppEVnRHKmSEnjIQ4erj3yE6+E4QBWlfhtr7M7MouzgF4ZYOK0Fo5PLovMIsNzEMEvUSXm5
rJLWfqBNnS9io7OXaQbSmh7u8YwKSnfpdKfwNdAHDIXCKwPf6lQFrbgYhlwn2cHIjWxtxyDLQ+Of
EXrhDikT59HOLdTfMChm7ohU8/C5DUeClfgLqaOOmEzPDmiCqANSNfpy0DGMDHECf444CH5pgZ6n
0eX6sqsw+5eSYuUxP57T17NLCLpO6CmIruCcgtBG2YEhNayhGLTk4FY1WpDgFYfVULQ3UUfKQ8GK
MowTINgLLSowae5rabdfG1Tvhtppn0UzufcMnZtbZxqmlUiyuWzA+XWSbKJSmVEEwAP4Gb0f2YhO
Qw4pchk9kLhLwiFy64Mg0409OPGdwQSMfK13O8Za/w5gPVTw42qOFkBq5ImO4BPQjYakhAsvHp73
qY54tGAJwYjwg279H87ObDdupQnST0SALO637FWtlrolL8f2DeHjhWRx35enn4/+Bxg3WxBxBhBg
CzZQJGvLjIyM8Cmfm+qrEYz5jvzaf6gbTfPy1g+fndIuru+fJW9NDQQU0JdZHouk43ZguvPNIJ18
Bi7Neq+3LI8wjaMNbjnhHpAkWVkLYnlTiPlNUc/mvkcSF87L7YBjItPGqKR8Md0EEoQv+4fSwvo1
KFPrIWrK0StqHF/TFse9uRdwU01OdOhV7PRapVROg9p/K6Vs92NVZjuz63GGBAHdqjI3tn3hj9/q
MLW25tB8tqpC2weWHqwIXr35zQgXwZAEyPBdxBTRClxFbfQi2jbaKbE+baNEfpEaYqxaahgricv8
Re7WhoUwN4DVfJ8tvpgzqH6rTIl8KUP7I50e3aFInZD2s/DfXLrn3NXXqIALkUkOUFQ0VbzsBImS
S0PrIgM042hKQhUZcGlWwAi++KLOOE1PDwWEalQaIrtBYzd/dZ1n18yfoz5qznnTHiogvp3waoUv
/18XKr2a5ASzz+HctbnYIVlgd6GSc4Zo9eBsjNz+LET3MjWhtp38fM0SZwG1/O8LOKD+9IGSrqCc
f7tMkZGPm3ZsopdMmcxkU6HBg5aTGQgVM96p+omP6xWQeI//HTFOImhUjUD46o1ah9Ohw2Ow8YR5
7ILR/ET9NPnO5zbXhHr+PMXt0ph16Gl6nNUD0TleRDcE3mkZ9ZOE7J3ql27Qpk9N14cPoZu0eC0D
geMxneQJLt4U7yR5VRTvcpu9ttUsqX/oza591twk+eFQ5wAa0/D8iWurNbaizvSnDO7fObCU8SVL
TPHl/Rn9o369eHqY/7hhu+AalFcWU2o7fk6snwUvSTZOnl865S6henDM3ElsolbTt4TyYpO2kdgG
cXzwx15/HGvsgy1fc49jL7BUz+NjVWLbLFoZblUNv86CKooV2rYnnLg/CaWHlqk0m7rWpk3EeeoO
vr81Ksv18s40NqS+v8CClZNZvTpWFn9AJLjYGkY8bMtE+TDEjXgOs2rY6PFQHHssavdlZiWbsXGx
ykxkc3BaMpCVb3O352kiwB8IOST6elVzDjT/upKUMVYDe5iU61gErSfSuthm5hStMGf+XCvLGSCh
oepEQzkR8iLzdYNay7UhDV5quxy3hlnYDyLDljfmLtpWtBl5RVw2u1rRpg/oPumIeUbthX7Tj6Gf
TU+0DuanxE1gQRvFd2Gnn9rYtbfcsx+tcfjq92m4m4J0p9ZlfyhF4x98AbhjdEwJRnXlSqB1F31D
8UMNjFwZp1581hdv46jtWLGilKte4x44VSK5ulP4f+HNG7jsXRyJIwyxEKB0mv6peS0PR18pQJlU
K71GERvL72yC2mAgO9azi1E39BSE9h6hsGLrpOqTWZnpyv3zx9fidtp4Al4QoyWoEkS4t6tDbSA7
DqOZXjGB+BgVB2rlij969r8SG/iysXe1HT9q086labgah7Neuod+aJ+K8Hcgos0g3RWkYsGxnI9L
noj6H6Jhs/nLnaNimfgKBZz0OgWNftQp/3raGIn9JGdr9jhLH+mOVT92ZZly6NTYXjfWtFF9nPhU
pxl3+hB32z6f5E+F6tJpTBWMhwITZUx4SQRcsfOf18p8mZC80M0Cz3h5ckItMEotNtJrB3VyN/Z1
v4lcaF3vb+O7JInPApQL7sUwyCnMYd9f2zhRUWEZTT29OmFXH+K2DzaJptdbf2ydlaHugxI88Obw
mvYDnb8u1kTYRZaa9668TlEabMUITTrw0W6PbCE3sa6uzfgbr/b/xoM7vbgghSFl1VlRfJWJ8xA5
HWeA3jzWsXsMDW1X6OFT5hSnRC82kFO8SMEHOTv0+ug5XXkKhpXo4C7HEgDp8y0CnI5727L9Okib
BsnIKrkWsR96hQmqZEisHvMuPAorJkaMnMYjzDc3Uhn83fvT/MbyRweRY5qkH7SObPh2ns2qy5LS
HOQ1MozpYNlV9cEfS/vJ1vtTiGIeMn1Cf+oNpYWNobWwO0ccczMlOGddDRdNibLxNMaVdgzU2vUy
H8V2pRiDJ7eR0bnR/I/vP/B9uoHgEVoRCInQG0fN4PZ588LydR0Q7VpPtKwyg9CwO2luM+TYNkGS
TfvaVi65k6+1Fb+RawFd4Goyq/WAHejzGf7XjrCTrGd9IBABgDfuezTPOseYPnWd+Kk6wfRPo7mF
p1eqvsFL2cf1wExXwun7hcsTzCtFm0M7CqK3TyDKgVaHbgqvbl2/ZkUlrvQ7ouyTZdnKV74DlhGD
4WIlq+Nt5+6JxZ4cpezLos0ZasiP0kamQXFi/alV8vrRTuvnAoWM57BrtwVCjigSboMKch2A/XOL
nffKe78x5xp+7njucPChU7PAeUVvW1Orj9FVxwqVxvS4fnas2HwRzvQlqupjZWXpBzVN5EoPyTyj
t5cVQcz/iOiEeFDSb783+gVlaYtaXjXfNA+KRYeDKzp3+/6Kvj/+mM0ZXgAVg7ezVHiG5ulPsZ6F
V1kN3YMrg34DzlfsJsv4UGvjivfBG2uIk92gmA7eCcA0//tfq9gorbinJUZeldL9mGRVvB8n8EuA
hP7h/fe6T/5Ikx1q2DAI0alZ1gAqUfZDjSLVteu1n3lD/7Lmi+ozCr0/krFRf8IsWvPIeOvlGBR5
TQ2JIbQzbl8uL6NU9BKVE03qytnS688BIrjHxFJ/vf9ub8wZiDoFTeQlSGCW3UVhPnRTzd18KSPR
7YuksY5WRCeE6IvHEbrSygZ4I1uawWnWBiHKzApYbEetSHywJqFdpjCzn0yhVXsnjKZnqksAHmZE
X6TsjmFsT2eqZM6ppFb0xW2LbRWV9kMV+uJYBeZELaOygx9t0wyHthh+6+EQv8LcqDfpFEcrzJg3
5p+jal5khBAus3I7GSJEgdaim+1SVbaxLbpCvii5cW5sgs2sUmp6HpCPfH9e3vxQUA0oUgNXAp8u
tuzoR0XWtKW4mHF2gCtyauqPcftbV8QvAqpjEyLJPPqekaa4DbuNJwPkFPOT4R/qLPVis/vkTIrL
GWNtDF87yr5dOVPuvwpZI4jIzOCx6SFffJXURw8JIazgKnL12rbua92r+nMpnLOhVulrn5XhSnh1
f4rNeSrbYU4uwFQXa6coanxhSz+4AqRJL3czB6VzrT28/+UXRKE5jr4ZZgk7ZET8fW7ZwdUq96Jq
trGbnDrTlRvqeF+sZPoyOc0hDZRzZQz/YtexVi5ZfYDFlzXHKNCjzg2urI690kPQMSNX9UgK920h
9p0bPymJ+yX1Tz5Nlak7rZlU3B8KhCWsdlQbOLuQArtd8L1fxkan55w+pY5mFRKQ6dj+1gLMuNP6
n/c/9x+w8fZu4osD8YDkUbO5K6AljS6jSKjBVS/lq6oRhCUF2uJjlgp6LPR8b4yy+k3mEjzOYPRX
TS2dx8awsqNRcxTHmAB6hDnuuR4D9bdsCgvrokSxpFc45a+i9sHY26n8DL7Q1+gIBgfFjlEUNIwh
fVTcMIy3PhqNW1QG5S4KBIJxQzI+SSd098Ic42fhJMXe71LrX10pk01TjP4XNMX8s8MkrRw1b809
OwqrBgp5CIgvwxVfL1s3LqLo2kI/Olnp9AviWHnyhbLXO9GeTLsDgJ8ikC07yHcUjrVPhV4c35+U
+ziFaiZpNSk2jjPYid4ugEY1AHwrLbyaLEMUxOPf7lRGh67q4zNZTrnVmvZnmjTq7/88LgEE3Bt7
dpTk6rsdV6BTGWR1F1wDnFo9SaD/krf4M/ijuKoEcQ8DWtzHTDb2irbyG2grZTxDZQVahBTUUG9H
zpW2LUtqCldVULqDRfi78VO5TXWRFJsyoBmnSHr/5BbKZ3Vo3JdRjOIA+RlCQhOGO7OO4OEUxkU6
9sv73+SNCBZckfMVKBSFWbSgbh8tUlBABiNyL9IV3wuwkE3xj6AMD2sdd+d4iD9YTXxuLbLNXqSn
1o5/1aipPo1xsNam+8YJPCMuQJ0YhsHJntfNXzFXTt94ZWEpiy9hPHx38yn2VHuKV1bBffBD3ZCr
heAH7Ftb1oLyJAL0xUrqkubtpUvC4VxLtzr0XWVFK1fKG5cY1pFkq0C4HHRL0qvIJj2yRO9fUuC2
Xex2ch+UQeaVttVtSz3vNkkh1iQJ38CO2OB8vdnkDXuH5YxmpYisiiYsmuPR5vOMyjA3dY5wXm5E
X2He2l7aWeEhaUeOX5kJf0sH64s+OeHRNcoSedLKdjd1UygnLJ3xYSoc9XfdGp9XVt58zi+OZihy
YDPsRKxM1MWFO/VK2U1q6lyC3kqPuSgteMGT3DSVaP/hAPmeaXpxHppRPfFUzoNT4uAs2/DHynPM
49w+x2xAYVAMIXakFDDfV38tOzemg6cp/eLaTlnxj4XwygMJpCQUq/rtSG13a5GsHYXlf1KMsd91
xPHbbhw2hTJk27QYd2KQ5rlXUHptpiTaDwUOadk4KI9JEq7pac1Pc/O0oA9Ei/BDkVB20Ae9fVrN
BDXPOUyuajm0G3WoQP4b+cmdJnczTO5/XsIMh7I95zTBGIH14uPEpArwT/WAFLqV0AWndD8oTrl1
qizZW2FWb7l0k5Xz8u4gmAeFxswhAPffXkYIFUvYRp4xuPYgMRuw6QQzkHRcuYb+lOUXn3LelTNQ
gOw9diy3n5K8FQE8tXAvcS0PwCTA2pmHPIHXtg9uhEJAoG/T4NC3v5LuMVcehli9dN0nkefUWYpH
ZYi3AVI8Q9Qf8lLuzeITXq6eEXX8aaw87B1BidCFPU3Uy+FlwQVaADpVhq1YmebKpaFwsLPTDj3w
Sh7mPOgjfLX4mEStsh0r99Uea/PUpUggZ4lP7Uod1AyoX7WPEQTyh5Xdc3fGYQvEdDFb5MsIei+e
i4w87odxDK4t1fR9UPnRMSBJeoDTj3SyFR+NgmowKUPw7KhSHjBR6bdGH7aHBr5S4DWO06Kky0dr
xuhXQDXyBdrVdHj/Me92jcH9Nus/ANTOgM284v7a40ZQVI0WauJ1pDS/T7N/A1RK9SmDRt2n2/fH
ur9S56ZrhmGyiOYBiBaDxVNMtEgeVyiOdaly42JHA3aesiNsDAr7FFq1eJzjXSN35CPCFCptxeq/
ehshSE29cf/+A91ne+hWctHh3KQJqKlLCoAztS4hiHCvrVG7h6GtJ6QC1ACQEu7Qa4sKxlPVuV/x
VxeHns6knZ2XQtnS9cgclkN6QHnVR9y1rD86MIJ+FKUCGkzvVFXu9DbwvdF1fsMORln9/Se/mzYe
HAiRGgxRvHaXphoxdmKa6hvXKex30xDZG0XkLxTouC4oAP33waBIgmURhMwD3k4bdCzamyrTuKZx
PJ4tM8s2fka1scHA4ojOglgZ7+6U4+UAXwzsw9ilrJXb8ZqMBZj2LS+HIZxXCDS37E5dO+XeHIVV
iLc4KxF+3O0oaWoVpVNZxhU1s2HTFSUEHFcvVwCFPyjVzVnKCYAUBdeoivkhyNLtMPCSJSqJg31N
NdGdVaVpP+Vx0G/bujdfHT1TZ10oMgxpTwrtRXG/aeA22rtegRmza7VWQ3TdsLprTnASeFM4+r/t
ZrS/OGPtf+jbCqW1IFOtxpsD1k0SAt+Qxal95nVD5eyEjem9HafxJ4jVcHyioa4rbyClP47BYAIV
Cmy11TGP8aF1zfRBYr3rBQq/b6BMFt/dsDsWKjDuxvUremunQISFV1poZG9kl4gtBRKfCxCuY4zV
mp1rSrMr4kHb+0YCybwIoiHwOjuhv4hrK1jZw3c7gZuKrjsIgaTleJ8uYmOylilsC1e9GlEW7WoI
twjd1QZPlcRQ31ZNgv+0Lt9MKAR2HMLo4pxxGARibye0Sc24axLsZbVOPTn2V63TvzWtc47CBD5w
5QXyVDrf8nB87ZPY0yBUlzI56mi/+O4GwHQn9OYo8BRS7F91+zsxflEUplYsqAtHXlEm+4aqcuQr
20S86NQo0A14LCgkZYB2qfLJ6cYGOX3tBcHFfa5lOzVRtk2/Uh+/Swbmt5ylU+CEAxwuGyFagvde
7Qs8IMeOTF9U9XkIyuRnNHUf3z9d3hyJnoT/FUYo7d5+zz7Qw84JjenSSXv8hyL3Iys7e5iaJtm9
P9J9tslLASjPplL0Itz1KsEI1HzLLadLbg6wH40fdZK8OBZEwLyrj1GX654xNr+jCqdCs/YSmVx7
LuU47LeFA4Cvlisn3T3XZn4iLkXiSHSQSIluXz4WIlJHFV/SsLabTdwK4yEXXejZjeEHHnS5YleJ
wTqkieacZZdSq7FOdUp7gD4o2dbWQEs6q3Cebb0Q27xPqpWC+90pSXeiRlcioTXPyLl8+4C5SvJn
57Z2USZXPphOSQQY19eViZlf83ZPwcJjIzMz1EnoQbwdpevdhm4HgaMwed9eE30fc3Um5kNPLOo1
oe98bXP3queuOFpJNGz8SYUjRyfIwYpC2kKborWfutD/2YczIyqKQqYy1mKvU4x0ZRn9YaAsnpbK
Ia1GXInQkZ1FGBNLo9CMUGkvtsUt2LkyOthGZO5TdAZLMo86ObmmMj5FGGJ4hVGrBzJ4dOEzRKT9
QK+uCUpNh1SvLE4puHTakKFlUVW4cGhVO27CAkmLSWvTTUeB3cOIMDh0ra3Ynh5kvFJuAJupCWK4
Rp4eXH3au1la/4hFjQEzVBD/oTT9YJs1Y3PI3CSj7trTdzPa0R4YQTywzvtd2MhqO4wiOlF8/JWO
UXvoCr35EI29s8f978UZNZeFWGjRt35Q3UtT5Pmegv6w8zvzmVv7XOvSPbQKCunvL4c/XcSLD0z3
B3IKf5JPIrTb5VDEVaTGejNcrFxwvblmE7wE2In2gT/BsC/VLe4hn2tN+s9U3+1LZBhYm6pWdK2m
0rnoBVlnm9rRoQyH+jDhgvLYtCG9E3UwPBfwSx5HP7Z/4SiibwH8VQ9X3frogr6uLOy7DBpfmDn4
5wfmD3DH7Yt01hCbYxj2mNb02i7EmmXL8u0OVaapv1hdP8omQgqyGbtmHw+VtsZUmPfN8kNCykeL
FWu5WZz1dvy0pMZRYw96EVLanzWlhvdsD85p6IlICUDGgyaj8lNrBvW3WiFLaVHMqjW/94LWWfOG
/VNaXzwNHVBQrhC9nom3i8NuDHTRtUVjX2iXkw+qVcJzdSbTPlvD+Do5rdrxdA0yaLLTgdpl/T2l
5/OH1ibjKwWH+qPe+ZaXEhw+yUp1X0qY7I+jntnPSp2ms59ZvKcVK/WcQk3pELfkvplkt7OGgNTG
HWkOLeqQqnpqVOaDiBrrGwTw8ENWFIW7sobvwpKZrQkLnegcLO2u9JvrAZBn5bQXHZVEFIVqeYFz
Iw8wgLVNVfbVCjJwnwa7iIVzWbtwjOHdLK0werj1BQ4NzkVDBHJvF9n0jQQieIrcAieTuFK3stLa
Pau/OxjDVKKibXQ/29DOv8PCq3acqGIjMExa+RB3FwgAgobAH7ctmOJdpjJ2ujQy7KwuBfKFNPvl
1kMh+jVJk/kaullaVE3mZJtaMWmKseQ06VomVRFN7sUVzVOXC+VzI/oTTYPav++fTW8PRKYIgAiT
YllIlWloJl2IsSjy7dkTmpD5xvbD+lDUQq6k5vfZ6WyuA/pCtf0PSD5/2r9yc+xb9NERiXNRujH9
mWVSfyEHVb9aFR4xrpzCczJGX3QF8cShzOcAMXU/BOpoegi81N8URZEwcwvrOKZjytWiyC9WrnTH
niS883QgRUQxTPfX+1/o7i7/04lLaVu4LHwOwNunHtvEwauzcS7YTaDup2q1Z0VYisHA7fpz7Izu
k2Jm46epjNece+4gF4aeKdtzCxNdvEtpty43QxI9/GqddpI7tX+1B1vd9ui8VY0VevHor6FPb72s
zVafQR64/csjrTKDSI9jxbmwO+Pt1CnWtiuy4JlpxeKQNrjw7FBbajwrHNYQpvvUktcFQ6dVGZaN
ylPcfumhkm4Y57VzaaJR+6BmCKTpIYIOU+XkT3HXavuo9t396FRIfweOM23NRMs3mV4HGMWUhA1B
2Z17s6JUV47qNzQxaZOJrAlRlalNSSPLkE830XrYxo16nkzsvEwZdniTcmuF/ojLhxmi6DTRMXls
mtD+05EQ7FgEjdeHY7Lv6mq8KBhlBoA52DVJpemwG8JQvksVwyswKZg8WJLRsVKj6BROU7ExJ9p0
Dcd/8LOyeJBB1zxJ/MQ2edkbugfAEW1SZxg3VqvqH99fvNr9hNJ8PjOFyPrpR1l6NuLbpkVJG+P2
p+gmvkEdTYNYMj1F6YT5k9mIeNPwaR+J6T+VTaJtZGNFW8RnugdixQ9RI+Qu1LKOhtEWnoCf9vWT
7RvRTtXEGlnh/iziWeEowH0EWNOWMk5aZ7VKHSVUvxDR+e472U6faJ4Opuj1/a9yf5lRhEChZ7Z3
IeRdKtwMU1TA+2n0izZdCVYhqfa2fWxE8XG0tJWQ6f6+YICZOMqdCVltecDa+ZCHemLi7NiH3bNW
N+Ym7QZl+5/fiMuZSQJKh4KzJPpYgzCoIij6pRwF8VfXYhiYhv+GBv4Ctg/z4P3h3ngpuOyU9jnK
YeAspX1LLW3xLaJOOSk9dU679Smp+X27Mk/3FENAWt4LSS/8CGGHLOLNMa/61iI/uKhB8M1sQwj0
o0/jX6020lOt4jEaB7mfhqTaoZVhvIgw/vD+m/6JM25vYmp6M02ECB5e09LCFp/6qdfKSb80Uxzv
9DTpj1MWOdfG9F+gU4xf6cjjSjCrPPmsFVa5sUDtB5cW61aO+lMlwn8ic+yf6GBoH8uxH/ZKozoH
HWX1vVv49TXQ8sALJ6N78JMe4K6rH8fE8JqgoiG6FsXG6dJHGdOak0DYznc2PBqvolV4WwVReJKZ
lq/FXvNBu3hnxE+oQ3BPky0vk+QqHMvKdVvjEqUtKve2PZyTnBBLjxNxCWyn/KdS3CuIFCcelQJo
DZrdfX3/w9+lGkQD9O8RapFE05y6gDPNEBmfKtX1i0Nz0kNrmphW0175mKdOu0Xu7XtjNtketvLF
Kkd9JVR54yTCtWuuu5HHQ1xZRPa5JmTU24V+SULzLLpGJF6eYfhsVFCS33/PN7YSmbdrwdGi/gWZ
8/bS0+xoxGE+dy55P0b/Bm72rcS2fmUVv7WRmEbiyFk5iEU8n4h/hV6KVaiKgkXBBSVnGmySXoHh
yO03axpSQqrl2Va6HD2ozD6Yqf+rjOnbef9F37iJAIXop0AcilDTXORusVR0p9VT94Ks/1kY47MY
0/TFArXejGWenl3JlZhicvr+sG98X5oYZryHeHpWYrl986mpIwO00b3kaaztCzfQdkGBo+j/xyhY
WXDWs1jhCN+OkmppF1at714UGk+vSaSedW1IXt4f5I2ciPYw9vfcBz/XSxaf0GwDt24Hy7kUiX6l
Soj3KA08Jz0sinNhGeWrnhvjk2F3n2UwqC9mmJp7v7brfWJk/UNsB82pNZuVC+5+owog1dn2Bdc0
vFnmvfTX0iq1kZoRvCwM5sZvSlc3j7KkfdB3805upNqgymX1dIdLjqCT4hvOyl10v664XV2G1+me
5/svlnblqIEWa2QVBhaNpz7r823dlJGnxy9ljUp2lm0BLdeoTfehOT0CBFZzvQU1guXNlISR6oyl
Zl/sKf+SxB10M4Qj8l6+Urr9ritdt3Ik3XfCg9LP/baCV5zrAovJj7tYC+pKmS7EZu1hrMzoULgT
+lCjXz1pVrC3nUp7NGSUb+lVSHcO1ivbHh7DhsL9mofVPfdkJiYQqdOiMguiLrMiVSl6ElSO57bI
zB2u9WC5TiTTbzGVlcc6G4tLkznaT9UNcOCFXDJO8dYdBqhGNJDrnw0VLRvhT+muNNTwWug6UJLO
vf6fN6agWZ3nI1Dh4Fs2+MoordRSEFNqRmRdLTd7Sto2XNkCfwC82wtTEEhygM+XFvznxdxAOm6l
RrXsEuQpdqphiF2KjJphn47NYxin2dZspnGXtarYu3r7oZ7wSCoM3/29ckK8sSy5LnFuZmHO4aB+
uxl9BQE8USjapR+1+CGQU/5QGCYJEBCSRDleKYxvfjiiw5u18SGp7fEa6eVDS/vg1zoonCe3QDGG
nK8irRkxJn4IRJqe3HYtq74/NQgtkLMH2IEKfy/ZSsG3VqRmXSahTL+CGqGivNMwmDG8UbeP4SA/
JVo9fcvRmFpZEn/Ak9vZYuxZyRdVDwrOS2aN0k667N3BuuCk4IGJnJtSL7zYRbpKOU3Tjyr9WXbD
j1w6HgS1h8xqTw6AhJdNxHm0s+AXM8gnu6m9znmUFqICGPDUJkKO7po+5X0gwtpFbAEKLWJX4Ca3
8xmGOdzAIDSeQ8f4nXVR8ZwmQbF1jS58eH/p3OdEc/ZAB/wc7tB3uYhD1EDWSlr06LpryPuVWA7s
+8TOdzWEi92cuK+EA/fFK8ZCQgruDVGmS+fA7auZakNBpEn056pHrMNRU+OgJBE9vVFi/RCZa56s
Mgu9fo73zXg2dfDDHZCI8TGxQgWHcGnvq66MNrm01oKGO3UvsB4axcEiWCAzZWhxqSmc7vmoN9Yl
8J8hBRQVzuxj+CM0viipto0QOOpi67HLsjNu48MG4RsvFv825vRiBfVjrRwtB22hj4ryIVCKwXPV
50o8Rc6L1cG4DRMScX1budTGkVsaYOEO9bHJD51iry32NyI/3oQoGq9bQciwVDgluZ8yix8AtvBz
WM3mAFOFeZpsi5fAd+JtjVbHl9bS6g0KUMWhLpSVDpv7M4lMAj0qCgZ/csXFykJtS7iBtMTF6iPt
XCTKCz7uu7Y3nrSuhO0X9Z/eX8p/coPlBmdVQXyG7Ie+wCIkCLTGqsIhIBs205NhVruOQkWIF0tc
17u4fXVg+xsKlHQ12k9jtmlDqJFW/pCW+edAtTbl9Do4xUY1T6F/zg3fk0pxGYddE4cbpxHHRMcd
CBv1rHl9/8nfuEj4VvRNcYwIuJJL26tSze0sjHVxIa0enkNUTF+DbpBY6NTahruMC97ugp1pKOqh
rg1z50ci2tYTRPT3n8R444AG4GEbsEHJfZdX2iCiDPu21EC3bYJ3YDxKPAqLVFzjqN+58asmX9JW
bh0lPJbIULKJYAqMO8Usd2BGVzfci1C5dsXnQTnBnDSrz1I5VCbacM6PSH020a8rrniMfLSC8li6
2bG3xecoe7BUhf8SXGxZ76T63FagcxmFlSCECNHEP3xhHkoxvdBT/yHJcNQwG+ogk2J/zlr3aVYO
IHVZ6+H/I8q7WFHkwX80XUBYaDa+PaysfE5Wi069VGgzGQrH/uR7VvyPMvSbltAnsq+j/AjgV1Ns
xElCj/CQOofD70n/Z8DXKeguoGlDH+6LgK55OqnzTH1oHf0bWniWZ2fJC3oOlwk3sOZTjqyQah7f
n9A3kgfEJeiMIMXkaNPtOen/K05HNwb1tqqdLkZoTudQEUgekC1e08JP99EkkoOs8/6pzX15UJXK
h4wep6NHP3W7VUw1ebS7pH0Ig85Za1a4T9EgMBBJctIiXGctFe/7LtbHAkbwZWiik8S9z4us3jxq
TuJ4k24rgLtp841AdNwTxHU/mmyK9uYkVc9184+5nw5fuqpeOUTeOjgp+tJbC4uBwsWfDfLX9+oH
4RsyoaWNWEg71Yb4SngbInCbuy9dGkYHy8KCR68EHDWQ5pMd6mtyhve3P9AH0oFzJzKfxlrc/p3i
SjPX4XcEenzUkAmAI0DH1uMUhmuBxn3f8wyzAOqR0yBtfNcxYvrI9nWNP15qZ+xOqG2dJ6NMTiZt
a09BjBJd2dMmg8tz+DWATNvAAkpZsF04PXILp9tMJtyKhR61T24ntO+uEthHUQXWizpO9pMe+erK
vXJfVgdKYEnDXeKYF4jm3a7oVosjpyzd4dKq6Ym2iuESNRS+vVAV4IGR6SWc0J412MZLrY7hoxpR
OPddPOWbLg5OCBFGnnDC8bmu0uGipdJ57k0b/Sy7OeMUVO7IoA5BUKNfkJXxtW2UfwMLYZaVo/at
yAu1C0Sb4Ac4EEZuXyNtJwMSW6s/yyrdIpLgb6HxXLpJbzduYawMdr/XiLrIk6ljQXmyl4EN1D0n
NMtSfx6UVtuUim5vy7r69f5Zc79u6fqhXMyZQtbDhXb7RrEcZQEVNbn4RphdSqd+HSPXfJri4j/n
/vNAlEjBtVDeVxc4HZ3vfmeIOrnYgZId3bL7WSXuSfaR3PRafM6I/b0qTv+zjBN0dZNiIM0rUGVZ
fbfv1+V+7Eo1zS+R7Qaf9cn8Ksbwo1HEkFlcpz3GYe7v3/+k9/M2D0kfgD67qtz10vl0Zdvp1OQX
JXCsM7I/4tyYa+So+0htZgCSv5Jt0C9qi9v3Unu9S1H5INaB+rGTzeiAueZyZ1up8AYhBk9Junhl
G98HGrMMPgo5tKuRDC4Jj7aTBT6y3sUlG83+wBWsvNaF0T5X0vnuVsaZ8rgGBq2P59wH4ljZD/e9
Aczl38PPj/fXMR/ZUplkXBeXSa28Ln3xkycFVlbfYRPY40Clmh8xaDga0N3z9t/c6QDT0A6qsg8l
9quF+akkdo+bw1SeO9yqgNX/D2dntls3lqXpVwnEPbM4D4XKApo8oyZKlmzLviFkW+Y8z3z6/qjM
7tLhEQ7bjUQg4FRYm3tee61/+G4W1b3lh5h/SZ8Ca02u8aOVwHsLNTeK9hCo5p+/+2BLzLLCHEMc
6nukmhvPkremla95sn20FKi48P7hCuRwXewsUYQirQVigQxO7B+TMGBw4uzLaKaZPUZtdW9M6loc
8EGbSBfBHuc4N+ncYirkctTrSddSdy7v66BfVa3+pAnpJlTGbVR6ToWIctv9QFziLioeU8v8lHeC
w+V9heL+vaoE+6xf2xPnpzO4hBltxNIEyLfM7A5TPrZFLGVulPdfG93IyYiI+nFSU1Q1ymL1WXw+
CCDwOJ0Jh6jBcLCdTm8hV2VIn1s36dTsa5wk/q4qzelLOMpAruQQbnqiRv1dXMvesVGtTxkb+nMW
lkRDBjqDlQfGzLZ0X/mUNll4jApjekktLXi6fCB98FSZAfQcvMRHiCfpi8MiDzWAYFWBljjBy6E2
ZO+m6RW9dlQ9fh6s5t7L6l2Vk+KzJUHPPpcTDuQ5742VO+B8gnjYcnMS0YJJIxd5OmCRKfl9UoNe
FCvESRWhF3ZtbZX7vNCoFkr5mlLbeb6Z9gg65qOSGvWyMAXisIxyKFlu2OHYLqdlsdUaM7pNK3XX
mIN0k/foCrThEG1WRnyOZ04fIWBQKIiCwZsrKOpiT8rGpAhmZ7RuHIraNsxqed+NmnDl1TA80qYX
HgJ/gDJUNEikQen9FvJTMBKh5k5eUW/61FqTy/lgtfI+BAgFKIpFsDQzibE2FFOKNm7ayPqBSNa7
0rQy21Cly78BtrW2XTJ8uzwO5wcgdwWYmDnxrCGZtbh9m9HvyzwcOhLhPElNKTacSULz7HIr5zEM
SKU3kghyp9Qf55+/O2ajEqONKqlKF7GMGvxgWu9NqRAfpsAKV+qtH3Vo5g/BzgUgwByfNlU0STma
ple4Q0jc4IFpISdUTSv37FtJ4nT5zNRf4BUcrozbUsEKPijPmUz07qKaKrQ+JtmRAOomSzXdkbGI
2Ra59qMY1eG6Q0fu1WqgtCsGL+ykimFuUEXYCklaO7o2vQxERrte9kIbCr2ClkCCHHShp9tR6NSf
fzoTrCueJRCGwX6SMzwdnkpvjBEAhXeHmzx5mhjeXq5n9b6vSN9ebuqDRx9ByBxQisw9R/5iKuoU
NV/gMKUL1eOl4ZX3Kaw6b9vHPobgoWnZCSf3QREFivfmNGsxNvXKwpubeD9NCg52hF46WTuLpMKy
u83QGlWmNc0d+U5h15uhvw2t0fzSmUl46OM8PHRaXbtdoNzkHT6Fa0Ow3NIKSk7zCYO+MXtLXaKw
wjE0wsLsjbsWyefr3pTLY1j6u8Gbpd7EaJtF7OpAUSfe5vG3sNW9o9BB/2t4b3wqhA7Tn6QMdmMg
Pw9e1h/yUGq3l6fp7BMZGh5+pMNZxlzK84Z6tzct34czMqrhfWeVv4K+18i5mNVR1OLcVSoAs0qY
tc+X2zyrv83OYSRSiVEJOPnXolE/Q/QcTnl0nyqq/9j7FvwiLUJBJqHkaQ5wr5FTDQ6CIjfOUAvZ
DVrlqRPrU6HZgVasPQiW197b5+CB+a/ohNfW6Ri0QAmA5JnhfS9YPyK5eU4VbY8FLJ5ZZd6trMm5
bydrcu77u8YWW5A3c0i63gjv1TY0r724wRo9Qyv38hCfdwni4lzKJbglKD+7WaXOl8ehC+/lxkqf
zMTjDcIsOxUeOQeJF+XKUl8e8aQ5JICLhDHsNJR5Fke8TD4n9DJ61fvaj0lT46MWN4UTjMLaNflh
S3P9hicqN9fyhM9VgfdbO4T3uHSYmp2h3WUnQ6dMNo/HyLk8jGcH/Vu/iHpB9c5XirjoVx/D5OSI
hz0gNU6hRDvFnKtXIRKC/TBMzuS1n4oY1BHpcJg4xlbzx4OYTrsijW/HaYRfQVIc3yGHwMZGVmXn
K/4NajJXoR+vBP3LaGr+1plwrs6APO7zxbcio2d4kW6F90ExyhBAMvPT1MjZtujQocjFsN/ko+Zt
1WJYe3d+NCcUujSkHHnNUgc83UBZbFYV9nLhfZhqqi21kXIdJp5n+6Ka/SHpaO4kleG5nyBRuOJP
mxImfdSqEBmuIDRS7GQH3RGsvl+Z9/NNOu9SIHksM6LEZVnTC2KhiTo/ui/gNVIsiAnDYBLuLq+u
jzYpVwPPM5YWAibzz9+dvToih1AU+/Des7y7xPc6tyIne1UK/XAXoqN2/P9pbubponSBg8riQga4
g7tIwR6F5oEQqf6bELPcWoL5Q07kYXu5sfN7hREkP06dDMcBIrHTviG3KhfRIHLMDZ1mD1HwWool
Ul1t1O+T1LyP5Prn5RbPF6GC1AID+ZZhBvV62mI3yUXQqj1lcFUHV5wM1Q7pz9bulLJfOV3PMh0E
aNjjqCQ7OGBnmPVpW3GnQajKZA3IhrKTa283kAXdDGYNHblvroS+ETZmYP7Q8kfZlw9DeJuo9/nw
OUjv6wrIoXolgWGWA9KhybQLhUF2KiP7LM28cKlvdmaioCSVr3z22TuTzya/R65ylukD4DMv+3cL
ri9CfbB4XroxjjR2lCr9Bp1yYtcgMjdxqRVfIxQDbb1p9DtJ7LqrTkLlJTKsZmXlfzBXPHKg5fL0
0AgFFnOlVU2lRzHi3E3YSNdzaf4wCCGcVsDbK52e+3R63xqzgwAwBQ4nniGLchMy/lpppcLgZoGP
YhOqgbtBrLKvlxff+VY+bWXRodwvCr3y/JE0pgk2XZExcDClfaxQ1PL8Nffut4rhslOz3xnUdNz7
QKWfTqQkILxjVvXo+pm0E2rvqTBlz4lrSIUBngBXZf9NiPybVrrJonu9v4rKT2H0ZYxczbuRh5++
6WrRvTw7n45OW3ZOod8Dk3OT4qWOf9TVVdr/8hsf618EeHay/MucfkwtUvZ4DOCDbpp2633rkRcf
rSvLRM+lQfz7uSnu/eEmtH70loJJQQXj+oCPnmNJj4r2IExPorjlZSv0D42FXli018rfVnfspS/I
5nekIzHfsI3gt2A5uZbiOXLQZ52hH5n/tRdiO4t+Uk+PAygs9YsRvmbZ7xSGvOmphBlXY30lyV8L
685sQUDJmwwpYQH8tpEcsT2xL8/22dtmNqwEaIqKMXl50gfL8Te1cAh4S4EebClRtpb0BRl+7Wdj
Df51KQc+8vCpdIQuod7kwPpsdHeNNUOXtzB5sQp4VsxoQSJ3FL7nXfZuO6fxYELm8nq3qXCODMWr
qDiMWvOChQSJoiB5pQiYbKZE+ylhiShKL9FIpi+zW4A4JZ51ylUXTjdJ/WwOvybp1ZIOiQmfQ7hr
1RcBZEU+Fbdxfj00uyg3vqq5/KClL8ZA9RhlDIe03cqpcB7AABHmbUqxgyv3jOqriUFg9HqiuHII
/1oJngQyp04ISWenZlp2jWa/rVilttLsWTlXeSvTgQedXdgAOSxCcqnMkDjThtFtVSYpMupyP0yI
Xyaa1+zVCEQe2sOd9Bwq3r5Js+QxbhXtNsyT4j7OO/W2aVvP0YHG/vGFTVoGXz70RsE0nwEj8zjW
ggQHWLdGkDZHvHqndpnpkDOzyxmIdnlRnx+UmLxwlpD2U6wZAXq6mjB698UxzGkNydvdWLQZBNhh
DQxxVhxlsLmlOfpnCU0Ejxdbx4CeK0uFDK09FY4eJ3JzBMqMKedjl6aswS6glKbhPST4TuSDzpyk
H5GX/dTzQrGzqn5Ea3RfxYnTDXDulWnVaP38KJ+Zddzq5C14OC1fg2HEj5sReYOi0HokvhThSbOE
0PHwMnqkxKL8vjzu53chv5ChR8oUJDKw7tNxR3ij1EmNi64swMxurKDedX4+bBV9LXb+YH/B0uei
0igkzvSW05amVJ0CwQe2YCB3tvFDYI3QflvbC6YbP9iTVPN+9lr7+XL/zvCt84wTc4AiAmwNAGwe
8HfHlJLmYIuCZHJ72OFfUkCK15S+cgT3pdHNSGi7QVb2mN7wxlcF4WfeCGhXhWPhNIoPlIJ33r6D
kXrUYcDbYlJ12EX18ffLn3kesJrcp5wE5EJmXP8iTghx94jGWke7Q/FyiF219JCVtX5XqFPo9KEW
bZWuXat+fjD3JEFAIIO75jWz1JbMkHKrvF5iRngxT4Nkku3GDwIoQLeyys4wgswCTHMQkFBveD4t
hRxHYQSmZVpgVuRI30idiC1vNX1OingCcWk16utYo9FlFckDFQBbx5fyW2Fpw15FV/FbNcRPit9V
u65RlD+O0OCl6Lzl+DyyFUsKmYyBe1APReVS2vDRRtIEuxiKdOV4+2gZzpW+t7tlnufFMkzKAuCM
VlZuWE+gipJgvDYR8LMlqIO3jSKou2got6LchDsCEX0TGj1S4FnlohWhbAFlZbu8Fb9BO5ucZHZg
GeNhWPvI80N4VsCiDADHgh26xIIbjYw0t1YVbgAN7LOq9cXdZEbP6RBaz1oVxLeRbrxIVtp8EoxO
vauNsAXgWXcPiFN/jcKKGkUpJmtXw5k6F+b1oCkgfeBkOLsoLO4Gs2mBhutt7jbtc4gO2ZXsVdWV
mmj9c5aB5Ml8C26mN2o3Ex5B9w2mMFsxLYLnVuyv+nTNefKjUWK5wM0D3wenbPE5bYP5TVtTUU38
oHgK6zzYdVk8bS+fCB+1wtuVvA9UDLjD8um51YLhbkpg9q5hpsFNO4Wo/urjmuXGvOxOgziQYTM3
i0LtLPOyOHeSBJSDWOYlRHzeQ5Apy21patNGFwJA9kP0hwWSeSZpi1w0gaMCkPW0U71mFtNQyLmL
u1hzLbYiAWBvrNQRz481zhmKvMQtsxXLcqvJjejz8tYLRDp8H2J5/ZAPUvLTQoHx8hR9tDBJO80l
LPbLLHt22h1ZmgIjEaza5SJDxKOVvINsRHs9qsd9jibEr6KSD2HTjN+7YQwdYK6t08pKjFK08hQZ
2Zo+2RlelvGdz1hIwowzPIZFeFM0YDAiDFzdOugPrarZZlQg04WprweZOY1FJ0975TFgx2xyS9yK
TW9tJrFtv+K7ODM/VSunWJ/3thWgW2OhvnvD3zXtOG26bdQjiMvdqHXfzTRqbaQlx6euscRjneNU
KCZNNdmBEgKfS1Llx+XBnsODk5VKNYfwZIZzUzNlck/HumiHCbXPUXTFGviKGkwhUoC5ddVK6ISk
qRkeO9CYT7lUhMdQFKaVnNz5XHMuIpdGoVydiW/LpJyZBJU1RYnkJkMaP3mmdSiiaTh4ibIDaQna
vau9PXJf37Miih0t7/SNgZ2DPGGXN059tlIEPFvkfM7MWKLMjhXBmYuNL+kNxaVUcineJ1eJ7Ac3
I/S/lzL11t6bZyfR3BT1Rkh3rC/kb05H3muDZtSsXCK7kE/3gmbUziBTI788v2fhIa2YuLSSk4Ep
AZPktBWoBUmAvL3ozuRgJ5Gb9KDkUo/e2Di4bK3qsdS0blsiuL5y7Z1xBLjySOrygiWvBk1gmboG
LF52ptXULtbJ2Mqlcf0s4BKyGdJevi4baTwYgfY1EwEiRrkPdhKrP3dsA/NxNLCUpZjcYR3ie48J
YuOHosNXN6/K72DW73mli7YUW83VaA2pKwQ19zhpmd9qMvNNEEiUDwWyWTtlwJW1L4RdAUJik2Sa
8I2yibwbsWxdWcpnsSbdJQsLWZV/KJYsAvEkD60Od2kqj2WFLCr5q40x4fcZjRJGAYrVomtlxPuV
6Z2P9tP9S6tziQYoIa5AZ26axmTGaafWLip/e1AdRv1FIwMoFB0Q6W1LbF2qsSPn+7R6QhfH7vur
BjKGkD37Edjw9MGv6818zBaqSq7zwesRjJCLWf/sIER4WVkvRS/v4ibaJPldEwg4IOyQbw5aqh9S
eig8BStLhHbCxjHVeOvLDH+A7uEtnHM/1hyhyTdB1+8iI9rBxDsYSb+Fh7tBDS8FnhBUSH5mwWFQ
s20dJZs5UEwQRUz4ax5GtcOhUX0An8BVwBebW0WrdpmJ8TT/9nsRu2VzpybhxhOOoLf3iSE5sf9D
5GsGdd/K8r72xn1KjgQBqaoLIi5GqPGXJ+H8+UuCg/qYwbtyzhsvS9KZXovUqirR9drJLoSps2NM
BtFus24EZfTdkdHaD6CZNrKeVHBf6gkByri8GnXjt6CU+THRMmPjUaJwMIb2twKMg01dmcotz7c1
UeEzzQvQ5Mh+kepizXD0L402rNj0JCGRSTFpTX7IirC8QaVVImnYC9fq5Et3gZiEdgCkW+pNdStW
jbetE0W6xmP6GxAHNzMokc9iMqUzxVG/8xQru1fSae3mPT8jwRhQ4ifNS9WBOuTp6aVPaqPUI1ip
gmzBZkwHfzfKRvlwef4+amUmLVCsIfCkdH3ailWIWgcxsIXqZ2IlliOEq4sotF1u5YOrjmgGxBrS
SHNKbBkUVm0WeKJSt/fYIBlXVMK+yXgh2FUqvw4ifD5FTfF97Pbk5Zy4qhGwMaLJslM/Dq8ZX2mz
8j3z4J0eHcDBKJPzSAOli3TDabfztNIqX4iL+8rKFEfJ4941M1S7s9DXdmEZvOBR3G17AH5OlhN6
YWBvOGHcPF7+jvPRn2EcjAci19DPl8Oihf4Q4fuS3U+W8WKpEY5qvpivXINnjahA4XG/QMaJGvNZ
kSSzah+zj0hwJ0Q3b+Ajkv2rh3zlND4LpuZWkDVk8UNQ4gFwOqJRyDJVpFFwBTWftk3SFdtWz7uD
VYCDMM0g2rVhrx+F0TT24AOFlQj9TQvhZEbxLAMYOsuTk54h73naviJPmRJpvXan9SFi7Niz2tKA
W02ZB/6GJ54KQ4s8oW2FZPDNEfW0MP01Wp1ih3Fyr9RIldVyPDoI4nyNug4gkS902CtWhnw/WJFx
MCk7X8d119sjhu/bywvh7ALl9QenC2EvPGdmHeDTr8+HNG2aRovdOC2lDdmnDD5VRMKob/aVFB71
sBXX9uTZ9YngDHf1rCXLlDFzp21W6lAxjJR4UlyUnAY7k/s+QjrEGHL1pxEq4XHIyU1L06Td4oeB
z6WnF8d6Cs39iLyjc3kEzqJPcpNsglmzFLUxcjunX2Ohse8V4VTAtTBxW9FC5WuJoPBvYRTUld1/
viEonMnY6FKoAyu53HXBoKleLABXKIUs3pF2AK6EjOJKK2fRJ6MGShcWyjyrlFVOO9TCbxjJXUSu
Z7TZLgrwQY2RL9shc+5/KdM+/BrnXrCrKHuttHxeFkUQDONQXLfgOc6vyNOm46H31FZvCrftG20z
BGJ7iwNDhP9gtMvVId758DrtKgnyo4HHQYdYoxNlavfj8pSeHwmzuBEXLgAakvBLtJhn9Cq1mjp1
NQ2cCJIizb7RDEeKxv6hiMYRGXQKPLnaI7Hs1fLKKJxvKR5VSOQDnnwT+VjEpL2MS8Qk9qkLtSaw
MwhTe7XVug078FPUxeY2k6I1T7XznBzgB84fU+RVQ45lmZFGDnVC5MuU77i41C0BarEl0ivSTROr
/jdfENNDIE4Q/HMkT23SPoGdDy1y7L4e32ZFLDt5MxUUHxXxu1a0bPq4iJVrJRGtP91vM7MaSQzY
1RRcgZWfrpFoyjqzGAbxThXkz1TJOzJOKto9Xrdy/ZzNA/gMHkHAW0jTwumed+O7bLmQgpcochqa
BNdI028GtpNZjvREVcVfvNRbqyXPv+/kIpjbo/IwJ6Deco+n7U2VmlWU+sU7qKeNHRhD6Oh+kqz0
6uy4mltBMpq3Dulnsq+nrWRx4iEW14t3gpCig4033FHmxLZJs08rGa7z4Im2VKgsb1w2DpLF0VgM
oZSmUy3eBbr8qMzAWsxdYkcFEfWqtkO372rx1ivkx1CvbRmcfWnHlW/t/ZRqaTaYvy5v6zeV6uUI
q+AcCCkoLhA6nvZdac0qHKxSvDP9YtxkeuBtkQKJrqRcae1E9Kx9JAbxYfLE6Heh44xpw0kOvlvy
pKDc3qTWFkOtel/5RmNjPZ7tPEoVe91MygNKk78GPQkOwCeFvRhrr14cF5uykkeOKUG51vo4vQun
PHgpdW98rtBuPyS5rF23oaq7ZdZIDuc59qtqV95wkVlPUtauuuvMZ/fpCFDEBJxDvAGDDf/40xEw
jDyKWrmAXSi1+kbvoY73nfQQR7Jj5b0GK5n/u+4rdPsU03fKSihXAobzWjlpBbyaiLpABs3p1tNP
8HQjkv0MLoicCVeKJty0il9vy8oYrlO0+q7qIHnppy66zkQ0BDGYLOAdRApeG3Ea3iQJA6r4k7TH
mbb7rTeJuvHqCoPmBPp9VPiHiiBnH3Flb0uin20vDeJNbabFVRkqjSMKSO870wijchoV/TbzQtU2
81S4kRSpxG8x46w30GwKs/vLq++DIxZhEPLks54Pou3L86QchCJqyxiGzagIOxUlek9XaoQ2Qqnk
uAyb9iYVrGpTxdMh6afHpkw2iYL1rdjV2jGNqMESBDbeI/VPa0NSw23NXlk5Xc8PPT4SDgjPKmIM
LoLT2TF9cFSVWQtgxdXyqh4DJBMTmEuRCUYlrKLBrjtFXLnxzk8+MrUUnUh5WVx8S+W9CCuiYuZj
uKXvT49ohlW3YhCtlfjmtX2y9mfykQImc9YDQQBtca+i31zSCQQURNa/PKr9Nh/6eNv0UQmgdNWD
4Pz0I6lA8Ygwivw+kIa51+/uD1PnpNWSUXKjuEDfu6h1ciLtUD/nvSpsS6/CmUAJ78Zako+REmhO
nKMbLwtDvZGjZHgE9rYW2p3N7vxJiHkRW3CwUVA5/aSsRgPEGFHSQX7umX9SJ0mL9GeaA1PxVTH8
PHprQuxnc/vWJIh2xHt457zp574bBQyiB33MPckdQ813GmRPN9GQ93+aAkYFiZrlLPJKkYik+GnH
RBHZ6piCqKtWkr8zp8R8bpFuP6RCrjxe3sdnwSGRGc1QiWIAYYotdkhU9BGyw8joiVXc3oXxdWtV
GAFalpA4iAspokOJfSuj9n4FSXil8XOEDCZfb+KRZIMotywxEVOMn1moN6nbI3+3R3rRO8SaUZGQ
kCSIm9hbidu+FJ9EMyi2XZ1IuBTk3TYlKW4XveY5vq+PK0f6edg+fxSwY8ZlphQuOetm3Alc7EHq
hopaH0lqi5s8z6197FeaHVM0Onai/CnQBicWI1SbwvjgyclaWvUcC8ZnkB2Z5W14RvCQOF0ECpBK
DH76xM1K6XYUQ/8WrU1lS5QNkEkq800Cp2NjtWK8GTLMvZM4WwmuzvcXUQVPBx4PZBPObDLSyY+5
Wjo44q36qKqCf2wiVLOEoGg2aHltE6Vc29If9BqcFgBpODoiJjnqHPC922AJcp1NneaJOxZZhQxr
YX2vAgE3uiYmddmbIvAOMgcRGTMWaV1u68EiSXB5U5zv8tOPWMQVKTmiuKraxBXiUNiVuhBtkzzy
P/9xK5D7qfFQoIWEv4SHpY0lCXEaBa7cB2DsREnY9BkkpsutvLFRTy8K0jCUDKFtIwJIzvV0RMNR
VMtmzALXt/oNl7mdxl8SJdzAVdoN2rMl30faVaN8UfvMMSLVBkRrW0m7GQWshts7wxvRYw7xKRTt
JnyRp/hOya409bX1VQzjH+XgszfgKhEDvWx7x6yBmpTJgch8Z2b9Z4hQN6bffSmq7zkeaduq+IHa
8Z/PFwRA7kBABFwES1YypJ/Wb0PZd/FUuTZTQcYrol6NeM6SlYAUTECESAnOJIFlvI3G7ECEUgZu
jHD9odBGw/Fg6B1GK98FguFvseionN6MLMcAS3fIElmyATjUKzP6weqcWV/gm8HO8phb3A41oh5W
i76I23eRQnEDs0FxzpBeXjfnmx9uGetmPgGQq12egkVrdX5oZL6bTdVTL07WY1kbzZPAQYULSmjw
xGEBf/rjRgmngYMQ1wPeWgb0QQ2IKjCRFprEOjlOGEVcAyzHf8UbdkksdBsi0TWn0/OO8iRmIHmq
YqcNuf10f9TqEFAVbjJUVcAHanqkfRHNqdmY2SBtWEb+dVimyf5yR99sOE53Ja0CTgJoAh4HlYrT
Vq2UOlo5VpnbWO6Ue44U4G+oJSiOpXYOw2Dqdy0c7expAIMr9k+JwGtO3Xr9sfAOBbkqPb5r2iPC
LbZhPnThd7W0HH0cD/F4kBTcaaB/wc1K853SB3akPErprRLcGRZpYF+rH/RJ2o0imPU6QeOxtkOu
VStMd16T7mukMjup2TTIZRp1/JICfN6OCZhZswKwGDS4BfVVf7g8JPNL6f2IkJIgQ4fbrDEjbwBI
no6IMbG3xT7sP2VcDodSxBetxAzyIOSiQm0ODYXG6Ixt2qprR+Rb1HbSNFq3CK0QtM9+DqQSTps2
rTSYuJSSTwhlynaDAO1jm2j3ldz4R/xbKKH5jLVnpt5Widjeeturh6gBSZ7qI3JZXSrjyquHV+j/
qA6H0LgrOTINzFsfpxTbrcH7cnmwzup9SEvw8jdn2UFW0ZnV4zD4caBWuvDA0/uAiEpxlRtC6BZB
Um+FQqsOQltvEk0sNkJPADMOorn1VEG6j8zQOgwNDsctKXV9lLEb7yTlcTS7atPkfnyfypG8stzP
Ar0ZsQMhH3MSTlCKH4tNlgtW2RpdpTx4ks9DQVbrHUSC/BmE+XfBa1EhQ8TAEWUvv/UnU7NL3Wqd
OOzajVkb8Q5Lpc7BPTz6wysY2B6VvfkZOzM4yBSfTnycT0Ju5YP84OV+sI10od60fuCtZI6WB/Zb
K1BksDeDg0+V9rSVoUiCrJ9mK40xLHbY77HtyrI5Xl4Sbyos71cxAD+AV0C7QfgR0i/vhS6VEqlJ
BO0hkqxyp1fq6BQovcKHFl9QBrjqYyXexmbypM8aHWPdbrMuKrbjgOivZTbVNk+H+GBllnSF2MrX
Chcfuw0egyAMkEo2P0eaOGw6JcuvyLPrnA68gFBWKR3Zl4JtphrljeWl2iEIisyRJiHekZzVHFVM
DZQ7G1Tf8Kl2slJVn8xYTxw1Nkr048xk5eY6284MBKNARYHDlTj0bTG+iyHDop+sBpvAB2KdrbZD
790Zne4YbknzXw9OfhtsoPi5xffmNXz0Vq6wecksZmFG1wPcmdORvBJPJxuh5UYOqkZ+APB5gMWp
VsZGV/cSz4XL831GFnvrJqgLBKkgooP0Pm0J60UzZffLD8WNudf38d2wK47SDqa17W8lW9yljrIv
vnRb40HbG1fiJtv7m8AWdpe/Y3l/Lj9DPv2MQW/bsBNL+QGVYFtDCi7RvivFvpJ14Jsra3y5k4iV
wbXMsReRCVIiiy6rypxNCVBbG6RMuzVM/0udWdbK6/vjRsBOk9bjYl56XBBQlZWXpICnQ9wU8zAK
txjIhStdmS/4k3WCLgkQCGr9s3Qd18/psGl9gJTrVGSu3vq4N8O1Rg4692dmvrdBLOM7pYH0vgQz
5wjxtLZ4zvs4Ywn/lc0hrb1k7JEcHuGh0nopxjrsyTGfX1hrLq6LVgB7zSgD/Hfn8jopPOW0j2lC
5idFeMIlg5u29gTs+JDwoH64vAKX4Mh/tUMOHA0QcmHs+dN20Bjx2A1q6g5iNByDbOip1OZOnscG
17nUYC7aFJVTeVq1MWM0XQHDT0+1Jnp7qcOTrkm73GYl5FtJqbrrMRgDe4qhfpdVq+/9Yji2wSHu
wh89Xn9OI1XXZhE/QguP9rlc/Bx1L16poy+CoX/1iLoQNawZAb2UTxhhjXtNpqRuafkPo0q6t2Ke
NIigNio+oa36aFQWkmj+2WZ+a1elQsQJTkRFefZ0JEeAkAYa5iRkakn7nKRJeFW0POkaNfXtpDS+
1sWaHfQHiwRECghlEmp0d4lYiFUukr4ME7cx1ODgjZPpJArUqLc18h8/h//0X/P7f+2s+r//iz//
zIuR4m3QLP74327xmj021etrc/tS/Nf8V//vf/rfp3/kb/77N29empeTP2wzuKPjQ/tajZ9ea0yF
3trkG+b/8v/1h3+9vv2Wp7F4/effP/M2a+bfht5Y9ve/f3T89c+/Z1OP/3j/6//9s7uXlL+2q16z
n8Ffj3nbBK9V9tdL9uuv/4WpRvWzCX/+dcMf6+Uve32pm3/+bRj/oGpEqEv8yMgDavr7r/51/oli
/WPOAc6n60zkfisSZnnVBP/8m3fdP8hVsI35exy8b4Yy9dw2P1Otf4AZgEtGJZ9S3N//55tPpuV/
pumvrE3v8zBraj6GBfY/x+KsK8alObPSIHFxPi0RQRFuMU0++YGjaEH9FCtGjKuLpL90ourtEqUD
2ofp+vbdwP37I943+oaOO2mVwg1pLq5smucUWcSBJKm9hCdG5CRxuynbO0m7SYwflXUzRZ/UKHO6
6qGWP5VNtE1nu10r2UjRU5k9qmG86fpvrdbbuSEe0+oHFZ4dNsV23B0Q/0qM4ZhSdNDbB8gUu85D
9FD1nTC6ka2nUqL4Xcc2gbBtwTJQ68EZ22zfBZJdiIRGxV7Gv7chH3q5uwv0HYO86O7i7lEqrNtQ
wIgc49G8De9Ku7VTe9oIu9yp3GKrPCRfqsSWHNm2Vm6903PtvOXFS6vHBFr0wPFQLGpbG7is61XP
vhRtyyz83Q7aUa1/r3R2nrtLcztfxO+iwVzTQfUoNAloZrsrt7tmQ2HWTnba3jvkR9wdd4+Xmzxb
w6fDu6QijnneU0agxYCYM3EnR931K0+KD5sgaJ/5FiQQlu8pqe0mqZFJhA7Gz8kkQNHu/RLttvxL
Gn273JsFpOvfc/aurcVqSbTKKLs56erfZRR+fpn78nN1GK7zPSydO//Vv5JdlSvpOnsI9n5jK09D
ZPdfL3/FIiv/9hWz6Rh0ITIjc2x2Oo1qUrdVFCWxU6PoK20QW+KONuxu3Ba6Hfh2KNnyGl7yg6Vz
0uZitaZSpYvYr9EmL6cOu9qswV/AH6g05fG0W+nheWuEGOS8NJK0RGZLV2rST0IqoIfrGLmgOr6c
DA++BUc5HgN9k+WKcuDR1uyyqUhvVSw2N8AvzBd8oNpDXSolht116/IMl10hNOPXMdbVP1t1HI+E
IpT+OCzR8kWh9nQOJE2QOP9CJDS1YC5mi9QfrNC7VoQRMJ8ngIGmRrJyZJzGB8g5zi6HgIThFPE/
ICynjYpSaiWSnOpIwGu1nZp+tSPuCQ+XR38+Bd6dEuDW6RMpVbIU8824zAQkI8nU0KxHkNHYcoBW
11vS33qmPVX/m7vzam7cWNPwXzm193Ahh1uApEgqjIYTJM0NShOMRo6N9Ov3gXxcO4S0Yvnc7daU
58Ky1UCjwxfeoEIIG8vJuaYrBeY/bWwnpuJqX8ocVy1W7r0lSKZPTewF4hjjlvM31SpgkHoCXV6n
Lba1tMyjFEjIbCLthIlXXmLZXn0TdlMEce0114mgnJDG2hR4Shcee0lN8P1ZWR0zLwhShDSIA+mw
AtBdzf1cel0RYTqy6wx7Brc219dJVdcHs3F/GRAZ96BYkwuX8UrFa6lfMJ66pEVQnvizmobSKJNO
KQSDTmP+qcqluoull35x9CTdC8NocvwZpnlj4o1ATIyF2+jHQA+mwIUkaPqITl9iOK/aUsszgU9m
LZISAmTT1hKjva6KcqjneieQSEK4Z0qvQ6c3qFA24U4N3Z/pQBGlJOnQIqxbOq+2LyQ5r6cFQBt9
fhciK4bGVCnPV4c1hzX8rxpZQJaICGjXaKyKrFdL0FWlOBV2og9APsxsuiLEUx9D0dTPDhrINmbd
w8wpOdbh9/cXyIr+y8S8sPEggCDSxZ91GmtGQ6v0td7j320gWUgRdz4lQLj3BYjDk2N1ce2rZl9R
So+m8QdGAJa7yRxjQjC4aZJ7N89zzR90R8E2r57nL7FuRPHmwlOujtblmkS90V00rKgdIEVwPnco
1XXO4BT2njMgvMGLMH/UhjT0EVFE56mftF1q4BDoOhElDGh2B1rR+Kq4nRcg6ioDE0+sYO4s1KGq
FJRgJy/ke6++7vKE1O6gbxBEg5xepcrpZLSOpGOwL8LJyXyzsLWtVkPS0JpK92k9DcdSCw2k+qCp
Y8mbb5PI1QJhQuEDBDFcuIyWjf3bcfgyYXxcuIaUxpGsWi22qja6Dgy8vU8o63H9iXybhtXA3tIu
qRm+MdSCS+VwJwWkPLqq6aidJeO8Q4keTuIvtaHzMhgNdX6KC5fi3mUSz98Kvi01RziUCKy8ktfU
2roeaysN91OT/Ji8OEF2QxM0lbC4j7PC/EwJt36WRlv6dpc2uII3TYCWrBsMI74iDqKmF3b1qla5
iGbR8ID3uCAwsOmxVyfsYHCIwUEL92HXJT/HzDA/etI6qFGmBAneG1cc8uV1JjpvVyiN/kWbkJ4a
krnbjUOMFn2oyOvW7m2YGr3bbZuhK47p3OZXHdi4U811vNX6uTm8v6FefzOeGhQQyR55k7puDmZc
Xy56pOFe9s58E8eIv4yyVvdZqE6X9u7y/VcfjRoIso6L3SOIgCU++C1+t9LIs8fY8vZlZcrPbpNE
UL8Wt7gFo2/50uvwHXXz9pdAKnWnJ1q6LycKa7umSKxL2s/rYHj5XsvhiYHXIqrMuXf+NAOCtp7T
6+G+k00NuCtMP5oj/bRKjEa6yUCb4yhvYfEVdDB6fhZsLZhpZmVuZ1fFJR13eNxDrMpyD/2goAiT
1GJE0NDIcJLvu964kX2TPOdWYpV7J6eBA21OIwVsIKVeuN1f3WrLy8A9AB9HfXHhHZ2/TIc+BgLJ
vEwIL3CXy6WjPYTdHmCf3Fp5Vuzyykm2Lb25LQzgbBPpjrz6x0uJhBuYHkQgMArrDWC3CfDslg3g
jU6/i6tsvgr7zL7O9fQSGnAJT1craZH/obi1HLRo0Zy/bqL2NrrkqrIXWWhtpNGLDaUGPGym0d2M
aImgtoh/R1c6VfD+Sy7H5auRkZBjYECTgIjPR85AQkxJWiv7YiravaLGzyU+PQG+IZzyaVVslLxQ
t3kNVwCj6vLCuffGbl2iN1QqKI/iUbJas3FTZak7J9GhKiPrJpSTel+w9nwFGsiFF10HjKyos6FW
x9nYiVx1UeI9sGVdmriYoEjVznYTUd2mt0K5KbUsvXBEvPl+0CwWdt6Lh9X57OZGz/Uh0cDvIrff
dq3y4LD1MQUbqgsjvfl6gDtx5kCdizT0fKRe6HrnlhqvR1aygb/iA62Ln5y5D49GHpqfLHX+9v7S
ef1yHH0AjjA0AnVorKVc0JHPpogpPaSZV+2czGt2rSqj3aDm3oUc6PX+WIZiD+InAG96TQdXDJr6
Rsc6aZOkzH3VLkn34xnZj8Eyiq3bYGGVu/ABS2Dk77/l64lF1nHx2F1w1BZjn0/sOGeJx3EeHQzh
FgfFBSKU6f141zhL5BhX4UYd5/xS0PX6amFDIE61hPXAdV8VGxM307TJjQ6lgIPBiDrYp7nB78mv
5yE/QP2msOFWUdMfEMLTjtnkKTW1vyJ6KkdxqQKwoqsvwQBFV7zQiPPB3AHtOZ8FjuixmFPP29cu
Io2D2UJTaQg/bVGj2c8JErRFY210mrwHr02mYyrIzexIwcvVUWuACFn4MU8Rg+iEVkI6b+WxTobp
MXcSZPMKtd3mo2Ffx2FS3WN3Lw9OkaaHrJhGqNVJd0C4Pb/XxtC47SYjO6pGDIZk6GuADbRpY7dz
LgQSr787xyHMnyWlogVgrY6mwYzLBugFiAQpNo1+Nzc0bKzHor6L+0tM3jfGWoIVglryANqHq+N/
hNTa5A09yTh2xG0tvUdaHeo1muiIYlTZ53a+yCd844YFnwVgGosom1hpXTGJUTuYIwAl+HyiGaIZ
0d7uxIhzOKbYqHO0e7R1USz3vHTjdoZzE5ZTeGGKX+c+PAInP4ka9B9iqPNFVcaYoMw64M3UxT1a
s71nRdbRxp5mfWsP6SVp49fnFdIVTC49cADSYHnOhysKCKAVfpgHt5jkUVPi+nYe9f4mm6bugjDx
61t16RbYtPyInT1nLa2FvricBlGIw+jax6gMGzT2cmdjmnD1W2aT+D0MPwEqsje1OSQXUqR1RZLd
upSlOLYA4JCzWauJhfhkKP2sxFyrkDCKKXYPdWSIbekZTcB6n/ftlCvf2z7Tti4mGx+KUnlAiNfx
Ltzvrxc22BUObvI1yNTI+p1PuZslVj7ieXAoUD6ws3rcaLkyP8lsMG4bYah9kEyXfM+WjXke0Sxj
oudhA0OkHLF8m9+i8rBJBoxgHCixRhZvQy0Rt4Ssw4W1+3oxIfOr0T8Gl0V3cA23l2gYKUWNAsxQ
ICWR6bW+Nxo0/WEUdhdqm28spmUGF6YINuScEOcv5DXGYA5OlhyyskWgNrQ+Z6qdXiMAo+410qjA
7MvsJqlUNK8LLLzfv/9eb1JelNhQJxWk3vmSdvw2nZVWyjR0q+QAJTzbjmFd7urQqv2xNA5z77QX
ds6qY77cNIzHCoU1ZTLm+lwyu25A5QEp6EQ1xGawnXHbm1O0nUIR7ZPCVe5CGbdHNWqSHbdVGmhu
J/aiw3K4lg0WiKpE6FfG8XdVNhNkptLZT50VbghpQ1CKVnKtzb0ZSEhC/MdJdEWLfrwNZwW/Kuqv
z1bffTTstvvy/jy+ceDyYpyz9ClfZKJWeyFKNdHKok0OtD0TX7r4Xbi4FvkiLCIUh5vrWrTqcRg7
kGUjPxzBR18IEt+cXLwhuNfIFBE2W0X7rTJIDahXehhDrd6OVLc3lT4arl+22ldgqMkHpYaTTD2u
NPcgZrobvbDcR03rpyu1d8VeL+snOeTzthVIN7W2PcCdtKy9qxhgEU3chR3i62OhkWz2tUUDUlHM
gkBleDb4vbljFFdIDl5y83vrnAEDTYzPaUO4vTra67yKE4HtM9K6ZrLrKq3YzvUksByJjA1q1fiQ
VMX0/P4XfesIAB7DqQbHEX788vPfdoapJUqP1UZyqG1p+Wo5lpR5B2PjNVZ5IXl5YxNSfV8IuVR5
HeCK50PFUSu1pGtYO0qpIU+kRtcyAiOrG+N4hcbIJaDaG2co0hdsPi5dk22/rkqWzaKmw1rVWs3e
GGaD4AlCgheW4+uo3mQI7ihETKggr48WZcZsSInm5BAOdr+nJCICgL1D0Gbk251aeHeKPpQb9k14
Ib5+8/0WEhxLxqanv5rPLkr6KtHd5NBqLtR3TSm/4szZ3L+/QN76avSiXjRml7NsFdZNCJ1S3FA4
ykZP25aRGt5OU6/sFUdJP9phe0ke+e3xgAmQrVA+sVYnDComeTNI5rOPky2InHKnA+EKaIxBvewu
tSDf+noEGTQ8CakWA77zNZkC+Yw8h9GcVsuvUQhIN1B15/2YzkGjTbd2PT5GSlRu/4NJpQvGLqcv
9QpL6tHvacLCSg6i0uGfJk69i7RM+lE4KbdOrFof/4Px4IAtw2FUtW6/dXVhenkvsPeoNADpc1bc
hAmfbvAoZfblcIl2/8ZtDyxtQf0uly7x8fm0GkVWunFN7kOdUwkGrCX2Y0vY2EEvOSgqSDAPXzJq
rJ7YD6oiLgQbbxxqxOMLE38p+b7SeENJyOb6tdNDxbv5obTGuzFpvo2oRezfn9i3R2LpLCojBOWr
3SHoXHtpLbIDQLdwG8Ves29ieuVoelzCrL11974YACxaHsjyru8HEIWj1lJ3Pgi1E9/Bz9WHaaod
sPAJBkW2rA7RWLi3QzmHAcFQ+2j17SUFlzcaKSCXENsmaqQSCzv5/MtW8C2KUJuSg6rAD1RtVIOI
0wHu595M3biHtubk2p61jw50Icogsg3BMgirPXL+/dX704+WCeOdB8owLOnrIkUHhw5w4/nzmApM
YL2elX2c1Jrmd44o/8w7U/vglI6Yr4A1Tea+q1LzZ9ZkYX1lm+FwM9aD9dR21Uhx2dY+2cXY3HZj
A9lDk6P+kCDSerSG3vgK7zdV/Ql/svvZHePIV9MFvKj3ERWL9KnvihNFDYmfxCzdHQ3O/FcYF8O4
hTVvPeG/3rocI8mGxBFl92o+6VLL7ooOFgGofOWUm2Z1rxgiSfxiyLvJTy11yhB0IzDd1KGdCj+O
8HFFMLvoNj2OkMmNKSLcFgYF7syuoT2b+SEGAlcyqStiHgvKm58mrcugVpf9KNHK/ZrnMTduPsrh
u1tN2a2LZOCDiSmLQH9H0HS2ByP0pXRozSNklusb7H7tG7XRqtux1lGGM5Ixf9RbTsOmiUZAmxMd
GySCIpn6kynaLcYY3nM9le3XfEbpcKNZOQYicdspnzoeG63iNMq1zRzn2lOuFtEnOZYxWv+dnTp+
rXbxJ8UqK8QQnMkd/VmCv8y0xLoZ3OoXZrZfI0dxrO2YFdpj3cXFuNcneq53FNiH7zUg922qQpD3
KQ4n2iZKHGO/zLfzAQnedvIHpBGvXeo6RZBLYrAgHk2n3RrIVT9ASE2/O0Lvu63NTfNkls4Q4Y1g
T0+e1tnOkYa3iWxdHzt31TyJZyuNQ+/QKI52UJrGKHDk6OUdzrQtukv5UOQ+BpZNeFVYJUbvC+of
2eISgI9iy/DWG+3mU5gO9FYaYA/adlTC2fVjWThcdQpaghsl9uZPuRnTMpVh6cIqgJqDerHoiy+5
USFqBd6z25uiLE8DwNXDDFt2gy6ieotHcHXCI5YidyhrGg5O3/cfq2Kuk6BpvbTzs1lqn9WQ02Tf
ZDK5mdVGvUcjODf9NBzh7duKko7+ZA+quKpiNdpLuzamIMwn6W601r4tJ3v8UdQIPAWd6YS9Hw11
V29KXc2QQbRy9aeYwxTE0jyr7kZHkPdRH6r+e9SmiQf0Dvae3zZq9WRYcfnLM7Puk2HN8nlWY21k
MY/GxkTJnSeJhuRD0kWTFbSTZX23uqFRg3Cs1Qq7PlcZWIYC6N9oNZ/QSnCpJYagEINCWvZz24op
h2Mtyuc0SYdkqwBGf9RTZGZjio+Gb7hxlQdRvPyeLMlwRgAcZB7UodS+WxRL06twGN17mkuR7hdp
aSZBSkqzgWphfo1RXDsW9ZSgYxhr+AgoUdHj2q6bxTdvoLaKTESMgUUVT1G8NXSMYQTXR0mHt54M
FkhqWFuTW/nRmXIhfOFV7CQzpkUVSFU00U4Wcpq2mYglrhzTnNH3SuwM67WivYcsOxW+MTrRhmOg
+VG2Y/6gGIl5yEtPT3xVgOlczA/agzeMxtc5LfqfqF4BMo7jqI8CLU7DNmhTzY3xwlIUAGUik0/N
oHppgA5t+y1KEFv09WF26x2iBSjMJ7L7OkyZPQWQy2rTj4wM8xKeW+QbAdjUpJBsTvXBk0kHb0Dk
d9lQh7nv1s0IqDPvrFOizgZJdwV9xK+LZrwXqCIhBF0NfFDJ0t3JRStPNLP1Uw1JflCsiqb7JoGj
DI4g6QokE3uLpR5X8T0HeNQHs2WgxmjOU/Q8UG6bA5YevKay79KbPknH731YiO/OpA26r/ZgTHy0
FDwEktLZO00tpiebtqSBdL0Ivn3OJEo6/jREVMgHu1W1LTtvhI83yTSgWZ99zNW6+2FVyXU3xw/q
bJlyVyEUAcUvhLJ7SJ2mUjeVggpqDup02ISg3AY/68eq2bAWSnFfCRPyiFY7xb7U5z46topwnA0d
K+WjnA072cbJ3JzaWIqT5/YYszCZn7HfvMkt74HUMUk2tuSyQWifkyPtC3mDhMWMQzAL+KmSfRUj
ncraUrMIPV87Qr8iyIs8nLduKvV4K9M4/pxkRvSUarX4yq/H3YhqFN9pTqfwOEeIp/qxwmbxKemU
f5ZmqEtf65T8Sw4e8otss7rlpbLR9rUJrZKNpyhF5IcFsYgvWmvCFXA2rJM7oYuZoVx9k9UpJDM5
KnjEFLJTmq07eE2EJUYYsphEih4lwjYYWno0RwasN9MtBM6qg/RCfDXnbe/4Yy06QdUjR20HogEy
Bao7eoeuLbWnvo9wxIyG3vVtrcq1oIyU4ZrFDF3TMSqnx1xmqKqNXXaj42dG2cHw9AAIT4VdPuV1
3X6oCBBloBveiLOhoOAc6FDIVX+osBnc6nWvPSrCcm8R4/b+7fL0/xpB7xHX/+8I+iv5nP8OkV/+
678g8ujR/UFdF5Q8fy/y9OQPf0Hkl5+Q9pESUXZ+aZH9GyCvGX+QY1P5RsYPDinurf/1r3/j4/kR
0T52neAmF0UFU/8nCPk1WB2gEOVQmO48HNw2fvN5RBm96C8OERwNq+o+u7mU+7Axku9a3zQup15f
UGV2hLeHSZUdhnmot045GtGWfWl1rNyp2cf6bTwJ3EDqLo1OOXIfJ0Od4g9J7ukP7Jf4s2a14TeE
SI1tCe6n4vq600p16ndjVATWlJpfImWU153SKydFr41NPIbjFy3sktl3wULcCGDDP0J13BG/dB/j
MU1rH3FpKLw6pVQRDNbsHnPi0HaHMwcH/zDUN2Bj9f+E+nEb/2jKtvyzO+d5nPNF/s8RRBC5e299
7389Nz//dWizhRqy/HP7Y1MWz9nf/679ffG//K5/E0SMP+hCkvYjCQ7uEZmbv1e/o/+B0wv9OirI
9DyAwvzXv/4miFj6H+R9JNMOKRZQ0UWO52+CiGX8QQMbnhvrlbSMbfBPdsCrmshSFvMW/NFi1wlZ
5XwD2IAOQ0x9lINiyXzn5Ym9tcvwqS4mCz2UENl2a/oylPLLb5N3/1fOdsYSedUuXoSKIcYsskt4
ty70nN9LkV6HjmDphcmxT9vmvlJbD8vOISwfOEny56wQygmR+nLbO4C5MH4fpz6g20vOgvnuVhRl
jwR/pV0nRPhRQIVeu45FkWm7JlPLR5wBI7FxDPIJQ0oTim41JrcT5Mo/BbHu52kW9Z9KIq/MbB5l
EGpyuU9TeWtXWvSjaPIvjalVMuD+U1xsu3TlcVKK+D7z4quikGjq2wYkvF4f0OOz1BrxK6GE6gcH
w9y/ZuofXRX/T3fcIgn7v98o13ETf3/u4rONtfwvf20sBeQpG2FhumlgEJet9ffOogT8B6XghRHK
32w/bpx/7ywuHM/j//x90/29sWBlcd0sexGxDvABlv1PNtaqeMIQiFKgEgpIlooxShyrCr8VpwBo
o66/p66gb6PSTonepp99Fg8/6zp1DlqNkinW3sDgVbPdJFoLk1pCNNBrqW1/m7o39tvaJJenQZZv
UchAlANK4prQro1xlotwTu+HrJr9RjGO0Eizr6MldJ9ortnnWlFsJLKMu8qbu20ltHgTa95emYtv
RjLYfte6+abO3fbzaGTNVd+Y9YFSgkoxJRxvit57HGPlUsF9LY338txUaxeUGX0onFjPzwm0pDvp
9Epyr1Yt4AqV7ddBLdNadcORm34smz46uLPbHTu99+4LF5GvUE+zqwFnsGvols0Pmfft1yoL76zx
mGvarwszuzzB/xSllu9sL0a+i2Tmgu5dd4zpZJroz/KEaAaoJzOv+j+xWcbwsLGtLZ126xoJFLz/
1JrOn2yVTT2jwmBrwgfDk21E22K/npvDxyIq2zukRMur1IvJA5UBGxE1L3Zj3Gf70sVkru5kdOON
6gTaYMHrj94lfYUXC9bfX4ej8UVnFxq8jorLmjEQSxp7qYLTU2rYAw6PamOY/iQtc+ei2YEjmcAu
0xLzqbWUULvuO/V7TWEHxyat6oK4n8hHOizBnKxKNpHSYuzeQYf2w1I2QT1Xyo88UVxkFDnngwEp
FmW0EAt3hPxVTC35rKA48rmyPhm951Nicm/qOu6uZqwMVb/uGjyeQ5zYA6XKsD2cDKA6bmVkD7ZT
u6QTSn9nJLP+MCej+Zm8BdXp0lAoRbSVKL6FQAc2mt794nvVmp91lHnRZXC9O0CzekG6H1ePZjcO
2zDqQ3kk3W8urJfzRg6xJtB0UGGkzWx/4B2rYwH9z7qN2rj8NGvg9gty913nVuYlOOrya377jK+G
WQW2pkEK7pai/ETmWl0pySyusrnxKM2V+NdCR7qtNAHW1xMBBYb8axGqxWfPkJ/zSXl8f4e8EDrO
ngUJGmJ9yvNQntAjW2KB39uOzjAmxmRXpzkHoylRY7srZ8qGtlu6+J9qecAh3lwNI4m/1Q/an6hA
KTcU87LrtJlnvwBDeDRrzw4sUntMRod+E09O9yGjSNAGSm38HEkYrnRz2OfRwF5p7PZay1Ntb5sd
9C/DLXEhbxDPhPD6INR+vI3GqfrQuJQfHYG+lFW16r2XDdqJf+DE1En9lfzdvdBBWOFc+Po0senx
g8oDh02fbRVujZNtgA8ewxMyQD7Q6tuEecAoAxtX6BGDfbSrPoi6ZBcP5acaotb7n2KtHcP4fAcs
hinoo9DySj6l0uPO7szUPIUzIp5WqDjM7nC0MxuYHgpcNGjC+FOsLE4Bse36ZjqiYgaQccO/R5BL
S7ObNJ2GCxiKV5tieSxAR6g4gE0BM3K+QuLO0mEKjAYx3/Rgd7p2Z8XCPLz/8quD+q935yJe+Gkv
sfj5IJNIwzCmUHGiDGhc2frgj3bZHGTTXdh8513N5SNbiODAPwQptuBol5j7t/WuY0bamvANTnOS
R4FSlqJF/SAVmxZw4FesFi/5J58H8cuAHNSL49MLowlc9vmAqHj0MtOM7hSZ7Vbtpw9jqwVdbv/s
4VQ3UBuAHuWb92fzjaVMWwokAaESwE86YueDgt5J6ej21Wn0KJ/NzScxwetp5FU+tt8dCvMYQGwl
yayaiD91Pb/QDXr9zihvL6ptNPtB865NWmI7N1sqiuNpUHBD6At7+phSV6cG3g0f2k7/ziPpR3CZ
/aU9vFqsCKEDh4FbhAEFyRsMmPMXNwvZUr81mg/QxuY7tYqDXNHK4+DoVuKDO8EotY3nbRWW5W5O
8/CBJk6/I82v97V05TPXUXmfhPVFYSjC2t/PfI4WfFVYe0QhWJJg03T+YIhqsLOJiD/Y3Tx9lG5v
HfN60IM8b8NP89D69piFqJmlxi6rvGunxR0aYf2fFBUozTlFvJcELTtRggaZQXxvcpV1VFs210NV
XULorlqcSHHCUiIS5WkNdOpo354/rqJnsMNSJNRJ5qBFFb7SyxvNuvWMaaMX5S7q9N2gKAgjzhc+
4WrtAKYkGzcXwUhidICylJd+36BhVBRJQ+3mw1R04Awme6+DCPCzQRn9KtOsXUmbde/Vl5RiVifQ
y7ho8QMeIfUEfr56Yy0DwWEKMX8whjjetG2JvhiicAGFsEvu7csr/HbnUlFD1hB4LixcuqUshvNX
BMypdQ6S6vdTpip3zqDcFLMC2xsuR1BifiYmc3y6cCKcv94CgENlxVr4SlwvkGFW6y+nzhHjCTWf
VMebfSMvXQrv7Zz7itFoOEXN+ZZ+RH4waukc8HGlokXvo3QK7ajOjeaPg9LvwjxxrzAViC8Jkb6A
c/9nSl4ejwhdV7lmoDZQPTyfEmsUScH9NZ3yAtqQhkpEJJsYAuDkQRQyLLS3pthX6cg8Ip0x3IRR
3N7FUsJdi7Phmtwe0vBoJlivVPbWtacssEHjNL4oWvFk9i16+XMRuEkM9Se2qzvE3+bbJjVrvxvN
R+kiE5gacjwabZ9cOo3PD6W/Xg7YKkBhRNhYaKtDKW5RelKjfj7R3bIDz4jltUGLZFvNOAL6tTDR
ksq19pi432UOJxKQPpqvMv/IIvqiT2FrBCKf5Y/3l8T5RuOplvwXRYVFTMhgWaw2GgC6PpXhhDtF
lxo/LVcWe3hSTlDnbbEVsTI+uWB9dlqoXop0Xs0HIy/XogsTEkrC+ixUndEsraLUTnHoZDtaSlEw
Tp524aZ/teI5QzDqpYisQQlClu58SYVdZA9a7TYnjrj+qjGsh7qtnQ1aLJfkn8738zKTKN8xmRiP
LIwZfbV4gRAtmLSyOVmQSh4tvDa2VuFd6xo4hWGkISU8ylLvf71VtLgMCm91wfkTMhK7r0n0bl2N
PbeBPIF0K3e4ner3dl2gVloq3aeEw2crpmn4KvXFJLPtsYwTi1Ex9HoQeGO0Bx2RABx32ksnzflN
9/eDLXsYdgcOnqvZmIexMNoKRTg4WgQgsa59oxsrr8PQmA/lVIXXYYoRPXcaACi1Ko5cLQmlg1Tf
FBQrBFnYLjOt6MqaE/2Ytd33MnJ/mYWSBl1BXf79eTSXUOjs5FliJOYQVS3ku1iR58tEL+AFK0bV
nBp9sHZzPYwIk9pqdOXU/c5tKjghs8yvTAe/SGDa46nvXYSYB30W32wBzJff2R40jFRvQqON7siy
uu9WjbyotUhG5FFV/tKLOD9CrjGCtI7iazSdJ2DInR6kleXdCN0ttqaMq7umVL+p9A++cjCAskOr
yLnDaJnrbh6aOzGE3qnvKncnEuQ5JJ2LY1WbNU3fwg5iiY/w+3OzEt98+ZQcD9xXy9nMEltdGtGo
GHnqiPrkqMlnDz14ZKtq8ziULrqbZdV9iDKh7PtB3lvlPD+Eues9Yav2mMLb3nHwdtuUCrCvW2gW
TF463WGuJI54cHgntxr/IWBx2RGA9OFUkcDDx1gjaBOJPQUG7dUpm8xu701ZRQddr3C8yaxNN1uX
/I1fb3vGA+DBBBHdg7E7XzlJl1mglUNgHrquPsI29GFEpEETe5Rips4+eBYsn/c/yetDjVSMs5oe
OHhTfL/Px8wdl4JNE9UnDIFtv9FjfSM6BDDZ0pfg3eeZ0svHh/CArQOSGCyCV9U9pe9ts2UoN3dx
scTI4q4EvxHEIi2OmQwvsRtfj+ehBO9xXFNPpMe9uiWd3BaCOKQ8ua2nfB4qsJBRKCZ/Uqt+qylJ
dYGK8Or+WzDrYGOQWobpTHZ7PpVt23VN3MdUPgYsB2b0B3w3Fj1Gba3tV3YI7r/Ky0Oj9vJCpr/m
v3H5UWkwUad6SQvJWM6HRkrSrhKbV409ZXga63j8XmnV/LUrrDu9towrSrcqiieqfqfUsbVL4VEf
sO8dtpWGt7xS6OXGBW3wmOooFY12a/iY04/4jFzZ/NrNOH5TNC6e0G2bfWEaSlCbsnmQWR89SGfy
swLRJvZzvDPqrgAt008D5iWdvC7n8oLK5KsVu7yrQ8F/iTYWx+zzd62acMqHnmUUIdkLBiWMdzlH
KEFuNu3f3xyvNuRqqFUID+G3mLHbrDhc1DFQsvYRvFVM6uA9dKJ+1KfukrHjS/Hj7PYgU6LrRUGW
zOG1V5LZa0mJp3l2Yqmqx9F0FZx/M6/EtBtjvUHGuD06okCvQL+vm7nHs9oo79AqEUHT5GIrc5e7
UHFn9YCeyVbJq+xKUbpm5yVzvKswVzqVbQybwxgLf7Igps5K92tJLbZ2j2K0PzZzVfpzOSfXtTtv
6tEtj11+2cHy1TW5+A9xAyxSNWjrvypjKNPC/pLpCcvVbcdpeAPcBLVZUGu7IlfGjTean0RvdCCr
MrAj5vj1/Y/76nhYHgCAwgtQgaLC6uTLhp76fNqkJ2B6gkq0Ypu/8sEcdgTs3ZcJa/Cr9wdcFVE4
ABnRxRqQpgzNItLh85WrFjSB4IFkJyOu7aPbhzuDbNda8O/FoDX7SCnNu6Jvok1lojoT1+bsW2K8
VBp7HenxHEtLmTIpVVrdWx1UsgEX3+hRdmqSKb6SnieuUhNLKEB2eKLL9peOm+1ej0aUr7Hw3sQU
VNuq5zOFqfWxDxv3WSSXPsfrbU0njzSWhhVVFtDs55MjW71YdOSLk4bQzQNs32wzD3a8tVJF+/j+
h1j1x14+BBV5ksOF0upyWp+PhcgJ9SxyhlOFZaZfugLDWMyo1UXgHTPrPs6jozTMYqchjLSpS0Xf
QX2RR0iTYAO1KgkwBDOoJhRJeqUh+7nAQIHZtjqVOPQeDs4S8AUyhXoUhl4pLlzar/Iduowg05f7
GotEKnPnz29qSliZgpqj6eagAcci3lHrdDfvT9NaVmtZry9sjUVihiNpzfLmNLBcfejLU69Ev+Le
2Q+x+1AukFELCes9ds+dX4o4/GhAVvVRI9euwOxPX1IKPUGmwqm88EBLeHh+OPJAgBcWlhH8g/WZ
AZo2UpFMKU+0550gh9i/TSc9OcaV/RnjqPm2mD60SatcI4j0Wc8Hue8vJSOrY4tCDsvUppyz1F9J
AldBRaRoUscWe/ioUTvYym6WGzNV/8wt5D5yBx/vCJLGzih6uc0pZ+V5f6F6vsqGeAAAlwYyiNT1
wS2u7aSMJEoBeKjNqep6O6jmIduWbfK1SNTn/2bvvJbjRtI2fSt/zDk64M0eAihDUyRVRpR0ghAl
Ed57XP0+oLr/YYFcVmj2dDpioqNnRp2ViTSfeY1fF4JTR4HqRnpJeVaRuguBxmLj/R4cyhV5ME8U
9bTzjScmjRbpelHv/SH8KQujektBPD1+/Jm1N2s8x77zGjPJ2Z9w/t9fldR1reqmotfbPeVVc6Oo
vb+e6EzbfA5EREesEIik9PxGkv183YSAbFUwUCshCLyjXkzxPs7N6bse5fFdZkbDRpFi78toFRhY
1mK4USUlWMvB0K4zZWzXZtNoWKLL0zpM8b+aizbbpichSfHw8Lye2mmLO8owG8AbUvCl05N0A0LX
WoljUN3p8ViTZ/bCaoxG62aaBmTShxK5Yd+Ijt1gKLZYy8k6kAGRe2Wn2kGQfyvLdT7edGNYbzpD
LW8vOjMsQhfOLdQxWE98KiojvDbna5h2UlwrgzLtSyv8oYxm78iWIF4nqRVqdj67fZPXmyDcQ7nf
eP5YfPOD+mvcUjOukjh8KvK02XVFVXwyAxzEfQwP10IR5HYXmfpNkYEY19K8v9eC0XKsTstgQmCY
arf5KO+UzpPB8/rJdioncf3x9nizB5GIp5ZLMQBOPq2dxe5QUsFIezMQ9+QOjV1Hg/AJFoL38PEo
M+rw9V0zL+CLZRtsRjLsN0Jeeij21uBV0r5NBjcfwpU/GiuYDGhKVGtTag6BqW8FjOpDrr24z+wu
yx6kdJP5n31M1rM0tJVxZ/Y42VjZym+2SdUc47C3zT50RqO1OWx2ofSfNV78CxflOz+eyiy2YApA
R47R0r6vB+aMoFxj7lsjT10jxz6gMnNCe1UeQNwqTchXHpGnlrpcg/VCq9Cu/CjfqWWtghemutON
8B2LqJ+csuuvp8D8AXK42GitZl2XtLQ/dSJNBlMQk5+xVQVrXiGA7PBnXM3XaHXKcr/NIyu58Ha/
9NNevQF8F8JGjRwSRpCJ6ckieJEitU+CQBL2Q6yMmNfnDe1h/yGZuuFhmrpiVwmB9bnWx8ZV+hbL
HWPU7voSlkUOVtoP1XBdiuJYIlQi+4rNlRLRQRp0F5ZBcuEFXcQ0/FYEYXio504NJb2Xcsiri8yA
3A0MvZX3uSBIFJtzyCXFFDqxIAsXUpV3h6JmCHEaC3HOxvl59+HMJD7c6r2cRh75V5lsLAARq5jt
tf/4aCzjx9/TYl7ApfnrDTVu0Bqpn5pC2QO+aLcYA0tuOvodZSPxhvzXDqo8vEqQ3tmMkvW5sUZ5
C8+gxPjCn1xZ4nSIUf5n0fzLb4L+b1KZBSfGvXA+fzW3aOBNlbIPg/6ZWLrI5E2ne58SpTcufNVF
4vB7KB5hPiiFIdpa50NB5AJADg5hP0jpSbBEuF1ZiIuqIPq2kfvdBTLwOzueGwjgJFgCg/7Osl/u
qzk7fsqsvdUq+ZMuWBZamWbsZqHaJbYJ8uHLgA5k7YKJxLTWFH6aWmdONlyqKUaPL4KYgEKBCpzr
URAN72oKQ/wuKIDSesuj8cIJfXtxUvugs0QVdG5UL+uffTek1BSn6DApAfpck9z/UKRC2YITUmi4
ye1VlYXahahomVvxUXjlQIxRcyWqp1d8/lG6opssqUvLQ93inxHltJ/STC/WCImM91UDEiRrB+U7
13LhxnCp7yfIOSsV9Nvvz/VfCOe/pNmS5f8N4bz71f+P8z359TPPwu9nOM75z/1NDwAHPfdjwZ3p
pBQI1/0vjFMz/yKVAUAJzpky/wzw/AcgLZl/UZ7iMaMWOwMs58LoPzhOWf7LIMYkF+LOQwKEtsUf
iOgvb1GVGigpKMhJypOzgej5LspNo/FRifD2afFEN0MXH4NL5avl8XgZgnnyi6mBowZxPoSAO+IY
qICClFBEqf5LY4Vsw++Sf2yIDV99gIffr+Jr4PWbUzEPBjwAFAx9b0rYi8fSC61+FsUV9j1CHs54
Z6GqUW5MyUaIOVW32UY2Lgz53vRkqBWztSxZwjJnFKNGKtRcFfbtc/4tP1HCoVx/aZDlDTxPa1aR
gx6M/yOKz+drCEerN5VMA1gVmXZn+HbqV46qRevJD/98PuCH6Cyh2jETWxZDeai++TTqvD2CD46g
norki14UNi0aWw8v+XIvQ1vmRZoNVICmHzpy4iKvN6CNFjkkWGLLbqVX90p1SaljucFfEKyQ97ku
ySIB6Z2vXN/EmLwEo38oPPHWlO9EX3OFtl99vO/m3/k6RluOsriM1VI2u9Gf/IPXrTzB1pVH715f
d3TPjewPM9J5KDToEJnm5M61vPMJSbXfeqblBwcKVJUTx+tSk+MLY7ysynI+dERnKLUFh2Pplzz0
ipJRuw8OFfAZLOGcsUAk9Wp4yq/kpwBaXO4Egy0/YhiIFmZvrT9ezuV2f5kjdWHkAZSZH7W4lWRc
qbNGzoNDl5xGtTwEfb4F0vCjL4sLH24B00HuY17OV0MtLoy6CbGx6cvgYHU23V1jD5/xvlzLt8Mu
vSDlsNzsy6EWX26mexppyFCS3l1VwQQS8lJza3kZMQSQawg1tH+AAL2g9l/F36KOvb2VVMyG0Mwc
tRuAhqsIK/VGksAmXLqW3h6u+fvMWBguQIAIi5y7rjWloDrhH4ZAXsUWl2vjQkL9eDO8N8isfYHa
NUVzesnnG74NJtB5FXdEHsTPgrzFTOlE9ePCln/7cSgioahtsnAzFH8xSmRmdCgCOThAW4iOqhQg
H2B4wh8WMtluDIN4IxEBTcE3j6E4jJVSmFpwMEmXx4milQTj7sJc3lsxOH9zaAHfA0Pf8xWrrSSi
8+hzq/bVqk3ugiR86IJo8/F3eWfF4B1RKQDfhsyTuHgo0nLSJ03rw4OUOFIXS06lCpesZV90hc8v
IgDVrwZZTKVBSWqwKCAc3N39UdnKqm09dvew6h1/+7R/mJzRxXPbLa7Vm2qw84N8M9qf/oN5EmkR
ZUPMJPY6X01MHPIgEOrwoKCeM+uX3flZs/r/G0M+HyOoE1reYskXU5OtOQ50uy4kVe9+rVezUM5H
oFQnNEFThIe+MatVoLVug6j+haP6/iCkbXT16dAu6XZ9jUYNLNPwkMXVNoKPT372nyzUv0dYPLQN
0pwpZDlG4IKraTkE2YWFWpglzi8CWw5Btn8msYxJjNaK+nAID9Va3uChsJnc0D6mjumGv7yCFyI8
PfwwNr17R2f9qRdtb286lxgO764kJiqUN2bw+BKbpAV911TiFB7auL3ypxiuySWt5wtDLOVv/JA2
TxCO4cG6N81wU2eX7B6XkMTfK0nZUpq79TMx7XzPqSWS4F6vcHifEB3ZpNtiXW/yXbzT7ryjsfrx
9XpruHxHfZ/s4rW8zdfVJliN9s//YM+8+hmLdzdIo9oPYyk8mPoBdDNh7CUv+mV/7c1MF9sSbeCp
z2IjPCAusvGux191vCp1Z2rw1zQc3R7dbJWsig1m6ciSpOj73fvrS3qq735Q7CEpwb1Ebot5Tk0k
hEOvhQdfLzd9W6bfYVt7vz5ezLehGacDRX9Um4CnvREpatDIII7XYVHkd54CV024GVvFyYdLcmbv
zubVQIvNI2WC1ecdS4o+ogPVFc2fS0O8u0FhUeIUwH/ANy4uxQFK7YS2e3TYPaXXyVq6kR79we62
xqp0J0dxUjdzEsdctTe+mzgt5mef+m1wLd5s/4M3hoCeXh/Vd37NYrJtFhITTGl0UCHJKVF6N0iX
dNpe0EbnTyntOwnTPhYVFPNS3VfP2xDLxrg+IO9i/KonoTtI0dBUNn5RiPxpsA2+dqU2PRdDn3wZ
J635XsdKcirULtrpyiDvQz8Orytl9GHujQKQ9jzqvB/mUJbcjtMsu5NGTblrvUh8Hnxp/NHpqRja
Oq7Gu15E0p2IR1JQozO5FyiadgKodLmemWxyjs9aImSf8FESd7Lu8c8a+q2WU6dDDpA/KcwYcSVw
3QB7a5A5Vihld141INSDdoi6n8o02Jm1oGMXMyArsBoaLc5tM6mMxqapi3xLCEAxpHsZ0Kyy2kGD
LaB6ALjB7uVfRlPEARnSoCHaETU0wAFDbT5/fHre1Cfgu8+1Ohho1AzUt26dhh6WXtdbx7a2fMtt
6NnVu9ryoBXWSdsd2zEeQxfl0SJCOYrc1WnL2lQ3IKximNyj137++Be9yRjomVCcAhPHgabBubg0
0kwtsjCMugN2N3djsc9V7dlKZpmpO16nC4DiN2ca1f0ZQj83CIgOlmRSyrBx0A++yGCibUiNLVzk
H86R0tkuhwHCOWKnkyuoiNeevzliocp+mqvh0UwUdszYJMVX3eyVn8hlN7Vjqpm4B7AvdLY2gNtH
BFkzrqsoiJ7TMPYfWqskyJObmF4+5eKkOrV+V0cvIlufvcYj9xVlM//pmXL6IAxD8dy0uvhTrqf2
25jKPR1Pr1PgiGoDHo1paxblSpzarIDXp8V7vbRQXZVyRRrtWhr8G1+T008YzQ4nMzAVjGOiMszA
wCA7uEIHV87sCtOHnV8htGYDcY+1zYDWUwD0IgnFC6WfBamb0Ie7kJ4CmxTAzlxjPF88QyhBnJZd
eBTQVtuJEDdtUYLYiu9wniO7kTTfdKMWrk0vRzje8yGbZf4Pvy/7VWDp+YUE48U66Pxbkl3gtkaq
pAGkfPNzkFBoyzKPj7EYF+sylXx38DxzKwBoXOWN5N8g0AztGMbvoSoKw25HJT8p4kx+HdS2XtWl
2d1VmjdcI+4pOlOeCAe64gEw5DijMNgbB89L1kI/5jsFWaC1OJTSOhm18Zo7Mndr1Dt3XWJYbtCr
KDNFjbL6+Pi9af1T3cDDjHCTNg5l/KWYdN8gnGw1kni0jGS+lnK1ee5MvFbsIpfkmxCDv6+Qrqcr
RaoEvEOTRv3UKy+SZ2KT3fuk38fMHKvvrT6ND6hjBZ956aRjPRZKao++hMjVmPfFQ5OmvNMjQYrS
OYhJSkcUv8pPEPmJLI20jXc6InmhPZXoWDutBWIc4NLwJajqyrApyIS/0GLxC0c3g1Z0AqEsk3tB
j7vSCUVhAIle48oELcx6FBBHe0BcGU0AMerkxu5SI/4id2H5A8EYr7elohA/g9IUD70QNTs5RsXC
7nRLcL0kNjBS+HiR3xZ5ZowxdwGkUG47tvf5vgbSlRTDEFnHmC7pGm+nelW2It0ZobSEXVsZ6j2R
knCTAgvfgSLAMLlOrcePf8Wbyw/0GdQIpBuoOGFgs4gRp1gF0q928bFuIwucQAqkOjOMh49HedOr
1GbLKvkF60Up400OJvpSKGhhmh09r5DsEskF9FGFzsWjaxszaSe1VjQv9Y0HW5Znuxnu+9TDJ7Ae
cYsOeu2h5tytP/5V78wd/NAs7gupcM7nzz9A3viBlip9dsx601xXTa6tJujSF77z23iOrgkiF9xe
lFZ4ahapehrXUoBgVn5M0qq+CXTRuzMFX9+ac9JejPGhycv0VvINdQU3nxcWK7pV6mup0yJysMKL
abBL9CmdAQF5u/fEdCuJguJOaQymGvZ+C7dhq+uetm2Rhdt2QlfcNBp2qmYU185Ea2JFpBE6tadc
koCe9+jZZTjPjVcaWRm6Rm+6jL7pa6VRl/mxL33frXXEaGtVpMAca8GFi3eJuOLgYbNGod+QZ89Y
c/EMAPFSO7Wc8qNJL/UGGRt9ZRSiZcNzp6idZCDRuiQ+WhKewwUO21d/uFnm4YFrwiiFN0FT5Xyz
6DrQwlFviiOBqeAM+uDdiWgHXkBVy28iBYahvTFHI1DL6M6dD1MgCFkj31cei6lFY6rBFsGOp2Za
xaUebOQ0bNYqid/eTz2dV13aoZwlOZ2kCls5ScZrTLBSuxhivF6aQUZtLjSeQwFYeDyVg50RRQe8
2GnomKIvr4ciu8SLni+MxY4A7DKzg0nIEHBYXCh4wGbAArvyaA0t7n9ahaq0aPmOVmuHpphRLujF
f/xp3vQ5SObJ5n8PayL1cL5mgeIFvNVTeYwFDShJKHlbs5mUFa6DrJEA+oRIlnQ3TiTn45Hfm6wB
i55IQJw5Rouv1chWJ/vlVB2tGBdI02tMz66nKVmpCOu5SMy0h9yUL7lxvbm3mC/IW3pTADCJKhcP
h1ilKiRhpTpGdd444xB6jjoG2oV76+3RJp0m/QRBANoBEMH5qkqILQIuiaSjP6CHaAzBU4PhmtPi
O+n+6SrC52NO4Ig4X3CDz0dq/bor9EBTjn7G0bIshJ5536fNKCDGgLaH7GqC4l/YNEtYLbNii8Lf
o/sNRAuI4/mosm+2ot7nwjEKB3StsCSqO6R9La929aa/bizzRgra42yI3ngmqpqdtm88tbC9+JLo
89sPSnY9iyC97GMEvc9/SqXUaohCh3AMGhpbUmQ8D2H7t/7hj+H/vO9MP+/F84M5Q2XZM6ixA1he
tq8SRUzrJoj8U2WU1kqX89bOZaxKldxMV4hr+5uPv+rbuJ345gUSQHQDP3YJkTVHWBOi1hjHOtS/
gVfe+F4V25EafBq8g9bHKBZnIO5bEDKxhLCyvIYid+GAvp20Rs/BNEAJgUlCaep8ZSlLkWYqunFU
4AM6mTxO1yPhCV2BfNxgqCReeCXeTaVBJs9ZHiAIeSkEn2Y8X7yW5jEIRZSGg0mWv2ZgKR5qeYo6
u6Kls1fHyWoRyBy0yRHkvA/WXpioPxve/T8up/Iqww8Hy/8bKLXY5GmZDJ2hFdYRvw3LFn1BmFV4
nz/+0gv9IjI0KLKgM+fyGx1g3ubzVR4rsUpCT01PoVd0ZOldyr4yo2ZbVJM0OVrSNVegdCV106it
2sOWNMbYho+c00tFddeuUrN7EgtglA5c/cF3TbW3EqdABI6k0izuxSTX1mTI8ZcpNYzc1tqCGncg
ab5g+7pnPpCQZY8FVKphNriuLLeXh9odtSF+iEhE7mGJV6LbJGNL0iuE3ZXcRkiEJLEnfCZtljMn
CmvrawihADctySjQMNL0InUFbA/3KiZfp9yaUmpMViYKdo0fC7/MK1rfBUan1es6CpXRLnA/ux+R
shkczqCgO0GR7xOxFH9+vOTv7DO4ySDRAP/NxsBL7kGgdHrdlU1x8i2tXZcWis3WpAiJPROLHRUp
YkfzEiw4o+ha66DX+lERn0qvudTWe3t3oaoDKmjuU6JBMIOMXqPE87JIDUhu0Uk0Ev9m1P3CBsVR
XbpM5n/N+e01i/cAZyGmmImZi5dW1GpRqmIvOvXgubdlKJo3voGAjiHhKoeRYbz1zLBeha0Q7KW2
N2w2Wu1+vOhvLxPke4A6Q1eiEoEK5GKqXqKrU66HJ9GqrB3N7OHUD5V4hyb0URmH6hJ++J3xqJlD
RQUDTXCzDDkL8KxxPg3hCWyh4CK50m0neX6JNFRJNT+41I17C7DgHZ4JSQS6dINJjc4nSFovDHXI
txyAnW/HetbKrlV/xfnXse4rS0qlPYfPynXYiVayzj1TcQWvk20V4StnMMLsgDdRfRXgoOZGJA0X
+mBvQ735F3KPk0mRty2XJFPRLKMaFp1MiU+gIa7ljAyPSNKAC0E8Dc7QteUpCy+W5d/Z53RZQTXO
yTLIueUGLPFRhtwTnShT4alBkLmmmnip4f/OowmpcmankQEQdy27U3ogDmpn6oAJDEpXuthIa7qk
41qjKLvx4R2ui85Q7DjWq9tRa+NrDS1+NwtExe1BblzY8fMHX5w66sKANyj/g7kxFhd7KQ1lJUDh
P4WpdT/E4zPyYUfd8796RnRX593TxwfsbchJHIjLBGwTStpvmvcmhRAjzPP41E9acaMLvraHQvmF
sqV0YWJvk0ngj6Sus4YlWflSl6TxPQ2FHjk7aZP1LfbF5sHCPO0u6uFcV1Ldr/Aq76/SRgLOa4b6
6o/nScZALQDCJa6h+mIvmS3a9TGdzpMxGeJ1WlH2K0QdmWPkXC5E8ZjCvPmGcIQUyuizMfusj3V+
qPUCcPFkedWp4IgWW7ELkYcy0ZcHcl+nq0IV4sLJM6X/NmlI+208gTKkXbZR/j3Lk6i9MbwEqk2P
oSV+3VORxhAVcu0gmaX/MErC5K90ZZLXip5DeZXDvjr2GFCtOrENlBW+XskdLA4Vo4JKF79LXa8+
R/gXbzupqNRrHfuj70PsNYUdAorWKfpRDUMgrc08zjIRgetXZvjVytux3aCpo556suInU25VmiFt
qD4M7ag+ZT4Cjs7IAV2luoLteZMY/a1SZFY/Bxrj3oNpNNodKf7eyiKE6EkzWtvCsuRU+4DHM44j
wpDg2K4Rr4BSh3wEagylqnWtrWhFoztdnxiHOtfKnQH/YpZrqDEwG1oZv1E0OlLBxpMj2Y4FnwEB
Wz6xHVDBuzLaVr72qW4e81LwnkmAZ7r90IqGTXDRfZmklp7TpMXJqs1bcQI/ZwypE2Y5/40IZAb9
anGGFojoIIibWCqQ8/fzJmgdETt1dC6bMSDAzHtjYwk0m/gKtAQQ1x2n+8qPha+l2YiNk6kSnPfA
KBXLptE0mm6fRzLdFU0pNZd+G7qkRIyq6FKCild65hWPk+bp8mrsSDCdge+mPwhlTo+kqKGW2Jkl
tjgxWAj0u7US6J4bB3qCx0RXZY/c1E3utlBdDNvsJKFZ5dSiTLvpy/EGOzvrKaSI++R1aorjlR+I
/IuqXF9pWD2Utoh/HI4ZmeyFbqtq4VVotegCd9h2nHgjZGQyExOyrGV0yp1FcJnZRpKTm7Ixsq+Y
cODwllOhFoehXnEFaAh1IAsOPL1xfC0cXHlCjMQZEGgFf98Pdy9m5fd6HVeKDQFAzSDcGnHlTGkV
7i1aegdZDKLGzfTJv4YIkO6AOo3fI0qouiNPQ2puI62dRLsWDCWy/XaU1rWUpb9MLfUie6Cmfqws
z+Izmn7wqeHgfcU00cBPwCwfhGZMfrVtktxWqh4CE4ZvcDOIpWy5gl77T2VT+4+0LAXdNYtMfJgA
Ned2XYcntVdhvyZlnriVApTPIe9KPxs50iylPgYbFGWC1lZlSLPUJsQwdcq6GD/nI9k8SxRPulMF
KjL9vpzp16OFXQaqUEP1GNUFehSxLH4r68qC8TeF1b6sKqO2q5og3Z68Ttsh31k1TmROwbpQdSFb
RY26qsYmPo3opN8VUtgLKBv4WIOH0oSnoQa0jBH0PvyWCaZ+70+Z/wRzo+XsC7hxXsN7mz+0dd9l
pv7FoxteEfIIuPwYwjR8o4tKzo5bEO5auq9EbpUkukUpS8pL1xPiTrd9fF9+lqbV3HRDJG/NumcZ
xjJwYkxy3L4Lxdu4F/WfQWVCxgryVnkUlam/53Ow83yKbjjhCJg72bmfK58h9fa1a4k5duNhorfH
aSDMP8b9JGFD11jTz0GKpfsWadmfvoyOJlLVRXGw/MTACKaengxtUOmyIZGF1E2XbEbf8Fe+qmSU
aMtieu403a5T4a6LrCtLTEfIPF79U6dX4aoppGgZNMCjr8Z66bCx5dxWYOrvBJ/MBvy4V16nsdqI
pHfIO9uNKY25Pfhw9h3ZHMVnuSu9B6K1/uB7wvgZY4zx2sqI1m2h93TCSepzlJGCcvwVmRaMd79s
cQYfNG79AuFEwZll0/lkXhJiJJGXpWgTv0S+q07sPe64UPZt7snoU2bG4a3YR7nk8u0yXHfMRn2s
JM0bL5Rv3gaCMJ4IFSzKbi+MhPNXrYkaQSrjsTx5eo0GT63JTm6aSPtaNNCjRLDctu/Gbetrl6Ly
pcoH2e5MkCdnpyup43e0yHiqQVdif0zaU0xyHTkez+42UDN/hfWH1rtibpgppdkmie1hHHnSij4a
ewfNncJJsrq+rz0x3slqJKPhiOXOtRgb03feuvpqNGpMDVEh8FWb2mqFtUeqNfcW17ThsiAtsIK+
Ck+Jj2SSI8vEn7VkYKVC0TsJNgGWoAL7u05iRx6oIiM8KPmfWqRGL1GQ3wLSWHXK02REAHpJQBe5
gqrGkWy1UnWS5QLOfTTqn/pG/Z5iHnynWaW4yqs8c5QyCzeR0jdulaaD06dGsiIe4RzoRgOKoFFu
1b7j+UzQQS1qrIXhEch3cGC6TQFwfoOGlLzq1cm8aga/2FO38a9V6ssX4sG3kedcqwEEy6dF33Kp
wBzxyiFVplWnbmI14zFHGTZA86NNde1CSeptIvF6qDdBriXnSJQLRnUa28BfKWGP6P80XfJUfmdC
UGdhTMjU+2gnzL/iFeZ6ENVgxHM4O3lC8b3vrPbeN83SUQRBe/44mH1nPhwIWAz0+GY75cVGKIDF
t36o56dqtn0ZKO/aGn5emz8ehQh2TogIZmc95/P54PhulnrnF6dg4IlrEhRTYl36UxoDzEwdXiu0
/pnDyAk/H2UUBY8OdVd+jnkpnLxVQ6doAF18PJeXJO51WsUILBYkwlnFblbLOx9myhutGWWv+5zb
39zSru3Jzh3DKeznYJU5FwEUy72wHG6xdigFhN6gM5zoaDbuXW7thCthxV3OWNHqWrTD9ccznBOY
5QQp6AOUQAGfe3rROyAQAEuDzcVnvbDuG4XIXCmipyRufwl1fqHkutx/8+xej7XIbzzIzbWsCt3n
Lr1VtR9hdPx4Li9ss48mMydYr46SLPVUEQeW78ayS9uyG7ddde7Vk+pA+7QlZx84G642V14HduyK
9gWCxrIkQPaG3B5p4qx9Nus6LnYLVBAMC2RlOMVlJkrYb+UjZb4Ra06niOX6WooLIGVFFjXiKs5R
RgNMNhpI3Q9ioq7IGbT7RKyn7EISuyTEvvwu7hdiYRqViKsuslixgu4v5OV48tJw+NJKTYs5Hams
IQTTVVuqnpPlirc3csSSYFvhKJLLno08fY8GbKGvW6uq7suy+9RLdXKLq0/jjqXouyjqxvuPv+Fi
j7z81Nn0hA6TNGs6LZZwIr8kqtOHkzUZgtuOJYiSgdTy41EWu56jLFGY5DJ8EQNGm+R8o9Rqpwhp
1xqoFgXmpzAVRIQA69aJKbttPb3/WxjvvxxXOK7cGB9wXMP21zm1lf/7PxYlGJFQQDJR7oOLTC2N
2+639ZUABu8vXvhZ1wgECmNQFXpFbrVejIGIapBr4CH4N7lVsv6iGAdsZXbcValAG39Cbl3AsglZ
yQspO81KyAaHR5trU6/uk0lLDD+xhOIkCnMxpQvEKlgNinKdTGQDtjcZ5V2DnQXJuDxSimk7HffS
SpY29AKm3h7DIQLelE7+bV9Zfkd6kPY/cbQydDuIeCHFsq+Asxb1DoX94AlMS/xbY++/O+9f+MZ8
tPMewubH97DK/nalqs924fxH/9mFssoufFFmIF5Be5o3+Z9dqIh/gTdCH/dvpjSX1T+7UFb+Qkd8
Lkjiqw4wei7m/S/FWvsLsKFEl5jXk9LhH5mwnV9VYLpng2NAC/hH01B5A/viNi6LrkVKXRtyYYUF
m40stI+GFeL1NAkvkQAWb9g8HrmSAnOTCJHgfQnzrlScJSQrQPcwI74WIRStZKwanbrT76Ze/iZK
SU43oYk2gveQpl8Ev5xNPOXxQhj50tX/92M+g9lnVMMMd6OYj7Do4o5GkIDmfp3ndwWuhWiPTFgq
opolpUNwU9bf6zTzNgriFXauBsa2qrRnv+4PuGHA7hpa7S4z6k8IiGQbgGNHAw0/e0hVaS+r3raJ
RATU87R0y0qpVri0KG7jd+HV9FVGD8nO8Je4EBv87geczQet6FmnGGcyLhM4gueXSaGVQaoNpbxL
A8fHubECbmorPzSujLBeq/J1K27V5FqNr/wGiNs2qT+hXlw9WMVV1FLn2mqCo//KqSDYVbWpi++1
uZrkVUW6HzvMF49xu97luzG/jcK1CfMAsR+B+qztq6628q/00lUMx1cx4UO7xsZ6Vs/W8k8N5yVh
rQf2dNdHBCfb4FH6loD6NDYhIcu4w0a2L6/yxBnvreyzTgFUyX+gSq7rW5TKjQGpZdfb5q1jFDSQ
XQxFLXGDsE+LFFW1TgO3xVDWcFHMH9AVBt0T2ikGQORtoVvs2wdUzvHSSD4VJ+Or8hUTlhFZEKr8
yEA5frRO68fYtK3IzT0AF7Zwi0Do5gmPQaoihi095p+ER8u0UW4X9fWQrj2EpeofQ7PqZDcPdhPe
oD/CCv8Op1Pd9KZwvW+luNUsOAHoOdpxuhkrSsi2vIt2xpXmGgdYlUpre79qYw0EHBOU/MZ/4qtp
Byzi8W8fZ4luG6SCDQpyo26wrYfSvAsfJ9/1RqCZyGnY1n3/eY3H8S26y3ejYWvH/KZZJ7fDF0uy
1V2WOQ3GDL7rP/FQmM54Xa21K2+fqMDk7JgSbrFDbmhAjOuhE2yJVrdLEzW+t76iT3k7fU2fMiyO
N2nh0sHG1cmRN/0ztAgUXG57x7q1roKV6NZYEjvFt/HKXA+f0TRyPIeyrWtcYVldgi9bIaQcILec
OsVz9GwNdvScjXYkXnWmo13jVbvOb3rKWpM9PUQ7NXdZ0K/ZRnPCq7Jx0fVr15IT/4yvIEBEG2tv
3k4ba4c9ypX1q7tL7qxP8FShdSZ303eObbXyFbsEO1/Z4YO0yj5ln9TYsVoXH5VwdpW1ld7RRaf4
O5X/7zP4L16gD5/B70X7/X9mqZFNG2a/vp89g/Mf/VtnRLP+wuQT6WY62HjC/TsWo3mL2yJ4ToIS
mI309P/9CIp/ERuh8cBfMn9qJoH8+xXEMA4MwExXBrM1i5FIfxKL8cte56lUD8lbSPP5G48B3d3z
27NXBkDiqFzc1qAPIig7jfCcwVLavlqch9/X8WsBkDmi+/clDTxwxt+AT2SaJHC8uOfD4Auco1pb
mLdCUyQnqACTqwI3vquKLHtEy1B9xEFUBkyfio9loOsXmuZvZ2lBVEcOCJ8CNF6NRQIroLNTa5nm
7zJxajZSjKdcOvT7j+f43iAvBTTCCWgDS3huIBpNkkt+sAM7i1v3WFZOIleXAolFKYOVnJnjNMdh
3M9/n3/Fq9hZwIXas8Yw2Im0KGgrZOlqMidQOmZ6SSf7vQmhcIl2AagW9LwWeyNuS7Z11Qa7aIza
H1ZuCuv/S9p5LcmNY2n4iRhBb27TVpUqWTLdJXPDULckOtB7Pv1+UGzsKpncZNTs3HTMqEdIgMDB
wTm/UbPaELu3rxvau9Du0f7W8WW5nlEbudbkdcxo7LP2GA04rgkr3YLILvFCcuFIu/j+fB1SsaWI
etw3haL1anQJvYI7wCgoORmqRHDoP4dmpHfU2O4R4073NGCse+jHuTjWGMa9fS/SLQBtSUtaerIs
alE0dM1AQTfwEjUouUYufINudsS3+4t6nd7KAycdKChJgOwH/reUcPcmvLhHehaXKlV/DCCpdp5d
frBKHOwnHZG5+6Ot7BTIi+wTQhUZ2hIC1bHmiMPb3NWd2XGVGw0tZwR+7o+ysvV5OqpS15wMmsld
b5QAUXNbz+rkYsxjcMYAijwzm35iHrYFQrmZD+7Q2Egh64O8jzQ3uR4pS2uNBlaSXdo8DcAssnke
Aq/RNiLGzUdC4RONdp7q3APyErgeBrB0lrpOScSYs/hgh1n6A/RYu7MRz/6A8PVWjf92WuAuoWzx
gXCBA3F7Pd6kQSilcRlfgplXDg50MP0MsK/3P9PtKLoNs5xvjkwcGlpy1n9EqEp0A6aItLRHCJyP
cwKvqSjTLYbW7XmGFkkpEDAfR5pSwiI6FdISqHaC7FLaJnS8kaZ9olfjD0AD3ilqQ/1lmvsPhls1
v8q+Ll4CvQfROBfT6a3TpVvCadYh0cjotdgrsSWmQovy6GJG5nSMOuVHAN/78OZBiMPSyBmGCRNe
fDnqu0VXxRwwD2fSY5DX8WFyeHj8/0ZZTKVowqARxhRdWj319pFujrsQAdqNUW6OMVeKPFzkHTzd
QJ9f7w9vGl2hakV2yRTdPOBlM32jq98dXapG7+9PaH0oGlq8C8mZlvxttXAHF4gz6IpMsz8ZRtQH
uCwO7WsKLnoLaCTDz1WOg/oT1z4kYlm/uLGVmOsmnAqnLC5ZLd6PgJ4eq9HUd0E77TW134tKxVc9
H7ac4W6PG8OiNsmhllFk2YY00mnsW/r9F0xoFfyvYggYU7rlYXG7koyCqQTwFAIi2/36o7kRulOY
IxeXCsR7ue91pcveVXMThPupRU/z8f6HW1lLSpCSkkx5EHa8/Dl/xBAHoGHTz2l5cRpDQ/29msWr
iOwuOGXY7vqhM7s/JqWzL2OpxM3u/uC3YZlkhJxbBXdK63o5eAjvsDBGp7oUbavlhxT4ToizRJ18
RTPf+BYJFcLR/SFvlpfMB7w84QwSBMMullcHt9lUYdbgEGqByVZF+H72EuTd0X3bUKi82S8MRQLC
+wMID/fpYmkVlXaKXRbtRbK8fpngOP0SMs2W8dnKjMhvCFkA46nYLXsjw9QhKpCL/jJ3Wv8OEEd2
yjBGfgyVIPhyf/FuvheZB68TUjrOOJT5xeIVXorEkVV3l9rNmgOivOJpGCtw/q7SPpha625kcCtT
o9rF64uEFeXVJa0D3BksLq/pLorOhCRZ7ZDX+UBpYXQe7k/t5hzIqcmKO8kBugRL2jxbrx5VaLgX
qaH3fVBFsldC2nyj5Qx+PqNvizVPDw8QtuSGiwyk/GVAk4ODB+D8SS3MpY+MVSqmwNdGf6l69KU/
jM6omMfGHSz3Q+jl9XiSr1N9N1ZQHJ5Dr9ZNkJx5gXdHUnpUjBKQ8f0+0zLQpHMwqzaCDzWQNXWf
QRsAPtsZZKLIqqvKI9bCtXGwYPwXu8yAcHWwuj54VexcIT+eDPSX0jIo9QPqFEVzhnNe56iYl1Vz
6CisjgdTHdwY6hTQim91MmfTvgyy+bPI9Th9n3YxrzE9Lhv7XR40cSJASKVl8UmLOw82dIkR36nu
sy75Hqf90J6Mnnrm+6gDCPWSQm74ZTW11u8iTyjRc17AwH/Uc69rP3QiLBElscKs3ZmVLdQHo83U
9JCYXfMlzGbHOWQY54XPrhsIqJqjAcPKBimY7SJhu/1zrInyWVVH8dq2Tm0cUZSM4r/sCbyfhnmD
8X00JqH7UdqU8QuCVON0jPPZ/daQz39WdF4O59lL2+jUQOUKz3M6BN1nkVap8jwmY+I8jm6ASNER
HE6gfUgGzaooS8EhfJnNXhlOwO+d74Y5ae4hykAvPRZ5I2FkI86BD5VTDvOuwoOQpiSUcWfXo2/c
PvZmEmd0ZIbExfdcGT8p/aiJQ6lWyZe6zcoIHQ8nK46NWdqy6GfgzRZ6Qfy9jCSCpwKWEe1bntCP
ShumyUFrGrXZlWMG+TdLg+afYNDtj+0w8iLj/PZAqlqziI5laVL/aoU7w5AWfbyPW0L0OYiw4jnM
tlKaF0yEreGUzs6A17nXcDCPERmi85IZit3uK0V0zj+RJcDOKqnThTSWhFW5x9KZjXhfKB7KxrPb
/GPXRanvAaqK7mQ2Q5h+SOtYHwF7Zar+beQdFP1EAW/QH5QYn7qzCFTRHHGuQ+8gCu2oO82jieGb
YyVCfQwQR/VOjZUOGrSY1IEFyisJM0hXjarxiXJ9Yz+mrQHNb2cJt6Ns5/XtcMjbyoC0k6qKODQz
sNF9g615+85G/AD+vqhr9C0mrWpO3oCi0ylOjTo+4k9QDk+YTVVNg02BNebvXGuQZsuKxXZP+iaL
39VNLpB8spVW+zGA0ctLFAmTqLx0uIoNezzQ+/CYNVWgP7ZIUcZnKwlK5bvdZ0W+K7FFwfJHVwtx
7psY9BwdPfsD5ZsItXZoFJq6s4MqtB5teh7hCV/2oj7PHSjnxzjl/7ybEmTOj3ONtzwIkwGPIdDi
JurVvaCAOnFNBcehU8v3dpgPACMHqkovTV1j6t72pe5+CYVIs35HvafOX2cNje0fs9bm4ZcJudsB
wKQIxxJqkppF3SNmDEjlYEc0Gs33UlRW+zHltE/PSsm1ck6djIIDZM+2BTuHU3ZZH2bULX/0+Oe2
/6hhBIUyPzmQEmuVvThYVPfjLlUzX1F7Yz43kWGJzzy5U7g4Awegl+bLbpd570DfGmcxsV6PtZ1h
TbWjyIbPdtmGFZ34pO2K90OWePMDeDlTfIA6ZHnYi8ea8sTR8jp8sumhPNRhhluoXUdu8YJoypD/
O875PL6f6tyxDqpSF+64T1TcD39O9VT0v9J40vuPXlqErZ8k5sxLmUzGOJc1loo/Mx2YZUvos+b5
L2kv1c87VYGI+lTBUa3/FcWo1u/VIsvjg8omSI5Nif/RU4asFAdLV8VHpTFi5yyG2ZjOWtJlsPIT
Te8uvWR2nNpGhMWvrMqwY9lHhOfERZ2dTLbbI2lkYHTqmP9qsxN73wPONRj6Rq06MNcYi+yK3NXo
mtRp3BoPCQ2tCYGupLDKfQlNUuzHwAHlqoP2+9ILdGOfCXhOsHOjJEoPih6mftGMXn0kkXTNg9P0
3msWZS4xGvjND8/LSx0LXsC077ysAfA5FnZGx2scXHCvlYIkcaT1nopezFxiKxFlDp8N9DNU9Fw1
f+UthrO7IbMqXBXw3BboFiTxN24Bo94hDlvl+1Lpoqeohi4GxN2gJaNjppWdqkGo4PVBBAF87cCO
Fh1SIn+ZbRT9W2UDfjVqTyB6rjQvJ3K6xPaDi3+Z6rdWLhC9yuO8ObAuhXqY3NEs904Tlj/o6AXa
ocAmsAT4OlHDGpXItN/nYzbXDx5yciDFRqVK21MgIm8618HsRc/1GKm0IYpaM8bnpHVCHrAF/IND
ptea8uiOvM72ag0wfp/3NtzVua1QOtllYvTAAyeJhi5XVyXEPDuzrA9VPSbhPtS6/GPpkZYRzNV0
eomQOMG7orIa82OXu2H9vq5EwhGLEXCHJDXQuiISNIXvYUTBAa8HzzmYVmVXD7E2aMF5cIpBf3Lq
qFc+ZEaJrElWqSUNJ8t+HwlqortcH/A1ScKxi4+C1O0bDkBq9lSJITB2jW4k7Y8OXMAzDqG9U+3i
SOjzmfhiJfu2S9N+3Bk4ebf7YA6s/Ew/EbpD0UeBeU57spZ93xeqviNmd0iqaC7KQcbY4E6luAmm
EyZitfZBOKgwYEVatbb6jjIWYteeQhnjVDtu8mvq9SR+5F9HCc5s2temLse63/WjvH6ieizTvVum
ClT2sRh17H8tdo1l1pnyMTcqGMvONJXWpyoMwP0jU9QQJho7KrGEyUX5w5K5yWPf5440U4kSiiLg
RYHj6hzT4QxnARsQTR2xqinnnJgVUGntznqGy9jOBDuV7bOENP1QD3aZPnqtEr3GTlZLmkzhfMoB
zru7CuxzcXa7wPsRxxrKG02NdhfbAmGNHZYS4XcwiVX+MJEG5ieRgM7aGWGbbAEIV1NwiQXAKRaS
2FLwwMiNctZRBroMbspOiZUvVRLVSDNNWwY2qyNJeqkGJ5A60wKrYuuzxJE73cUrM6w7jJjdhGbK
nnluVZJWh+KJ/Zs2bdyYGuVDMWJ2YneXGa8rsj9V/aIG6vwUN2a+ofi1gCNQH2bhaPpI1zspZL9E
xza63Q9hrPcXV8G4cEealvgzskFPmmGHF7Ub9fxhLB2LgIcEqrkrw0z/6VR1/lLVqfahJoPSN97A
Kw9T9CipiINPApyw7GyUiDyp1DL6yzQUkE6CwXwy+zjYqCysjWJQRpMvRSm1sPiec4zN4Nwyytxj
MaRU3YgJpWYe77/bVp6ktGboc/2Wp0XI+rp+EUdj201g4S/6QLUkpopxVuukenSgqXzpmiZ585OU
NN2iTwPGRLLq5Nb6o14yTF7UKK06X4YEHkDCh+JeUKo9JJny8NapsWnAkFHfpbzLP66HmhonL2Yo
UpdErXl5Zk2ja7vSoCV1UFDuCvYiGbMt5fPbdzAPTdDcHEPE+aCfXg8aOlkAeST0LmY3etMl0awm
PittLmpMhNygPOIDnffvBTa1xUXQO3M2NqfER14V9/iaknTNzcHFcUN+7SJdrbQuVi62W7tPA4Tv
Fxw9eIg2mH3skoYH8iFpgtjcGPd2u/4G5HuSguqA2VvgNq3ICqiuFMFlBhF+RL8X6lHBtXP/m96O
gnmObEqhfE2bdBkNVD2YRrtwg0uQtvNpMvXoCA11q594E98AeoPcotAl+SowmK8/ougpkKhe71y6
Qqj7gNYV1nBAj/iM+sb5u5nQYqhFSUhtRI9U3uRcnKHTLpWauy+Uibasym9HMUgwaMXKE8HpM64n
5IZlVpn54F3KRHEeq64PdzhdtBsR63bZKPhTiZQyHhBOlgXe3hPIuIg69Ms+GhCNy3TegmaljDtR
ecnrG3cC7RS4zlJbB19DqN7XU3J6B9W3zAt9RYRq/ZLTtc8uFFrN0xvHkbUlIhaK7lJ8Uvqv/Bmw
5llPo7bRuMBJqE8VCOtvuRHNG9fc7am9HmWxDewqrsLOI00wMvUrrMjxqJux95ApRfBXkoiBWyYZ
NrqUN2MuVnBxYlFfz7xIySK/1TED7nPlqDU/FQexGSew5lPjhu3GiGsbhBYUlXlo3IBM5Db9I/in
Y+vG8gHhIzgjur2eDtkTIlt6/DBYU/TvGz8c5Uja/pxfKrtACeWP+WOwSR8SBbp45MeZo/mO1qYO
WT6Cm/eHWVlFADMySuDuBdhzcYHCroxdLe4jP4/s0E+wI+HxqOUv3ZwFx0xvpwl9i8HY3R91ZSUl
TId2OZJupAeLUSn0pXUBK8l38iB/rK08PqKN5Ejn1a0MVh6kqwtFriMAV1IEPhrF3et1pIOhaWU7
R77Hq2hXKxDiJkwUwfDNgb6v9SLeQEquBCupO2joPDjIEG484EKkoKxCj/wxM5wvoWtpX1PP3JIz
Xh2FtjnwcYMAsqRqqNXYlSPG0L4261XzoFj4jb9406xGbw0grJ+swas0MegDLxlEPd6ASLC2sV/B
3X7URTMfkd/cUl1Z2xBcjAhA89JAhnWRLZZtEykTGFcfAFH44IEJ2dljkl8cYW+lOGsbgu0A50pi
AmgEXW8IUU8U8IYh9i21/tgKj3dgLqGnZveVXvuXt2902VZA45SzxQvqerCkiJwa2E3s540wX9Rw
qP6dm7HeG5O+1S1Z2xHkbcR7KTJGg/J6qFzkojBawfNCM3BFaus+aF4Vz4n6v+7PaXUgnk+0YAkb
N2Ldwozj3GjN2A+CHC6wrTj2q4F55htNIWR44MI15GXMgxAVjesJCZ79WNYlCao3affZmeyxPRRz
Kd7oqcA40lwFczKkXoCvLR2F5ioP9LljQzgRthBhpOmnyXGjT29dNVrdMFgx5sJFmULu9WwQRJso
l1Sp79bj+CyqXn3O7FRskJVvzxHpKWgkXIvhnYC9vx6F9g2KQRRP/CYUydcZdcST1RWAkQSu6/v7
M9oaS74l/rihEle4sOrn1O9jff4AHNE8FI06HKkXbym83W45m72GUCWKnCAMfhPE/hiqo18RhOMY
+21mBK9CCbQTLTnnrY87WDyyKiB92hht+fjJ7NIw6zhL/D6NG+eo2Vh5fqwBQvV7L51dYyPfXJ0U
nwpUqAWUYRkbVAjTjtUZxLxhoEBN/XrfamgT3P9KMnJe339ghAgInCMJFlIXO0KX7wurIywEfTxS
mwR1UJE9W/1DrbrFc+cOyXOiRIpvmsXYnEYtQ1ny/k9Y2SjQoMBDoSJGHuotNorVJFVhTlXiOw1N
PyqIMxKxXZEUn7VQyrXcH03+bTcThg0qX1m/vYaut6UZmuUQKXXim53RnCjKUVSxy3YveeRPdtK1
78K80R9qjwrT/ZFXPigCBvIJyX0s/3M9ctzHsSfQUPaTScAjqLT42A36tLFL10ZBtB4YFPAXBP4W
cd5yR9ohVZv4SDD0n201ibID/2Mcbhzv23sSoVPqHHIZeZQvN05A5T2wRtYRnbr5k92a5afECcHf
B+SIJR0sb2PAtW1CuOfswYwDNbeIkJmDpW04KLGP+LRF0V3pT6JRvKeW+uRGML7NepkbOTUqgmC/
b3K0PJ+TKjGD2E/DpjtxJkJgh5ey19XXInH6QzL3WwWG1dnJD8YdYEsg4vXmGOgniliJE9/qNfME
+Sd/cpRR2dWG05zv78O1E0D1hHQD0je3jn49VB23PMZG4lgXt+KTjd3Du6pVsqehzdVDr1mJtauD
0ntqUqc/3h96dZZA0OVEqc5LcuWfd8JIY8+0UEzGwMNuvhlemwA2b2Y0lyYDztXGUVjdoihb4alA
fCHCXY8WRVk1ob2S+G4HRTkojRIZzDQ95r2Wv7PV2fx6f3ar2+aP8RZZalbW9Flow/jZgLV04oif
YacgL4ls7ROtd6S1U5FtPK3XVhSiHsAzVA9JjBcrihFCNHiKbLQFAWJGSeQOEDm7/GsQQfvbiJ2/
SVzL4PnnaIutQxeE/nyiJ75WN6V5GPMKQZ8eplzSJeM5T/IIVAR9yal1O2fXOEb+GcbBVmaxVMyV
KRkmnHBgKZwDuFu+Sr0gmr0hRvmtHwbKY7lw8h9VGtHeaB2DBmKP67LY5zawB5rwxfChxoz+fReX
4UOGkvDjiHfUMcJL5b+J0P+ntO3aDtClLjgtEQ1P8kWMchH4sbF3SfxJ6yI48MnQnHItpV9J3bRL
z0Pu/MNlX268KVc3ASqE4KB4RqAve73RKYUGQdcB5emsxp+RUHudk0A9VsJWNmLH2u3CS5ksSyKz
b2y1K1epA7cldhgjzjB9kGOKO/Xq6f5BWotQPMUBnvxOTZYw27ZAkLfppsQvKNSjbm43nwSt/Gfd
HLKPs9N674zAbB+0Kgg3UHmrK4meKd8O7UOoP9cradapWja5lvipl1pHr5mrY6j3xhM17mojHZB/
1fIsUcBGRAQdH2TBjeuhuMC6mDQ89eex/pl5bNW2qeafTWXoX6lUTOcocqevhVtkP0FtNBuwstUz
hBKBDusIDDA+G9fDCzWs+JMg9WveBGfU0ltYEHOCjqU+lvWntIzbzyiRCXBHg/ZjzKyvU96bp9Lt
jE+1qoBfiaxh/vr2Dw+BwcJKkL6QvYT0pdNU08kkRVILg1JPjXHYKSjn9rs+TD2FBZF/o8ndfFQ0
3d5YkLU9BwtE5e61AQ0vs7PBSHuvUGm/OUUwOPsocRI68gmwDRSD1AHnciDU405DI6k4iMzzuo2j
tRY7cCyXrH8DnOGyMKQgHs9joEl8fUbDqwIc9jfUlOSijQqGBmpknb2oN7YsJNfuSODf0B4oeMgz
fb0NUDAdqRWUiS+wOgp3VmEWEksRKS89db1HI9e2fO/WjhiscqoDrDbZx+JWDqdoTAFYJH5taFWI
EhMs5oMYFeSyEJASW9nO2rKaCFDBVaEyS+ZxPcF+DtTMRWPR16LaZZyh+gftNZCHXhRHp2EYvF8R
L63X+xt5dVmlEQC4J1SCbhw9yrSzY/h1ftePwHvmUGTdTgcCdJbcuu5kdFrz9/0h19aVlynC9TyK
EP5YrOvYJsWEOhdDjkb+4kThOB3KOuwh9gZm+uE/GAyxFaC+NLB5tl2vahzijDLlLY97qxavVkc3
8lSMsfindtJwS5X+tkvOfc9gGC1jMUr/b1EPHr28qbB1kUqvvGOUBNVKhb75EYDQvLe1cN8LU/sQ
q01+cBI9OkyzQ7E6bNDnVsZoq2S8FrjpmHBDgPuk2LDYUbJv0zlxlgIF6tKvQda2flpEdNHId1zf
SMfqpUPAz94ZwICeLZeS5cbVcUu6kQtCrAIMzE1FDL9e/grmSWUp/IQ6bcy9pzXq+Dz31nTAH2t+
KV1Pke6iw/tWa81nJXY0lA60Dhz7MGy9A9fiJogMqtY8yegoypPwR+2lD5OoMsI69dHTd0/0IRBT
MOeweteV7nTqusj71xwzcSkLFDXvb8LVdFQSSqXmN/L5yzywqbspFEoq/DyjG74japlfWjfpvii4
FNd7e2qas9F36E3OQ9lK0btqtAAbQMI93f8pa1GG1xRVDMgDbNTFnkiGTKQpjnS+htpmj5Ue1fC9
iWkQ4pQT9clTm4bBL0UR6ryR+62NDA1ZR0gC77ybMmjLvHIEGGGg868ghoAmZ3TslNb8KDqQcrsa
/CT6Cch8baz+WryBjCobNLCnsWG9/vDm6BWTiUGVL6xCPGtjNexNNa8+9nrsbLw71uYI/Y8tRmLG
VBfPDsWeoxhkIcVRwDSnYGxzXGM0+xGcgfKuyaLXJO/VjXVdn97/jrlIzxrLBdhc5qmvUhl7N0zh
R6Bt+bugKLPH+3tn7a6gakmHzaHjAG/zeiELQMqVCvjND4rKGXeDjlruucq7zts7eh52u6FT6o1s
Z3VMeGweBRwAJMsAEngGjJapTP0hBx22M9u5U3accMg2qeEdcRbduvbX4gQJpUyuMO21ljXaUYm7
KjX01B9jSz0GWYmknZ4H1YOup/a7wYkj9Dy4JQ+KV2+1Clb3DxkVZRWZbRvyz/+IUVHvqGGvs3+U
sH4qsL2ykxEQmd19UGJcVqZsq86xGpmQGvifERcBOseuTnPHJPVzHQYAAnxoVZRVcATAUj856Nkf
Zif/mqGNedbbfj7HUadvhKS1p5p0KyS7B2ZGbL6eNDVbrQErnPp6llvnGGOGnYv23kaNZfWz2h46
8bKHStXxehQxRwZebU3qR7mTnixq+7ip2C7aPX303AOROfXthD2tgiv125sZMMj/d+jFV7UjRLeB
29LMoJel7DxbRH9Xbgz0V3UkDeL+KV1dTklYl4eGdufii4Zx09dmI4Q/KTOaj27fk1mV1TBuVTfW
Ag+4bahvHj1VZ9mj0VsK8losH2YuSsK7xLbG9kR6m1FQqFVYPffntToc2bjkh6GZuQQSlHo5x0no
slNtOg5Y4IjqMzD+5pdiB534D/YkbzvZSJOdGmORNooxiZR8Vgh1nSgPDYwjXCfHaGNPrk4JYTNJ
VKB9suRXw21qitCLhd/S01Axcmlz/WzkUftpaBy32ahLr4VSUkFI1GAm0YRYJKdKQ0/P62rhd4WR
fmrNdvpaG170BUUP0903lBD+gyoTDzbZdwdoyFt1kWwEuZYjijAL33IUhxw/K8+91wKNF5Br9kU0
me+roJke3rxRUBvGcUQW4PGMWZz0FhcX18hJtszZwKQSAwVB8xC49M5VGn3jfbGW4cKJ/P0YR6MO
NuZ1XCFiB3atU/2pRQ7zDJOZp9gU4rGa8ulsh7V+avUge04AQpc7q1arg2I2zhehNfnGblr5vh5t
G3aSBfuPd8j1L7GbQBFEUDwZenMsH7s6AOAeZCrUhTqejb/avG6+3V/qlfsKqRpZngdFyrZaZAS4
2RJW5oGcjjrrP1oRwrqrY/WYQXJ5AWIanKDwOP1GJFiJcJQtJcWRs6nioXg90SYq8TZAqtM383lS
DnXktICsB91Nj/ent1Z7IsJBf6XIIxVaFrkVoGdHKfIaH+96MtOjVns04DACE3/PLXLwkpSUPCRY
pya9lRxJG7JDVIUQchHsuASiqR7sfFTe3/9Va99Zds0sTjE55hLiOSOJX/GCznygGtqxxedX7BSk
3M9QAdVHwO/l1/sDriUJaOjJ4h+uYJzmxQ2tB0PbZ8g8+2RAAYLsrbefS316ZF8MkheGaicNYLwh
OkgaKiv2l6qk+ca01/YaoZLUk34Ml8DiXqO/BJjB41hTVp3/iqv5u6uI6UExe+dTacX2ie22RdGX
O2lR+kRBWXbrpe7wjb3PmApTGeg6+25mTB+7ULXndyXl+3rvUVPAPUB8hu+lTEBSu3DaIYxkzK/3
F3/ta5MOUsoGx0xTfxFDywFqnIWyPJ2oqZbK6LlpHSyehz+dOu/bd97cWcXGTbG21Li8atLjnGf7
Uv6orjGmwKNB+I0i+r/1ZFYeMzUxL87UlziCqcpDBPz4dH+iq4NSrqfUTOMZ6Z3rUz2O1mTUbZj5
jt4XRyioylmdYngNmIE9aPrYfh1Spd3YVL+37vILg9OimEk5BIj6Ymsrog1Eq1iZbyRx8Zlibwx/
yRle67kYzqoR4jcQT0eYZPNOMYPwYCMGtKelUz5qcxsd3bowz0UJ/fj+YqxGHtRVKeyTclPCWUSe
oFBiYjZ8wdyF0dYrrXcARDTgQgomYK9oMFfx27F3fTzhKoCmMZ2IaQfiPNgjMFxT/o2SjXt1bSfy
LOElTQqBhsniJ2GqVA56VGU+bWZnwN0R6Dur00kadazW3DL9lG8pBK+dQNl2kK9p/rmsV2htEQXo
BsObnErtZCFw+YjlSfwILrc6jRaYAc/FNK7PxgC1wnKYtjbI2rZEyZYqMMkgai3yz/94kol4iPKc
rrOPkxniDkNHn27XGwasNuhVqOzhI3phc+0rOOrIn1D4tqGP7wgqSMrihfeUNPX0C/cPahxjLT3n
27CMd6o+iB/3N43cq9d7mVMnnxmy24j0++I2RlOmNpMAQFtXqkO3h7yn/W2I2pw3Tupt2gqzQPYz
iYwUOZcdiDQZkeCQvbW2omo38V8tLsGyK5404UC4fvOs4DqDZpfbjsEW266aOw/2nA30UJh2eKii
oprPZhhXw5vTCtYNNAU6pzJ5XOI2cD7K8EmgK44lR7UzgiLD8SbcUi+T19TiI2FaKlWRwR3KzuT1
flJ0o2G2lBdogBcx8C+3dA/ASOIOuVMjes2UPBMHGP+SSK96af/9/nLeHihuM5vqjYQKIuu82CSI
zeIqnsSpD9IKdU+ItPMx13s1/FIqdUktEvGEfzHkibla2rZpjoNSILR5/0fcHip5pf4mQiAxbS2T
5iqiIxErQ+o78SSOIkVhliZ8XKScGG0C8VS5HJZK6BuZzG0I40IDfCAhn5yRZerkhHFYkKrwrKtH
PUAoNcKLa2zcbDpbGcMfot4st6gLa5MlcLChpI4b6o7XXzxHSbDUR754bYr5B+XAee/0Vn82hVE9
8zCPv1Re72185pWZAtWlQUejReonLQZVsEsvu46ip20OHnVe0nc4iCKfPHioXgwzV6juxlddiQsy
HyVTRItZOpxcTzSJRJSlMyWWWUVQ4tBlvZM+iMqojJ2bKd1f9/fQ2gxpakg0JQHPXDpPVFQDMFPM
eFzag4HYQQ7dFo8j5W+3aQefanurbASIlfnRgUQez7QIr4C7rudXAKWwSy8Qvqa3qv04t2o1HFva
L+Ur/LL6zdetlDqH1AQxkHLrssM/m0lnTbqR+4aYi4MKp8vvsxq2NKWss0mX4u83r6d0+OM9AVSO
+vTiokNlK83xA8p9fOLFw9waxi7z9OlnbjfNuG/raVPIceVggJsARCzRXTr59fV6KiLSknjuch8Y
uK4cyjF4CSAK7vCzEw+YyHnvPIEm9cYuXbklKQ8QgKlIANBZ9mKoVUSAZ+fcJwDpfyvwt/+pqmh6
vL+aq6OgnIR2JJSvGyEerQ7NLoFH5hdjURwjo+n3rjJspYkrZ4C1g2jA+kk43mJHIviZV2Y1FkAz
eA+fzBi80W6IrUQ/zbob6adGn7R04xjcDgr+FYI6lGAeJiDnrz+bEYV13DVe7kdtbH10otn8ZCCb
8nOOAuuTKDrbOrx1LeFT8OIDJCpZS0tSRZJLCVPVKPzOtpVjV5rdKehbZaOPsjYtKbALSQlDCh4D
19PKQ9NMItw6/S5zIMrrYthZGVrXToNIdzPrxuk/mJWEcQABkQnH4tslU+C0Ljonvq0MxiVqIWka
xbRxDdweMf5+U94+vKuAnqvXk2oVhS5bnVb+IPLkKQ9mcQzCvueezfCmhBQ7fglCN9A2tshtpJTD
UjpBVRQK57LXWgZgNUfDK30koPoXDFc1/NMaBLVxNUmVt28PYEbw0g3QMNKo/XqOcccbTg+jyq/t
/t+uzDrc4t7Oq0V8kJ0nTxpuJTe7o0KpZPL6ofaTrsqNHaXv6svUUPk73t8VK7uQ1BpjFDjn7Iol
q2cKcjMUFLR8Haf5XV864RMeLb90Ueb+qJRbUO/b4YjA1PAxcQJYc6O6NhUmskHpPPhREX4dK9fZ
K2rzwbaQHcf5e4uydJv7/o73v3Mw6sJLEmfWYseDOs/oa4Vig1cL8OAO1KRNj1zf3nPeZ5GHckCV
VccBG9KtNvztYSBYQimmt8fFSkXneqO4OdD+PK0mTjiawblbf261+TUET7WvrOElL9Xq9MavyaUG
1FHiXCgw8DC7HrGz8D82Kk+5RHhAHurRPCo6BllR7nK/zdpbM4bfozkcO1AOrO8igmlqA1m61JRL
LHT1gQdaC1c6bucHLnwbmxTiw8aIN+ecgjMJ3++HoE6zabGi0pG1EBUvTqQjZvuAMwY2sGGgOz9q
NRqtjbNxc6cyGve2fDQxOXLp69WkCWuAopDsmR6/RswllA9mN20BDtfmRG6ARiYHi0MvN/EfD/5x
qEODKBD7wzgPh9SdtIObucqTIvLhrUkCE5K0MM671FJfXjkispIced3Er4qxfALJI46TNugbLXT5
Ea5enIyCNqN8z5H43BDqiPa4jqIm53eUV/4qAIwi+xknFBPbLAzyf4Y8TlWBR0Wohe86IxiLHS6u
urelpLG2sOSxNLtYPmRBFgsbKWoQ4goGbtD0guLY6VXxX5yd147cRhetn4gAc7gl2WFGmm4Fy0E3
hIPMnDOf/nw1/8E5arLRRBsCDAOGVV3FCnuvvfZarY/qkDG8JY7Z/4fNAj2TeJZ7FFhR/JqfPqPT
DkZv4bB5sQuI1qosl7HflUXX7bw+92bFiyAIdERilCRuxxmbOZ/h2UCoyawEwdY+tv+JbXXxlCCW
9P80GNwRADhSuzV/OsCcko4OBoMEOoAaOEl4oLe5+bLk+bwna7o9blwi2IpD1xbWOxvGpRxOeRQC
uA9zpR9itKUQwV+cZ6tW72vH0w0dULwJqwhljEOnM0eJGmheO3R0GU0Xo4ikJX/TSBtfVTNPnj51
fC2eO+pkICDKOvDKKxS8wMfyC9UK0Qc0WoV07PISFcNnb38YK0BkNJFwtdIsc7s1hqQIIqMBu2yy
bqhduVIwvEZ4rpx9a6hirF9qgXM8HnTzyLGenDG+F4kq01ydMnMhS43rPLyEpS5dYlmSjxIqgejy
NPl5qdo/VLTndqLMTRRBEZCUX1xjINWbMllCiSSJYf5e9GSKD11T6X+UTj1+4eVIfClAaWZnkttD
x44UNhQUXGFAr9Xq8WV3pmmkQJFOYB++U1rt35Iczr80EnbMp8crup0dtRAqMHRyENOSM95+xrrE
GdSEN3fJJ0kqPVVt5Mofq1mqkYSzImyDjLzes23YfkaarWHECJo3eda63T9x9Mw08w7nFvzEX5H7
ReQwm/Xui0r46HbJFCLn2MfKzluxPfM6Mhucdwp9REhr8hM6jD0iiZQdnHGBk+ok0DMnq3k6LKI7
kw4yci1RWV2rcZkFdLzFooKJje+PTovif7Oi6H+19aKGjEoJ/evjL7jaLtSISelwvBQsYKRR1id+
gQ3ZSmo5vXGnBp4i6nc2Qn9+1Fl7wsyrBRRDsSNVylfQXi06bG43iwx5Sq5sc34rEPT+2sSlCaK6
xDtx171RKMRgv8IvBm5bHfJuQbaw6ObpTdZb8BLen0Oia7sOsuLu/SlyEJMRBxqUGG4KzaCrN9QI
MDUvIwPrKYLc1NOUpFYPhdMgRhvXnBXfGVpr8qzamv8NO7UqXagu5seQ5FC7jCjL/qGEpfWllLt6
OrRFrqlurGUBCoVxm7H8SLlIuGIhzYCZN3TYl1FG8fJVLxOpe2sHTohXjnmdHak+6+NJnbUyOspZ
kJtXadJmExtguXoJ9QjKUR2MpH7urFth+DExrTZ6Syu7LQ5ONTejF8qNzErpJG9nGdrN/FI4df4t
TSMLQ7Om0qbn9vj72kHlJ+oH4eJIrT7RoioVmoG2/Fb3RfsSZJVzUPIsOSLTXR+avFafawgS4wGa
Q++hJEOuv0ZllDyVdCkflTdtrHVP0SrjIMiNbr9oyc6FeGf32YpKuMOrLWz3VnucysRgzsGivMlp
17l9COthacO911Ms0Grz2ZDGqTayBRGzWi2gbkUZ8lWT9obrhYRGbDMFx9FqlUOopJKnzv2/XaKY
5XEeaKF7fF/cmyD9TgRYFuSlTdlfk8YBg9ZsequNIvcLqQg/y2pm7eyQ1RXPFwPWhHMFcEcxBCjy
9qrgIMjmhEzDG8KPv5gxmo6TLbt1Ef0IEcFw52Avs9lOS1c5eZQIBYGCEu7tgFLRj2ZTSMpbYhbV
uU2Kb7Ne7bXE3R3kXXkKkESEdbeDOGXbd4mJvV7YQeHvQyU6cl8s/uMvtL3RwcbxUkcJ6t1JexU1
dlnVaRK18zdIEEF5HKqlNVzI1eDj6GnvdhPe+VSAaDTFo3YGMXc9Kcvq6mAOBv1tihzljx4h3ReN
tvhXGAvhW01r/nFK52TnLb4zR/iwDEvrCiSrtbiQZCjtjG6s/kZSLP2j203wbRljGryw3Kifi8LZ
i5C6OW04/lJk1ddldmOclbhJbP0NSSO0FCUj9fUqorsMRVo/oCi3c8JWMdX/xhMFOKGlAC4idtFP
2Vmam2MYAMi8JUGKH2Fg5J41tUgal0PvonQ8fX68X7YfUETE7xYR6P1TeLwdLy5jGgfRyngjFrYG
L5i1qnuxJLtoXhSnteoPLX06kPWzPDV2YtXtPWYg9swzQBAJhX1Nu+xkQrxxUYy3uJ5LL5jk4C+I
0JCl4Emdpiacv+h0M3qTMuxJHt1ZZMEqhZoLAkCXqHY76YSKdjjbiNpRTx0xCQw69I3nwIVtartF
MZlPf1RQE25qg0KEeB1WNUd0AuuKRljQLisssHXM01O6xJGnxVk6YDc4D/8+/qrbu4bx0FgkEYZA
SypwO8HZWbBFjTvpjdXX3a7DzHGy673yw5riyWZlGFqoxMSoe2wE9aZFT63UlN4MCTtTPV38dqj+
HA35X6PTQteOu69xZLe+Jc/XUTHOdjJNO5toheH87yfQusIhZbbce7czhTcO4ZPI5tLrZh/55oQ5
9te0JBlAydixOwxD0RXAFdNJo+BHryiIGFsy2r479+72HJHdUYgh5yKtpYp++zsWXa2jNE7Di1MH
jjs3faVQp8cE1axowK0SOhf1aMKS8vGH3k6fRF0kXyCVJEVrRZvBciYKpXl8Kc3ZPNMc0M4Hvcor
2W0j1ZwRW5bNPzV1Ngy3WrTuW6HU+o/HP2G71yhlAKxqohDFY716cSyrka14hJ4WoQX31qZKgt9q
Pe7s6O2RBUsS0D/OPGy4NccqmawgzeALXwpJld0xGV+pHeG6Okiv8Aj2sII7c+JKBEklHtDJJVYH
lsuqq5Owyy+4rxR/pFqhH2wnGc+PV+49G7mN5JgU/Elk3hTkKNe4e4Qbgr6oUnmJE3sxVbdm9YR5
LsDoqe+V+EdZ6PLiO8VYoYYtYeswvoYoYoy+XaCtZ1byYHlmjsnOV0SpnH9CqiSKqzjQj72klevS
nxUn1F64caxkp3fj3hKBNvP6UjYQpYPbDZ8nvVUWvZNfEqU3PYr/kmeVCM4/XqLtUw/BSZjv0XAE
33gDVk7ITs5OUFwsLK6wgrRNfwwy06ugQR8fD7WZEKAe7C2hm8z22nRk9sFiVoUVlJdOcWJvHCLJ
s9Et3ymmbu4JRuGssKfIgaj/re6rMkj6QsnGigObx0fcnQklmtmU3CBAQdOFDD8ce1N9UpdWCEQJ
PQviJdq1meZqQ2vamJkomeAGb3aL10o9Xbe6Mh2eXkLyK/JhLFVBLdeQZYYzdzpj43IZA2XwurYL
STur2H88ymZPMBdxy1IJ5D1Fp/l25+FPYcR1PDIXFOnPy2wmbxmhjQ/ys1d03A6FQNJ7rEmfLm1v
q2WbFqSnB2epMBZvzVPb6xaOyCZti1L09ANCAETrCe0ZoHeCAXc7K5CYFLPwpL70yqT+xrdJUUHB
re6Q1PMUu/XYB8jeLOqz8a0YFssnLADfmYSrGcpdUqhR1dSXRNVoqOvm5DCMwfJHkEb50ckz6clu
JXYiA0JaIJQm19qA53FXCySiqC+ynVVnG5b2KUrT7tCn1pNlv/ehWEzB/aRiDGp4u6STofR61igM
FSvVWU4QFmxjvT+kYEMfEoQnPz/emNsbBE0VgiGQOzI85KZvx9OtKnGkQKsv0JPNQ5kbxTFXpCdJ
pv+bFQghRwDKPxDK7ShG3etxNjj1BcFE2Q9tJXez0VyOhjpXO3Hr3QkBQ1Imw/mUZrbboSwlNcdu
sevLYijBnzCtxk9tNy87d/z2SmTZfhpl9ZkoeYWBhPQSBvGwhWPT6iZPS1R844npwn8kY/y7N4fk
23/4WJikiLuKT7ZO7GqrMBQau5vLEtrh6ygMQDQseZ5fQbY7JBbySDQW1s6/ht4FUtSYzaVHiJSj
nGAIFcXz0zciEYmgNgvpMdoOV29xgDdM3dhs9DZIUk9H7PJi1+H0aim99unxst25ETGfpoAm+o55
IlZ7HOJiSOPaUl/CwQm/Zs0iv8xK9CGc42EnOro7EpgCdFjBvV1DuTGwnVF0Vo0Ys9z7dmvHrhIl
GNHH1BceT+rOPhca/Ny7sGUEfft2nxPGdNqQJ82lm0LJyyu1OKqh9uU/DAISKdAEqq/rCDaXzd5s
o6K5KCKz7/JldLtZ2TtMmzj5fScQ+opuEUDI1X3eDNi+VP3AhuOkvtQVtjP1jAkTwVr9EubFnmHx
va+kCqKMiGLxjhWH+ye8wopBtZx+ZlZxMCXEgXMvHQsp7q79YJT9zp6496FgDsJGEyIiAHa3o2m0
mgb5vDS0f2vVKQ5l/GoN3Msef6n7c/p/o6y5YYFDaxoaq82ljePGB+YvvDrBXauMwh+PR7o3HyoI
BDEEZhocgNv50IPYLQCTzaWR4uElGRfdC9spOPyHUcgQ+Uhsvw3lOVSLEiFCp7lUSNv5jTL/reSY
HP2HQYRYDtUQIvZ1pB439SiFY9peAjXCjHbsxlM0G88H6QTPvHx8HBiCG+4vyoO209tle4EwYX9X
tMFwXnS8HdXTf5gNDbCix423fJ3UYqbXmUuQtyjFNsviOukkm25TFPWedOrdHQCt9r2njGKI2Is/
nZ/OMToaumKWLZ9nn9TAcrFYfDqf5c4WlAVI9ohj8ebdjpL1xhQPOtJyuPVph6Bqsb+zoGI8vWjk
aEJUBykq+hjU1SgD3GijMRGwywbFS5JY8rWqf/6GIxiBT8KNwx7Y8ErCITGxLDLoGsAZ6ZMax/Lf
dMJpn8OlS18mLqE/H89KxFM3STqwEvOhzgfcBaq+elztYiityYaMvViV3J/LqKulr2M098tbMM5l
/VZMQWAeYwuD5zOF6C58OkQHOQQJRtuMFATq9O2yjjlLPulDdUmbFog2CkPlR5XhYuPRHSb9jsBQ
v3cDbl8Rsh5GFHrJ7Jl1QKE7CW5/s84xI4LpvaKQ9PwIj2E54c5H27Kl5vkeHLwdU+heCdI2yA2R
0uokyD2Nogk0uUs4y2PkO3JWm79lizaE3yS9kbQ/qzQJd0AM8XfeftvbMcVv+un0he04TGC+3aXr
ZfVjCjjmm1He/T6nxKCPt9H2oIvrhKueirtw8119RdteWl1C4/FCx5bkTw0s6qwOq50H8t4islUx
HQErA/NZTSgelG6Q27q/zFr6a663vbskycd+UV/6pNwLbu+tnnDXosZN+zFynrerV5bKkgLp9hes
MttXBMX+gtk8n+wFL+vHi7cZSdxe7Gh6EChr8cTcjiRpIH9VN3UXu6wkP0EtlIYkrXXjZW52htp8
J+4tXmTY0jrhzKb3Ip/rMjaxBr4EBapfaeL0ftJVewfszoSIAiGAQ7MS7OnVhdzW06DEajGgfBLX
qht28T9TGuR4ZBs4Vj+9eKDjJoQFzjKFztWe0DFZrkdbHSAhmSVd6hW9qjjyOUrl1Xjv7k1tc1++
M+phx5GNiPtjtSuIm4ymzfXxotojz0AP1bDw0PY3mzPmmAZl47nF1pFS3fBrTcrX7wQi26UlEBVq
nLxDgF0b7uiM1wCfWL6YWRYfBqAWr1WC/jQuxp7ewiZzBSFmY9Kox9mm7roKtiE3LVE95hosX2yS
FeIsshM7OWIFp1/UrLH+yrQgfrb6ScGMu5k3SUg/kzrfngU7nGoquY116W16I05UgELjhCa7gm3Y
IM17ykvb8wDqivwye4dqGTXQ2+GmsR/SsCttmpsH2esixXRldfd23H40YdFAEZ4eOc7eOm2RNPTN
HC1ZLllEa7nf2B270+pau8C7FuGwnUMujtfNvY8wLHUrinG0FIhm3dtJVUoi/HZm7YL1oe5HJZQn
c7abo2pMMi52teq1fUw9GRD43Nbq3luw2TeIDr7rZ1MM5JZZy9uYERyOvLeWCyJvTXi0x4YhWq3t
sg+UuRoDa2Q8dTHOxR3j+Pgy2JxOhoY0AjcF7Jk0Srudua5EOAQHpYJKuV1Vx2TQIuXoVFGkHjip
w+Tz7Bq2Z0RTthwqqdWfFNsRjCmYdKw+vGthYbZKGGuTKKpUBv2SLJihGqljf1IiYqlobJWvuEnv
FVk2nxraGZwccgX+UAld3bRdnzvxspgGPVJSc1alIDVfjNLIKFPyRh7SIsZHdqwtqBF6p2LEqZMp
a4fHq745ROJHCBND0a1lERrfrroESyKfs9QAYEB4hyspe10KQ92pLWwOES0AyEeTr4CxqtAyb0fJ
22qxBxtxtDFSytdxtlK/Avf3e2PX9vLuUKLcCnWeS9ZZHSAqJSQtih1cDKfT52OH2VnuhTjhLp7e
owfrPrt+SAqDUvOHMBgI+XZmllZb+TR01mVyqtA1Q6SW6ziudpK+TfAkxO1I9mCWgqJspLEr1aHY
lNrWZQCnu1p2o/5tQWR5qUa8EJ28kL8/ntV2EdkUZMvwLllIPtztrLJB0paut51LNNspbSjIIXgU
dLPPJrJrz954vE6A7qJaL3r5114kjWpkuE63wYVe+gKVdWlufKlqqoPc6gbu1ZiUQ5WU7Fw9KFJk
Zojf68vO+t6ZL8UnKp5C9l0Ub27nm1SGTT2FTVOi+X4ulb7347y0D4PVz58fL+177/jNDa8R/YJZ
8zpTdoYTfTuWqWWi22JMr02g1J0b4eBenRI+vHZN5bpvDmbMhevj7otnSkOk0B3lpmn0UzXMs3Tm
RszIBYywpRNjFHbViRYl8zc0XormKCXxGLhq0Znph2bRmgHepmP827S1UbqlMSjzSBt5PgyuWVeI
UEepo/W/NnOsMwqC6I2f9Fnf+XOWlAg0zZwm3U3DhrZKuryK4JdU14PxLKelHboNF4rkjorZnmYA
6sBDVkjXTqneTVcl78zxc+CYQfCS9NDlPiqjVDdvSlg3jd86FXoaUxHr2kuhGmWC6bXe5RDoMj3/
jf62eTk2ehNM3pwsU/5Lb9Gce2pCOQwPidq1iy8b5EWunZnTn+i7FIknaxyIQ5znCARWCY27BzsP
J9sd7UWrP6etOmBU35iGdEZVOBg8ztkYHllXWT8sKXI9n/uC0l3rKvM8OkcZQ9fmtwj/dztxM7Ix
DQmRuu70ayONNUaDsjJ8S4bGzr9Pat/nn6S4AQcOqzANfplq/JwGD6/4KHi1tbjoPwWTKs9fHK1s
ZzgpsRK+LGOjVG6FPFV1guBkEP8SeZqfIc7a5fnxptve8v/XiJHADHRy7Wc1WDEXTKlV1whR+EOL
6ZVbqWF7eHYUOu3p1gMLQFOA0Ox2Z+dGm1dZn41XEvH+c5XrwyGJ1L0q0zZEobpEzqXRIis0IVaj
BJrezoMkLngzU32sjMpfGhn13UPRS/jq6G3hGIDKyfD7s7MDG2ftkNRib2jrxjk0IOIGo6PkKtXJ
OHnJPOpuZNdmsZMlbO96KgvItSJRT6WOEu/tKtZlqss9r9Z1TDsO2VCq2b8ZDcG/svvhETWZYlQ7
H078lbdXEkMyI6YHdAk7/XZILVKxGq219CqlS6ke1bYOskNBS/DwEV2IxX56N5LmIAnJJnnn665e
l7gEpLFlxBFy5KsP2TArxyB/tuedcI46PywZEVLyL84q5iimMVzodgwuqaZ3pwpu5JeyX4azjObd
AT9o+HzPbhAG5IMJxRBRCVjFj6qe6AmuMMGFtjn15CT4V+AG9aRlnJgW7ZSwNHit3qW3br9VDgRV
mGacXJ1R16/aEpmeJYXWzifabkKKQYD/NHrAZCD5uR0FsnqLEWKeXslPte9jXS+/RhquLFpl50dJ
roqd1NHe7EDgLiri7AuKuYgG345XTMqCcttQXcsxMz4ohPiDH+CH8BvVquiVmcpvXArDj3ZSph2k
7d7QogTBXhGc9TWCk2ZhPjWDXl8LunGHc1VkCOoiSLJgWDRrVnmaES3pXkeFRrrTQqVspwtgezdT
F0WSCUcoqAe0e95OPQvVBdTAHK+6WsyvaF0Hbg4ws/NB742CuL1Ir8Qga0prkALim0Y2Xd/pnXUu
xT+mqlr2pJK2NwmYA1cJISNHALny28kUUMboCBqma9IUH6JAsry0CxOsc2iqeXza3m2Kby8tQe0m
Iyd1gR28RnOWWK+1RkvmK56TSwETP4y+1Obcd56VLWrhD+q42J+qNmzkA/GHUX+aUrNT3JFWlfHP
MJfAz+pxKUI3MXrJPhiBNX40xlAy/nEizGCevmNR5qOrxxQGCvze1aUnWVmoEPXMVwIggURm8nlS
uv5qW0Qzj5dme3jR/yO+5CyxqylE3H6EUJOHfqGt7kpEOzRuS9/wuYjG4Z+S8usvkjk27fHxiHc+
O8cPxjv914K1vcqCtCBtxtRIluuQ9sMr7Yq5N4Mv+vZiKTvreGcjO2SRojcfmR0YNLeTC5pUCvUu
za/yLCvnLlwij4bXdGcJt0EGAQZXLMr3IKGkXrejWLGsLRLNtNe+HvqzmujVr3RMGgcJXNB1ULP0
s76fd8op96YGBVtIpiNXtEldhSJ8ODkdg1Y04ldxkXsqGOnewbnzsbhxQLQQTuGtXwcyYTP0iZQU
xTWugBMcChknuEiFN8pa+kmfl+p7jxBA7tI0Np6CZnydZH38ridh9prh0/iB6nlzCEtobqae76lb
bNYAsFKIKwvOCM147yKLP9c9nHhWZ6tXrkNeABIYduvKkqW+PN6v21EEhA41FHYPmOX6hFCVo8Es
xDE+muHsLnGqHGx49ztbda1UydETXmIQ+gGTBBN1tYsSct4yVbv+kqn5bLqOTuD6A4mHvv0YLkYt
vxU9Ke2ZkvRMS95i2dUpk+zFfq3DIlS9oE+S7oBv9DK5kzkOwCfLnO8Ju222g1BV4hlllwM6wv68
3eqmQpGwb5r+okpq7SaxBs8OUR9XUlN1Z+ttl120GQCxwf0HK16DJbAISMDo475QSWm8wYrKk5ak
jv/sxxVHlhHEIELM5nZCGWLDuCzXw2XSWzgmjhqdQE/zZ6M90WEseDkwjYEL35+nnzaqrKetApde
viySqbyWQ5r7cj9LO1toc5W/j0I3CDgh7pRrLnNNTxs8+YZRyHHcPjH+6rXlXNYYz5hBuGfYut0K
gFhsBOoToki3humMMSH5zDQFrNsJYldLaQcx2joE6c603x5/pbtjiVq58KXC1mR1NsqgpYUTucuL
VCSoizeR7pUS74ZjAvg+Hmq77ZiWsNRBtQwa67r1HL+8rEeEQbmMXWh6ihwGfrzUe1XizZPBp4L7
SwMxCiRc4qtXd0mzsVMXFg9PudIf+2IGn+mlr51G606jldVRMeO9JrC7UwO5lUWiuE2GJ9OOWqBD
5bLMc3vUCjDBKO33ILq7oxBS0EMCv5l3/vZEKX0XtlGpK5dIM3Ovb4v6g9aHe8YW90eBQoM4uWja
WOHhZjfNUw2fE1+rzvCCJKlfJKnd67C6Owp93txCNFBs2JWpESHROdvsu8ZCvz/hXq47aY8Kcncz
0L8lWl/IqNdkxHxOC3Mg2bjgIrV4ah5fTTn4BZf0X5KyehuK4DmrTl4aNt//H28N40dyYuCPwxdK
qu57EWJ10jth5RtFv8cG31QtxEjwBKh5kxhurHla5JN7fZaUizZixjmo9jkOi7MVIQSi1cu3eim/
B33wGb+HJxUk3ufIatIJC3xAVVN82Z9u3DZrjC6J2R8IIQQntR9mOMZOcc5IGZ+NZ5mkoFdBriG9
AAC/HSrt2BbLwiaJekf1MMq23dLRQCPHbi+PubcfuXAhgvOMEJGs7kEZwLmlXKti6+ngSujk0qtJ
F/Xp8RV477Y1yawFDY5sft3/HU96b8xNrV6awLIP2PD8CKBH+HaY7hXZ14ZqfCYYQQDb1HWhlFC0
uF07mjnaKujL5VJoaYR+6QT3aK5ULyut4jRiZ3Htl2h66wdlOFZKFxzBO6tz0YUjMKi1p6S0XV5I
4sSRyHEQjdGkdftr8kKbDX3Rl8tkhLNXZA5i20uhPR3YkIjCwRKcHeq3a8Vpaj9NiMyoeilYVj/s
hu/GVO/JE2ynwrXIfkR0hwLCRgWTkm8KKKPNl1CqpKMSDvig2Z2+s1M2EQfSJXAxKHeLhnMe59sF
C4KoVyInsi5xbX6cbeNtoJXTjZDvovy8t1k2UzKotiBLTYcknCAoGbeDORNyokPSGhcktXR/zHVs
b3JtT3Lz3ii0VQqKIdUdvtHtKBB/h8SZBuNiNEbtmurgHPW03+uPvjsKoC19q9ARYHjcjmLbDWQc
+gQutLnHNA1LGg73YfD18UG+M4rQphCPJLIAFMxuR6mgXegLTaKXUCsXHyN45TB00uQ/HmVzXVCS
oxcGmV7B196E0NPsdO0kJTYKWW33tc6oGsVa2v2NLkq/c3TuDYW2Ew2afB5B0bydkB0j6NzwQy55
PxRuuajDydIpMsZO0jxbhWZWEJqEAyoxEdnv7VDAphlKUjmVRimNfPxX0R6R0Sdv82WPFnbnM2F4
JLpCqa+z7VZDxWXZ5VJLUTOUMXztA6V/U+xufvbVFxOie4i+ABIdKrW3E2oi8L5Yi5mQo/8RYwv9
ovUOsgP29Cx6KIQbYCZhIUesicDB7UBFh45LHObhVUNt6GBX6t8lonTPZlQEFLx/PB9ClGqT+vd1
GINbKGDOY/EFI8Xom4So3ZfHO3vzYTgg4FMKuZtFhWpdbaay08dDuhTXQaaI07SIGFuqNO5sanoK
WZEbdJKkhpoDaSjQ5LaZTC4IC1Wzty9j08ylX6l2+KnGcm/yesp+OoxttbSuLEid+dGcjuGv8VxO
9mcLu0v1NUQ/a/wti+W0OMxFjU6cSSRcedRL1UvVpEPwmzKO1eJGWkctt1SkwXDVZDC1l8qQ7MbF
84CuG7cz2wnvZ+STixMermnr5848Z25py6Hkq9j9TF5qEtwfgy5rTVdRk1E/lPI0asfcGbv66Cjt
mJ9CjB6n136wzfrkWEF+jFFGs2aXStGkfpnzchl/h7dHrdisJ/s1TCO9PqMn60Qvo5OW/2ZcJz+I
xTXluIyJHX50ikiPj0Irv+/cSV/k2B8rqDlfpokU5HOQ6lF0mkelAW6S4rn5qI62gXMDADOOt0qR
Ta7WBs73Mu85u8Tajox6AWYWblwW+VczgsvqTZWupm6J7nHxkahkao61nixf5Ky1/kiVMSv5tVkV
+dMi6d9tHRzkYM/Fon41B83ozjHevqpHF5ukughd1Og0W0FlqgcTMkb1T5v36WdIL4qCoglR5LHo
DFx/8wYzsGuiINn2OjfVOJ6mFueoY5rQ4X4OSHTRskDjbfg8xsrwhwRgDe2HZ93IPCeSAv0HSGoo
e+YyZfO/eM5ZqpfgqtJ5xZRXrZeZSWB9WYgWnWM96NXgFfmwDCdDKYzk3JnWhLJAXs6j9MbrTmum
3ujhp5Iliv9yrDFIDzIAYHSs7VT7PTIKXfPoU8yqgzOmufVZTueMxvUhiL6Eo+RkXmW2lYSClFzX
/mAlo8zG6AfVH6cowhaVNnT9Q5oOqfKaj8Eck/POTvKpo+F6PutNkS4uH0OCUdBate3laBXMHryF
JPp3mcPO9pywyf8Owrb4YoYYqLkGYWPrVeGYfOlnbZJ/yZZee5vlKcPEmZ2mOEirmXLizYUhlT7O
sOXy0nVy3uHAANbz2Vj0LPG7SJfiq6JnUnJKSJPDE4QXMzosUmmrhznqeggm4jP8VldKqx7BOlTD
k5NkrI5TmVTyCbpLr3pKakW1S+3emU6Uh5LZjeJs+Y4eoTkI9xLOk6vXgZ75MZI53wcF4yW/hd5R
uegPTKpva7Vi+BXu9sah6VrZ/KEodS57kdaoKVQTR/1Ua3JsflLksi1Tl+ay9veUc6t4ppGGKkS4
TOmOZavLfz++CjcvrwmiJFTxaVWGK7oGLJRRHsdMKptrCIR17JwqPhuxpP7adEj6Ph7qzq0rGEzw
QtGMxyl7FefhPGJEats2V6PqzHM0jLmnDYrmPx5lE7qKkEjUuOjz5tpdV9KKjrIXBtjNtSYPeoXR
3tBxSJYD9fyI8Pk/j0fbzgnSEhgmK0c8TsR3+ybWkhPI2Zj0V6ccZ/TIzNKVQ7k+PB5liyELdAeN
TboNheDDmpVIE5nVh3yq6yzlxegqUoFpUF2FNNcGiaL2bmprdnRo07zP/1GcWWhXplIAjSgdy/Zj
kaXldMxqmmXfUiszehcX6+DpygW0D6rSdJOSNAv26u1aILgQUIgZumvqDLbh5+MofzAmZ3rScJ3e
LXrQqQ/whlOfBqy+HUdttWmu6LBDnpMm0iqNhtyFGpp8o4KjHyZ4UMfQ7ItwZ2NtSsSojkLt1yBq
ChOldZ9LFkdT0I3kRLU1BC+W9VeijHi3hS2tx2kBVSLqTFdteunp7iiYmTTBwypAIhoVpNV8Qxmx
qqUyzUtRKdNJF2Z1KD59fbzFtrMjHgYSeE+ODPiZt4vaaIuWC620i2YH0tGUdO1DQhXUNypbP2ap
+iGLkcxx2lF7OqokEicpR++TeIYI83Zgra95CLXOuYw16xfCdfvQYkW3E/VvbgV06IA+yJWE+d7G
Y5Hsr65HU3IuTR8kn53USo6KXkm/dREEKNQZlm+Pl3N7rXJggdF5TgRzYt2jqVQcsihwxiu3r8xT
3yR+QvzoRv205xt7ZygSPKpLRP/cQ+uyaxiybtEk99fcmAcfXbr0G6qZ2oeqlPqd2uTdoUCYYS1S
MaTV//ZbSVE9O2Ok99cmDifL47gB6Rhh2BNgyU1tHh8v4tpMjZcCHJ3inDCKIfnQxe/5Ceybq6yT
1dkarx03Wn6ldVPCHmvJDBQhbazdvLbnf3spjMZS3VIb5PqbrePZC7uxSizkv5U4POOITsVkVKJ4
D4vZhPf8PEjb3EZcycJu9vbn2aPUdfDyh6slKbGnjQnBHmW0j7HqUHIyatozJ2mvwnDnxQGQpAuI
lnOANVX8qJ/WJNJQ+ZgpvF65pvrIxfHG+BSwJjtrv/3U4l1jR4k2xm1GPmfobqb5Ml3VnpKwp0nl
csWG1Yn9fl70cCc0uDPa/7peLEE33sCFcx4vCtjZcqVBcj7HcQ+JNYjjj/QC/fV4T22/meiUBGYV
2TKiVKt7zikxts3nYLryckuf0WoMjRcwc9UvclvLj8jB1LOXpWMTeU8PTLEdFJln/F3P9va7ZVYI
5QSm6hX4ofKB1CU3UqTR72WnvCp1nZ1HEQQ/HnRz7SEBTjiESiUPCP8U//2nzWItiHKXQzhfi2x2
vsTDEn4oJMNBri8ePrZ5iqL84wHvfEjASbJargh8XtfqqYret6RTBQOy+G+hlaBpgib4tyDo4tPj
obYHgWcDnJIPCdbvrOuUZhEo2mLl87WV7eiDmqSoEObxnlPCvRXkXaJfGDXTLdRW6lqokNLMVz2I
5l8tI279UDGyk9wngd+jkL1DBLuzgNhHoiGmchLYqavnsFvMFhmJQr4qmWPiyVr1RK2Y2SXNtGec
c2cBGQqZG6GnLhiFt5sDK56hjNtavmrhGByQNNfPupY8jYiCfnDagCqpGXJXriak5VkWFQheX42x
01/S0ZnfAED2dB7uzAWNP/BWLmKYQevq7li0LeXpRrm2FmyJNOsmOkun3H+85d6d0G4AHSYj0F0E
YLn4KR7eLtloxaFkW4F8HagZan5QaZDnStAKRATLSf5Lmmwo7f+HvfNqjhtbsvVf6eh3aODNxMx5
AMqySFbRyfQLgpIoeO/x6++HknpaheKwLu/bjThx+ihE0WxiY5vMlSvXqiEl3w2lX1grqP+V5wG1
5IK1GUpRjhzZtfqPg9EP47PcpbGxTEWj0RzsQTtzX8qpGDuiDmX6KnLL8pvhBnp9lRVBaz4BmOUi
2mIBlUpF8/1wNfit8E57eC5dqheTTTNsOqZzzpyoUWeL27SQ9moSGLfkNuj6R3kwsRIl6dPbE/rK
7pqaHdnC5IVAYbPF0ZcJh0goSvs4E+nbljRIsza9dcoBoLislmUcyvqFUPB8qXAnUlgGQpo86OZV
UrNGvqzvU3xjhEhey2YAj2lUqwtLZfrNT1cKaDZt1Ezj1K4rz54skqU2jRBp2Ft61n6NtapdsXCV
+3QEDBr6Uv+k4uu9lQZRvUBlPT9ByI8gkpJoo0PBOXK6RhtXgTLks0YR0civ43KQPjYRhN1uAPl7
+/W9MpUMRR0YIJX2pzmdkQunFqqMoVwl7m4UlspVIDfG9u1Rzq9sIoKJN0nASXI5160yajSrsYFX
9qCl5SLVOm2V9Kl508ul9xAFevzdwjt+9fag54+GIjeqanBY6fykleF0FlFajssslZU9VRjL0cso
+GhavvbugHpiQvGWkISnjD53SBvyUB0yrKP2mDoG1zjzstXNTr/RC+MS9/d8WQC7QDrlkCSo5u+n
D5T0hpULFEH3luh/LUer3opNPqw6v7pUz3vllESNjgYQ6lPIFXJgng7l66CyaqFoe9jrkYCnMQ1+
4TIKEX7aSip+j4tA7XK6jzBVkq50fxyrRaEX2V60CrNcykGfD5+CoLdQKm3VqcLVq2K48Yw2OBRD
5A2LoRSK73g+e8GdAU/E28hIbCRLPRUDnxYlE8NnqUkCy4azUri0P8XVcCnUmSbsdIezwenDQyOO
NQDYdPqU6LOnbmdmyr6sgh9ZXSiOoTbb3KUBSA6q56H1t0NU4mkmXAhhX1maEymfVJaQZCKEnQ6s
x9XYARXLe8XK9OtRFYTnWCulCxvgyMObPR+Vdi4BNFkYZw7XtSiylKNZantaokwH0Fy7jU29WXhh
Xd9JRlXtRVR814PWZE4/dPkB24Fgken1JZ+485U72RZzpxNUUo6UpvPhtyCWJK4JkCEw9wa2EzZo
peCUfZEBeY/R8r27fur8mzYjF+CktnU6VK1nXuJSS9urghksFcwtKCVQT3h7lFceCEoxOSMAFoYd
c+7tMEZ5LpixRkgEcJxogbdu5RFHbJ+18/ZQ59eQMVXxCVwnXO6sHo24W2Q1eaXtJc8QFoPX1E+6
FLWOV5qggJLp0xHYS0O46JU4v9DOcb5OGZtKHgc3qxVY9nQyu1jMA1Fm7DAIrMWIgwTJjhws3n7C
VycTPwMab6nboVV9OorRxjjWVK22D8a8WXuY9l77JGIrzOgv5QLnO54HMiYi+GTVAHPsdKiiFHos
VUVtP0DJRDuUO+LeCpLqk8+yXUSKknyPy7D57IK0ebbn6dYlBdPXHnYy6GXVUBs9uy/UQPVb1o62
z+l0eOgFv71Ba9H7pCfaJcTslf3PlYtYHwsUJvaZV0lWqkhVuLK+R9CnNTbu2AqGHRW6RXekEYaG
k1l+9zGrgjIheO3jdi1aVVDc6KWE41QBISu9kPG9Nv8EzNxiZPATOHQ6/2o0GCiAlvpe9aoBnD1O
qFUOj3lVLNVM1+zKlb5WlreSsvjdQr9w5WmDgjYiAUPBzD8desTypJscavaEzqbTBqILI90r10FZ
Nxee8rV3POmucIcy/XQBnA5VUTgBpPSNfZv2sg2nCdOUWkejJHLV+7f3zjlNi8dCuIYFRQQC2jMb
q+7wZC+8zmA91a2woDOuewnjApXGREjGu06qhsE2xibeD10U9Au6bN1oVWd1c1+Fid6vlUj2LyEl
06CnF8+U0hN4gSIAIc55VG3q1VWR+ea+E0v1NmuT9qaHTfb49rO/Mgo5DgKO6KFOFlGzN6oHXk4P
SWPtja7p4ZykVfZXq+nDhQP4lbc59THQCEWWzcua0Y70zDeaUUhMbpQkgnY0DPedJnUrydfVC080
BRyzeeMYnKaMGBkh5dk9aYTqaDStaO5js26fWs13d9DrqHkasWiLqtt8fPcMImQDHZj2ESgZ6uzk
TYWskMG0zL1uuLGd1zGNemZ9yRD9tQk8FvOA0qd7eTaBTVspnmVG1j5K0mbpmk3jSJmRIMgrXrK3
emVJHDvWIAVN0mJzzVVN8wzPKGJrX/XFsOjqPHdQvLskM/DaKJPbAjw+Zg0trNP97Zdl3zegP3ut
xvukRlxvEQLzbN79cqh3IHc9cWSpQ8zOyl7yUyqXkXfgVtTWadY1tqi4l5pbXnkWyFSsAtYb58c8
NNPRE0ZmA0movFNipwmMaBtxQl7CxM6iGPbpUeSXsjHB2dwg1Qw7yUiw1D2oidmMi4FDa3ySoioF
F6t7wcRKCu+zBf3aueQUlSzS26vXMLvj3lSrO1TM5f4e00wYCwADZewQnOO+PclMCKGtccx9CURE
V+wCD1trgd2Txd+jJhU2sQtYdWOaXQYLQjRS6iqBpiVPJUImh5qzJcBwV69F22o6ZLhQVxjirxmO
neVNZiCpYEueF9+PfaDhFSS0dR7a1KFcnJcKBGZ2eelCpFE8IUBhAT9Py45kLfzWRfiL3gehVmeb
Us5kbamibNTtejStDFuUQIq/dKUYjGhWSYO+E9RAMvaBFWfFNsBIwaUNpUNZKpUHi9LdWI2DjRtG
m9sCEqVRufDgC6pfpRovnpd3LjxCIxoOKZFSRKQTYpYWtUoJE5v8bC/LSb2qK5otEg/W9DtHMSAw
H2F8jtZzFa+WQANNksHcN4QZC11JvEWdIFb/9ihnJ+o0Cu1D9OFNYdA84KsEQZJpvDL3ZtaEBx1T
JDtpPXUXK32/dLu4+vz2eGfbaVL216jzAt8wifPLwlILK+Oz0j5sgmxVyAjj+qWqvfuppq5GQlnQ
DQB0fXYAabSGiMhbyPvSM8pFZoT5ir43YaflvbDV5OKSVsP5LJKpTpoQcLAlrvZpd/+ev4Wi0Ohl
pexxeVIPuOxZvu3DCP/ouYrg2WKDbfTb8zg9wclNCOgGNXrSTpjovnMIbKisOo+UlkCxTBJjoRl5
8aJ2g5+v9ZRDfl1oQq+tsHbo9QuAzlFUcDY0zT/wZmFPTwD+7FKE6Dc531nWPqn6ZrjNeyv+Fhlp
9Lk0ushbGZHc/IWpEfXCOOq9Hh1JCw2XxnKbl7xOKmFrxRhU2YoeC9aCNWlC6VPgezz5ulnJa9LS
clwEgWrQqln0df5FMRIPubomHDQnj8omWGZgSuWiCbSsfrBcXf/hyq3xiRZWpbWDAR1EW4Qk+NxW
FIhXb0/88TaePT50RepqdIWQ9M31liVBGhod6ZE9ugG5XVDV24dWp6l2OFjaV6UdPqZmuxhQ7/9W
Zm31RS31/NJtMX/5E0xI5AiqBJ2c+PF0uZU+XCvkHay9EEbBuqtLqaQ6LXuRM9RRdAFsPbuZTOIt
0MFJhH7qt569brdT6rQqK2tvebAMO1Izmx7Zv/Q+Ue1UKNZpKt95JlfN2/N8dlCYwCFwgcBDSe71
s2csjUTUoiA8dEHWfO6ELLZRM5Y/vj3KWeg1jULPhAT1iIN8Du9qxYitV5SGh6oVorWRSOJ12o/R
CojrUn51dkaQuDMQUAGQAXDa/IywuipBZg3gJbZwk9D7L33kGY5LS37dtP6F8+H8wehyncAtbhAZ
0YXZaJ6f9pmX596h7NrcAUGg0hznyq2UNO+2JAT+gJ8NQM5DgSrJp6sx6XtU8vCwOIR9RpGnKJNV
GyMa8/abOl8PPAUiioAToJFkjaejCIB1mZwW3FGlGzvEHf42Cz1r/fYor0zblDFxeVDHBq6eAY+F
b2RG1PkR0xYp3iLPrPwvc6Sd1w6r1BcXb492dohTNOEO5IkMNIKpaJw+k+YGnZ503Lui5o22lqCs
ZhXCtzJvd0LYZmtomJd0F195QO4oqNrI0kx342zIhrNCH6M6OkBzz7euVlP6GmohZnfVbvvl7ed7
5Z1ZU/WEi3jqRDySx3+7Fn2j91TRyxGNyirvxkKc+jFUk2z5/lEovsrcv5OKy3wWwUh8oRaM5DBK
IzS5RBCWqHNkF97Va88ylV/RrWRbgUmfvivfC6UU4YLkIDemu6I/RX/2fC38673PgjaMCk1qEiIH
Cp6NIlh55IWay4zlKlxiBPFsry0uGWGeH+mMovFSaBZDznK+Y0dDHOWsStNDFivjOqGra2kN0bhC
cKreqoLc2wX64bu6SPRLNJjzJa9MegQcSGQkU0PH6TS6nZRDOvaTQyYZbXcvl4ke3tIbI/eHklQy
fRzkvPmq564Wvlvo/ejIoKCiQtUQhGv61X5bjVUeV1LYVdkh9vXOdLLcwogOk933bzGq5xSFCFp4
gwgYnY4TB4NrjKaXHdwWvRYo9omjJYifWbFuvPtQnCQXuL+4udBtnUeBSphk0Lbr7JDmY7MCHdEP
WVhnFyK+c5x0UnagRQqpG+IKeDanTxRUodIIQpwd2jDqNnqkRivfENw1uViwlLtcXyQJvFTwcdPp
MZ5atman3qaceReO5/M7lK59tjp17amCMV89A/qs4JRGdsix2ll3RarbSeenS0Uo3YUUUUd793ZE
u4tXCBpNq/Yc3088VevzMswPRdlmC8iHdyneF/8PD0VOy309KYKc1WFTOVZjM2nyAx0xnjMqVuik
lktLqezmy2QUq83bD/XKFqRLEF4x+QMcx3myQk4xlkNp5Ad2iuJwOynLgOr2yoohOZojyAI8Ve/5
7UHPj0/kIwh/yJEgXwDinS4hjm0XkcVJnMiVLcdFDFNzZEJL88Ibe2WFgGyBYNPEhUPTnG4hQRvu
tUEsDlmdij8CPc3uk0hPP1YY/C3lPHg3NZVOMVqcuEohNKGbNwtLTLnsNKUz8wN0deVqktRexV1v
LkT9EhZ5VhpgJI4V4EhOLwLWWRxelgW8T48nA4VRlpUXF61DGkJ3UiFH6JgEcSI+6QON21br11tW
bfb57Xf4ysIBTKbJCyoaB+gc1qsauWjHMawOHHGZsuS4LuWlInVNcmVlUl5skTYQ7tNM1LIL+fyx
ffkk6ZqoMxRIuTumCHCuoO77QQgnqNEOcYGPhsH9pOWIqCJ+kHtX6H8WwdbKIUZd+wiclz9yox+N
tdglYfWQGiNtZ3aU6aP+Q9KrrNjh0G4N67qXi2rq6RHT7dsTNV+EtAawFHhHE79iyp1OF3vT0XrQ
jlJ8aI20WrRjdOUJ7iFVvU/Ujt+LE02DQcABxJnStDOdVVnKGskYw/TgZ5WE42vc4sEqvjd7YRSk
mzmkJioTqdLskao4l+skrcsD7oW6o2mCtWapPWlWnjkwJeoLV858sU/DwdgjwSaxoEY3zfBvd3Wu
wtw0zaE6BLlgrGuVKya2WmlJR1XrdGYfr6uhM5dlqXuOPBT+hVNkfloxPP1sxEhER1zjc9Gbti2k
aKzy+uC3rgvcSsND6Yrt6u1lcj4K+/io9MCpyJE8Ozv0CvlfZfSaAyo15k1Bs1iy6ZOiuxQgH8si
v+8emVZ3DCLwvJhKqvo8TNCrWEitpukO4Da46MhK2JvryhrFK/Rmx3QVm2P4RdWEQrrzSwQnxgXt
S8jHwgyo0UoyxaYqgBZkWnzj3Asew1YRxzV9bWHvmG2HxMzQojZDi6UVhnYT6ea49txE/xoZYvIY
uIAGdlL6IU7Lpmd9HtCCpc1HFJ4UvdLDd8ZEPCyoAWkvhK3Jd3BWTVEiWv36Iu0PmSX8Jbeqv/az
UL+ww8/alaZRTE5BJAQYim1+ukCVwpPNJMgHINNWkpZlr9WqXUB6GxajkKL6ZPU9cJXQ1xZqvV7v
pYdYYfevQ80zqxU+1yGCLCUon92jbSMsKDQp3Tszo8l7gZXMtqWwC4gyS/bywuxA48b80FomsXYi
GbdC0lC4P67j//jW/6f3kpEEQLZPq3/9Fx9/y/KBzge/nn34r5sANKvKftT/NX3b/3zZ6Tf9a5+/
pA91+fJS3zzn8688+UZ+/q/xF8/188kHy7QO6uGueSmH+5eqievjIPym01f+337yj5fjT3kc8pf/
/vNb1nB08dM8umb//PWp7ff//hN887ctPf38X5+8fU74vsNz/Nycff3Lc1XzrYr6AUI61ZwjvETg
8+cf3cvPz0gfQPaPiaQG0DB1kaUZ3Yb//af5YaIigXLALVNAi8iOqqyZPiN/AKsF+UDGTSVw4wv+
/PuxT17QPy/sjxQ15ixI64qfy+r850AgrYT7AxJFAD6hyGd4dSujhp9lxnANt6Ne4MVQ2b5qUkCR
AuSf86G2cwUb6wDC2W/z8+sX+X3gacWdDqwxNGEg3LnJEWN25Im5N1i0JJfXpj9GdquHOn0XcrqR
euF90gTTMzIU8Q+FBqSMuYNOd2gbFzhEdWl5nbm090Z1q696TQ8uPJA6HSezJ0JNGC7qJL9L1Dkd
8r/dVIFXeQ2ODc21Seu6LZamv6pELX7CG7S9qgOxW2lRLMnLuuwB+uQQXcVeV32aoFWrew5QBll2
aqXri1EuyrUwym7t6FKWZ7Y8GvI+78vMsD1VD77nVoRlq9o0dloPw5PUDtWnqC26723gC18MQYlt
bSwszQ76sL1tSyEDTur94T5MZPlJbZDzrj3J2Hl+/1WrQvEON7VuIbd9A9HHFYvUdpWk/8saJeF9
YO7xXUxBA4E5eTGyt1Nk+dskyVKVyPTh1tdRZzQrq8uShdv0l9yQpjN39ioo+LJBUCWbWAKzV6GH
IqyZzqyutdH/2BYLpbnFHCZfK7p7iRZ8pI2cjUUySq/qpLk8d42rGo96Z+5W1/SCr4pBdGQvWRSu
sgrprWm+eeEqlzVc62jxRnpo0MpV09YELaJt1ugRlcBIz5EYboMie/EEdel3JkDMXql6u5NvtcpC
UWhw/E5ZaMlHE8+epkjsbiT4Ua6l8tAGV2Lt5NW9K4a2L/6lBp/C9qrKnDh1BJQCfENcepG8xAvI
McNmJbShHY5ryc9ZfZ8qdx9mwx2mv9hFXofY6/Xh3aC/uPXHYQx3XXDPobSKpSsXO9YccS9jcDp9
pZjeUm47/vpsKPEeeYxN2tyXYbl4+5A4IiRnk0uaP4GGpPlzVx+MX7B8q6TqOvMDac2HK91MxVUY
pS9BlA3whKTgWvbDmB59L1tD7PEfpSi6DdJcXGmuLywS39V3WZl0duKKNvqzn6mCrlr1hcu6dGKQ
kkXSpuVdWInBwUWrDL/bcdcLQbysfUVxpKoPHLOTvse5Vm8jQ2t3VtYaN7paFVPVQ1qU9AA9KJGe
b6M+6HhL6bCW09y/EGgcc4WzuQBHmiTIQPTNGWAGpVjMw0avr7XKVBb0SgQrzqLhasxHzVFTpf1h
dT3HtxG3NrKGymckBuRtiqKA7XWW7rSuXtiBFEoLDc6VIxAi2pLYWg4yCo3jctBserfiJzdRslRV
Cudvv8xZvezn3qftFu8+lBa5wWaRktD4ml9j9nOdoCTvhLVXOJVn6es6H9RlZXbpOjaHaEdQ39u5
1Hyib3u4gLC8cutAD5lE38GhAVdnqXOXwp2I5Ki5Fkx4UK4lhDsU4LW1qbmXZM5eHYprdeqfIf6c
Xwep6hdFNTbNtVWUyGmog7RM5Ej84lPiuTSzr41F0xZJGb2jE8/29FQVpdqsNKiv13Eu1reJmZgL
EEHlrmvrbsdkKHbkj6ZjdGV07UtivixkFJFRkxjQsSvgeDaZvpLrsKLNPJEvlA2POdLpwqXvhVsR
BjB/njWheAZiKRXiLNde6crLCszV1nTRh89S5SbSGNiOGZ6JMEatfHaLQFnQXeputLTrVqk06ms9
7sYNqCMufWMr4oM4XJJpPY+CgPaO6QLJ5qTndjp/quv5sNWU/Drra2CitMyWftTHV/pYpmtj8KNt
iPzFtUQB9AKeMb2Zk7kBPUFFDe4SIQNdrLNsuvBEqTH8NN3RsGIujSHKFx5lhXdlQuw8gDYI5QRB
cJeIUWYRUN5aeVv0obpLxLJfiUnA3BupsHp7g5/dugACiDKRLRPZcVzPNpfuifoYD+24SwZpreRl
uWlGESBCMgpEUn4pFv471/iThq3fJv4s13hs2ue4+T3ZOH7Dz2RDQNz5gwXHlWMAqJ7KDmv5V7Zh
6B9ocoOuQAzMXpxauH9lG4L2YTKnIK+YlgmqQ1Mj3K98Q5DED/D3IDJM1zC9gMp78o0jwvDPgocj
BkhFNVVEXAvhdNCI061W0dZXa1ylT01M9TaBQbHrFbd/0JJG3QRNZW7Tqk/WuldmB7lV8is1d/NV
jDrloVL6dtdEUezQZbn2PMi4ZlZE15ZVF4+S1KfXRoociS71HkI81bgLJMw8kNSu3OvC36BLrbmX
LCpPT17SfrzbYLoCLyMhDDFidimLaqnpLljtA0wjb4Gpt7kMTfOb2IXChfv/9Iz6NRKXFhEm7nxI
3Z9OXJNUFlI9jfYgJ7G29P3e3I4Ypq5TLU92heXrNzk9TrVtxdIlbddXHpIRp7MbEI5sdXY8+maO
UFciug9aYLXLdKy8Xeyq6rUHhXj521I+/FwI/3tayFOyyCaJAZ6RGxrk5vQpQ9ZNa7VJ8Sh0Oho2
g/6c6L4IeiJdYoYdiZT/rMTjULR+wlKAB4us/rynychQwkv0oXgEm1olXrUF3F+ZY32dFuKy6JMV
uDeSA9sUNk2rfipE4U7KkKYKd577nBgvnOdOKVQbv6uvhuQglv6ibdVtgj1vEj+gV/CEpryjJMYm
zqtdmAS7svUOtS8HdiNLh7fn7fTsnR6GBpvJTWRqYqAnfYZ1mf0QIiMdR0S/nbAyRBKA3k1lOxnq
DBE1Ib1w1p+tRvrq6Oajbxtxwangfvqe8q43onAo1Uc0QvX16PbjxqIvYtclbrrN+866iwRckWVg
sAsr5PTGnJ6U0JeEnp0HpI4uxOnIdGP0uuUFKhZZerf08tRdVFjSXthtZ3UGxIVl2OV0g6GIO8nz
nQ4j5RJ0b6GXH5EyzDah4EcbNRLGNZJhzgANeIHtdWW7Hlm2VwImVK6PKzlJgRMmZYC9e6osBRKB
pnh++02fzTx3OTwKuvFwboFDOTtA876Imyx0vafA9TLHjXHUMCRBddwc5wtJ6eVlK/n3giEYd28P
fMyaTzYMcCp3A/AhERI8rNkak8D7UfrWyqcaA7GSegZt2b5tdOldUQ2fSqV9DOMB2zwPabohVr7W
orfolHJhJKqLT1hzIImt7GGQnjOK4FEjv3hEVDalq6+UZBYqWHGfF8v+Irw+yzxYM9Q3IQxROZpE
m/AJOX2ZQk6Duze2w1OhyTcuIWUX54sMt7/K6nZhqjpajY6eoH6Smp/r6N9Ryp8cm7+tn7Mo5dMz
Rn3VH8/p9z9WTd2krPKfQOuEph6/938CFv0DDRwyDQ9Tf/ARBP0ZsBDLmB+oVmBVdKxU/B2sSMqH
Ka5B9OzYm8Y2/S1YUT/At5hceTnV4fOBGLwDHZ2dAugowcmaKGY0E8IoImw5XTh0CzVBIIn1U9jg
bmWXKDzcYuIH216jsWFtdWJph73nRctxkNuvmBkiU2OKuDDUih49uUVd3Ma9ktxLA3WSysCw77dJ
feW+PD33j78gwt1I1k69WBiATlf3b3gaBWYdpFGvn4qwPuSoo13Rz0RLWpQU6oUj8fTg/TUUmqtT
usLhOO8YqVu0FD1trJ8GYcicpiu9pSf64YV631mAON3+JOiTEjnbFcXG2RONBeawdQJuRx/HWtIL
1U787kATLC0OVVWsxK7JO7uuXS67eDBvx0K4icp4V/quZuuSl26lJhqX4+hrD+jclEtBsqJFOAzR
ynDvI6PId1Eb5pvQyxWAM99d+02hLSwUNS+gDceWkH9OzGnKYP0QWXNaQumgafP0WQYiw3JIKv8j
tpH+d4M74dD5SFoSZIFkBbllB4101avwthsVHksbj443ROIiqTU7LfNxHVdJ6aTNo6a2uJREXvDv
84mS0HTGkGqw/8FdKJEQqAA3s5L+4+/D4Oy8ekqD+uX7Hw/1c/1S/XETcNj8sW/qeAhS749tFXOQ
Vb8fYa/++F9HmqF9IBKjtEGPLhkVWc7/5GC6/gHCElJa3GqUW6bV/+tYk83pVCN0o5VJhhY8+Tz9
nYKJH2jKQBCREG8i65DGG+861k63MiAASQuJGFQVOBRQmmb3odxU9AcFuvelaPPUbktfu5eq8DYn
Z8Lv6aXLk2U2jg/u0A/ryASrU5NlbRalDfmiW5ap8v23qX7lFDvlk/z6fWBDw+2gGkUedbpPurJW
hWFovS9JlBcrwdNj+/hHhJDZQogM004a8dPbY86CgslocrKgpi5EAodjxTyErRQ5pSUqUB4HnX4Q
qVwmSUefxoD6aV368bIsetVJiyRxitT/iFSR8/YvMB1k/xwOtJFxn5B3kKzDguIAn72EBKUgprQ3
70dtsK2gtf1CGdBpD9CK2NJPzwkQKLfYNY0/9/xJkfb3HOt8YDpuSLRIF0BA+d/pbGNB6U86qcq9
rAvSQjGi1oZan9qK2z4geriqVP1Bk/JNkalf3n5kaI8nD80K5gXDnpvoKXC3qQSdjh22qpZCAEju
0H21gSXtm5u/ttvEMRx0AWz3Wru1lgjKbzCB3+rbYK1vy52+pVq99BfmwnKspeBM/z59Xb4pN+mm
tg/lpuav1lLeyofarm2dL/zWOt8O+iLdiF/KnbVUFwafDr92X4ZDvCPQvOvvtRtvmy9xkrlFnvmp
v+ugTNrDQd62tuDUtuG0trEsl98O/NBv3/ClWqJlvWCenGBxpy0ax1wKK9dxnY6/Kbaw0ZflQlyL
62wprttVuUp+hNtiWS86x9pYG20RrrNNhYZuao/fxVtpO9z3e8TZdslOXxrX8o2wEdfDFXJ6y8bJ
+GnStjz+fKz6tsJKsa3NeFBvle30kxrbdX5sdpnd2AC7i+nXsBZIUO+qTew8JDYGw46y9deugwvw
rb+2HqtNZ1+CL4+U6n8W8a/3KYs04UIrANmZvc/AamqXDqP4brXYP9IAuCucbO3dtV+D3lHwejZt
C+oi1IbduPGWox0sJVuy49W4oXdnzZcuSZhWL+vbK3SG7dJ5GOxu4y3oALf5hyVKKouB3zpmytPp
/zeD5HT2nW/Ty9jVdvpkwaayEUIRFt1GWHir1Jm+d7N5e+EeYanZc05WRxgLTe4NHOmn6zZXkw5W
vJLc9bHlOYrWmVc91uRbnJjXXeBXi2xAKdnzTLKeurj++UfiX/lN4m+PH0FT+pJ6bbVGT4GqupE1
yyAdsGVGtBvuDP0FBC+FuHWlzinlPrs6/iGF9Tdfzj3HaNihYH4kmQZHA9tI3dVSt3fTULxyeVFX
llf9+iPN9NweXc9Y/PNvx68r+sa8cIodsePZzCArDyTFvcblNU+U3THtwwHNzzuwvitBFa7V1L8P
a//aTF7QjHyQXMyJg+gWIf0btEcfqsBcjcW29azlSLYsj1eh+N3zletU7R7R0HvOMuuuMIIrKbJ2
TVJ/arLecasuttOvSOl8qepkk/U+HNxyFWDihi7MOpA+mtJoLokmD9CX10Xej7Y7+mtdCab68nVf
R5CiAwrs7jLz94B1y7rOl66H9ruhO7Xe0vxqLdFiWKhqvQu1YK/Evi0V8T3CKA8dTGqafi+g8rMb
6Lh5gMkhMaK0gC7SPJVPQhOzHTnx0SDnqqlDVMFg3dmd+EOsjWoX1GtJO0CuW/We1V4Y/BRGmN4Y
L4wbkLIRoQidQacL2nQ7behryV1qGhL9hdUFTjh2ua1CRFtqVV3f56q/VCq0L97eSqe3zzFs+tlC
TWiGK8F8J2ldaVZ9p437sJJfogQLIL8tktXoyXtE0TWanBXNHtHmtq2wktZvD360ofpntYIoEpIj
a4KgMnVUYsNZQperjeuljSY+wuuTN4PqwYkwo53UVMgGuEK8oiGotWstu6EeSntx0NxEWrZqpWTn
IxRL2Td9VtUxxfIGNTyvz7/RxVA9JkZ5KRE6nae/f1MAi6lwiijXLCZKTTHIYuKHx0YKvmAkrDmJ
KIJSKMYurYIvTaTZWVCkixiJ2Atr46jw8dssgWczNWBfnOoTzX6eVUpdUpq4OGZ3cdos4g7FxLwd
t6tFgPz72i/R0YE7BtQJNfI2CaASJEb6NKRxs/PSIrC7orGuqfptvNKvd60qfcZloLurO7lclyVM
iOOHyEUUS03tMCkajGBdi8NT45Ff0yq8N5FgujPq3H1S69sx6Ybr0LuyDL99yCS/dPzc623kxMQF
vp2hU3VpezWmqbgY06q+Nzz3VtRbbeENytNx/bwLznnMEv6bc9ZOuG7/v7HbpoD7f0+N1i9Z6QUn
AM70DT+THVWH3DYxc9G9hI0NOeHvXEcVP9AiAu5G9gtGcawp/cp1VOWDNnXNT8LpxL7Hxf0r11Gl
D4D/lKFoFcNdUEP+/e+c7Vci8ZNw+Dq9jV/lJOAEmgYvBp8GhZ7QP1gHp+ccRmOW0SpNuRzNuojW
8RACL3ZGrn8MtEqlxECDeOUUXqvoK10t+ye5jc1nfuN+65pZKNvtqINyRn6DiK2sjyAs1NZChLvx
FPusuQ211LpOLFCXwIpQn/CiroR+1bb7XjbgiHieTI5FfcH8C/EEpbErSxy01WgV7k1qWlVtl13t
Y2xiZELmJJGRExZj1XJd15LiUj3Fk8EzpDba44caboJWtK5rPcYUSy6yZ1ULix9ZDn0LiFp8HsdB
8ewyMKMvmYWvt20McZfaRuyLt0EQ9V/qojWerDTpgrXv+iEcv9C3ElsfvCCw3U6F/9fFyUjA5iXV
sx4V0nc/TSTVFsYg+STXvGpbHDyls916TFJ4gu2kOefT0Qq5pow+a74+7hB30PWtIEsFV3O8l9XS
LECMrPJK9lUsNpMqFaAaaF1mW1kYfvfDSBhsWjn+D3fXstw2s5xfhZVNzqkKfAAQBMHNqRJAUtSF
sizKsn9vWCAJ434hrgRSqcomD5F1VmeRXZbZ+U3yJPkGFGwOSEuyMHXsY/5Vf1ky3Rj0zPT0dH/9
dXmJGmmEj/k8HcqAQpUJ4HEuENraQEwLT5NiLs/HwFImYB5dBn1bBXmZOJo4Xr+/nCyDLEJcJehH
sN62masRl4mfpCQQHDWUvfgduNdMDocaH350UqSxxrwrwXpuxRRspG5f5jTPBB5R26KgPQZmAyzx
E46T4g/9cDBaebvc5dVt3zV5NfELQc85giEyLV9Zjl2SBsotxOJmYBwoeLUfOb6loZAtzVRvK20V
dYjWLbdygsCBGhQgkZspjuQkqjkEUHnKFYE4y3dhIY5lvvBQlQaH5j0aINi+xi2doQmYoOugLCcV
0HMkGAY2d57tRiA6A7vycHu5TaISDxrwuD9ug3ALuFY4SjKgfjKgs9Ktt53uJDBCq4gxKPkEDc9S
FwslVgANdGJxoRTp8C7YpdYFMBfKHbip4bvbIrrJaXIfa8w07TLRwISXv9+5MeBnw6FTYs5HmS9f
VlYACJGDLIrumSWPZmAIql5tlQxdGUpZCdHWWVkmQCWCpNSfoLy1b2tWxSnzYRXKriYVQ0BOxWgp
COrS42RFddEjvJo523JpqpIdDwazUCEI/zLoB4pq+a5lT0pJ2H0K0t3oj4gTua0mpQqosJQEGEog
e8ocf/aKcorGxyNwQKaQtM0yNHYro3gOPkMkFAGG4sGjnHvupHBCbNu+vCtEFQ1Zh9YE6azyswsc
7B8gNcKhNszTtK86TjwoLyx5ZA+0EQ8LoVb8Nv4smIrX15yQk9yxMHAFc4waZbyNBy5xwhWzHHwY
+mHgan1pB2B8CvYLKFOS4ocksL3PXl5w6LACXkW1iKOlATYeNNfADixuBmDLc8ZeRCq0siT0Bc2N
HSAAXVC74A5oC9YHEAaJwOL1t7KgDXcWb2ppaoE6yLUFFBOPPMdDx68KnIaaB7YyHumrIKxUlywe
gv1KhpeBlG5FVUILGUvru/kODEfoB49WuCOuukVuEc7hdmD5aPirpD6vYo9msTpUOOTeAisZ8hcy
4FvOeYprwFKLPASqp2EVisW05EyYJtmp5P4MeF8QyYVlCnPYN6UYERZkkSRkJyM/0qqo4OKpVcEJ
ni63uGVN+dyVPoYDVDtp6O8FStI0HG1AwJp9BKBbwn2Pt5P8HM270DIGKMX0frQr0QPJ8XJXnmVR
KqIasMwSYbrknCGgRCVY12F5+L6zxnB22YUto9nwlJcT6dNuJGWFihfP7lAGaloTP+LyYhaHYL48
N71KSO8kNAePVY4rB/Jttsts0HsGIacHAMO406JIimg8cr3threLVMPjl1OQhgEJGtnvJDSGghHe
ZiCctsDnhJXppzPRLEfqYAnHLq5sTCti4pi+AQhDTFLyKg/8c3sXStdVGMydAveCrb+8GGDqFTu4
UsLyFhiBychE1ZctoE2Kn924Zn8sYxv7Uf5W2vLrBM8GdUKugun6EnQZ5/0M8bTlslAtGQPI3WLc
V4Irufa1fQeZuOptEm0VlClEV0k8+AjQ0qZMgsXO7WOTRnCDRV0wb/N0O/fRNgkMG7N+Yl0kqXMR
4T5XojlJxQeaYHpvd3Y58bfWxzhXuHE62G5nw7i4z0BkbqPl9m4G0o9MC4I7VGnDtKFwxFsq88Dq
o23mdjDhUdI2zNYorAi0HAWX4I70VI83z50YQM5iqVyO+s6HQdm3pqnHA+/oICELciGuklXU60tj
NCceJ/3yEkSJ7qWU9LlLFFbem67kqwPwH0dhEc4KdyYCf5yHZXwBolVTtQJlFps+qmDyuwSpwFwe
XY4QCAsVx9Sk3QroMzSlKoblBf79h2VsfkgcCUngQFp4rn2J9t5X6DF17eZlrvIKumfxfHmebwHA
5HiIjUzpHbhg1gP0op/4uQVobzEQUMM2iJOHgDfVAMw+SZxOOEmcWjlIknbVlRPxl14gXBWgG9H8
QFCjgfQ2swqsGlgcNGO5MJcJrvuKsv0IoPfYd1wjlEeTLe/NMkec8aXygHq4nSpXcJxLXHYeKl4C
63b0NhERjbH7fbVS/DlsUV8FlYc9sXYO4G9V4WpWIDyAhTAASzVxZLx0bYfiXbz1FS3DZtQA7xoP
cWfahtv7XHQ+wpxqQB9ZFyCBeJeT3FiahrAB9gDn9BbosSlcn8V2GF6hBYAuetYHdJlRUE4iCPfo
SaclkpipKJMaIeMjZCowmvOk4LOxM7K0bBDu3uUWZEbYQJMw2xY2dqMITFsWrxWJc7RwmAvzQhBK
Nd19lCIvwMkmG3gcWsi4N5YdB8Nxmg/AeQUcEEgWhLkjSJO+tdyeK3A3xmLEbSq0gQmiYlJ51fJS
jOJokUgorJTFSkN/i0vOvZWcwlKD/p3DR2rijTJbDUW5RCukXPoji/PqunLNsbtFTBC1AOC5Kt+J
UjH1HWssBGKsBgrmECnnWz+IcBm6ic3cvECy/SaoXA1twy5iLxhB8/aqsq155aP52xLHxs684eTB
RVrKt8MUrcBg/NDtjUcnh/5CHAQEIA4Ev2xOLGmYTayoAvcWOP/U0lUsld+m4hgtJkE37vqzNONV
kXPnZWyi5lG+FQX/Lhgu1WTo4uKfn5v86BYVQtoAV3NXEBI0c3RnI1D+grH4HHzEloLIrffJcsUp
Fyfv4WR8RA5FHVnrIFKuJe+dXd5wWYzlHC4ylMLKS0z/INfhBHJocpngH9uzvlkVt5n5gCSyNhQQ
5ozTKTo5cmF6XcrOBFHF5Rztj6/41JlyHmLwSrnEpdMohD6Q7ZIw2VruVk2sXaTijInOk0qskDHL
ZgJ63DhBzo9z8qjEDj4tR+GtFJm8cL5EjZ0Kfr+x6cqjaV64bwc5zuiRPPWSJSyzWK3dbWkDqD+o
xoIooVtmDGeEr9INKMqmIXicx06VwUUOpNlI9m+KQXIV7OJg7HowJ4n9ETXo4Bur4NeGBeE3G2x1
uNb5bBTqO5GLtprMl+B8kZHf/ITrLWdemBU/3PS9FD0gl1sL14I0VSYWqOETtOBT+GAaullczmLZ
dz+NeHekaI7sKc40DkG4aicpb42tUC6QcF5m3NR3kaBRkyizb6QcNDNg77SlABwzvrSOB46vC5Jf
5hOAvVBRDipDOVaXaBCKANtg4MHVCgI7HueZJ8wGcs6jgHgn40RMQZ6qAocHCje0mQlVUMP2L3GB
yQzo1s0vRHk5tMcyyvscLEpFfueYvv/ZQ90PonB8HN3FXFzB81S2KL/doQLugfdwl7/mdnCv3spL
O70dolQZPb28XFpEoimg+3Q0Qos5C9xCIviUdtEGW4tHeULsxUBr5cMKbdmDrEQNDWibnXE0TAEn
FHA0vCsKMUk0IU3Ltx4X5enEF+LRYLxL/V0xw9HDK+NyZ2ZbtZAcDNAP4CBd8pEs4VhUROJYjjxR
vgxdm/tQVCF3A8ek3F65pexO/KQcbgRQ3ctqFGWpr6JnbLX68RjDzy2iO6i3m7RL7L7evkkGta4q
uw9f96XmWn9a0AvL8hC2pAIX9YjqisCnBHg6CgezDQr3OHGA+AWBfIOjY//5p54XBubj35PiPcA+
BIQ3ALDDByl8PPBAQ9/TwdOvd1yveCznqTf4hqUBG0VHHYjiG6Q0UN8MDtr6A6UeqACAYvAgIfeB
wFv9QY7n11KBSBLsnZZBf/QGEDFQTaOAt/5ApwcqADMkYlnI0SJUvl8k+wf+SsuAVMZ30oHYf4Nw
L+kWDeTB4csLvAjtjID9IyU7v9bUk9B1p7fuy28QiAQ0p5lZBAgPXh4BzDeglCLdB361VyfkPJ1e
nYNtq1EIKNnYr2rs7IN352T8vQzrWHOakG3xy+kA6bCOShAlYHVQIQro3Cn7P8CmAEaE5Iv2n32k
/Bfa+ATX3m0ZoMCjX39II8zD+cfL708EkCzVn/2jfqGXB6lBx7fHGiddrkiHx/0E03tgNHwDVi10
sRt9Oxt/LQsIJHhHFQxGb5C2B6Yc1Yr1B2v8YBkI0hukY4D7HH7bIb+WCkjOqdMWQBKLIMOBxaJn
X3wD9CDhjgJP4v5TP+hX2gCDru/O4dwXCSMX0IpfX/Jw+odvABUDBw4pGiOfHzACL1DU1/uEhjbi
m/omYRvJAafHs19oHO1jAYeIc0DFv0HB668Sxo+98L0zTX7+6/qQAKR28w/+kvCeHPxIfTc5+vLj
yx8+6/BX1KuefIfmlzPbiPV4bZX1Pykf32pPPKLpgb6hUrMEMP1tkEeUJl/3yVNSz0HMEhDIayOK
AGqJB9RV8NzY2euwkVMTqxC/tavYhQ52k94t9BQbdcnB3EbwAYu4EV0XHfAMnkTBhCnp5A7S9T00
CIh1r3fmG7G9pqYVBGKk6+d3n5AcmMCnplbTY3u1MnRKNSjZJXl6gGGekX9qAX+9DR9vQPqW++N/
/zgcMnsEptt9Ax+O/3H/H/5qQqIdjflpth817OaXT6lY1a0YC7JRZr3Kca58V7UvnTkkJjNM814O
kUqweF2lnuuVDtR7bEeNrHq8xMp3FX0Rt1YZYQboLDSJdcNr5NRjFRgoF2PdUkKJV9V1rJdhvGmp
QGSggqsMdEBpM7xaBX0GYq+NlR7QJrOuvumqhbd+SwcyA0v5DtHHmFIBgZp3HepCzzZ27yzWVzTc
CfRxDISDL4026QR02XXIjwcSGXNv4tsxKV9ppJKlUd+Quz7kA+jKeqoeuJRkQhneVfIfhm9QllIk
dWVdpd6EPSy6f056bR8GQc7u0s9DiO0tstUG+RWc09RWBDUPC7OMTPjqVNkRegej8JdQa3TV0dkq
682zhFqRj9IZ6Ohf7yaLyd3DZPxvPbJ4jBgKa69/XDgBM+3LoDQgpAJgUHz2PDt1WP99/A9U8g35
r1DEQ6e+fSmADxFgco7uA/T3wjV8sGe+8ytcMM4+tz3RulyMXn2Pr/xCR+YsgO1epy0HF40jjqb/
B+UmLftat4vtMtJJFoeR0ey1vWME6urmF8SDJBesHxvmDWF4POni13fU1sb+MdlnGSyS7rX0gKtD
R9UuAKA6OWbUcpGkQBclvyU7gR4xMB6ohARJLUHvgpYSnRa6PeMW7gKoS1tPkVEfLqEbImlajjI4
kPy2n5J9YwN96QULa0ZvLUTUjoMoBuSAaPpCSkLr2k5aZa94kKp72EOPFavNwMkarSs70WgbuUtQ
USJh9eRB/dL3mhsJSh5S3aeVSMDV4BNCESOSpGhmg0ZIzVia7fGKd5ujZUZsrBpJ9VsBYE7+Q4cU
lG6SMlEWD/p6He7dGKllxEd1vuAbAQMrtEh6DaCoF4Qnzai++34/75SqjWhzR33qkDqYk3+EQ+jk
iTF4PqDzE2eCJwfFbzgVHm6JtAk4sv8Hi+vFLsEmjGPKFyUVJjj80vLENnupVHIa0mMl9N1dxaqG
Z9qZ3wiqb1lP2aIXjlZFox1br8OXMyOuDDPM7TZtSvPM1+sEg9dbYSRSM9NZJ5lnIrJIzSBpM9xV
7tgIfD2m7p0sLogXMdRAh7dJg5Cuo50kadvJwKWhs1itMtYWrVuC0eg62ql9FOMnfMydxepxaJy6
uz7pGbxwk0wRU1xTHjlJ/nUd8rm9gtfciigRsp/OgsFNHyRG2UgitoKwT3WWa8QIcNBiWegBeR9a
u4Trr+tgtTgE3o4yDQLPQO4sC2BzKCUAyNJ9vBfrI+OA9CcDuanu0aMlrPddtXtpxK0FhvYvDMQi
xDXXSzo4V/PVdB3wtY6eFvRqIFz6ncXaKGpquyZ1o/aukhdemOtue8gMdHxtw66nBmqSjVa6iMDa
ug77OtsZ/ioE0r6RRawPqHmbH1/vRMxDbwOdNIJquYS6uOuQ52Ggt9LDpF9pZ7HEtjdi6sHKDGbv
OxdGdKRrHvV6BSNGVOi0rWBxNKOCuuX11CzNXfV7i4hWZup0Vo4FXOAuxClHbzzAsLqrl+xooy1Y
YLCAF7XVjMEe1gySLDdUsjc/vn5JLKJWThnxCAZSwSW90uNNI6kershCxYWxoQ+PGqjWdaktCjut
9mEaesgMNvR7l6TtKecSEbvmMa+fuccU3RWqoDYhfW0kzGtdVfIA52qNdafhrtxIq6fxyUjVC/1t
WGQcUAbYtinRLG41CyNup1kJQWJXdYCrz+iFn+G8UHlF9ABikXvfB+/n+trYtG96hFSPwWF1heZZ
OaVtUGGjKwEDx/bLfxDzf+pqhsIHlDeM0IepD15V0Fs9/7ifF1ojCajfMbBmAvRFuSkMTo2zwMSZ
3+wqYhYYrCM1TJMCwMNDsYRpqevWVXEmU5uWkB51FgrO3WBjN4KICvoMxGqWTh2aLA6KOyPKVh5y
OjBfSEb0NNShUZaAtIHrqo+x4YdrwETwmOefx2AFamiQF4c0ruj5RD+S5WD4eQplp4V+iEaDjULI
vBI2r67q+QrBrPPewVcdNZLr5zC4nWl6ZPQejHhD+RtPZiBfeGSPHRu3vpRa8YRctKtmJmYZpY0Y
ogZC3tlZ6DbT0xB2z+uR9l0GZVMIY2/nB8Q22kxSYll4GWj+ZYNDiJbLYHfeY9uf637LMSK9Kboq
4lxf0ZuQcHV2Fmq1joHn/Ybnd/bxQgA+uftYtS//kxq9zT9f5KEdU7sOhQ/dxV8ZQUkthxPok+wb
nOCFm/naXrW9AnQs6T7aa2TzU4s6XOBkMpBrr1paIM20ui6zOWocTD1ZtyCfLI4RxDjDNKWXA5OL
EzrCFpQNrhmmu2vCawllsIvnOEjX7bgbgy0x1zNYXzRtalYAOTVAOt78+Por9V5yOzYksDjm5mFF
7C/qR5ph7kfNYBnf2HDxKalDBkdGLZU+iQQW6cG9GeZUO0navY0ZGIq7L3/LgqMmywyUfIebCV0R
hcZ+jdJfv+IWRrm2DM9roatZ5LEewXVHQEu0YmMxbkRv6NCsyCKZtSDFVnrv2ghbETNCR9HVyi0Q
922DGFkUjyyyVj0G8FzdR3sf0rc0tPvsLnTx5b/CHnhmv/ytRoTcxl/+O1jbNBgVZZvdHwSkud3C
K9b05l3n8F4PqraBFlkUJ743jzY4i/yhmsUu8Da9qZ5QbpHIIheHYk275dODmbb75E0QhwHcnHIJ
wOvdXfCnozuIyCJn9sn2V/qqoI5W8J93H+/ehh7vbxbJONWOe/dw5qj8FkDJ3Ud9tioNau7Q1w0h
WFAlo+IcdRGASTxrn35eHFYkN5zfMBD72cStFqU9dAKBgak9Q+ZqpdsOLXjAYB3FqKKiXUAG1wIU
fJmevjESqxkh8YRZgEvmpU5gfZRYFgO2svakMTAtKuLH9C7tMxgrwqKrcEPPGYtjbBHbvWtU6lGh
CBYRA6DJ6Yg/i3Nxhgh374r8b3F2d7gcBBY++0WAJJ3Rcm4EwpvU1bmBZHrqaha2rlIv9Yg2DQKL
CtErEHmWVduc4ZTproZ9NvQqbAVY0eGpu+z9iX5CNoMtfYWid9c6VgmDfX2t0zkJJFS76wL5Zj08
2iLobdl5ISO/jwRhay2z8Eznurexc/q2LMgMzjoI1sv2nmaRirgxIvqejPaj3RV8q8cAC3inku51
b/auNuMWyMSjhcwCunwLPh47ipCTSRot1Mf/k2VXL4xqLwCF0SOYDUoy6b7aVR33lm63MW4iYXXq
LFh37GNNw11nIdpGzKqRs/exWIwYF1riFrZXh8jCIr2vVsYJdbAAlz7YRhroNE6Khal7i2KgMO9d
pAAERL2/9CbIO4Zp9rgzD9UvkPYzzS9eHzJ8fOAVmh8nYBfHI5s/2qceih45DO4Yiwi5fa88ZW/Q
75OF7zO3NxtArCZ6kjY6Imt2T9Dz/X0GK/Ii7qlHrS0s20W1aQCtff3jvg3r4UNRM46i02fvyM/n
HOtTRccExbb3f//+n4mrl3rvPC6ReMIIZsid+noza5Q9RG01mmkyiAXc28AzcMjL0ckodDQa9QnL
YVcDtjBwKXCb5Z78ZWzrYYn7kt17B3yMTsW80D0blN4MHjoO3U0IBd7rLq6Rtk/dStAAFAXKDCbv
Ss/s2KaKxAS0npLR4bW73m51zrO5NeqvuCTJGnlkxT8+g8HcAzZsnpDMwAZd61FqtdyavWqePbh+
YmCp5jrrGlk6HD8x4uD6O/zVhBSXduf6Mjy7ot0YBmtOC3Fo9+5aDBks3PKJ11voXq6j3PZwwQ0Z
ZCzOgeQxkLeh9ziD7Y0gwYaQKhwOGLu7+fH1B/QNFBzrZkaNWHiSZu+Fh9gtYDG0sUOfz+cGfGp1
PrFmGZLrfeX/+4fYc2dxtqKn7DnNPn/+g5PGxkKoc22qHq+QKGyE1g5588PrFxuQuOgFSO8OFjce
MlpsZ3p3PGvcn9cIQaKByRDLmBLNIiKl6SXqek65qCzuD1prdZDG7l2dp3GITlMtc8zCW2/knsaZ
sgiXgMq1zRDLgj0Mxn4DgtWMTkgfUwFlP4x4m4Hb0G5mbO9mMXBEL7GOW/OHBj7NY16/q+d6TPKv
bbQQCyQyKb1JCMiCumYJT5L5vPR4Qll6GhIHg3L7RRbseHsuXjSnTpPamt4YuU1bEBZ36/1TrrM1
HboUWVTg3KN+z97om3r49+EKzFHNQqnPApFFnArBmb1+NKzLMDllDEUWxBx7RT3YYE0ARTIp/yGV
BXurcBTbY4HVRNPQ1E6s3oONpsEnjTxo/xp9vn7jvV88+YRnna3nD0AVxcgtoLDIwk/W4MsinN+o
oF5SLO7aC532isQhA/uGSG3am4BHBzCTjN7GLDCG+9UJFya1vvzNM/zyUCsDNjg1vMBcxxPoalSA
LFgkDfYvsD8Fen/as5P8+fAl+mANe9YB+XmeP6EV/y1BHIT6qY0hZFHhjZTn59BzTwRwZVSYgkR9
JMuo11QUkDk+G7/5efO+523set2DEf3mWdO9E35SP4Sz2CQjopEKLKLeKrKkLdoSFvXEaqxXNLCM
BXhUQ+6OCkqxCFBroRe2C5NY5GUma9wl6HAUi54QU1x81hapKmuVKLGABE51z/1uLTWDkNd5BoQU
FYFAsLk5Vl7vNC2Q3kBgiloaAgtaLpLlRviEOr4FhYGffGvEWfPe9WXweaP6vGf3Ps7agxVZ7JAH
MCVU6DtCTRyoQ5sX+N7E/bxj4BTR7m94KOzbqYCCXPdDanJYeJgquNja4UIGF5wFMbfhyQsUC+iW
FpJb55+uDCQwAvPPp+6fLG6DNUKMsL/DRSaG+NRzWDBHaWHY+GTULYUFfdTUduxmCxMbxAIWNAU7
DunVsHnkb64ZS2y0Oj/CKz7ZleeF8Z7HsxD0T+WxfAZX5Uf5NWSPTDYJM3xleSdw1A01KSwOBgQg
KYjIMUP4K0KPBpiQHldo/Q7z9RhBAK/5HfUSaIjWLIrv2fXnT6Ir5K1XuFo3kuojjkVVj2bFAP4g
dn/ioiKwIGa9MYqepnsnaHBYcAPd2K3ySxY1+w96gBQl7U6wiJHcoMyVlspizxIFfzKQTqVpakHT
0yyW1y+7WztdI7Z18nABPz2DB+gRkmnkFU4U87NBZXjtolQG2xGHVAK0xGm05nF7ih+3MPtw0czw
kJT5l95ZgqBsgiLYfaSZ7FikxYA4Qut6i/JT0Dag+6Tchy58U2qliixciXtgiOnRssB/32egpmsN
lsHK/IDptfeR92mWAprX6LWOw7LIFR45mSILjJNGwLgka9Ns2sNxDxBkHA7RpwAdWoGMkAYsyCLf
B/aBfzIHp2Hce5sBWwh/8aQbNyR4Lh4tfRREwdC543n6lp948TnR+6PrxefwbYhtfhpwdPjtySEW
iSGu41Tjkb/vW+5dIBKP+trbtRnAU+RO50aI7BG1NxUGmIa7LGlVDtQNpEnEsEufgfsv/4va4dI4
3JJoK9P8+L1z+tQK+PvgfU51iGmmpZ6rx+X7RHz3qGvI4dv8Gqv/VGua3/AtT/TF+f3e8lQbnl/s
LQ83wAmD/ngarD1cMv/6/wAAAP//</cx:binary>
              </cx:geoCache>
            </cx:geography>
          </cx:layoutPr>
        </cx:series>
      </cx:plotAreaRegion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D1081E-00DB-246A-3623-E32A19C3D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450B7C-9DF4-C283-0D36-A8C35803B2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450B7C-9DF4-C283-0D36-A8C35803B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65825B3E-6BE0-7A45-0626-59F8D5273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 / Lin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A019E01-8D33-6DA8-AB5C-50BE631A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0B8F024B-655C-8417-EB3D-64F011300B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E5CE8B0-8923-FE76-C0ED-0CCB4AADE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10AFF7E-B62C-FA8A-D088-F2B7085B42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666E88D3-595F-4DEE-05FB-C5252D4A5955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666E88D3-595F-4DEE-05FB-C5252D4A595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4" name="Chart Placeholder 12">
            <a:extLst>
              <a:ext uri="{FF2B5EF4-FFF2-40B4-BE49-F238E27FC236}">
                <a16:creationId xmlns:a16="http://schemas.microsoft.com/office/drawing/2014/main" id="{24479BD7-BF13-CD8C-9A6A-221B2EDF1374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51790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8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 / 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2</cp:revision>
  <dcterms:created xsi:type="dcterms:W3CDTF">2025-07-09T10:57:17Z</dcterms:created>
  <dcterms:modified xsi:type="dcterms:W3CDTF">2025-10-22T10:13:26Z</dcterms:modified>
  <cp:category/>
</cp:coreProperties>
</file>